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72" r:id="rId5"/>
    <p:sldMasterId id="2147483741" r:id="rId6"/>
  </p:sldMasterIdLst>
  <p:notesMasterIdLst>
    <p:notesMasterId r:id="rId39"/>
  </p:notesMasterIdLst>
  <p:handoutMasterIdLst>
    <p:handoutMasterId r:id="rId40"/>
  </p:handoutMasterIdLst>
  <p:sldIdLst>
    <p:sldId id="258" r:id="rId7"/>
    <p:sldId id="386" r:id="rId8"/>
    <p:sldId id="262" r:id="rId9"/>
    <p:sldId id="387" r:id="rId10"/>
    <p:sldId id="388" r:id="rId11"/>
    <p:sldId id="389" r:id="rId12"/>
    <p:sldId id="390" r:id="rId13"/>
    <p:sldId id="259" r:id="rId14"/>
    <p:sldId id="336" r:id="rId15"/>
    <p:sldId id="347" r:id="rId16"/>
    <p:sldId id="382" r:id="rId17"/>
    <p:sldId id="383" r:id="rId18"/>
    <p:sldId id="384" r:id="rId19"/>
    <p:sldId id="385" r:id="rId20"/>
    <p:sldId id="381" r:id="rId21"/>
    <p:sldId id="358" r:id="rId22"/>
    <p:sldId id="359" r:id="rId23"/>
    <p:sldId id="360" r:id="rId24"/>
    <p:sldId id="361" r:id="rId25"/>
    <p:sldId id="350" r:id="rId26"/>
    <p:sldId id="362" r:id="rId27"/>
    <p:sldId id="363" r:id="rId28"/>
    <p:sldId id="364" r:id="rId29"/>
    <p:sldId id="365" r:id="rId30"/>
    <p:sldId id="377" r:id="rId31"/>
    <p:sldId id="367" r:id="rId32"/>
    <p:sldId id="373" r:id="rId33"/>
    <p:sldId id="370" r:id="rId34"/>
    <p:sldId id="375" r:id="rId35"/>
    <p:sldId id="371" r:id="rId36"/>
    <p:sldId id="376" r:id="rId37"/>
    <p:sldId id="325" r:id="rId3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U Delft" id="{F39B4D4D-08CF-4114-ACF8-1633EB97D0C4}">
          <p14:sldIdLst>
            <p14:sldId id="258"/>
            <p14:sldId id="386"/>
            <p14:sldId id="262"/>
            <p14:sldId id="387"/>
            <p14:sldId id="388"/>
            <p14:sldId id="389"/>
            <p14:sldId id="390"/>
            <p14:sldId id="259"/>
          </p14:sldIdLst>
        </p14:section>
        <p14:section name="1. Historie" id="{552E0DF2-62A9-4C1F-BCEC-B0E240A610D3}">
          <p14:sldIdLst>
            <p14:sldId id="336"/>
            <p14:sldId id="347"/>
          </p14:sldIdLst>
        </p14:section>
        <p14:section name="2. Impact for a better society" id="{0F50FDDA-1DD7-4329-8212-2082A61F8E76}">
          <p14:sldIdLst>
            <p14:sldId id="382"/>
            <p14:sldId id="383"/>
            <p14:sldId id="384"/>
            <p14:sldId id="385"/>
            <p14:sldId id="381"/>
            <p14:sldId id="358"/>
            <p14:sldId id="359"/>
            <p14:sldId id="360"/>
            <p14:sldId id="361"/>
            <p14:sldId id="350"/>
            <p14:sldId id="362"/>
            <p14:sldId id="363"/>
            <p14:sldId id="364"/>
          </p14:sldIdLst>
        </p14:section>
        <p14:section name="3. Organisatie &amp; Cijfers" id="{4A48508C-AFA6-4755-AC6D-8CD222456D7F}">
          <p14:sldIdLst>
            <p14:sldId id="365"/>
            <p14:sldId id="377"/>
            <p14:sldId id="367"/>
            <p14:sldId id="373"/>
            <p14:sldId id="370"/>
            <p14:sldId id="375"/>
            <p14:sldId id="371"/>
            <p14:sldId id="376"/>
          </p14:sldIdLst>
        </p14:section>
        <p14:section name="Einde" id="{FBF01049-4CEB-4D44-A5AE-DA9D0125E44B}">
          <p14:sldIdLst>
            <p14:sldId id="3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7E8E92-6DB7-A913-C276-973B444FDFB9}" name="Saskia de Been" initials="" userId="S::sdebeen@tudelft.nl::2b9f2118-bae5-44a3-9a66-a663a2277b04" providerId="AD"/>
  <p188:author id="{B6E5BFEB-E707-A184-83CB-FC812E546B19}" name="Abby Scholman" initials="AS" userId="Abby Scholman" providerId="None"/>
  <p188:author id="{6861CEF2-D6FB-57C0-468E-4B72F1AF0012}" name="Ellie Boyd" initials="EB" userId="S::eboyd@tudelft.nl::d2ec9758-3ead-4e4b-8efc-204fcbf09b1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lle de Korte" initials="JdK" lastIdx="1" clrIdx="0">
    <p:extLst>
      <p:ext uri="{19B8F6BF-5375-455C-9EA6-DF929625EA0E}">
        <p15:presenceInfo xmlns:p15="http://schemas.microsoft.com/office/powerpoint/2012/main" userId="Jelle de Korte" providerId="None"/>
      </p:ext>
    </p:extLst>
  </p:cmAuthor>
  <p:cmAuthor id="2" name="Kelsey Luhrman" initials="KL" lastIdx="2" clrIdx="1">
    <p:extLst>
      <p:ext uri="{19B8F6BF-5375-455C-9EA6-DF929625EA0E}">
        <p15:presenceInfo xmlns:p15="http://schemas.microsoft.com/office/powerpoint/2012/main" userId="S::kelsey@pptsolutions.nl::247c6756-96f6-4951-9417-041a4abadbc7" providerId="AD"/>
      </p:ext>
    </p:extLst>
  </p:cmAuthor>
  <p:cmAuthor id="3" name="Silvana Salamur" initials="SS" lastIdx="48" clrIdx="2">
    <p:extLst>
      <p:ext uri="{19B8F6BF-5375-455C-9EA6-DF929625EA0E}">
        <p15:presenceInfo xmlns:p15="http://schemas.microsoft.com/office/powerpoint/2012/main" userId="S::silvana@pptsolutions.nl::3aac54fb-3c7d-4ddc-aed0-f12c2c4488ad" providerId="AD"/>
      </p:ext>
    </p:extLst>
  </p:cmAuthor>
  <p:cmAuthor id="4" name="Saskia de Been" initials="" lastIdx="5" clrIdx="3">
    <p:extLst>
      <p:ext uri="{19B8F6BF-5375-455C-9EA6-DF929625EA0E}">
        <p15:presenceInfo xmlns:p15="http://schemas.microsoft.com/office/powerpoint/2012/main" userId="S::sdebeen@tudelft.nl::2b9f2118-bae5-44a3-9a66-a663a2277b04" providerId="AD"/>
      </p:ext>
    </p:extLst>
  </p:cmAuthor>
  <p:cmAuthor id="5" name="Ellie Boyd" initials="EB" lastIdx="17" clrIdx="4">
    <p:extLst>
      <p:ext uri="{19B8F6BF-5375-455C-9EA6-DF929625EA0E}">
        <p15:presenceInfo xmlns:p15="http://schemas.microsoft.com/office/powerpoint/2012/main" userId="S::eboyd@tudelft.nl::d2ec9758-3ead-4e4b-8efc-204fcbf09b18" providerId="AD"/>
      </p:ext>
    </p:extLst>
  </p:cmAuthor>
  <p:cmAuthor id="6" name="Victor Hurks" initials="VH" lastIdx="1" clrIdx="5">
    <p:extLst>
      <p:ext uri="{19B8F6BF-5375-455C-9EA6-DF929625EA0E}">
        <p15:presenceInfo xmlns:p15="http://schemas.microsoft.com/office/powerpoint/2012/main" userId="S::victor@pptsolutions.nl::e167889c-9689-4d68-9f16-74eb60f28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490"/>
    <a:srgbClr val="BFBFBF"/>
    <a:srgbClr val="0076C2"/>
    <a:srgbClr val="00B8C8"/>
    <a:srgbClr val="00A6D6"/>
    <a:srgbClr val="FFFFFF"/>
    <a:srgbClr val="CBE9EB"/>
    <a:srgbClr val="4E2172"/>
    <a:srgbClr val="D669E5"/>
    <a:srgbClr val="8F1C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05" autoAdjust="0"/>
    <p:restoredTop sz="93462" autoAdjust="0"/>
  </p:normalViewPr>
  <p:slideViewPr>
    <p:cSldViewPr snapToGrid="0">
      <p:cViewPr varScale="1">
        <p:scale>
          <a:sx n="77" d="100"/>
          <a:sy n="77" d="100"/>
        </p:scale>
        <p:origin x="509" y="77"/>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4166"/>
    </p:cViewPr>
  </p:sorterViewPr>
  <p:notesViewPr>
    <p:cSldViewPr snapToGrid="0" showGuides="1">
      <p:cViewPr varScale="1">
        <p:scale>
          <a:sx n="84" d="100"/>
          <a:sy n="84" d="100"/>
        </p:scale>
        <p:origin x="3912"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8/10/relationships/authors" Target="authors.xml"/><Relationship Id="rId20" Type="http://schemas.openxmlformats.org/officeDocument/2006/relationships/slide" Target="slides/slide14.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3B44D9DC-BFDE-70DB-37D2-5120EDE7C9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a:extLst>
              <a:ext uri="{FF2B5EF4-FFF2-40B4-BE49-F238E27FC236}">
                <a16:creationId xmlns:a16="http://schemas.microsoft.com/office/drawing/2014/main" id="{4BC32AC8-ADEA-5A24-D08F-B9E583A640C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CD8170-AF3A-49D5-80D5-9AA599CA2B5A}" type="datetimeFigureOut">
              <a:rPr lang="nl-NL" smtClean="0"/>
              <a:t>13-3-2025</a:t>
            </a:fld>
            <a:endParaRPr lang="nl-NL" dirty="0"/>
          </a:p>
        </p:txBody>
      </p:sp>
      <p:sp>
        <p:nvSpPr>
          <p:cNvPr id="4" name="Tijdelijke aanduiding voor voettekst 3">
            <a:extLst>
              <a:ext uri="{FF2B5EF4-FFF2-40B4-BE49-F238E27FC236}">
                <a16:creationId xmlns:a16="http://schemas.microsoft.com/office/drawing/2014/main" id="{D5ACE027-8153-01D4-6B6E-5EA19C4B0A3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a:extLst>
              <a:ext uri="{FF2B5EF4-FFF2-40B4-BE49-F238E27FC236}">
                <a16:creationId xmlns:a16="http://schemas.microsoft.com/office/drawing/2014/main" id="{CDF9D566-75C9-E730-A0C7-1E8C58EE84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34C578E-C328-47E2-9A85-9D93F4DE8D54}" type="slidenum">
              <a:rPr lang="nl-NL" smtClean="0"/>
              <a:t>‹#›</a:t>
            </a:fld>
            <a:endParaRPr lang="nl-NL" dirty="0"/>
          </a:p>
        </p:txBody>
      </p:sp>
    </p:spTree>
    <p:extLst>
      <p:ext uri="{BB962C8B-B14F-4D97-AF65-F5344CB8AC3E}">
        <p14:creationId xmlns:p14="http://schemas.microsoft.com/office/powerpoint/2010/main" val="7641695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790A07-196B-4F4B-8E8C-301FB387CBE5}" type="datetimeFigureOut">
              <a:rPr lang="nl-NL" smtClean="0"/>
              <a:t>13-3-2025</a:t>
            </a:fld>
            <a:endParaRPr lang="nl-NL" dirty="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C176B4-2F3E-4542-A88B-B482618D0CAA}" type="slidenum">
              <a:rPr lang="nl-NL" smtClean="0"/>
              <a:t>‹#›</a:t>
            </a:fld>
            <a:endParaRPr lang="nl-NL" dirty="0"/>
          </a:p>
        </p:txBody>
      </p:sp>
    </p:spTree>
    <p:extLst>
      <p:ext uri="{BB962C8B-B14F-4D97-AF65-F5344CB8AC3E}">
        <p14:creationId xmlns:p14="http://schemas.microsoft.com/office/powerpoint/2010/main" val="4017792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tudelft.nl/en/about-tu-delft/facts-and-figures/tu-delft-in-international-ranking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tudelft.nl/en/about-tu-delft/organisation"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tudelft.nl/en/about-tu-delft/facts-and-figure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tudelft.nl/en/about-tu-delft/strategy"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tudelft.nl/en/about-tu-delft/strategy"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tudelft.nl/en/about-tu-delft/strategy"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a:t>
            </a:fld>
            <a:endParaRPr lang="nl-NL" dirty="0"/>
          </a:p>
        </p:txBody>
      </p:sp>
    </p:spTree>
    <p:extLst>
      <p:ext uri="{BB962C8B-B14F-4D97-AF65-F5344CB8AC3E}">
        <p14:creationId xmlns:p14="http://schemas.microsoft.com/office/powerpoint/2010/main" val="2145392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i="1" dirty="0">
                <a:effectLst/>
                <a:latin typeface="Calibri" panose="020F0502020204030204" pitchFamily="34" charset="0"/>
                <a:ea typeface="Calibri" panose="020F0502020204030204" pitchFamily="34" charset="0"/>
              </a:rPr>
              <a:t>Begeleidende tekst voor in </a:t>
            </a:r>
            <a:r>
              <a:rPr lang="nl-NL" sz="1200" i="1" dirty="0" err="1">
                <a:effectLst/>
                <a:latin typeface="Calibri" panose="020F0502020204030204" pitchFamily="34" charset="0"/>
                <a:ea typeface="Calibri" panose="020F0502020204030204" pitchFamily="34" charset="0"/>
              </a:rPr>
              <a:t>notes</a:t>
            </a:r>
            <a:r>
              <a:rPr lang="nl-NL" sz="1200" i="1" dirty="0">
                <a:effectLst/>
                <a:latin typeface="Calibri" panose="020F0502020204030204" pitchFamily="34" charset="0"/>
                <a:ea typeface="Calibri" panose="020F0502020204030204" pitchFamily="34" charset="0"/>
              </a:rPr>
              <a:t>:</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AI &amp; algorithms: just, responsible and inclusive. Ai is already all around us. At TU Delft we develop AI and work with AI to develop new engineering technologies and innovations. We have to make sure that we design and manage this responsibly, inclusive and sustainable.</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 </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Chips &amp; hardware: with the integration of chips and connectivity in almost all aspects of our society, development of sustainable chips and hardware is crucial. A special mention should be made of our efforts surrounding quantum computing and quantum internet through our collaboration with TNO in </a:t>
            </a:r>
            <a:r>
              <a:rPr lang="en-US" sz="1200" dirty="0" err="1">
                <a:effectLst/>
                <a:latin typeface="Calibri" panose="020F0502020204030204" pitchFamily="34" charset="0"/>
                <a:ea typeface="Calibri" panose="020F0502020204030204" pitchFamily="34" charset="0"/>
              </a:rPr>
              <a:t>QuTech</a:t>
            </a:r>
            <a:r>
              <a:rPr lang="en-US" sz="1200" dirty="0">
                <a:effectLst/>
                <a:latin typeface="Calibri" panose="020F0502020204030204" pitchFamily="34" charset="0"/>
                <a:ea typeface="Calibri" panose="020F0502020204030204" pitchFamily="34" charset="0"/>
              </a:rPr>
              <a:t>.</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 </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Drones &amp; robotics: the future of work will be a collaboration between humans and robots, drones and different forms of (embodied) AI. How do we make sure we develop this technology with a focus on improving quality of life for us humans, users and society in general? </a:t>
            </a:r>
            <a:endParaRPr lang="nl-NL" sz="1200" dirty="0">
              <a:effectLst/>
              <a:latin typeface="Calibri" panose="020F0502020204030204" pitchFamily="34" charset="0"/>
              <a:ea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br>
              <a:rPr lang="nl-NL" dirty="0"/>
            </a:br>
            <a:r>
              <a:rPr lang="nl-NL" sz="900" dirty="0">
                <a:effectLst/>
                <a:latin typeface="Calibri" panose="020F0502020204030204" pitchFamily="34" charset="0"/>
                <a:ea typeface="Calibri" panose="020F0502020204030204" pitchFamily="34" charset="0"/>
              </a:rPr>
              <a:t>Kijk voor updates op: </a:t>
            </a:r>
            <a:r>
              <a:rPr lang="nl-NL" sz="1000"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000" dirty="0">
                <a:effectLst/>
                <a:latin typeface="Calibri" panose="020F0502020204030204" pitchFamily="34" charset="0"/>
                <a:ea typeface="Calibri" panose="020F0502020204030204" pitchFamily="34" charset="0"/>
              </a:rPr>
              <a:t> en Engelse: </a:t>
            </a:r>
            <a:r>
              <a:rPr lang="nl-NL" sz="1000"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8</a:t>
            </a:fld>
            <a:endParaRPr lang="nl-NL" dirty="0"/>
          </a:p>
        </p:txBody>
      </p:sp>
    </p:spTree>
    <p:extLst>
      <p:ext uri="{BB962C8B-B14F-4D97-AF65-F5344CB8AC3E}">
        <p14:creationId xmlns:p14="http://schemas.microsoft.com/office/powerpoint/2010/main" val="3260481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1200" dirty="0">
                <a:solidFill>
                  <a:srgbClr val="000000"/>
                </a:solidFill>
                <a:effectLst/>
                <a:latin typeface="Calibri" panose="020F0502020204030204" pitchFamily="34" charset="0"/>
                <a:ea typeface="Calibri" panose="020F0502020204030204" pitchFamily="34" charset="0"/>
              </a:rPr>
              <a:t>Op de foto zie je een project van een groot studententeam waarmee zij deelnamen aan de Solar Decathlon. Zij hebben een oplossing ontwikkeld voor de 847.000 verouderde portiekflats in Nederland. SUM wil deze flats transformeren met een ‘energiepositieve </a:t>
            </a:r>
            <a:r>
              <a:rPr lang="nl-NL" sz="1200" dirty="0" err="1">
                <a:solidFill>
                  <a:srgbClr val="000000"/>
                </a:solidFill>
                <a:effectLst/>
                <a:latin typeface="Calibri" panose="020F0502020204030204" pitchFamily="34" charset="0"/>
                <a:ea typeface="Calibri" panose="020F0502020204030204" pitchFamily="34" charset="0"/>
              </a:rPr>
              <a:t>optopping</a:t>
            </a:r>
            <a:r>
              <a:rPr lang="nl-NL" sz="1200" dirty="0">
                <a:solidFill>
                  <a:srgbClr val="000000"/>
                </a:solidFill>
                <a:effectLst/>
                <a:latin typeface="Calibri" panose="020F0502020204030204" pitchFamily="34" charset="0"/>
                <a:ea typeface="Calibri" panose="020F0502020204030204" pitchFamily="34" charset="0"/>
              </a:rPr>
              <a:t>’: een module die niet alleen twee nieuwe lagen met extra woningen creëert, maar de flat óók energieneutraal maakt. Hiermee wordt een belangrijke bijdrage geleverd aan de uitdaging om in tien jaar één miljoen woningen te creëren en een groot deel van de bestaande voorraad te verduurzamen.</a:t>
            </a:r>
          </a:p>
          <a:p>
            <a:pPr marL="0" marR="0" lvl="0" indent="0" defTabSz="914400" eaLnBrk="1" fontAlgn="auto" latinLnBrk="0" hangingPunct="1">
              <a:lnSpc>
                <a:spcPct val="100000"/>
              </a:lnSpc>
              <a:spcBef>
                <a:spcPts val="0"/>
              </a:spcBef>
              <a:spcAft>
                <a:spcPts val="0"/>
              </a:spcAft>
              <a:buClrTx/>
              <a:buSzTx/>
              <a:buFontTx/>
              <a:buNone/>
              <a:tabLst/>
              <a:defRPr/>
            </a:pPr>
            <a:r>
              <a:rPr lang="nl-NL" sz="1200" dirty="0">
                <a:effectLst/>
                <a:latin typeface="Calibri" panose="020F0502020204030204" pitchFamily="34" charset="0"/>
                <a:ea typeface="Calibri" panose="020F0502020204030204" pitchFamily="34" charset="0"/>
              </a:rPr>
              <a:t>Kijk voor updates op: </a:t>
            </a:r>
            <a:r>
              <a:rPr lang="nl-NL" sz="1400"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400" dirty="0">
                <a:effectLst/>
                <a:latin typeface="Calibri" panose="020F0502020204030204" pitchFamily="34" charset="0"/>
                <a:ea typeface="Calibri" panose="020F0502020204030204" pitchFamily="34" charset="0"/>
              </a:rPr>
              <a:t> en Engelse: </a:t>
            </a:r>
            <a:r>
              <a:rPr lang="nl-NL" sz="1400"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9</a:t>
            </a:fld>
            <a:endParaRPr lang="nl-NL" dirty="0"/>
          </a:p>
        </p:txBody>
      </p:sp>
    </p:spTree>
    <p:extLst>
      <p:ext uri="{BB962C8B-B14F-4D97-AF65-F5344CB8AC3E}">
        <p14:creationId xmlns:p14="http://schemas.microsoft.com/office/powerpoint/2010/main" val="563790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2</a:t>
            </a:fld>
            <a:endParaRPr lang="nl-NL" dirty="0"/>
          </a:p>
        </p:txBody>
      </p:sp>
    </p:spTree>
    <p:extLst>
      <p:ext uri="{BB962C8B-B14F-4D97-AF65-F5344CB8AC3E}">
        <p14:creationId xmlns:p14="http://schemas.microsoft.com/office/powerpoint/2010/main" val="42616278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cs typeface="+mj-cs"/>
              </a:rPr>
              <a:t>For</a:t>
            </a:r>
            <a:r>
              <a:rPr lang="en-US" baseline="0" dirty="0">
                <a:cs typeface="+mj-cs"/>
              </a:rPr>
              <a:t> the most recent insights</a:t>
            </a:r>
            <a:r>
              <a:rPr lang="en-US" dirty="0">
                <a:cs typeface="+mj-cs"/>
              </a:rPr>
              <a:t>: </a:t>
            </a:r>
            <a:r>
              <a:rPr lang="nl-NL" sz="1200" b="0" i="0" u="sng" dirty="0">
                <a:effectLst/>
                <a:latin typeface="+mj-lt"/>
                <a:ea typeface="+mj-ea"/>
                <a:cs typeface="+mj-cs"/>
                <a:sym typeface="Calibri"/>
                <a:hlinkClick r:id="rId3" tooltip="https://www.tudelft.nl/over-tu-delft/feiten-en-cijfers/tu-delft-in-internationale-rankings"/>
              </a:rPr>
              <a:t>https://www.tudelft.nl/en/about-tu-delft/facts-and-figures/tu-delft-in-international-rankings</a:t>
            </a:r>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3</a:t>
            </a:fld>
            <a:endParaRPr lang="nl-NL" dirty="0"/>
          </a:p>
        </p:txBody>
      </p:sp>
    </p:spTree>
    <p:extLst>
      <p:ext uri="{BB962C8B-B14F-4D97-AF65-F5344CB8AC3E}">
        <p14:creationId xmlns:p14="http://schemas.microsoft.com/office/powerpoint/2010/main" val="33780281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cs typeface="+mj-cs"/>
              </a:rPr>
              <a:t>Organogram: </a:t>
            </a:r>
            <a:r>
              <a:rPr lang="en-US" dirty="0">
                <a:hlinkClick r:id="rId3"/>
              </a:rPr>
              <a:t>https://www.tudelft.nl/en/about-tu-delft/organisation</a:t>
            </a:r>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5</a:t>
            </a:fld>
            <a:endParaRPr lang="nl-NL" dirty="0"/>
          </a:p>
        </p:txBody>
      </p:sp>
    </p:spTree>
    <p:extLst>
      <p:ext uri="{BB962C8B-B14F-4D97-AF65-F5344CB8AC3E}">
        <p14:creationId xmlns:p14="http://schemas.microsoft.com/office/powerpoint/2010/main" val="37606395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Recent figures: </a:t>
            </a:r>
            <a:r>
              <a:rPr lang="en-GB" dirty="0">
                <a:hlinkClick r:id="rId3"/>
              </a:rPr>
              <a:t>https://www.tudelft.nl/en/about-tu-delft/facts-and-figures</a:t>
            </a:r>
          </a:p>
          <a:p>
            <a:endParaRPr lang="en-US" dirty="0">
              <a:cs typeface="+mj-cs"/>
            </a:endParaRPr>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6</a:t>
            </a:fld>
            <a:endParaRPr lang="nl-NL" dirty="0"/>
          </a:p>
        </p:txBody>
      </p:sp>
    </p:spTree>
    <p:extLst>
      <p:ext uri="{BB962C8B-B14F-4D97-AF65-F5344CB8AC3E}">
        <p14:creationId xmlns:p14="http://schemas.microsoft.com/office/powerpoint/2010/main" val="4001079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342900" indent="-342900">
              <a:buFont typeface="Arial" panose="020B0604020202020204" pitchFamily="34" charset="0"/>
              <a:buChar char="•"/>
            </a:pPr>
            <a:r>
              <a:rPr lang="en-US" sz="1200" b="0" dirty="0">
                <a:latin typeface="Arial" panose="020B0604020202020204" pitchFamily="34" charset="0"/>
                <a:cs typeface="Arial" panose="020B0604020202020204" pitchFamily="34" charset="0"/>
              </a:rPr>
              <a:t>Since 2013, the Extension School for Continuing Education</a:t>
            </a:r>
            <a:r>
              <a:rPr lang="en-US" sz="1200" b="0" baseline="0" dirty="0">
                <a:latin typeface="Arial" panose="020B0604020202020204" pitchFamily="34" charset="0"/>
                <a:cs typeface="Arial" panose="020B0604020202020204" pitchFamily="34" charset="0"/>
              </a:rPr>
              <a:t> is the </a:t>
            </a:r>
            <a:r>
              <a:rPr lang="en-US" sz="1200" b="0" dirty="0">
                <a:latin typeface="Arial" panose="020B0604020202020204" pitchFamily="34" charset="0"/>
                <a:cs typeface="Arial" panose="020B0604020202020204" pitchFamily="34" charset="0"/>
              </a:rPr>
              <a:t>entity responsible for realizing </a:t>
            </a:r>
            <a:r>
              <a:rPr lang="en-US" sz="1200" b="0" baseline="0" dirty="0">
                <a:latin typeface="Arial" panose="020B0604020202020204" pitchFamily="34" charset="0"/>
                <a:cs typeface="Arial" panose="020B0604020202020204" pitchFamily="34" charset="0"/>
              </a:rPr>
              <a:t>our university’s contribution to life long learning and post-higher education training and development. The recipient of several prestigious awards as leader in online education, it works with </a:t>
            </a:r>
            <a:r>
              <a:rPr lang="en-US" sz="1200" b="0" i="0" kern="1200" dirty="0">
                <a:solidFill>
                  <a:schemeClr val="tx1"/>
                </a:solidFill>
                <a:effectLst/>
                <a:latin typeface="Arial" panose="020B0604020202020204" pitchFamily="34" charset="0"/>
                <a:ea typeface="+mn-ea"/>
                <a:cs typeface="Arial" panose="020B0604020202020204" pitchFamily="34" charset="0"/>
              </a:rPr>
              <a:t>TU Delft faculties and external partners to  develop</a:t>
            </a:r>
            <a:r>
              <a:rPr lang="en-US" sz="1200" b="0" i="0" kern="1200" baseline="0" dirty="0">
                <a:solidFill>
                  <a:schemeClr val="tx1"/>
                </a:solidFill>
                <a:effectLst/>
                <a:latin typeface="Arial" panose="020B0604020202020204" pitchFamily="34" charset="0"/>
                <a:ea typeface="+mn-ea"/>
                <a:cs typeface="Arial" panose="020B0604020202020204" pitchFamily="34" charset="0"/>
              </a:rPr>
              <a:t> and deliver </a:t>
            </a:r>
            <a:r>
              <a:rPr lang="en-US" sz="1200" b="0" i="0" kern="1200" dirty="0">
                <a:solidFill>
                  <a:schemeClr val="tx1"/>
                </a:solidFill>
                <a:effectLst/>
                <a:latin typeface="Arial" panose="020B0604020202020204" pitchFamily="34" charset="0"/>
                <a:ea typeface="+mn-ea"/>
                <a:cs typeface="Arial" panose="020B0604020202020204" pitchFamily="34" charset="0"/>
              </a:rPr>
              <a:t>online courses and programs to equip people to solve today’s global challenges. </a:t>
            </a:r>
            <a:br>
              <a:rPr lang="en-US" sz="1200" b="0" i="0" kern="1200" dirty="0">
                <a:solidFill>
                  <a:schemeClr val="tx1"/>
                </a:solidFill>
                <a:effectLst/>
                <a:latin typeface="Arial" panose="020B0604020202020204" pitchFamily="34" charset="0"/>
                <a:ea typeface="+mn-ea"/>
                <a:cs typeface="Arial" panose="020B0604020202020204" pitchFamily="34" charset="0"/>
              </a:rPr>
            </a:br>
            <a:endParaRPr lang="en-US" sz="1200" b="0" i="0" kern="1200" dirty="0">
              <a:solidFill>
                <a:schemeClr val="tx1"/>
              </a:solidFill>
              <a:effectLst/>
              <a:latin typeface="Arial" panose="020B0604020202020204" pitchFamily="34" charset="0"/>
              <a:ea typeface="+mn-ea"/>
              <a:cs typeface="Arial" panose="020B0604020202020204" pitchFamily="34" charset="0"/>
            </a:endParaRPr>
          </a:p>
          <a:p>
            <a:pPr marL="342900" indent="-342900">
              <a:buFont typeface="Arial" panose="020B0604020202020204" pitchFamily="34" charset="0"/>
              <a:buChar char="•"/>
            </a:pPr>
            <a:r>
              <a:rPr lang="en-US" sz="1200" b="0" i="0" kern="1200" dirty="0">
                <a:solidFill>
                  <a:schemeClr val="tx1"/>
                </a:solidFill>
                <a:effectLst/>
                <a:latin typeface="Arial" panose="020B0604020202020204" pitchFamily="34" charset="0"/>
                <a:ea typeface="+mn-ea"/>
                <a:cs typeface="Arial" panose="020B0604020202020204" pitchFamily="34" charset="0"/>
              </a:rPr>
              <a:t>The</a:t>
            </a:r>
            <a:r>
              <a:rPr lang="en-US" sz="1200" b="0" i="0" kern="1200" baseline="0" dirty="0">
                <a:solidFill>
                  <a:schemeClr val="tx1"/>
                </a:solidFill>
                <a:effectLst/>
                <a:latin typeface="Arial" panose="020B0604020202020204" pitchFamily="34" charset="0"/>
                <a:ea typeface="+mn-ea"/>
                <a:cs typeface="Arial" panose="020B0604020202020204" pitchFamily="34" charset="0"/>
              </a:rPr>
              <a:t> key focus is </a:t>
            </a:r>
            <a:r>
              <a:rPr lang="en-US" sz="1200" b="0" kern="1200" dirty="0">
                <a:solidFill>
                  <a:schemeClr val="tx1"/>
                </a:solidFill>
                <a:latin typeface="Arial" panose="020B0604020202020204" pitchFamily="34" charset="0"/>
                <a:ea typeface="+mn-ea"/>
                <a:cs typeface="Arial" panose="020B0604020202020204" pitchFamily="34" charset="0"/>
              </a:rPr>
              <a:t>delivering expert knowledge and applicable skills for lifelong learners and working professionals. By </a:t>
            </a:r>
            <a:r>
              <a:rPr lang="en-US" sz="1200" b="0" dirty="0"/>
              <a:t>combining TU Delft’s academic knowledge with advanced learning methods and tools, our online courses and short programs help learners at various stages of their professional life – to stay on top of their game – whether they are looking to change career, broaden their skillset, or acquire further academic qualifications.</a:t>
            </a:r>
          </a:p>
          <a:p>
            <a:pPr marL="342900" indent="-342900">
              <a:buFont typeface="Arial" panose="020B0604020202020204" pitchFamily="34" charset="0"/>
              <a:buChar char="•"/>
            </a:pPr>
            <a:endParaRPr lang="en-US" sz="1200"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https://</a:t>
            </a:r>
            <a:r>
              <a:rPr lang="en-US" sz="1200" b="1" dirty="0" err="1"/>
              <a:t>www.tudelft.nl</a:t>
            </a:r>
            <a:r>
              <a:rPr lang="en-US" sz="1200" b="1" dirty="0"/>
              <a:t>/</a:t>
            </a:r>
            <a:r>
              <a:rPr lang="en-US" sz="1200" b="1" dirty="0" err="1"/>
              <a:t>extensionschool</a:t>
            </a:r>
            <a:r>
              <a:rPr lang="en-US" sz="1200" b="1" dirty="0"/>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p>
          <a:p>
            <a:pPr marL="0" indent="0">
              <a:buFont typeface="Arial" panose="020B0604020202020204" pitchFamily="34" charset="0"/>
              <a:buNone/>
            </a:pPr>
            <a:r>
              <a:rPr lang="en-US" sz="1200" b="1" kern="1200" dirty="0">
                <a:solidFill>
                  <a:schemeClr val="tx1"/>
                </a:solidFill>
                <a:latin typeface="Arial" panose="020B0604020202020204" pitchFamily="34" charset="0"/>
                <a:ea typeface="+mn-ea"/>
                <a:cs typeface="Arial" panose="020B0604020202020204" pitchFamily="34" charset="0"/>
              </a:rPr>
              <a:t> </a:t>
            </a:r>
          </a:p>
          <a:p>
            <a:pPr marL="285750" indent="-285750">
              <a:buFont typeface="Arial" panose="020B0604020202020204" pitchFamily="34" charset="0"/>
              <a:buChar char="•"/>
            </a:pPr>
            <a:endParaRPr lang="en-US" sz="1200" b="1" kern="1200" dirty="0">
              <a:solidFill>
                <a:schemeClr val="tx1"/>
              </a:solidFill>
              <a:latin typeface="Arial" panose="020B0604020202020204" pitchFamily="34" charset="0"/>
              <a:ea typeface="+mn-ea"/>
              <a:cs typeface="Arial" panose="020B0604020202020204" pitchFamily="34" charset="0"/>
            </a:endParaRPr>
          </a:p>
          <a:p>
            <a:pPr marL="285750" indent="-285750">
              <a:buFont typeface="Arial" panose="020B0604020202020204" pitchFamily="34" charset="0"/>
              <a:buChar char="•"/>
            </a:pPr>
            <a:endParaRPr lang="en-US" sz="1200" b="1" kern="1200" dirty="0">
              <a:solidFill>
                <a:schemeClr val="tx1"/>
              </a:solidFill>
              <a:latin typeface="Arial" panose="020B0604020202020204" pitchFamily="34" charset="0"/>
              <a:ea typeface="+mn-ea"/>
              <a:cs typeface="Arial" panose="020B0604020202020204" pitchFamily="34" charset="0"/>
            </a:endParaRPr>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7</a:t>
            </a:fld>
            <a:endParaRPr lang="nl-NL" dirty="0"/>
          </a:p>
        </p:txBody>
      </p:sp>
    </p:spTree>
    <p:extLst>
      <p:ext uri="{BB962C8B-B14F-4D97-AF65-F5344CB8AC3E}">
        <p14:creationId xmlns:p14="http://schemas.microsoft.com/office/powerpoint/2010/main" val="41725768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Source: LinkedIn Sep-23</a:t>
            </a:r>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8</a:t>
            </a:fld>
            <a:endParaRPr lang="nl-NL" dirty="0"/>
          </a:p>
        </p:txBody>
      </p:sp>
    </p:spTree>
    <p:extLst>
      <p:ext uri="{BB962C8B-B14F-4D97-AF65-F5344CB8AC3E}">
        <p14:creationId xmlns:p14="http://schemas.microsoft.com/office/powerpoint/2010/main" val="3982679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www.tudelft.nl/alumni</a:t>
            </a:r>
          </a:p>
          <a:p>
            <a:endParaRPr lang="en-GB"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9</a:t>
            </a:fld>
            <a:endParaRPr lang="nl-NL" dirty="0"/>
          </a:p>
        </p:txBody>
      </p:sp>
    </p:spTree>
    <p:extLst>
      <p:ext uri="{BB962C8B-B14F-4D97-AF65-F5344CB8AC3E}">
        <p14:creationId xmlns:p14="http://schemas.microsoft.com/office/powerpoint/2010/main" val="3549933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sz="1200" b="0" i="0" u="none" strike="noStrike" dirty="0">
                <a:latin typeface="+mj-lt"/>
                <a:ea typeface="+mj-ea"/>
                <a:cs typeface="+mj-cs"/>
                <a:sym typeface="Calibri"/>
              </a:rPr>
              <a:t>The TU Delft logo features a flame above the "T" in "TU Delft". The flame and letter together form a burning torch. This is a reference to the fire of Prometheus, a figure from Greek myth who stole the fire from the gods and gave it to the people. Prometheus taught humanity how to use fire to work metal. As a result, he is known as the very first teacher of technology.</a:t>
            </a:r>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9</a:t>
            </a:fld>
            <a:endParaRPr lang="nl-NL" dirty="0"/>
          </a:p>
        </p:txBody>
      </p:sp>
    </p:spTree>
    <p:extLst>
      <p:ext uri="{BB962C8B-B14F-4D97-AF65-F5344CB8AC3E}">
        <p14:creationId xmlns:p14="http://schemas.microsoft.com/office/powerpoint/2010/main" val="3413166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t>1842-1864: Royal Academy</a:t>
            </a:r>
            <a:br>
              <a:rPr lang="en-GB" dirty="0"/>
            </a:br>
            <a:r>
              <a:rPr lang="en-GB" dirty="0"/>
              <a:t>On 8 January 1842, King William II established the 'Royal Academy for the education of civilian engineers, for serving both nation and industry, and of apprentices for trade'. The Academy also trained civil servants for the colonies and tax officials for the Dutch East Indies. </a:t>
            </a:r>
          </a:p>
          <a:p>
            <a:endParaRPr lang="en-US" dirty="0"/>
          </a:p>
          <a:p>
            <a:r>
              <a:rPr lang="en-GB" b="1" dirty="0"/>
              <a:t>1864-1905: Polytechnic School</a:t>
            </a:r>
            <a:br>
              <a:rPr lang="en-GB" b="1" dirty="0">
                <a:cs typeface="+mn-lt"/>
              </a:rPr>
            </a:br>
            <a:r>
              <a:rPr lang="en-GB" dirty="0"/>
              <a:t>On 2 May 1863, a law was enacted establishing the rules for technical education, bringing it under the influence of the rules that applied for secondary education. Later, on 20 June 1864, the Delft Royal Academy was disbanded by Royal Decree in order to make way for a new ‘Polytechnic School’. It began training architects and engineers in civil engineering, shipbuilding, mechanical engineering and mining. </a:t>
            </a:r>
          </a:p>
          <a:p>
            <a:endParaRPr lang="en-US" dirty="0"/>
          </a:p>
          <a:p>
            <a:r>
              <a:rPr lang="en-GB" b="1" dirty="0"/>
              <a:t>1905-1986: Delft Institute of Technology</a:t>
            </a:r>
            <a:br>
              <a:rPr lang="en-GB" dirty="0"/>
            </a:br>
            <a:r>
              <a:rPr lang="en-GB" dirty="0"/>
              <a:t>On 22 May 1905, a law was enacted that recognised the academic level of the technical education offered by the Polytechnic School and it became a Technical College, or Institute for Technology. Queen Wilhelmina attended the official opening on 10 July 1905. The Institute’s first Rector </a:t>
            </a:r>
            <a:r>
              <a:rPr lang="en-GB" dirty="0" err="1"/>
              <a:t>Magnificus</a:t>
            </a:r>
            <a:r>
              <a:rPr lang="en-GB" dirty="0"/>
              <a:t> was the professor of hydraulic engineering, </a:t>
            </a:r>
            <a:r>
              <a:rPr lang="en-GB" i="1" dirty="0" err="1"/>
              <a:t>ir</a:t>
            </a:r>
            <a:r>
              <a:rPr lang="en-GB" dirty="0" err="1"/>
              <a:t>.</a:t>
            </a:r>
            <a:r>
              <a:rPr lang="en-GB" dirty="0"/>
              <a:t> J. Kraus. </a:t>
            </a:r>
          </a:p>
          <a:p>
            <a:endParaRPr lang="en-US" b="1" dirty="0">
              <a:cs typeface="+mj-cs"/>
            </a:endParaRPr>
          </a:p>
          <a:p>
            <a:r>
              <a:rPr lang="en-GB" b="1" dirty="0"/>
              <a:t>1986-present: Delft University of Technology</a:t>
            </a:r>
            <a:br>
              <a:rPr lang="en-GB" dirty="0"/>
            </a:br>
            <a:r>
              <a:rPr lang="en-GB" dirty="0"/>
              <a:t>In accordance with a law enacted on 1 September 1986, the Institute officially became Delft University of Technology, abbreviated to TU Delft. </a:t>
            </a:r>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0</a:t>
            </a:fld>
            <a:endParaRPr lang="nl-NL" dirty="0"/>
          </a:p>
        </p:txBody>
      </p:sp>
    </p:spTree>
    <p:extLst>
      <p:ext uri="{BB962C8B-B14F-4D97-AF65-F5344CB8AC3E}">
        <p14:creationId xmlns:p14="http://schemas.microsoft.com/office/powerpoint/2010/main" val="177401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cs typeface="+mj-cs"/>
              </a:rPr>
              <a:t>Strategy</a:t>
            </a:r>
            <a:r>
              <a:rPr lang="en-GB" dirty="0"/>
              <a:t> </a:t>
            </a:r>
            <a:r>
              <a:rPr lang="en-GB" b="1" dirty="0">
                <a:hlinkClick r:id="rId3"/>
              </a:rPr>
              <a:t>https://www.tudelft.nl/en/about-tu-delft/strategy</a:t>
            </a:r>
            <a:r>
              <a:rPr lang="en-GB" b="1" dirty="0"/>
              <a:t> </a:t>
            </a:r>
          </a:p>
          <a:p>
            <a:endParaRPr lang="en-US" dirty="0"/>
          </a:p>
          <a:p>
            <a:endParaRPr lang="en-US"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2</a:t>
            </a:fld>
            <a:endParaRPr lang="nl-NL" dirty="0"/>
          </a:p>
        </p:txBody>
      </p:sp>
    </p:spTree>
    <p:extLst>
      <p:ext uri="{BB962C8B-B14F-4D97-AF65-F5344CB8AC3E}">
        <p14:creationId xmlns:p14="http://schemas.microsoft.com/office/powerpoint/2010/main" val="3479347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cs typeface="+mj-cs"/>
              </a:rPr>
              <a:t>Strategy</a:t>
            </a:r>
            <a:r>
              <a:rPr lang="en-GB" b="1" dirty="0"/>
              <a:t> </a:t>
            </a:r>
            <a:r>
              <a:rPr lang="en-GB" b="1" dirty="0">
                <a:hlinkClick r:id="rId3"/>
              </a:rPr>
              <a:t>https://www.tudelft.nl/en/about-tu-delft/strategy</a:t>
            </a:r>
            <a:r>
              <a:rPr lang="en-GB" b="1" dirty="0"/>
              <a:t> </a:t>
            </a:r>
          </a:p>
          <a:p>
            <a:endParaRPr lang="en-US" dirty="0"/>
          </a:p>
          <a:p>
            <a:endParaRPr lang="en-US"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3</a:t>
            </a:fld>
            <a:endParaRPr lang="nl-NL" dirty="0"/>
          </a:p>
        </p:txBody>
      </p:sp>
    </p:spTree>
    <p:extLst>
      <p:ext uri="{BB962C8B-B14F-4D97-AF65-F5344CB8AC3E}">
        <p14:creationId xmlns:p14="http://schemas.microsoft.com/office/powerpoint/2010/main" val="736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cs typeface="+mj-cs"/>
              </a:rPr>
              <a:t>Strategy</a:t>
            </a:r>
            <a:r>
              <a:rPr lang="en-GB" dirty="0"/>
              <a:t> </a:t>
            </a:r>
            <a:r>
              <a:rPr lang="en-GB" b="1" dirty="0">
                <a:hlinkClick r:id="rId3"/>
              </a:rPr>
              <a:t>https://www.tudelft.nl/en/about-tu-delft/strategy</a:t>
            </a:r>
            <a:r>
              <a:rPr lang="en-GB" b="1" dirty="0"/>
              <a:t> </a:t>
            </a:r>
          </a:p>
          <a:p>
            <a:endParaRPr lang="en-US" dirty="0"/>
          </a:p>
          <a:p>
            <a:endParaRPr lang="en-US"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4</a:t>
            </a:fld>
            <a:endParaRPr lang="nl-NL" dirty="0"/>
          </a:p>
        </p:txBody>
      </p:sp>
    </p:spTree>
    <p:extLst>
      <p:ext uri="{BB962C8B-B14F-4D97-AF65-F5344CB8AC3E}">
        <p14:creationId xmlns:p14="http://schemas.microsoft.com/office/powerpoint/2010/main" val="3998860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General slide </a:t>
            </a:r>
            <a:r>
              <a:rPr lang="nl-NL" dirty="0" err="1"/>
              <a:t>about</a:t>
            </a:r>
            <a:r>
              <a:rPr lang="nl-NL" dirty="0"/>
              <a:t> the 4 </a:t>
            </a:r>
            <a:r>
              <a:rPr lang="nl-NL" dirty="0" err="1"/>
              <a:t>themes</a:t>
            </a:r>
            <a:r>
              <a:rPr lang="nl-NL" dirty="0"/>
              <a:t>. The </a:t>
            </a:r>
            <a:r>
              <a:rPr lang="nl-NL" dirty="0" err="1"/>
              <a:t>following</a:t>
            </a:r>
            <a:r>
              <a:rPr lang="nl-NL" dirty="0"/>
              <a:t> slides </a:t>
            </a:r>
            <a:r>
              <a:rPr lang="nl-NL" dirty="0" err="1"/>
              <a:t>can</a:t>
            </a:r>
            <a:r>
              <a:rPr lang="nl-NL" dirty="0"/>
              <a:t> </a:t>
            </a:r>
            <a:r>
              <a:rPr lang="nl-NL" dirty="0" err="1"/>
              <a:t>be</a:t>
            </a:r>
            <a:r>
              <a:rPr lang="nl-NL" dirty="0"/>
              <a:t> “</a:t>
            </a:r>
            <a:r>
              <a:rPr lang="nl-NL" dirty="0" err="1"/>
              <a:t>unhidden</a:t>
            </a:r>
            <a:r>
              <a:rPr lang="nl-NL" dirty="0"/>
              <a:t>” </a:t>
            </a:r>
            <a:r>
              <a:rPr lang="nl-NL" dirty="0" err="1"/>
              <a:t>to</a:t>
            </a:r>
            <a:r>
              <a:rPr lang="nl-NL" dirty="0"/>
              <a:t> </a:t>
            </a:r>
            <a:r>
              <a:rPr lang="nl-NL" dirty="0" err="1"/>
              <a:t>elaborate</a:t>
            </a:r>
            <a:r>
              <a:rPr lang="nl-NL" dirty="0"/>
              <a:t> on </a:t>
            </a:r>
            <a:r>
              <a:rPr lang="nl-NL" dirty="0" err="1"/>
              <a:t>themes</a:t>
            </a:r>
            <a:r>
              <a:rPr lang="nl-NL" dirty="0"/>
              <a:t> </a:t>
            </a:r>
            <a:r>
              <a:rPr lang="nl-NL" dirty="0" err="1"/>
              <a:t>if</a:t>
            </a:r>
            <a:r>
              <a:rPr lang="nl-NL" dirty="0"/>
              <a:t> </a:t>
            </a:r>
            <a:r>
              <a:rPr lang="nl-NL" dirty="0" err="1"/>
              <a:t>needed</a:t>
            </a:r>
            <a:r>
              <a:rPr lang="nl-NL" dirty="0"/>
              <a:t>. </a:t>
            </a:r>
          </a:p>
        </p:txBody>
      </p:sp>
      <p:sp>
        <p:nvSpPr>
          <p:cNvPr id="4" name="Slide Number Placeholder 3"/>
          <p:cNvSpPr>
            <a:spLocks noGrp="1"/>
          </p:cNvSpPr>
          <p:nvPr>
            <p:ph type="sldNum" sz="quarter" idx="5"/>
          </p:nvPr>
        </p:nvSpPr>
        <p:spPr/>
        <p:txBody>
          <a:bodyPr/>
          <a:lstStyle/>
          <a:p>
            <a:fld id="{48C176B4-2F3E-4542-A88B-B482618D0CAA}" type="slidenum">
              <a:rPr lang="nl-NL" smtClean="0"/>
              <a:t>15</a:t>
            </a:fld>
            <a:endParaRPr lang="nl-NL" dirty="0"/>
          </a:p>
        </p:txBody>
      </p:sp>
    </p:spTree>
    <p:extLst>
      <p:ext uri="{BB962C8B-B14F-4D97-AF65-F5344CB8AC3E}">
        <p14:creationId xmlns:p14="http://schemas.microsoft.com/office/powerpoint/2010/main" val="3125518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1100" dirty="0">
                <a:effectLst/>
                <a:latin typeface="Calibri" panose="020F0502020204030204" pitchFamily="34" charset="0"/>
                <a:ea typeface="Calibri" panose="020F0502020204030204" pitchFamily="34" charset="0"/>
              </a:rPr>
              <a:t>Kijk voor updates op: </a:t>
            </a:r>
            <a:r>
              <a:rPr lang="nl-NL" sz="1200"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200" dirty="0">
                <a:effectLst/>
                <a:latin typeface="Calibri" panose="020F0502020204030204" pitchFamily="34" charset="0"/>
                <a:ea typeface="Calibri" panose="020F0502020204030204" pitchFamily="34" charset="0"/>
              </a:rPr>
              <a:t> en Engelse: </a:t>
            </a:r>
            <a:r>
              <a:rPr lang="nl-NL" sz="1200"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6</a:t>
            </a:fld>
            <a:endParaRPr lang="nl-NL" dirty="0"/>
          </a:p>
        </p:txBody>
      </p:sp>
    </p:spTree>
    <p:extLst>
      <p:ext uri="{BB962C8B-B14F-4D97-AF65-F5344CB8AC3E}">
        <p14:creationId xmlns:p14="http://schemas.microsoft.com/office/powerpoint/2010/main" val="86866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100" dirty="0">
                <a:effectLst/>
                <a:latin typeface="Calibri" panose="020F0502020204030204" pitchFamily="34" charset="0"/>
                <a:ea typeface="Calibri" panose="020F0502020204030204" pitchFamily="34" charset="0"/>
              </a:rPr>
              <a:t>Kijk voor updates op: </a:t>
            </a:r>
            <a:r>
              <a:rPr lang="nl-NL" sz="1200"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200" dirty="0">
                <a:effectLst/>
                <a:latin typeface="Calibri" panose="020F0502020204030204" pitchFamily="34" charset="0"/>
                <a:ea typeface="Calibri" panose="020F0502020204030204" pitchFamily="34" charset="0"/>
              </a:rPr>
              <a:t> en Engelse: </a:t>
            </a:r>
            <a:r>
              <a:rPr lang="nl-NL" sz="1200"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7</a:t>
            </a:fld>
            <a:endParaRPr lang="nl-NL" dirty="0"/>
          </a:p>
        </p:txBody>
      </p:sp>
    </p:spTree>
    <p:extLst>
      <p:ext uri="{BB962C8B-B14F-4D97-AF65-F5344CB8AC3E}">
        <p14:creationId xmlns:p14="http://schemas.microsoft.com/office/powerpoint/2010/main" val="2495537557"/>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symbol #1">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6">
            <a:extLst>
              <a:ext uri="{FF2B5EF4-FFF2-40B4-BE49-F238E27FC236}">
                <a16:creationId xmlns:a16="http://schemas.microsoft.com/office/drawing/2014/main" id="{6D182834-E7E0-D622-3F33-B190F3F69BD3}"/>
              </a:ext>
            </a:extLst>
          </p:cNvPr>
          <p:cNvSpPr>
            <a:spLocks noGrp="1"/>
          </p:cNvSpPr>
          <p:nvPr>
            <p:ph type="pic" sz="quarter" idx="17" hasCustomPrompt="1"/>
          </p:nvPr>
        </p:nvSpPr>
        <p:spPr>
          <a:xfrm>
            <a:off x="-3175" y="-1"/>
            <a:ext cx="12195175" cy="7356356"/>
          </a:xfrm>
          <a:custGeom>
            <a:avLst/>
            <a:gdLst>
              <a:gd name="connsiteX0" fmla="*/ 193675 w 12195175"/>
              <a:gd name="connsiteY0" fmla="*/ 0 h 7356356"/>
              <a:gd name="connsiteX1" fmla="*/ 12195175 w 12195175"/>
              <a:gd name="connsiteY1" fmla="*/ 0 h 7356356"/>
              <a:gd name="connsiteX2" fmla="*/ 12195175 w 12195175"/>
              <a:gd name="connsiteY2" fmla="*/ 6858214 h 7356356"/>
              <a:gd name="connsiteX3" fmla="*/ 11782485 w 12195175"/>
              <a:gd name="connsiteY3" fmla="*/ 6858675 h 7356356"/>
              <a:gd name="connsiteX4" fmla="*/ 11737228 w 12195175"/>
              <a:gd name="connsiteY4" fmla="*/ 6867812 h 7356356"/>
              <a:gd name="connsiteX5" fmla="*/ 11666207 w 12195175"/>
              <a:gd name="connsiteY5" fmla="*/ 6974957 h 7356356"/>
              <a:gd name="connsiteX6" fmla="*/ 11666207 w 12195175"/>
              <a:gd name="connsiteY6" fmla="*/ 7240072 h 7356356"/>
              <a:gd name="connsiteX7" fmla="*/ 11664677 w 12195175"/>
              <a:gd name="connsiteY7" fmla="*/ 7240750 h 7356356"/>
              <a:gd name="connsiteX8" fmla="*/ 11655812 w 12195175"/>
              <a:gd name="connsiteY8" fmla="*/ 7284661 h 7356356"/>
              <a:gd name="connsiteX9" fmla="*/ 11548667 w 12195175"/>
              <a:gd name="connsiteY9" fmla="*/ 7355682 h 7356356"/>
              <a:gd name="connsiteX10" fmla="*/ 11219748 w 12195175"/>
              <a:gd name="connsiteY10" fmla="*/ 7355682 h 7356356"/>
              <a:gd name="connsiteX11" fmla="*/ 11219743 w 12195175"/>
              <a:gd name="connsiteY11" fmla="*/ 7355683 h 7356356"/>
              <a:gd name="connsiteX12" fmla="*/ 11219719 w 12195175"/>
              <a:gd name="connsiteY12" fmla="*/ 7355682 h 7356356"/>
              <a:gd name="connsiteX13" fmla="*/ 11048924 w 12195175"/>
              <a:gd name="connsiteY13" fmla="*/ 7355682 h 7356356"/>
              <a:gd name="connsiteX14" fmla="*/ 11032338 w 12195175"/>
              <a:gd name="connsiteY14" fmla="*/ 7356356 h 7356356"/>
              <a:gd name="connsiteX15" fmla="*/ 11029000 w 12195175"/>
              <a:gd name="connsiteY15" fmla="*/ 7355682 h 7356356"/>
              <a:gd name="connsiteX16" fmla="*/ 10701233 w 12195175"/>
              <a:gd name="connsiteY16" fmla="*/ 7355682 h 7356356"/>
              <a:gd name="connsiteX17" fmla="*/ 10584950 w 12195175"/>
              <a:gd name="connsiteY17" fmla="*/ 7239399 h 7356356"/>
              <a:gd name="connsiteX18" fmla="*/ 10584950 w 12195175"/>
              <a:gd name="connsiteY18" fmla="*/ 6970497 h 7356356"/>
              <a:gd name="connsiteX19" fmla="*/ 10585318 w 12195175"/>
              <a:gd name="connsiteY19" fmla="*/ 6972463 h 7356356"/>
              <a:gd name="connsiteX20" fmla="*/ 10584950 w 12195175"/>
              <a:gd name="connsiteY20" fmla="*/ 6959996 h 7356356"/>
              <a:gd name="connsiteX21" fmla="*/ 10584950 w 12195175"/>
              <a:gd name="connsiteY21" fmla="*/ 6970497 h 7356356"/>
              <a:gd name="connsiteX22" fmla="*/ 10579238 w 12195175"/>
              <a:gd name="connsiteY22" fmla="*/ 6939973 h 7356356"/>
              <a:gd name="connsiteX23" fmla="*/ 10566015 w 12195175"/>
              <a:gd name="connsiteY23" fmla="*/ 6909269 h 7356356"/>
              <a:gd name="connsiteX24" fmla="*/ 10514853 w 12195175"/>
              <a:gd name="connsiteY24" fmla="*/ 6867139 h 7356356"/>
              <a:gd name="connsiteX25" fmla="*/ 10469596 w 12195175"/>
              <a:gd name="connsiteY25" fmla="*/ 6858002 h 7356356"/>
              <a:gd name="connsiteX26" fmla="*/ 193675 w 12195175"/>
              <a:gd name="connsiteY26" fmla="*/ 6858001 h 7356356"/>
              <a:gd name="connsiteX27" fmla="*/ 0 w 12195175"/>
              <a:gd name="connsiteY27" fmla="*/ 6858001 h 7356356"/>
              <a:gd name="connsiteX28" fmla="*/ 0 w 12195175"/>
              <a:gd name="connsiteY28" fmla="*/ 1 h 7356356"/>
              <a:gd name="connsiteX29" fmla="*/ 193675 w 12195175"/>
              <a:gd name="connsiteY29" fmla="*/ 1 h 735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195175" h="7356356">
                <a:moveTo>
                  <a:pt x="193675" y="0"/>
                </a:moveTo>
                <a:lnTo>
                  <a:pt x="12195175" y="0"/>
                </a:lnTo>
                <a:lnTo>
                  <a:pt x="12195175" y="6858214"/>
                </a:lnTo>
                <a:lnTo>
                  <a:pt x="11782485" y="6858675"/>
                </a:lnTo>
                <a:lnTo>
                  <a:pt x="11737228" y="6867812"/>
                </a:lnTo>
                <a:cubicBezTo>
                  <a:pt x="11695492" y="6885465"/>
                  <a:pt x="11666207" y="6926791"/>
                  <a:pt x="11666207" y="6974957"/>
                </a:cubicBezTo>
                <a:lnTo>
                  <a:pt x="11666207" y="7240072"/>
                </a:lnTo>
                <a:lnTo>
                  <a:pt x="11664677" y="7240750"/>
                </a:lnTo>
                <a:lnTo>
                  <a:pt x="11655812" y="7284661"/>
                </a:lnTo>
                <a:cubicBezTo>
                  <a:pt x="11638159" y="7326397"/>
                  <a:pt x="11596833" y="7355682"/>
                  <a:pt x="11548667" y="7355682"/>
                </a:cubicBezTo>
                <a:lnTo>
                  <a:pt x="11219748" y="7355682"/>
                </a:lnTo>
                <a:cubicBezTo>
                  <a:pt x="11219746" y="7355682"/>
                  <a:pt x="11219745" y="7355683"/>
                  <a:pt x="11219743" y="7355683"/>
                </a:cubicBezTo>
                <a:cubicBezTo>
                  <a:pt x="11219735" y="7355683"/>
                  <a:pt x="11219727" y="7355682"/>
                  <a:pt x="11219719" y="7355682"/>
                </a:cubicBezTo>
                <a:lnTo>
                  <a:pt x="11048924" y="7355682"/>
                </a:lnTo>
                <a:lnTo>
                  <a:pt x="11032338" y="7356356"/>
                </a:lnTo>
                <a:lnTo>
                  <a:pt x="11029000" y="7355682"/>
                </a:lnTo>
                <a:lnTo>
                  <a:pt x="10701233" y="7355682"/>
                </a:lnTo>
                <a:cubicBezTo>
                  <a:pt x="10637012" y="7355682"/>
                  <a:pt x="10584950" y="7303620"/>
                  <a:pt x="10584950" y="7239399"/>
                </a:cubicBezTo>
                <a:lnTo>
                  <a:pt x="10584950" y="6970497"/>
                </a:lnTo>
                <a:cubicBezTo>
                  <a:pt x="10585073" y="6971152"/>
                  <a:pt x="10585195" y="6971808"/>
                  <a:pt x="10585318" y="6972463"/>
                </a:cubicBezTo>
                <a:cubicBezTo>
                  <a:pt x="10585195" y="6973070"/>
                  <a:pt x="10585073" y="6959389"/>
                  <a:pt x="10584950" y="6959996"/>
                </a:cubicBezTo>
                <a:lnTo>
                  <a:pt x="10584950" y="6970497"/>
                </a:lnTo>
                <a:lnTo>
                  <a:pt x="10579238" y="6939973"/>
                </a:lnTo>
                <a:cubicBezTo>
                  <a:pt x="10577212" y="6929143"/>
                  <a:pt x="10573995" y="6918611"/>
                  <a:pt x="10566015" y="6909269"/>
                </a:cubicBezTo>
                <a:cubicBezTo>
                  <a:pt x="10553476" y="6890710"/>
                  <a:pt x="10535721" y="6875966"/>
                  <a:pt x="10514853" y="6867139"/>
                </a:cubicBezTo>
                <a:lnTo>
                  <a:pt x="10469596" y="6858002"/>
                </a:lnTo>
                <a:lnTo>
                  <a:pt x="193675" y="6858001"/>
                </a:lnTo>
                <a:lnTo>
                  <a:pt x="0" y="6858001"/>
                </a:lnTo>
                <a:lnTo>
                  <a:pt x="0" y="1"/>
                </a:lnTo>
                <a:lnTo>
                  <a:pt x="193675" y="1"/>
                </a:lnTo>
                <a:close/>
              </a:path>
            </a:pathLst>
          </a:custGeom>
          <a:pattFill prst="pct60">
            <a:fgClr>
              <a:schemeClr val="bg1">
                <a:lumMod val="95000"/>
              </a:schemeClr>
            </a:fgClr>
            <a:bgClr>
              <a:schemeClr val="bg1">
                <a:lumMod val="85000"/>
              </a:schemeClr>
            </a:bgClr>
          </a:pattFill>
        </p:spPr>
        <p:txBody>
          <a:bodyPr wrap="square" tIns="7020000" rIns="1980000" bIns="0" anchor="ctr" anchorCtr="0">
            <a:noAutofit/>
          </a:bodyPr>
          <a:lstStyle>
            <a:lvl1pPr marL="0" indent="0" algn="r">
              <a:lnSpc>
                <a:spcPct val="100000"/>
              </a:lnSpc>
              <a:spcBef>
                <a:spcPts val="0"/>
              </a:spcBef>
              <a:buNone/>
              <a:defRPr sz="1200" i="0">
                <a:solidFill>
                  <a:schemeClr val="bg1">
                    <a:lumMod val="95000"/>
                  </a:schemeClr>
                </a:solidFill>
              </a:defRPr>
            </a:lvl1pPr>
          </a:lstStyle>
          <a:p>
            <a:r>
              <a:rPr lang="en-GB"/>
              <a:t> </a:t>
            </a:r>
            <a:endParaRPr lang="en-GB"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2451633"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Title slide + symbol #1</a:t>
            </a:r>
          </a:p>
        </p:txBody>
      </p:sp>
      <p:sp>
        <p:nvSpPr>
          <p:cNvPr id="20" name="Tijdelijke aanduiding voor tekst 19">
            <a:extLst>
              <a:ext uri="{FF2B5EF4-FFF2-40B4-BE49-F238E27FC236}">
                <a16:creationId xmlns:a16="http://schemas.microsoft.com/office/drawing/2014/main" id="{0514EAD4-F3E3-E0C2-1434-92FAD7E6BE74}"/>
              </a:ext>
            </a:extLst>
          </p:cNvPr>
          <p:cNvSpPr>
            <a:spLocks noGrp="1"/>
          </p:cNvSpPr>
          <p:nvPr>
            <p:ph type="body" sz="quarter" idx="15" hasCustomPrompt="1"/>
          </p:nvPr>
        </p:nvSpPr>
        <p:spPr>
          <a:xfrm>
            <a:off x="0" y="0"/>
            <a:ext cx="12190413" cy="6857999"/>
          </a:xfrm>
          <a:prstGeom prst="rect">
            <a:avLst/>
          </a:prstGeom>
          <a:gradFill flip="none" rotWithShape="1">
            <a:gsLst>
              <a:gs pos="0">
                <a:schemeClr val="tx1">
                  <a:alpha val="55000"/>
                </a:schemeClr>
              </a:gs>
              <a:gs pos="76000">
                <a:schemeClr val="tx1">
                  <a:alpha val="0"/>
                </a:schemeClr>
              </a:gs>
            </a:gsLst>
            <a:lin ang="13500000" scaled="1"/>
            <a:tileRect/>
          </a:gradFill>
        </p:spPr>
        <p:txBody>
          <a:bodyPr wrap="square">
            <a:noAutofit/>
          </a:bodyPr>
          <a:lstStyle>
            <a:lvl1pPr marL="0" indent="0">
              <a:buNone/>
              <a:defRPr sz="100">
                <a:solidFill>
                  <a:schemeClr val="tx2">
                    <a:alpha val="0"/>
                  </a:schemeClr>
                </a:solidFill>
              </a:defRPr>
            </a:lvl1pPr>
          </a:lstStyle>
          <a:p>
            <a:pPr lvl="0"/>
            <a:r>
              <a:rPr lang="en-GB" dirty="0"/>
              <a:t> </a:t>
            </a:r>
          </a:p>
        </p:txBody>
      </p:sp>
      <p:sp>
        <p:nvSpPr>
          <p:cNvPr id="21" name="Tijdelijke aanduiding voor tekst 20">
            <a:extLst>
              <a:ext uri="{FF2B5EF4-FFF2-40B4-BE49-F238E27FC236}">
                <a16:creationId xmlns:a16="http://schemas.microsoft.com/office/drawing/2014/main" id="{04F4E0D4-E8D4-F1A4-0156-3EE5C69F266E}"/>
              </a:ext>
            </a:extLst>
          </p:cNvPr>
          <p:cNvSpPr>
            <a:spLocks noGrp="1"/>
          </p:cNvSpPr>
          <p:nvPr>
            <p:ph type="body" sz="quarter" idx="16" hasCustomPrompt="1"/>
          </p:nvPr>
        </p:nvSpPr>
        <p:spPr>
          <a:xfrm>
            <a:off x="0" y="1"/>
            <a:ext cx="12190413" cy="2810638"/>
          </a:xfrm>
          <a:prstGeom prst="rect">
            <a:avLst/>
          </a:prstGeom>
          <a:gradFill flip="none" rotWithShape="1">
            <a:gsLst>
              <a:gs pos="0">
                <a:schemeClr val="tx1">
                  <a:alpha val="32000"/>
                </a:schemeClr>
              </a:gs>
              <a:gs pos="45000">
                <a:schemeClr val="tx1">
                  <a:alpha val="0"/>
                </a:schemeClr>
              </a:gs>
            </a:gsLst>
            <a:lin ang="2700000" scaled="1"/>
            <a:tileRect/>
          </a:gradFill>
        </p:spPr>
        <p:txBody>
          <a:bodyPr wrap="square">
            <a:noAutofit/>
          </a:bodyPr>
          <a:lstStyle>
            <a:lvl1pPr marL="0" indent="0">
              <a:buNone/>
              <a:defRPr sz="100">
                <a:solidFill>
                  <a:schemeClr val="tx2">
                    <a:alpha val="0"/>
                  </a:schemeClr>
                </a:solidFill>
              </a:defRPr>
            </a:lvl1pPr>
          </a:lstStyle>
          <a:p>
            <a:pPr lvl="0"/>
            <a:r>
              <a:rPr lang="en-GB" dirty="0"/>
              <a:t> </a:t>
            </a:r>
          </a:p>
        </p:txBody>
      </p:sp>
      <p:sp>
        <p:nvSpPr>
          <p:cNvPr id="5" name="Tijdelijke aanduiding voor tekst 4">
            <a:extLst>
              <a:ext uri="{FF2B5EF4-FFF2-40B4-BE49-F238E27FC236}">
                <a16:creationId xmlns:a16="http://schemas.microsoft.com/office/drawing/2014/main" id="{FFFA99C8-183A-E43C-368E-ACECB9802CE0}"/>
              </a:ext>
            </a:extLst>
          </p:cNvPr>
          <p:cNvSpPr>
            <a:spLocks noGrp="1" noRot="1" noMove="1" noResize="1" noEditPoints="1" noAdjustHandles="1" noChangeArrowheads="1" noChangeShapeType="1"/>
          </p:cNvSpPr>
          <p:nvPr>
            <p:ph type="body" sz="quarter" idx="14" hasCustomPrompt="1"/>
          </p:nvPr>
        </p:nvSpPr>
        <p:spPr>
          <a:xfrm>
            <a:off x="721115" y="437496"/>
            <a:ext cx="1530269" cy="594428"/>
          </a:xfrm>
          <a:custGeom>
            <a:avLst/>
            <a:gdLst>
              <a:gd name="connsiteX0" fmla="*/ 1037471 w 1530269"/>
              <a:gd name="connsiteY0" fmla="*/ 403429 h 594428"/>
              <a:gd name="connsiteX1" fmla="*/ 985222 w 1530269"/>
              <a:gd name="connsiteY1" fmla="*/ 465090 h 594428"/>
              <a:gd name="connsiteX2" fmla="*/ 1089721 w 1530269"/>
              <a:gd name="connsiteY2" fmla="*/ 465090 h 594428"/>
              <a:gd name="connsiteX3" fmla="*/ 1037471 w 1530269"/>
              <a:gd name="connsiteY3" fmla="*/ 403429 h 594428"/>
              <a:gd name="connsiteX4" fmla="*/ 1039163 w 1530269"/>
              <a:gd name="connsiteY4" fmla="*/ 375982 h 594428"/>
              <a:gd name="connsiteX5" fmla="*/ 1129941 w 1530269"/>
              <a:gd name="connsiteY5" fmla="*/ 472985 h 594428"/>
              <a:gd name="connsiteX6" fmla="*/ 1129941 w 1530269"/>
              <a:gd name="connsiteY6" fmla="*/ 491409 h 594428"/>
              <a:gd name="connsiteX7" fmla="*/ 1129941 w 1530269"/>
              <a:gd name="connsiteY7" fmla="*/ 492913 h 594428"/>
              <a:gd name="connsiteX8" fmla="*/ 983718 w 1530269"/>
              <a:gd name="connsiteY8" fmla="*/ 492913 h 594428"/>
              <a:gd name="connsiteX9" fmla="*/ 1035967 w 1530269"/>
              <a:gd name="connsiteY9" fmla="*/ 565289 h 594428"/>
              <a:gd name="connsiteX10" fmla="*/ 1085210 w 1530269"/>
              <a:gd name="connsiteY10" fmla="*/ 523744 h 594428"/>
              <a:gd name="connsiteX11" fmla="*/ 1126746 w 1530269"/>
              <a:gd name="connsiteY11" fmla="*/ 523744 h 594428"/>
              <a:gd name="connsiteX12" fmla="*/ 1035967 w 1530269"/>
              <a:gd name="connsiteY12" fmla="*/ 593112 h 594428"/>
              <a:gd name="connsiteX13" fmla="*/ 943685 w 1530269"/>
              <a:gd name="connsiteY13" fmla="*/ 486897 h 594428"/>
              <a:gd name="connsiteX14" fmla="*/ 1039163 w 1530269"/>
              <a:gd name="connsiteY14" fmla="*/ 375982 h 594428"/>
              <a:gd name="connsiteX15" fmla="*/ 1482530 w 1530269"/>
              <a:gd name="connsiteY15" fmla="*/ 328232 h 594428"/>
              <a:gd name="connsiteX16" fmla="*/ 1482530 w 1530269"/>
              <a:gd name="connsiteY16" fmla="*/ 383690 h 594428"/>
              <a:gd name="connsiteX17" fmla="*/ 1530269 w 1530269"/>
              <a:gd name="connsiteY17" fmla="*/ 383690 h 594428"/>
              <a:gd name="connsiteX18" fmla="*/ 1530269 w 1530269"/>
              <a:gd name="connsiteY18" fmla="*/ 411324 h 594428"/>
              <a:gd name="connsiteX19" fmla="*/ 1482530 w 1530269"/>
              <a:gd name="connsiteY19" fmla="*/ 411324 h 594428"/>
              <a:gd name="connsiteX20" fmla="*/ 1482530 w 1530269"/>
              <a:gd name="connsiteY20" fmla="*/ 543482 h 594428"/>
              <a:gd name="connsiteX21" fmla="*/ 1507152 w 1530269"/>
              <a:gd name="connsiteY21" fmla="*/ 565101 h 594428"/>
              <a:gd name="connsiteX22" fmla="*/ 1527074 w 1530269"/>
              <a:gd name="connsiteY22" fmla="*/ 562093 h 594428"/>
              <a:gd name="connsiteX23" fmla="*/ 1527074 w 1530269"/>
              <a:gd name="connsiteY23" fmla="*/ 591420 h 594428"/>
              <a:gd name="connsiteX24" fmla="*/ 1500950 w 1530269"/>
              <a:gd name="connsiteY24" fmla="*/ 594428 h 594428"/>
              <a:gd name="connsiteX25" fmla="*/ 1442497 w 1530269"/>
              <a:gd name="connsiteY25" fmla="*/ 540475 h 594428"/>
              <a:gd name="connsiteX26" fmla="*/ 1442497 w 1530269"/>
              <a:gd name="connsiteY26" fmla="*/ 409632 h 594428"/>
              <a:gd name="connsiteX27" fmla="*/ 1407163 w 1530269"/>
              <a:gd name="connsiteY27" fmla="*/ 409632 h 594428"/>
              <a:gd name="connsiteX28" fmla="*/ 1407163 w 1530269"/>
              <a:gd name="connsiteY28" fmla="*/ 381997 h 594428"/>
              <a:gd name="connsiteX29" fmla="*/ 1444001 w 1530269"/>
              <a:gd name="connsiteY29" fmla="*/ 383690 h 594428"/>
              <a:gd name="connsiteX30" fmla="*/ 1444001 w 1530269"/>
              <a:gd name="connsiteY30" fmla="*/ 340639 h 594428"/>
              <a:gd name="connsiteX31" fmla="*/ 708187 w 1530269"/>
              <a:gd name="connsiteY31" fmla="*/ 326540 h 594428"/>
              <a:gd name="connsiteX32" fmla="*/ 708187 w 1530269"/>
              <a:gd name="connsiteY32" fmla="*/ 551378 h 594428"/>
              <a:gd name="connsiteX33" fmla="*/ 768142 w 1530269"/>
              <a:gd name="connsiteY33" fmla="*/ 551378 h 594428"/>
              <a:gd name="connsiteX34" fmla="*/ 865122 w 1530269"/>
              <a:gd name="connsiteY34" fmla="*/ 438959 h 594428"/>
              <a:gd name="connsiteX35" fmla="*/ 768142 w 1530269"/>
              <a:gd name="connsiteY35" fmla="*/ 326540 h 594428"/>
              <a:gd name="connsiteX36" fmla="*/ 1176176 w 1530269"/>
              <a:gd name="connsiteY36" fmla="*/ 292702 h 594428"/>
              <a:gd name="connsiteX37" fmla="*/ 1214705 w 1530269"/>
              <a:gd name="connsiteY37" fmla="*/ 292702 h 594428"/>
              <a:gd name="connsiteX38" fmla="*/ 1214705 w 1530269"/>
              <a:gd name="connsiteY38" fmla="*/ 586720 h 594428"/>
              <a:gd name="connsiteX39" fmla="*/ 1176176 w 1530269"/>
              <a:gd name="connsiteY39" fmla="*/ 586720 h 594428"/>
              <a:gd name="connsiteX40" fmla="*/ 0 w 1530269"/>
              <a:gd name="connsiteY40" fmla="*/ 292702 h 594428"/>
              <a:gd name="connsiteX41" fmla="*/ 264818 w 1530269"/>
              <a:gd name="connsiteY41" fmla="*/ 292702 h 594428"/>
              <a:gd name="connsiteX42" fmla="*/ 264818 w 1530269"/>
              <a:gd name="connsiteY42" fmla="*/ 349663 h 594428"/>
              <a:gd name="connsiteX43" fmla="*/ 174039 w 1530269"/>
              <a:gd name="connsiteY43" fmla="*/ 349663 h 594428"/>
              <a:gd name="connsiteX44" fmla="*/ 174039 w 1530269"/>
              <a:gd name="connsiteY44" fmla="*/ 586908 h 594428"/>
              <a:gd name="connsiteX45" fmla="*/ 92471 w 1530269"/>
              <a:gd name="connsiteY45" fmla="*/ 586908 h 594428"/>
              <a:gd name="connsiteX46" fmla="*/ 92471 w 1530269"/>
              <a:gd name="connsiteY46" fmla="*/ 349663 h 594428"/>
              <a:gd name="connsiteX47" fmla="*/ 0 w 1530269"/>
              <a:gd name="connsiteY47" fmla="*/ 349663 h 594428"/>
              <a:gd name="connsiteX48" fmla="*/ 503323 w 1530269"/>
              <a:gd name="connsiteY48" fmla="*/ 292514 h 594428"/>
              <a:gd name="connsiteX49" fmla="*/ 584893 w 1530269"/>
              <a:gd name="connsiteY49" fmla="*/ 292514 h 594428"/>
              <a:gd name="connsiteX50" fmla="*/ 584893 w 1530269"/>
              <a:gd name="connsiteY50" fmla="*/ 479001 h 594428"/>
              <a:gd name="connsiteX51" fmla="*/ 444872 w 1530269"/>
              <a:gd name="connsiteY51" fmla="*/ 592924 h 594428"/>
              <a:gd name="connsiteX52" fmla="*/ 304851 w 1530269"/>
              <a:gd name="connsiteY52" fmla="*/ 479001 h 594428"/>
              <a:gd name="connsiteX53" fmla="*/ 304851 w 1530269"/>
              <a:gd name="connsiteY53" fmla="*/ 292702 h 594428"/>
              <a:gd name="connsiteX54" fmla="*/ 386421 w 1530269"/>
              <a:gd name="connsiteY54" fmla="*/ 292702 h 594428"/>
              <a:gd name="connsiteX55" fmla="*/ 386421 w 1530269"/>
              <a:gd name="connsiteY55" fmla="*/ 474490 h 594428"/>
              <a:gd name="connsiteX56" fmla="*/ 444872 w 1530269"/>
              <a:gd name="connsiteY56" fmla="*/ 535963 h 594428"/>
              <a:gd name="connsiteX57" fmla="*/ 503323 w 1530269"/>
              <a:gd name="connsiteY57" fmla="*/ 474301 h 594428"/>
              <a:gd name="connsiteX58" fmla="*/ 666650 w 1530269"/>
              <a:gd name="connsiteY58" fmla="*/ 291386 h 594428"/>
              <a:gd name="connsiteX59" fmla="*/ 768329 w 1530269"/>
              <a:gd name="connsiteY59" fmla="*/ 291386 h 594428"/>
              <a:gd name="connsiteX60" fmla="*/ 906847 w 1530269"/>
              <a:gd name="connsiteY60" fmla="*/ 439148 h 594428"/>
              <a:gd name="connsiteX61" fmla="*/ 768329 w 1530269"/>
              <a:gd name="connsiteY61" fmla="*/ 586908 h 594428"/>
              <a:gd name="connsiteX62" fmla="*/ 666650 w 1530269"/>
              <a:gd name="connsiteY62" fmla="*/ 586908 h 594428"/>
              <a:gd name="connsiteX63" fmla="*/ 1363936 w 1530269"/>
              <a:gd name="connsiteY63" fmla="*/ 285183 h 594428"/>
              <a:gd name="connsiteX64" fmla="*/ 1391564 w 1530269"/>
              <a:gd name="connsiteY64" fmla="*/ 289883 h 594428"/>
              <a:gd name="connsiteX65" fmla="*/ 1391564 w 1530269"/>
              <a:gd name="connsiteY65" fmla="*/ 322218 h 594428"/>
              <a:gd name="connsiteX66" fmla="*/ 1371642 w 1530269"/>
              <a:gd name="connsiteY66" fmla="*/ 320714 h 594428"/>
              <a:gd name="connsiteX67" fmla="*/ 1337811 w 1530269"/>
              <a:gd name="connsiteY67" fmla="*/ 348349 h 594428"/>
              <a:gd name="connsiteX68" fmla="*/ 1337811 w 1530269"/>
              <a:gd name="connsiteY68" fmla="*/ 380682 h 594428"/>
              <a:gd name="connsiteX69" fmla="*/ 1385550 w 1530269"/>
              <a:gd name="connsiteY69" fmla="*/ 380682 h 594428"/>
              <a:gd name="connsiteX70" fmla="*/ 1385550 w 1530269"/>
              <a:gd name="connsiteY70" fmla="*/ 408318 h 594428"/>
              <a:gd name="connsiteX71" fmla="*/ 1337811 w 1530269"/>
              <a:gd name="connsiteY71" fmla="*/ 408318 h 594428"/>
              <a:gd name="connsiteX72" fmla="*/ 1337811 w 1530269"/>
              <a:gd name="connsiteY72" fmla="*/ 586909 h 594428"/>
              <a:gd name="connsiteX73" fmla="*/ 1299282 w 1530269"/>
              <a:gd name="connsiteY73" fmla="*/ 586909 h 594428"/>
              <a:gd name="connsiteX74" fmla="*/ 1299282 w 1530269"/>
              <a:gd name="connsiteY74" fmla="*/ 408318 h 594428"/>
              <a:gd name="connsiteX75" fmla="*/ 1259249 w 1530269"/>
              <a:gd name="connsiteY75" fmla="*/ 408318 h 594428"/>
              <a:gd name="connsiteX76" fmla="*/ 1259249 w 1530269"/>
              <a:gd name="connsiteY76" fmla="*/ 380682 h 594428"/>
              <a:gd name="connsiteX77" fmla="*/ 1299282 w 1530269"/>
              <a:gd name="connsiteY77" fmla="*/ 380682 h 594428"/>
              <a:gd name="connsiteX78" fmla="*/ 1299282 w 1530269"/>
              <a:gd name="connsiteY78" fmla="*/ 342144 h 594428"/>
              <a:gd name="connsiteX79" fmla="*/ 1363936 w 1530269"/>
              <a:gd name="connsiteY79" fmla="*/ 285183 h 594428"/>
              <a:gd name="connsiteX80" fmla="*/ 357289 w 1530269"/>
              <a:gd name="connsiteY80" fmla="*/ 0 h 594428"/>
              <a:gd name="connsiteX81" fmla="*/ 357289 w 1530269"/>
              <a:gd name="connsiteY81" fmla="*/ 15415 h 594428"/>
              <a:gd name="connsiteX82" fmla="*/ 247902 w 1530269"/>
              <a:gd name="connsiteY82" fmla="*/ 124826 h 594428"/>
              <a:gd name="connsiteX83" fmla="*/ 287935 w 1530269"/>
              <a:gd name="connsiteY83" fmla="*/ 149452 h 594428"/>
              <a:gd name="connsiteX84" fmla="*/ 318947 w 1530269"/>
              <a:gd name="connsiteY84" fmla="*/ 131030 h 594428"/>
              <a:gd name="connsiteX85" fmla="*/ 326653 w 1530269"/>
              <a:gd name="connsiteY85" fmla="*/ 126330 h 594428"/>
              <a:gd name="connsiteX86" fmla="*/ 326653 w 1530269"/>
              <a:gd name="connsiteY86" fmla="*/ 135541 h 594428"/>
              <a:gd name="connsiteX87" fmla="*/ 184940 w 1530269"/>
              <a:gd name="connsiteY87" fmla="*/ 274091 h 594428"/>
              <a:gd name="connsiteX88" fmla="*/ 174227 w 1530269"/>
              <a:gd name="connsiteY88" fmla="*/ 274091 h 594428"/>
              <a:gd name="connsiteX89" fmla="*/ 194150 w 1530269"/>
              <a:gd name="connsiteY89" fmla="*/ 261684 h 594428"/>
              <a:gd name="connsiteX90" fmla="*/ 234183 w 1530269"/>
              <a:gd name="connsiteY90" fmla="*/ 186299 h 594428"/>
              <a:gd name="connsiteX91" fmla="*/ 234183 w 1530269"/>
              <a:gd name="connsiteY91" fmla="*/ 173892 h 594428"/>
              <a:gd name="connsiteX92" fmla="*/ 227980 w 1530269"/>
              <a:gd name="connsiteY92" fmla="*/ 181600 h 594428"/>
              <a:gd name="connsiteX93" fmla="*/ 168025 w 1530269"/>
              <a:gd name="connsiteY93" fmla="*/ 194007 h 594428"/>
              <a:gd name="connsiteX94" fmla="*/ 200352 w 1530269"/>
              <a:gd name="connsiteY94" fmla="*/ 116930 h 594428"/>
              <a:gd name="connsiteX95" fmla="*/ 200352 w 1530269"/>
              <a:gd name="connsiteY95" fmla="*/ 109222 h 594428"/>
              <a:gd name="connsiteX96" fmla="*/ 191142 w 1530269"/>
              <a:gd name="connsiteY96" fmla="*/ 116930 h 594428"/>
              <a:gd name="connsiteX97" fmla="*/ 95665 w 1530269"/>
              <a:gd name="connsiteY97" fmla="*/ 235553 h 594428"/>
              <a:gd name="connsiteX98" fmla="*/ 92658 w 1530269"/>
              <a:gd name="connsiteY98" fmla="*/ 257172 h 594428"/>
              <a:gd name="connsiteX99" fmla="*/ 84952 w 1530269"/>
              <a:gd name="connsiteY99" fmla="*/ 235553 h 594428"/>
              <a:gd name="connsiteX100" fmla="*/ 192646 w 1530269"/>
              <a:gd name="connsiteY100" fmla="*/ 72376 h 594428"/>
              <a:gd name="connsiteX101" fmla="*/ 349583 w 1530269"/>
              <a:gd name="connsiteY101" fmla="*/ 10716 h 594428"/>
              <a:gd name="connsiteX102" fmla="*/ 357289 w 1530269"/>
              <a:gd name="connsiteY102" fmla="*/ 0 h 59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30269" h="594428">
                <a:moveTo>
                  <a:pt x="1037471" y="403429"/>
                </a:moveTo>
                <a:cubicBezTo>
                  <a:pt x="1005144" y="403429"/>
                  <a:pt x="985222" y="432755"/>
                  <a:pt x="985222" y="465090"/>
                </a:cubicBezTo>
                <a:lnTo>
                  <a:pt x="1089721" y="465090"/>
                </a:lnTo>
                <a:cubicBezTo>
                  <a:pt x="1089721" y="429560"/>
                  <a:pt x="1074496" y="403429"/>
                  <a:pt x="1037471" y="403429"/>
                </a:cubicBezTo>
                <a:close/>
                <a:moveTo>
                  <a:pt x="1039163" y="375982"/>
                </a:moveTo>
                <a:cubicBezTo>
                  <a:pt x="1097614" y="375982"/>
                  <a:pt x="1129941" y="416025"/>
                  <a:pt x="1129941" y="472985"/>
                </a:cubicBezTo>
                <a:lnTo>
                  <a:pt x="1129941" y="491409"/>
                </a:lnTo>
                <a:lnTo>
                  <a:pt x="1129941" y="492913"/>
                </a:lnTo>
                <a:lnTo>
                  <a:pt x="983718" y="492913"/>
                </a:lnTo>
                <a:cubicBezTo>
                  <a:pt x="983718" y="529947"/>
                  <a:pt x="995934" y="565289"/>
                  <a:pt x="1035967" y="565289"/>
                </a:cubicBezTo>
                <a:cubicBezTo>
                  <a:pt x="1065287" y="565289"/>
                  <a:pt x="1080511" y="553070"/>
                  <a:pt x="1085210" y="523744"/>
                </a:cubicBezTo>
                <a:lnTo>
                  <a:pt x="1126746" y="523744"/>
                </a:lnTo>
                <a:cubicBezTo>
                  <a:pt x="1120731" y="569989"/>
                  <a:pt x="1085210" y="593112"/>
                  <a:pt x="1035967" y="593112"/>
                </a:cubicBezTo>
                <a:cubicBezTo>
                  <a:pt x="969809" y="593112"/>
                  <a:pt x="943685" y="547055"/>
                  <a:pt x="943685" y="486897"/>
                </a:cubicBezTo>
                <a:cubicBezTo>
                  <a:pt x="943685" y="426739"/>
                  <a:pt x="974508" y="375982"/>
                  <a:pt x="1039163" y="375982"/>
                </a:cubicBezTo>
                <a:close/>
                <a:moveTo>
                  <a:pt x="1482530" y="328232"/>
                </a:moveTo>
                <a:lnTo>
                  <a:pt x="1482530" y="383690"/>
                </a:lnTo>
                <a:lnTo>
                  <a:pt x="1530269" y="383690"/>
                </a:lnTo>
                <a:lnTo>
                  <a:pt x="1530269" y="411324"/>
                </a:lnTo>
                <a:lnTo>
                  <a:pt x="1482530" y="411324"/>
                </a:lnTo>
                <a:lnTo>
                  <a:pt x="1482530" y="543482"/>
                </a:lnTo>
                <a:cubicBezTo>
                  <a:pt x="1482530" y="557393"/>
                  <a:pt x="1493244" y="565101"/>
                  <a:pt x="1507152" y="565101"/>
                </a:cubicBezTo>
                <a:cubicBezTo>
                  <a:pt x="1513166" y="565101"/>
                  <a:pt x="1520872" y="563597"/>
                  <a:pt x="1527074" y="562093"/>
                </a:cubicBezTo>
                <a:lnTo>
                  <a:pt x="1527074" y="591420"/>
                </a:lnTo>
                <a:cubicBezTo>
                  <a:pt x="1517865" y="592924"/>
                  <a:pt x="1510158" y="594428"/>
                  <a:pt x="1500950" y="594428"/>
                </a:cubicBezTo>
                <a:cubicBezTo>
                  <a:pt x="1442497" y="594428"/>
                  <a:pt x="1442497" y="568109"/>
                  <a:pt x="1442497" y="540475"/>
                </a:cubicBezTo>
                <a:lnTo>
                  <a:pt x="1442497" y="409632"/>
                </a:lnTo>
                <a:lnTo>
                  <a:pt x="1407163" y="409632"/>
                </a:lnTo>
                <a:lnTo>
                  <a:pt x="1407163" y="381997"/>
                </a:lnTo>
                <a:lnTo>
                  <a:pt x="1444001" y="383690"/>
                </a:lnTo>
                <a:lnTo>
                  <a:pt x="1444001" y="340639"/>
                </a:lnTo>
                <a:close/>
                <a:moveTo>
                  <a:pt x="708187" y="326540"/>
                </a:moveTo>
                <a:cubicBezTo>
                  <a:pt x="708187" y="326540"/>
                  <a:pt x="708187" y="551378"/>
                  <a:pt x="708187" y="551378"/>
                </a:cubicBezTo>
                <a:lnTo>
                  <a:pt x="768142" y="551378"/>
                </a:lnTo>
                <a:cubicBezTo>
                  <a:pt x="837494" y="551378"/>
                  <a:pt x="865122" y="500621"/>
                  <a:pt x="865122" y="438959"/>
                </a:cubicBezTo>
                <a:cubicBezTo>
                  <a:pt x="865122" y="377298"/>
                  <a:pt x="835803" y="326540"/>
                  <a:pt x="768142" y="326540"/>
                </a:cubicBezTo>
                <a:close/>
                <a:moveTo>
                  <a:pt x="1176176" y="292702"/>
                </a:moveTo>
                <a:lnTo>
                  <a:pt x="1214705" y="292702"/>
                </a:lnTo>
                <a:lnTo>
                  <a:pt x="1214705" y="586720"/>
                </a:lnTo>
                <a:lnTo>
                  <a:pt x="1176176" y="586720"/>
                </a:lnTo>
                <a:close/>
                <a:moveTo>
                  <a:pt x="0" y="292702"/>
                </a:moveTo>
                <a:lnTo>
                  <a:pt x="264818" y="292702"/>
                </a:lnTo>
                <a:lnTo>
                  <a:pt x="264818" y="349663"/>
                </a:lnTo>
                <a:lnTo>
                  <a:pt x="174039" y="349663"/>
                </a:lnTo>
                <a:lnTo>
                  <a:pt x="174039" y="586908"/>
                </a:lnTo>
                <a:lnTo>
                  <a:pt x="92471" y="586908"/>
                </a:lnTo>
                <a:lnTo>
                  <a:pt x="92471" y="349663"/>
                </a:lnTo>
                <a:lnTo>
                  <a:pt x="0" y="349663"/>
                </a:lnTo>
                <a:close/>
                <a:moveTo>
                  <a:pt x="503323" y="292514"/>
                </a:moveTo>
                <a:lnTo>
                  <a:pt x="584893" y="292514"/>
                </a:lnTo>
                <a:lnTo>
                  <a:pt x="584893" y="479001"/>
                </a:lnTo>
                <a:cubicBezTo>
                  <a:pt x="583389" y="560589"/>
                  <a:pt x="518736" y="592924"/>
                  <a:pt x="444872" y="592924"/>
                </a:cubicBezTo>
                <a:cubicBezTo>
                  <a:pt x="371008" y="592924"/>
                  <a:pt x="304851" y="560589"/>
                  <a:pt x="304851" y="479001"/>
                </a:cubicBezTo>
                <a:lnTo>
                  <a:pt x="304851" y="292702"/>
                </a:lnTo>
                <a:lnTo>
                  <a:pt x="386421" y="292702"/>
                </a:lnTo>
                <a:lnTo>
                  <a:pt x="386421" y="474490"/>
                </a:lnTo>
                <a:cubicBezTo>
                  <a:pt x="384917" y="509832"/>
                  <a:pt x="406530" y="535963"/>
                  <a:pt x="444872" y="535963"/>
                </a:cubicBezTo>
                <a:cubicBezTo>
                  <a:pt x="483401" y="535963"/>
                  <a:pt x="503323" y="509832"/>
                  <a:pt x="503323" y="474301"/>
                </a:cubicBezTo>
                <a:close/>
                <a:moveTo>
                  <a:pt x="666650" y="291386"/>
                </a:moveTo>
                <a:lnTo>
                  <a:pt x="768329" y="291386"/>
                </a:lnTo>
                <a:cubicBezTo>
                  <a:pt x="892938" y="291386"/>
                  <a:pt x="906847" y="399105"/>
                  <a:pt x="906847" y="439148"/>
                </a:cubicBezTo>
                <a:cubicBezTo>
                  <a:pt x="906847" y="480693"/>
                  <a:pt x="894631" y="586908"/>
                  <a:pt x="768329" y="586908"/>
                </a:cubicBezTo>
                <a:lnTo>
                  <a:pt x="666650" y="586908"/>
                </a:lnTo>
                <a:close/>
                <a:moveTo>
                  <a:pt x="1363936" y="285183"/>
                </a:moveTo>
                <a:cubicBezTo>
                  <a:pt x="1373146" y="285183"/>
                  <a:pt x="1382355" y="288379"/>
                  <a:pt x="1391564" y="289883"/>
                </a:cubicBezTo>
                <a:lnTo>
                  <a:pt x="1391564" y="322218"/>
                </a:lnTo>
                <a:cubicBezTo>
                  <a:pt x="1384047" y="322218"/>
                  <a:pt x="1377844" y="320714"/>
                  <a:pt x="1371642" y="320714"/>
                </a:cubicBezTo>
                <a:cubicBezTo>
                  <a:pt x="1348525" y="320714"/>
                  <a:pt x="1337811" y="325226"/>
                  <a:pt x="1337811" y="348349"/>
                </a:cubicBezTo>
                <a:lnTo>
                  <a:pt x="1337811" y="380682"/>
                </a:lnTo>
                <a:lnTo>
                  <a:pt x="1385550" y="380682"/>
                </a:lnTo>
                <a:lnTo>
                  <a:pt x="1385550" y="408318"/>
                </a:lnTo>
                <a:lnTo>
                  <a:pt x="1337811" y="408318"/>
                </a:lnTo>
                <a:lnTo>
                  <a:pt x="1337811" y="586909"/>
                </a:lnTo>
                <a:lnTo>
                  <a:pt x="1299282" y="586909"/>
                </a:lnTo>
                <a:lnTo>
                  <a:pt x="1299282" y="408318"/>
                </a:lnTo>
                <a:lnTo>
                  <a:pt x="1259249" y="408318"/>
                </a:lnTo>
                <a:lnTo>
                  <a:pt x="1259249" y="380682"/>
                </a:lnTo>
                <a:lnTo>
                  <a:pt x="1299282" y="380682"/>
                </a:lnTo>
                <a:lnTo>
                  <a:pt x="1299282" y="342144"/>
                </a:lnTo>
                <a:cubicBezTo>
                  <a:pt x="1299282" y="303606"/>
                  <a:pt x="1326910" y="285183"/>
                  <a:pt x="1363936" y="285183"/>
                </a:cubicBezTo>
                <a:close/>
                <a:moveTo>
                  <a:pt x="357289" y="0"/>
                </a:moveTo>
                <a:cubicBezTo>
                  <a:pt x="360296" y="0"/>
                  <a:pt x="360296" y="6204"/>
                  <a:pt x="357289" y="15415"/>
                </a:cubicBezTo>
                <a:cubicBezTo>
                  <a:pt x="343380" y="50946"/>
                  <a:pt x="247902" y="84784"/>
                  <a:pt x="247902" y="124826"/>
                </a:cubicBezTo>
                <a:cubicBezTo>
                  <a:pt x="247902" y="150956"/>
                  <a:pt x="268013" y="155656"/>
                  <a:pt x="287935" y="149452"/>
                </a:cubicBezTo>
                <a:cubicBezTo>
                  <a:pt x="298649" y="144941"/>
                  <a:pt x="307859" y="138738"/>
                  <a:pt x="318947" y="131030"/>
                </a:cubicBezTo>
                <a:cubicBezTo>
                  <a:pt x="321955" y="127834"/>
                  <a:pt x="325150" y="124826"/>
                  <a:pt x="326653" y="126330"/>
                </a:cubicBezTo>
                <a:cubicBezTo>
                  <a:pt x="328157" y="127834"/>
                  <a:pt x="328157" y="132534"/>
                  <a:pt x="326653" y="135541"/>
                </a:cubicBezTo>
                <a:cubicBezTo>
                  <a:pt x="311241" y="189307"/>
                  <a:pt x="254293" y="269391"/>
                  <a:pt x="184940" y="274091"/>
                </a:cubicBezTo>
                <a:cubicBezTo>
                  <a:pt x="180430" y="275595"/>
                  <a:pt x="174227" y="275595"/>
                  <a:pt x="174227" y="274091"/>
                </a:cubicBezTo>
                <a:cubicBezTo>
                  <a:pt x="172535" y="269391"/>
                  <a:pt x="186444" y="267887"/>
                  <a:pt x="194150" y="261684"/>
                </a:cubicBezTo>
                <a:cubicBezTo>
                  <a:pt x="220274" y="241756"/>
                  <a:pt x="227980" y="221641"/>
                  <a:pt x="234183" y="186299"/>
                </a:cubicBezTo>
                <a:cubicBezTo>
                  <a:pt x="235686" y="180096"/>
                  <a:pt x="235686" y="173892"/>
                  <a:pt x="234183" y="173892"/>
                </a:cubicBezTo>
                <a:cubicBezTo>
                  <a:pt x="232679" y="172388"/>
                  <a:pt x="230988" y="176900"/>
                  <a:pt x="227980" y="181600"/>
                </a:cubicBezTo>
                <a:cubicBezTo>
                  <a:pt x="217268" y="201715"/>
                  <a:pt x="180430" y="224837"/>
                  <a:pt x="168025" y="194007"/>
                </a:cubicBezTo>
                <a:cubicBezTo>
                  <a:pt x="158815" y="170884"/>
                  <a:pt x="192646" y="149265"/>
                  <a:pt x="200352" y="116930"/>
                </a:cubicBezTo>
                <a:cubicBezTo>
                  <a:pt x="200352" y="112230"/>
                  <a:pt x="200352" y="110726"/>
                  <a:pt x="200352" y="109222"/>
                </a:cubicBezTo>
                <a:cubicBezTo>
                  <a:pt x="198848" y="106215"/>
                  <a:pt x="194150" y="112230"/>
                  <a:pt x="191142" y="116930"/>
                </a:cubicBezTo>
                <a:cubicBezTo>
                  <a:pt x="166521" y="156972"/>
                  <a:pt x="95665" y="173892"/>
                  <a:pt x="95665" y="235553"/>
                </a:cubicBezTo>
                <a:cubicBezTo>
                  <a:pt x="95665" y="247960"/>
                  <a:pt x="95665" y="257172"/>
                  <a:pt x="92658" y="257172"/>
                </a:cubicBezTo>
                <a:cubicBezTo>
                  <a:pt x="89651" y="257172"/>
                  <a:pt x="86456" y="240252"/>
                  <a:pt x="84952" y="235553"/>
                </a:cubicBezTo>
                <a:cubicBezTo>
                  <a:pt x="61835" y="134038"/>
                  <a:pt x="158815" y="87792"/>
                  <a:pt x="192646" y="72376"/>
                </a:cubicBezTo>
                <a:cubicBezTo>
                  <a:pt x="243392" y="50757"/>
                  <a:pt x="309550" y="50757"/>
                  <a:pt x="349583" y="10716"/>
                </a:cubicBezTo>
                <a:cubicBezTo>
                  <a:pt x="357289" y="4700"/>
                  <a:pt x="354281" y="0"/>
                  <a:pt x="357289" y="0"/>
                </a:cubicBezTo>
                <a:close/>
              </a:path>
            </a:pathLst>
          </a:custGeom>
          <a:solidFill>
            <a:schemeClr val="bg1"/>
          </a:solidFill>
        </p:spPr>
        <p:txBody>
          <a:bodyPr wrap="square">
            <a:noAutofit/>
          </a:bodyPr>
          <a:lstStyle>
            <a:lvl1pPr marL="0" indent="0">
              <a:buNone/>
              <a:defRPr sz="100">
                <a:solidFill>
                  <a:schemeClr val="tx2">
                    <a:alpha val="0"/>
                  </a:schemeClr>
                </a:solidFill>
              </a:defRPr>
            </a:lvl1pPr>
          </a:lstStyle>
          <a:p>
            <a:pPr lvl="0"/>
            <a:r>
              <a:rPr lang="en-GB" dirty="0"/>
              <a:t> </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bg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noRot="1" noMove="1" noResize="1" noEditPoints="1" noAdjustHandles="1" noChangeArrowheads="1" noChangeShapeType="1"/>
          </p:cNvSpPr>
          <p:nvPr>
            <p:ph type="dt" sz="half" idx="12"/>
          </p:nvPr>
        </p:nvSpPr>
        <p:spPr>
          <a:xfrm>
            <a:off x="10705040" y="5813671"/>
            <a:ext cx="766235" cy="184666"/>
          </a:xfrm>
        </p:spPr>
        <p:txBody>
          <a:bodyPr/>
          <a:lstStyle>
            <a:lvl1pPr>
              <a:defRPr sz="1200">
                <a:solidFill>
                  <a:schemeClr val="bg1"/>
                </a:solidFill>
              </a:defRPr>
            </a:lvl1pPr>
          </a:lstStyle>
          <a:p>
            <a:r>
              <a:rPr lang="nl-NL"/>
              <a:t>11/08/2023</a:t>
            </a:r>
            <a:endParaRPr lang="en-GB" dirty="0"/>
          </a:p>
        </p:txBody>
      </p:sp>
      <p:grpSp>
        <p:nvGrpSpPr>
          <p:cNvPr id="3" name="INSTRUCTION">
            <a:extLst>
              <a:ext uri="{FF2B5EF4-FFF2-40B4-BE49-F238E27FC236}">
                <a16:creationId xmlns:a16="http://schemas.microsoft.com/office/drawing/2014/main" id="{EECAB3B4-F35E-4D76-EA02-3E3649BBBFB6}"/>
              </a:ext>
            </a:extLst>
          </p:cNvPr>
          <p:cNvGrpSpPr/>
          <p:nvPr userDrawn="1"/>
        </p:nvGrpSpPr>
        <p:grpSpPr>
          <a:xfrm>
            <a:off x="12377595" y="-1"/>
            <a:ext cx="3693386" cy="6640349"/>
            <a:chOff x="-3786165" y="-1"/>
            <a:chExt cx="3693386" cy="6640349"/>
          </a:xfrm>
        </p:grpSpPr>
        <p:sp>
          <p:nvSpPr>
            <p:cNvPr id="7" name="Rechthoek 6">
              <a:extLst>
                <a:ext uri="{FF2B5EF4-FFF2-40B4-BE49-F238E27FC236}">
                  <a16:creationId xmlns:a16="http://schemas.microsoft.com/office/drawing/2014/main" id="{BEEDD29A-610A-2273-DABA-FB9222A95C16}"/>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Ovaal 7">
              <a:extLst>
                <a:ext uri="{FF2B5EF4-FFF2-40B4-BE49-F238E27FC236}">
                  <a16:creationId xmlns:a16="http://schemas.microsoft.com/office/drawing/2014/main" id="{983C36C1-CB1D-CA25-3A0B-2A93FFC140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5B807AA7-4FEF-2FA2-8244-CCF559CE17B4}"/>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BD25B71F-B7E0-A828-1605-117F45FD687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F74D02B5-3EDD-BCCC-85E3-F8F9D83A419B}"/>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FF7C3A32-4E04-3F4B-2255-58425429A0BB}"/>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096E48C5-FCBE-F9B5-DB3F-2B3794E4200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1D59F427-0491-2FF6-C975-47AA945B3F4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B62651C2-FFE8-C32B-F6A6-10FD8545AB71}"/>
                </a:ext>
              </a:extLst>
            </p:cNvPr>
            <p:cNvGrpSpPr/>
            <p:nvPr userDrawn="1"/>
          </p:nvGrpSpPr>
          <p:grpSpPr>
            <a:xfrm>
              <a:off x="-2485819" y="3479783"/>
              <a:ext cx="1222990" cy="563933"/>
              <a:chOff x="-2485819" y="3399207"/>
              <a:chExt cx="1222990" cy="563933"/>
            </a:xfrm>
          </p:grpSpPr>
          <p:sp>
            <p:nvSpPr>
              <p:cNvPr id="58" name="Rechthoek 57">
                <a:extLst>
                  <a:ext uri="{FF2B5EF4-FFF2-40B4-BE49-F238E27FC236}">
                    <a16:creationId xmlns:a16="http://schemas.microsoft.com/office/drawing/2014/main" id="{0828F416-7653-F035-68A7-C756998CCC3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A626F59F-1EC5-5F5C-20A9-1F1F000D8FA5}"/>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446B6E35-FC26-962A-39C5-80CD8D3C6E7C}"/>
                  </a:ext>
                </a:extLst>
              </p:cNvPr>
              <p:cNvGrpSpPr/>
              <p:nvPr userDrawn="1"/>
            </p:nvGrpSpPr>
            <p:grpSpPr>
              <a:xfrm>
                <a:off x="-2403869" y="3460544"/>
                <a:ext cx="155951" cy="131922"/>
                <a:chOff x="12968836" y="3354170"/>
                <a:chExt cx="404806" cy="342433"/>
              </a:xfrm>
            </p:grpSpPr>
            <p:sp>
              <p:nvSpPr>
                <p:cNvPr id="73" name="Rechthoek: afgeronde hoeken 72">
                  <a:extLst>
                    <a:ext uri="{FF2B5EF4-FFF2-40B4-BE49-F238E27FC236}">
                      <a16:creationId xmlns:a16="http://schemas.microsoft.com/office/drawing/2014/main" id="{ACB7A385-B183-4326-1A00-0AD7A41B1A5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D16D9054-FD2E-DC72-A214-434738C9D72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9092F5D3-6F6F-4F0B-07B6-60C016D73ACB}"/>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2272072D-8ACD-BC7F-D64E-5E9D4085A12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5B4AA6B3-50E1-6F76-4492-5AAEA7B1736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9194345A-B2FF-21F4-4DAF-8ADB5D4CA3D4}"/>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41454D04-373D-063D-B7A5-EF14C41832E8}"/>
                  </a:ext>
                </a:extLst>
              </p:cNvPr>
              <p:cNvGrpSpPr/>
              <p:nvPr userDrawn="1"/>
            </p:nvGrpSpPr>
            <p:grpSpPr>
              <a:xfrm>
                <a:off x="-2423424" y="3690208"/>
                <a:ext cx="166739" cy="218963"/>
                <a:chOff x="12940828" y="3950597"/>
                <a:chExt cx="432813" cy="568367"/>
              </a:xfrm>
            </p:grpSpPr>
            <p:grpSp>
              <p:nvGrpSpPr>
                <p:cNvPr id="65" name="Groep 64">
                  <a:extLst>
                    <a:ext uri="{FF2B5EF4-FFF2-40B4-BE49-F238E27FC236}">
                      <a16:creationId xmlns:a16="http://schemas.microsoft.com/office/drawing/2014/main" id="{5393BBEA-7B06-BCD5-125C-3ED85CBA5EC4}"/>
                    </a:ext>
                  </a:extLst>
                </p:cNvPr>
                <p:cNvGrpSpPr/>
                <p:nvPr userDrawn="1"/>
              </p:nvGrpSpPr>
              <p:grpSpPr>
                <a:xfrm>
                  <a:off x="13000382" y="4006891"/>
                  <a:ext cx="373259" cy="315747"/>
                  <a:chOff x="12968836" y="3354170"/>
                  <a:chExt cx="404806" cy="342433"/>
                </a:xfrm>
              </p:grpSpPr>
              <p:sp>
                <p:nvSpPr>
                  <p:cNvPr id="67" name="Rechthoek: afgeronde hoeken 66">
                    <a:extLst>
                      <a:ext uri="{FF2B5EF4-FFF2-40B4-BE49-F238E27FC236}">
                        <a16:creationId xmlns:a16="http://schemas.microsoft.com/office/drawing/2014/main" id="{047D567A-7529-80C9-DADB-659330259DE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A474F870-9198-7DDF-B53A-2C5624A7CB8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57133A41-0DA3-EC0D-DD40-EA42F5D5118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D1537C7F-4F62-6596-6094-8A741A035A8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8306CC10-0569-FF10-1F54-4E13C05BDA2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C2AF62CB-396C-4F68-D150-DBDA05B2F46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6" name="Boog 65">
                  <a:extLst>
                    <a:ext uri="{FF2B5EF4-FFF2-40B4-BE49-F238E27FC236}">
                      <a16:creationId xmlns:a16="http://schemas.microsoft.com/office/drawing/2014/main" id="{50FEC18C-99B6-19EA-F922-F2F69EFCBA6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2" name="Tekstvak 61">
                <a:extLst>
                  <a:ext uri="{FF2B5EF4-FFF2-40B4-BE49-F238E27FC236}">
                    <a16:creationId xmlns:a16="http://schemas.microsoft.com/office/drawing/2014/main" id="{EF5B8D53-A898-21DA-48DB-6ABC477D0EF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3" name="Tekstvak 62">
                <a:extLst>
                  <a:ext uri="{FF2B5EF4-FFF2-40B4-BE49-F238E27FC236}">
                    <a16:creationId xmlns:a16="http://schemas.microsoft.com/office/drawing/2014/main" id="{1C1693CC-39B8-BB97-B642-545DAD343B2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4" name="Vrije vorm: vorm 63">
                <a:extLst>
                  <a:ext uri="{FF2B5EF4-FFF2-40B4-BE49-F238E27FC236}">
                    <a16:creationId xmlns:a16="http://schemas.microsoft.com/office/drawing/2014/main" id="{845D85AC-8785-920C-1D0D-FAA88957B31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E1BEDA66-B84A-32F7-D17D-150E73E65458}"/>
                </a:ext>
              </a:extLst>
            </p:cNvPr>
            <p:cNvGrpSpPr/>
            <p:nvPr userDrawn="1"/>
          </p:nvGrpSpPr>
          <p:grpSpPr>
            <a:xfrm>
              <a:off x="-3786165" y="5680652"/>
              <a:ext cx="3693386" cy="959696"/>
              <a:chOff x="-3786437" y="6163468"/>
              <a:chExt cx="3693386" cy="959696"/>
            </a:xfrm>
          </p:grpSpPr>
          <p:sp>
            <p:nvSpPr>
              <p:cNvPr id="48" name="Rechthoek 47">
                <a:extLst>
                  <a:ext uri="{FF2B5EF4-FFF2-40B4-BE49-F238E27FC236}">
                    <a16:creationId xmlns:a16="http://schemas.microsoft.com/office/drawing/2014/main" id="{A9BFE784-1FA0-37D6-D115-25324CB8852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9" name="ICOON_info">
                <a:extLst>
                  <a:ext uri="{FF2B5EF4-FFF2-40B4-BE49-F238E27FC236}">
                    <a16:creationId xmlns:a16="http://schemas.microsoft.com/office/drawing/2014/main" id="{45F7DA76-D338-637A-1DEA-4A59A9D2F7FC}"/>
                  </a:ext>
                </a:extLst>
              </p:cNvPr>
              <p:cNvGrpSpPr/>
              <p:nvPr userDrawn="1"/>
            </p:nvGrpSpPr>
            <p:grpSpPr>
              <a:xfrm>
                <a:off x="-376736" y="6163468"/>
                <a:ext cx="283685" cy="283685"/>
                <a:chOff x="-510741" y="5913713"/>
                <a:chExt cx="267555" cy="267555"/>
              </a:xfrm>
            </p:grpSpPr>
            <p:sp>
              <p:nvSpPr>
                <p:cNvPr id="56" name="Ovaal 55">
                  <a:extLst>
                    <a:ext uri="{FF2B5EF4-FFF2-40B4-BE49-F238E27FC236}">
                      <a16:creationId xmlns:a16="http://schemas.microsoft.com/office/drawing/2014/main" id="{2DDC58D2-1A9E-2038-03B5-91302939A0E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7" name="Graphic 163" descr="Informatie">
                  <a:extLst>
                    <a:ext uri="{FF2B5EF4-FFF2-40B4-BE49-F238E27FC236}">
                      <a16:creationId xmlns:a16="http://schemas.microsoft.com/office/drawing/2014/main" id="{0F0F0F4E-5D43-F573-5437-B47B11FD2B1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30D88811-F4D7-89E0-2892-AC45C45D7773}"/>
                  </a:ext>
                </a:extLst>
              </p:cNvPr>
              <p:cNvGrpSpPr/>
              <p:nvPr userDrawn="1"/>
            </p:nvGrpSpPr>
            <p:grpSpPr>
              <a:xfrm>
                <a:off x="-938434" y="6420818"/>
                <a:ext cx="627798" cy="576693"/>
                <a:chOff x="-938434" y="4570310"/>
                <a:chExt cx="627798" cy="576693"/>
              </a:xfrm>
            </p:grpSpPr>
            <p:grpSp>
              <p:nvGrpSpPr>
                <p:cNvPr id="51" name="Inspireren">
                  <a:extLst>
                    <a:ext uri="{FF2B5EF4-FFF2-40B4-BE49-F238E27FC236}">
                      <a16:creationId xmlns:a16="http://schemas.microsoft.com/office/drawing/2014/main" id="{9B19547D-AD50-F756-C53A-A723E8144CC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3" name="Freeform 12">
                    <a:extLst>
                      <a:ext uri="{FF2B5EF4-FFF2-40B4-BE49-F238E27FC236}">
                        <a16:creationId xmlns:a16="http://schemas.microsoft.com/office/drawing/2014/main" id="{009A88EB-079D-2AA1-7463-C48ED515CF9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4" name="Freeform 13">
                    <a:extLst>
                      <a:ext uri="{FF2B5EF4-FFF2-40B4-BE49-F238E27FC236}">
                        <a16:creationId xmlns:a16="http://schemas.microsoft.com/office/drawing/2014/main" id="{037FDBCA-6B91-4A43-7157-1C0F4D61AEB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5" name="Freeform 14">
                    <a:extLst>
                      <a:ext uri="{FF2B5EF4-FFF2-40B4-BE49-F238E27FC236}">
                        <a16:creationId xmlns:a16="http://schemas.microsoft.com/office/drawing/2014/main" id="{368AB926-9121-77FC-0FF2-0360D97A2E5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2" name="Tekstvak 51">
                  <a:extLst>
                    <a:ext uri="{FF2B5EF4-FFF2-40B4-BE49-F238E27FC236}">
                      <a16:creationId xmlns:a16="http://schemas.microsoft.com/office/drawing/2014/main" id="{648FCBC3-C6A4-CB28-0048-29892B3C4DA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 name="Groep 17">
              <a:extLst>
                <a:ext uri="{FF2B5EF4-FFF2-40B4-BE49-F238E27FC236}">
                  <a16:creationId xmlns:a16="http://schemas.microsoft.com/office/drawing/2014/main" id="{522A3677-3328-22AE-FCDC-08A6DB1FDB9E}"/>
                </a:ext>
              </a:extLst>
            </p:cNvPr>
            <p:cNvGrpSpPr/>
            <p:nvPr userDrawn="1"/>
          </p:nvGrpSpPr>
          <p:grpSpPr>
            <a:xfrm>
              <a:off x="-3426806" y="5129582"/>
              <a:ext cx="514284" cy="506545"/>
              <a:chOff x="12617641" y="3403239"/>
              <a:chExt cx="752963" cy="741634"/>
            </a:xfrm>
          </p:grpSpPr>
          <p:grpSp>
            <p:nvGrpSpPr>
              <p:cNvPr id="32" name="Groep 31">
                <a:extLst>
                  <a:ext uri="{FF2B5EF4-FFF2-40B4-BE49-F238E27FC236}">
                    <a16:creationId xmlns:a16="http://schemas.microsoft.com/office/drawing/2014/main" id="{2592A85E-7172-81B9-4829-70B00721B409}"/>
                  </a:ext>
                </a:extLst>
              </p:cNvPr>
              <p:cNvGrpSpPr/>
              <p:nvPr userDrawn="1"/>
            </p:nvGrpSpPr>
            <p:grpSpPr>
              <a:xfrm>
                <a:off x="12771530" y="3403239"/>
                <a:ext cx="467176" cy="448491"/>
                <a:chOff x="12782157" y="3403239"/>
                <a:chExt cx="467176" cy="448491"/>
              </a:xfrm>
            </p:grpSpPr>
            <p:grpSp>
              <p:nvGrpSpPr>
                <p:cNvPr id="35" name="Groep 34">
                  <a:extLst>
                    <a:ext uri="{FF2B5EF4-FFF2-40B4-BE49-F238E27FC236}">
                      <a16:creationId xmlns:a16="http://schemas.microsoft.com/office/drawing/2014/main" id="{A6585353-772C-E3BD-C957-E2328D9A1F39}"/>
                    </a:ext>
                  </a:extLst>
                </p:cNvPr>
                <p:cNvGrpSpPr/>
                <p:nvPr userDrawn="1"/>
              </p:nvGrpSpPr>
              <p:grpSpPr>
                <a:xfrm>
                  <a:off x="12782157" y="3403239"/>
                  <a:ext cx="412976" cy="396132"/>
                  <a:chOff x="13554906" y="3320109"/>
                  <a:chExt cx="443917" cy="425811"/>
                </a:xfrm>
              </p:grpSpPr>
              <p:grpSp>
                <p:nvGrpSpPr>
                  <p:cNvPr id="42" name="Groep 41">
                    <a:extLst>
                      <a:ext uri="{FF2B5EF4-FFF2-40B4-BE49-F238E27FC236}">
                        <a16:creationId xmlns:a16="http://schemas.microsoft.com/office/drawing/2014/main" id="{1BE66F87-2E75-EAB4-0E43-877E74628634}"/>
                      </a:ext>
                    </a:extLst>
                  </p:cNvPr>
                  <p:cNvGrpSpPr/>
                  <p:nvPr userDrawn="1"/>
                </p:nvGrpSpPr>
                <p:grpSpPr>
                  <a:xfrm>
                    <a:off x="13554906" y="3320109"/>
                    <a:ext cx="443917" cy="425811"/>
                    <a:chOff x="12909684" y="1276143"/>
                    <a:chExt cx="443917" cy="425811"/>
                  </a:xfrm>
                </p:grpSpPr>
                <p:sp>
                  <p:nvSpPr>
                    <p:cNvPr id="45" name="Rechthoek 44">
                      <a:extLst>
                        <a:ext uri="{FF2B5EF4-FFF2-40B4-BE49-F238E27FC236}">
                          <a16:creationId xmlns:a16="http://schemas.microsoft.com/office/drawing/2014/main" id="{0AC81EED-BDE2-3190-B9E6-25A4E41F7B28}"/>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B7052F2D-845B-9950-02B8-E8E8FB32A58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Ovaal 46">
                      <a:extLst>
                        <a:ext uri="{FF2B5EF4-FFF2-40B4-BE49-F238E27FC236}">
                          <a16:creationId xmlns:a16="http://schemas.microsoft.com/office/drawing/2014/main" id="{134F6CD2-011B-E629-4423-F68EF8585D6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3" name="Afbeelding 42">
                    <a:extLst>
                      <a:ext uri="{FF2B5EF4-FFF2-40B4-BE49-F238E27FC236}">
                        <a16:creationId xmlns:a16="http://schemas.microsoft.com/office/drawing/2014/main" id="{2F572210-6B19-60EC-3E91-E408CCBBE1C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4" name="Afbeelding 43">
                    <a:extLst>
                      <a:ext uri="{FF2B5EF4-FFF2-40B4-BE49-F238E27FC236}">
                        <a16:creationId xmlns:a16="http://schemas.microsoft.com/office/drawing/2014/main" id="{4518562F-E05C-7ECD-BB55-EAF79CC77E6B}"/>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6" name="Groep 35">
                  <a:extLst>
                    <a:ext uri="{FF2B5EF4-FFF2-40B4-BE49-F238E27FC236}">
                      <a16:creationId xmlns:a16="http://schemas.microsoft.com/office/drawing/2014/main" id="{F89B134F-4A7E-1FD1-12EB-F27E8F8684D3}"/>
                    </a:ext>
                  </a:extLst>
                </p:cNvPr>
                <p:cNvGrpSpPr/>
                <p:nvPr userDrawn="1"/>
              </p:nvGrpSpPr>
              <p:grpSpPr>
                <a:xfrm>
                  <a:off x="13103513" y="3705268"/>
                  <a:ext cx="145820" cy="146462"/>
                  <a:chOff x="13096169" y="3602278"/>
                  <a:chExt cx="145820" cy="146462"/>
                </a:xfrm>
              </p:grpSpPr>
              <p:sp>
                <p:nvSpPr>
                  <p:cNvPr id="40" name="Rechthoek 39">
                    <a:extLst>
                      <a:ext uri="{FF2B5EF4-FFF2-40B4-BE49-F238E27FC236}">
                        <a16:creationId xmlns:a16="http://schemas.microsoft.com/office/drawing/2014/main" id="{B702C26F-965D-DB34-8D5E-238B853E086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C21BB75F-AB5E-CF0B-DC79-4294FCA90AB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251652CE-BFD6-9535-C33B-96925F8274FD}"/>
                    </a:ext>
                  </a:extLst>
                </p:cNvPr>
                <p:cNvGrpSpPr/>
                <p:nvPr userDrawn="1"/>
              </p:nvGrpSpPr>
              <p:grpSpPr>
                <a:xfrm rot="10800000">
                  <a:off x="13061402" y="3665637"/>
                  <a:ext cx="145820" cy="146462"/>
                  <a:chOff x="13096169" y="3602278"/>
                  <a:chExt cx="145820" cy="146462"/>
                </a:xfrm>
              </p:grpSpPr>
              <p:sp>
                <p:nvSpPr>
                  <p:cNvPr id="38" name="Rechthoek 37">
                    <a:extLst>
                      <a:ext uri="{FF2B5EF4-FFF2-40B4-BE49-F238E27FC236}">
                        <a16:creationId xmlns:a16="http://schemas.microsoft.com/office/drawing/2014/main" id="{A30B4A79-9F1C-3801-8227-03388E47661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52EB4C43-B1A7-4983-B738-CABB83F3B3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3" name="Rechthoek 32">
                <a:extLst>
                  <a:ext uri="{FF2B5EF4-FFF2-40B4-BE49-F238E27FC236}">
                    <a16:creationId xmlns:a16="http://schemas.microsoft.com/office/drawing/2014/main" id="{2CA4F182-D3CB-354B-42E3-D74BC3B6DCB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4" name="Gelijkbenige driehoek 33">
                <a:extLst>
                  <a:ext uri="{FF2B5EF4-FFF2-40B4-BE49-F238E27FC236}">
                    <a16:creationId xmlns:a16="http://schemas.microsoft.com/office/drawing/2014/main" id="{DB2406B9-0901-F117-458A-CEE880D88791}"/>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 name="Ovaal 18">
              <a:extLst>
                <a:ext uri="{FF2B5EF4-FFF2-40B4-BE49-F238E27FC236}">
                  <a16:creationId xmlns:a16="http://schemas.microsoft.com/office/drawing/2014/main" id="{5CE16E46-DE55-862F-AB87-3E5095B5A48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3" name="Rechthoek 22">
              <a:extLst>
                <a:ext uri="{FF2B5EF4-FFF2-40B4-BE49-F238E27FC236}">
                  <a16:creationId xmlns:a16="http://schemas.microsoft.com/office/drawing/2014/main" id="{5B75F591-B801-DA93-F75A-B46172125E9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D9CCA03E-EE67-9422-6EAE-CF360AB988F6}"/>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5" name="Groep 24">
              <a:extLst>
                <a:ext uri="{FF2B5EF4-FFF2-40B4-BE49-F238E27FC236}">
                  <a16:creationId xmlns:a16="http://schemas.microsoft.com/office/drawing/2014/main" id="{5AD1B12F-BDDA-12B5-1ABD-9041E12B0DC9}"/>
                </a:ext>
              </a:extLst>
            </p:cNvPr>
            <p:cNvGrpSpPr/>
            <p:nvPr userDrawn="1"/>
          </p:nvGrpSpPr>
          <p:grpSpPr>
            <a:xfrm>
              <a:off x="-3365484" y="1226982"/>
              <a:ext cx="446937" cy="406485"/>
              <a:chOff x="-3563526" y="1409294"/>
              <a:chExt cx="354190" cy="322133"/>
            </a:xfrm>
          </p:grpSpPr>
          <p:grpSp>
            <p:nvGrpSpPr>
              <p:cNvPr id="26" name="Groep 25">
                <a:extLst>
                  <a:ext uri="{FF2B5EF4-FFF2-40B4-BE49-F238E27FC236}">
                    <a16:creationId xmlns:a16="http://schemas.microsoft.com/office/drawing/2014/main" id="{288244E0-7957-0534-BC54-DDD4FB4FD6DF}"/>
                  </a:ext>
                </a:extLst>
              </p:cNvPr>
              <p:cNvGrpSpPr/>
              <p:nvPr userDrawn="1"/>
            </p:nvGrpSpPr>
            <p:grpSpPr>
              <a:xfrm>
                <a:off x="-3499992" y="1409294"/>
                <a:ext cx="225195" cy="195499"/>
                <a:chOff x="8987389" y="1361199"/>
                <a:chExt cx="2200275" cy="1914525"/>
              </a:xfrm>
            </p:grpSpPr>
            <p:sp>
              <p:nvSpPr>
                <p:cNvPr id="28" name="Vrije vorm: vorm 27">
                  <a:extLst>
                    <a:ext uri="{FF2B5EF4-FFF2-40B4-BE49-F238E27FC236}">
                      <a16:creationId xmlns:a16="http://schemas.microsoft.com/office/drawing/2014/main" id="{A6D6BBAF-12E5-3B67-B7C3-0F27143D9CE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9" name="Groep 28">
                  <a:extLst>
                    <a:ext uri="{FF2B5EF4-FFF2-40B4-BE49-F238E27FC236}">
                      <a16:creationId xmlns:a16="http://schemas.microsoft.com/office/drawing/2014/main" id="{D7673D2B-D34C-BC53-529A-FF37A2765F77}"/>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0" name="Vrije vorm: vorm 29">
                    <a:extLst>
                      <a:ext uri="{FF2B5EF4-FFF2-40B4-BE49-F238E27FC236}">
                        <a16:creationId xmlns:a16="http://schemas.microsoft.com/office/drawing/2014/main" id="{6DDDDADA-32D7-E622-BFAB-2A40519E914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1" name="Vrije vorm: vorm 30">
                    <a:extLst>
                      <a:ext uri="{FF2B5EF4-FFF2-40B4-BE49-F238E27FC236}">
                        <a16:creationId xmlns:a16="http://schemas.microsoft.com/office/drawing/2014/main" id="{1257BF55-E61E-D1A4-1848-4B599B7909B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7" name="Tekstvak 26">
                <a:extLst>
                  <a:ext uri="{FF2B5EF4-FFF2-40B4-BE49-F238E27FC236}">
                    <a16:creationId xmlns:a16="http://schemas.microsoft.com/office/drawing/2014/main" id="{8B039E6A-42B0-17A3-C7C7-81C8E6DD8E8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79" name="INSTRUCTION">
            <a:extLst>
              <a:ext uri="{FF2B5EF4-FFF2-40B4-BE49-F238E27FC236}">
                <a16:creationId xmlns:a16="http://schemas.microsoft.com/office/drawing/2014/main" id="{DC3E5831-FE93-EEF5-9BE1-BBAA55FDD35F}"/>
              </a:ext>
            </a:extLst>
          </p:cNvPr>
          <p:cNvGrpSpPr/>
          <p:nvPr userDrawn="1"/>
        </p:nvGrpSpPr>
        <p:grpSpPr>
          <a:xfrm>
            <a:off x="12274716" y="7038001"/>
            <a:ext cx="3695970" cy="1277747"/>
            <a:chOff x="-3889316" y="-1461517"/>
            <a:chExt cx="3695970" cy="1277747"/>
          </a:xfrm>
        </p:grpSpPr>
        <p:sp>
          <p:nvSpPr>
            <p:cNvPr id="80" name="Rechthoek 79">
              <a:extLst>
                <a:ext uri="{FF2B5EF4-FFF2-40B4-BE49-F238E27FC236}">
                  <a16:creationId xmlns:a16="http://schemas.microsoft.com/office/drawing/2014/main" id="{D410CB05-F967-2AD6-3C78-4D9013184424}"/>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 an image</a:t>
              </a:r>
            </a:p>
          </p:txBody>
        </p:sp>
        <p:sp>
          <p:nvSpPr>
            <p:cNvPr id="81" name="Rechthoek 80">
              <a:extLst>
                <a:ext uri="{FF2B5EF4-FFF2-40B4-BE49-F238E27FC236}">
                  <a16:creationId xmlns:a16="http://schemas.microsoft.com/office/drawing/2014/main" id="{96C110F2-DB61-F2A0-102E-B96E03C82664}"/>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2" name="Gelijkbenige driehoek 81">
              <a:extLst>
                <a:ext uri="{FF2B5EF4-FFF2-40B4-BE49-F238E27FC236}">
                  <a16:creationId xmlns:a16="http://schemas.microsoft.com/office/drawing/2014/main" id="{D9BAAF9A-BD78-26C4-621D-1AC7AA533A0B}"/>
                </a:ext>
              </a:extLst>
            </p:cNvPr>
            <p:cNvSpPr/>
            <p:nvPr userDrawn="1"/>
          </p:nvSpPr>
          <p:spPr>
            <a:xfrm rot="16200000" flipH="1">
              <a:off x="-3925504" y="-1392501"/>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347711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M) + text | dark mode">
    <p:bg>
      <p:bgPr>
        <a:solidFill>
          <a:schemeClr val="accent2"/>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dirty="0">
                <a:solidFill>
                  <a:schemeClr val="accent1"/>
                </a:solidFill>
                <a:latin typeface="+mj-lt"/>
              </a:rPr>
              <a:t>Image (M) + text | dark mode</a:t>
            </a:r>
            <a:endParaRPr lang="en-GB" sz="1800" b="1" cap="none" baseline="0" noProof="0" dirty="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lvl1pPr>
              <a:defRPr>
                <a:solidFill>
                  <a:schemeClr val="bg1"/>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B3CB0790-E9A2-6E67-239E-AE820D8351A7}"/>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0D0967EB-E223-34D4-2249-10A73BE52E0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79F69C09-7A2F-1A24-BFB8-863E0299A153}"/>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0B70B94E-B8A9-0844-3EAF-39B4323CD965}"/>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53AE89C-7DD2-2722-222F-2802759266E1}"/>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3A87F24F-3766-A9A7-A652-345BAE3901A9}"/>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6987E0BF-F4A1-F4BE-DB22-FBBE63A949AE}"/>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349298F2-390B-A97A-565C-8F34EF1BC015}"/>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A8A5BF94-5D83-51AC-FDC2-2DB910A1A370}"/>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3557799C-9801-4304-007C-96B1FF01E30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E2D90C9E-04EF-8D67-84B3-53CC1383B56B}"/>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73DD6FA7-9241-4BA3-4540-243F4364C3D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560A5EF4-452A-C47D-2279-863919455352}"/>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247783FD-8C3F-EF54-35F8-496F499D7C1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166982D2-48AD-9BA4-3319-F813B2542A66}"/>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BCB3AF48-4036-9B93-C659-863E73AF750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E1C4368D-F093-00DE-1BE1-F95BF42AAF54}"/>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13A0539B-53A7-863E-7727-3D72D9A654D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03987EA1-C861-55CD-E8E2-6D7ACC325063}"/>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CDE361AB-49B7-1154-FD07-DB29075749A5}"/>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FEA1A8E2-C1B0-2460-A639-D20A48EDFF70}"/>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7C062330-EAB7-E8E0-F35C-19FF4091AC0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53CA71A7-F8A1-DAD8-A043-4F21A68FA9F5}"/>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A8488C99-CCD1-FBDF-54E4-AF96E40B9943}"/>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2A3A9081-BEC9-E5B5-7129-54AF7D9368E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A1F113C4-2D5A-D3AC-93B3-F3266CF7638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F8CD22DD-D7A5-FA1F-3BD0-F0FEB161A097}"/>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37CFF1B9-6731-4E47-20A5-733F15F728D4}"/>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0674D3E3-3F0D-9932-B6B9-2084671FE8D3}"/>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C2D49B7A-912C-6A6E-DC7C-6364BD8110CD}"/>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923F04E5-431F-0F8D-1CAF-F11FF8862B58}"/>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D3D5ECED-52F0-C5CB-BFED-0ACB54D3743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61447953-2015-7765-D927-347F35C5E2D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02BFF810-7117-0409-9B4A-7B720239C37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0988791F-6C4E-1B86-4565-8F1DD980621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1897C869-A269-3382-12FC-D0FE5E6D447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5D3B0223-233C-D641-6C13-FE8BCF50C2D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DF77736B-B752-1CE9-763C-B0C017D8F5AE}"/>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A6BFF0A2-8640-5F97-684B-3295C04318C0}"/>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5E16BCF6-F0CA-AABD-1B33-39B78470747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1CF9CC9D-C773-C17B-99E2-68F5B5B6455D}"/>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09B2F130-5CA3-6D80-8112-2ECF832C522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DA25BA26-07B2-D6A5-6CAF-55CCE6A1552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509F34BA-7AD1-6C70-6C2B-F7AE8B33BD7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6B0B571E-E813-9D46-F48D-0EB352FF657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07A395EA-1852-477B-1718-31EFAE2ED49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D460947E-F1CD-3560-9B3D-E5301F940C41}"/>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51BD63C6-A4EE-9CA3-713E-CC89145F674A}"/>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D7918749-7E05-8E63-9C79-58995FEA5D4C}"/>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AE092800-9752-10DE-1380-C98658BA5F0E}"/>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2458EA62-80D9-BBB5-5CAC-6BCABA25168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893B9755-FBF3-27BF-CA88-2911B37A9EF4}"/>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85839790-4044-2FD7-30F6-4F1096BF5BA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CA95C337-FE13-A080-D6B7-6E74A174C92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0B91667B-5197-0AE2-D694-CF6C7BC3DE7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B14D9A9-12B0-2362-D080-8F5365E79DD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255F1C33-E8AD-36AE-BFE1-055742CD19E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5E0E99D6-9D87-7CB2-A791-C2FA313EA59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5FA02082-572F-A151-7945-4B2695E5CC34}"/>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83642C46-A668-9DDC-BF71-EC0AB48193E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7907993A-24D1-E428-D830-F4C02D9A38EE}"/>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3956F39C-241A-BC04-52FF-E271163FA0E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6DCA5F7D-B286-44C4-260A-2A963AC315F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5257B91C-A464-0BFA-A050-27B697877C22}"/>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B58843B8-C27D-5005-885E-C6BAC7D91D0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8C66F9B4-E371-1303-A8DF-B113A961CC4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1A0482B3-492F-AA85-5816-BDFC3FCBA81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3269C9AE-FDFA-31CC-AD4D-5EFB1C3FAF3B}"/>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D1D88979-146A-E364-FEFB-E326F9D421A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23936E01-DB74-9D6D-4AEE-DD98EB5B06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BEE1EFE6-706F-823E-DCE0-B695F6478FC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5E9A2E68-C8A1-EEC2-C1CA-C91AFFB0D20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6A79C011-298F-0F16-F82C-B018F20EF05A}"/>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E59A1A09-35E5-3877-EB86-D641AA703871}"/>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ED43AD59-CC67-C440-9DEC-D9A6FA60D1F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52756DA-507B-EA7E-9BD3-D085255F6F82}"/>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F84BAD5F-B9D1-0410-BAAA-8D46965E314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81E06180-7D5F-3A7B-281E-09852588488A}"/>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7EF1833F-E009-0FB1-E631-29D58ED9BAEA}"/>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7A3A73F4-317F-607A-E3BF-76637F5CB69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17320E69-B9D4-27E0-08E5-9917222A3CCD}"/>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1127A269-B404-B00E-F76F-36A226866A45}"/>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B58EC32E-0982-990B-005F-85E877E691D6}"/>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DAA28283-6433-D1D4-AA03-6F048B7B8D3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ABEB944A-3F29-58A8-C7F4-F7298137C3AC}"/>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664EA9CE-8466-88E0-1C0A-595308AFAC35}"/>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EC93D234-38D5-F7FB-4A9A-F9E3956EA75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7FE4919C-14A5-8B08-C75B-1D4F6C0A1E0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93BE4082-4A8B-AA99-5FB8-53B082AB5AD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EFFF627F-DD41-B6B1-A966-FBDFC836BBB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8F6D7B99-D667-0BCE-A515-4920BD5FAFF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7E76F207-8706-BC94-0187-AB7DDF81A35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A9C49130-59A0-A866-15C1-D030DBAE6D78}"/>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E79F92F1-65A1-9065-74FD-5B1F18E1ACA3}"/>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7BB9B21D-E09E-415F-882D-ABEC192CEA3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10BFE924-922C-9444-9D72-0D4405E11C9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BD3233A6-F3B6-A69F-451E-45AADF65B3E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0844AF91-2F67-0A58-469D-2D6C7C7AA36D}"/>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24F069BE-69F5-A599-296C-1E3B55F42A0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1B8ACD20-69B3-4F05-BEDA-32611ABA680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B21C25B0-6F24-279A-7F67-CB181FE5D76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25C59919-7EA1-2490-48B6-41BC192A6C2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62D87F8A-A270-8A80-1BDE-BE929AFB4C1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E9F8774D-BC14-F89C-EDB8-E19D411788C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4A8F8932-6223-C60D-520A-4B3114EFDB97}"/>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F3D80750-2189-65AA-92B7-2EDF6188030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8829B19A-8A77-7AC5-814F-BBE40054450C}"/>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14EDB932-D111-6288-36F8-995765270EB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B5C168F7-8D04-C380-74A5-28492954C47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8A3DF902-CE41-18CF-CC8A-CCF6890FC8A4}"/>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81CBAAC2-5BC8-44FD-1599-38A76B61D75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778ED93C-3689-C216-F5CA-563A6D8ECB6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C60FC464-782C-7087-8393-95EB895245B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9E4C106B-B6A9-C27D-E9F1-9DE9E6890B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12333633-A5A2-D468-FFAF-6B514C21DE1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D18A7EE9-BD26-5725-6D29-95B39CAFE309}"/>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313D675B-30C2-F0EE-7815-CEE5640E5008}"/>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53781D7D-CE0B-E442-EAC7-D7F8F40BE556}"/>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7EA0C453-4FF9-2113-2726-FB177B4993C8}"/>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D7C59E19-424F-34E2-DF71-5F0F7A84BFA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13CDA648-4879-5B57-3F2F-0C71A130968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E335B4AA-6B06-30CD-95FB-E692DB08D99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DE7D31C4-A373-4773-9C7D-4CD5C4A84CE3}"/>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314B97FA-4E02-D059-F7EE-5B066FBFED6E}"/>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79AC02DD-FD1F-69B9-E4E0-514FCD4DF813}"/>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B4EE2E3B-E903-4460-2458-34282EB4C14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96F5D277-3051-BF64-DA15-D5780AD762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93200710-F5EB-9611-E801-8BF96B1C2903}"/>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B680E6C7-941A-24DC-F040-658FC9D587C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D0CD47A2-E39F-94BD-9C17-252963BF233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5BC37983-DED2-D3FC-7B33-28C75B96194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2ED1FB52-95E9-AC5A-C86E-827F9D95F21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75B0681B-4EAB-3AE2-AB5E-31A88A8AE0B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E08209DD-AD8A-3092-F7DA-B4E7908C20E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8B5A8FA0-DD09-9740-6DA7-1A7EA3B2BA86}"/>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4DF1C6A3-D717-7FF9-0A4D-D4903CFE3867}"/>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3DE20C5C-01D6-4304-227C-3D673DBB85EB}"/>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F9FB0DA8-0298-305D-AEF2-8789DA28CE9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E16FE78E-5A62-6BE8-F06E-1AC33A67569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1F0170D9-A676-12A2-7049-CAD0F7E0EBC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D66CF15C-9070-5CBC-1CCA-080E93E01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A81BB697-190C-8043-4CDE-7AA88A107535}"/>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38681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L)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0" y="0"/>
            <a:ext cx="703511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2876" y="1569104"/>
            <a:ext cx="3718399"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L)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3311" y="722454"/>
            <a:ext cx="3718052" cy="323709"/>
          </a:xfrm>
        </p:spPr>
        <p:txBody>
          <a:body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0" y="4094329"/>
            <a:ext cx="7035113"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1C182753-D37A-03FB-5F8F-6C5C81751998}"/>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161F0B3A-2DD2-EB00-E6E3-C14742E429C9}"/>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1F91C9AE-A758-75C9-F413-ACF0E33628CA}"/>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0429B57F-8B37-0B56-0B77-DA799942F169}"/>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5950C5DC-DC34-7E0C-3235-87885FD49B6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7360CAA-330D-D085-28A4-B75D4894FA7D}"/>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4B9AA7C0-7935-6B9F-5601-B8133BE2F52C}"/>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C79B9160-D88E-F079-19A9-DC5600DA6DE9}"/>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8433726C-E98D-390F-6861-07BC05D7EB3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4A6647FA-AD76-A6BA-47CF-F69A4FD9424E}"/>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8D5ACFBE-F773-84B1-D9AA-55ABF947467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69F50771-D2E9-AAB8-5266-A021FC4FDFEE}"/>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39F61985-6A8C-D188-BE6E-B06994B5FCD1}"/>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87C8C0C0-557C-F8E5-F6BA-C5C8646F263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4527198F-5168-183C-7F2B-D89D3484BFE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BDAF6704-20B0-1032-1B5F-4F57DE495CC6}"/>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E6B9BC69-3959-89C0-7DB8-E8FC6A598774}"/>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C4B62ECE-564F-C3EB-D674-E60D1F209E3C}"/>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E25DF11A-613E-A712-C438-02963C5AF507}"/>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ECF4898B-C9CC-BF10-9A0F-D8B5E7790B4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7CE6187F-206D-D323-FD67-3692EB987465}"/>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6C738772-7F99-FFA5-0565-928ACF5ADE5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197957C7-1BD6-B96E-5E84-FBA03F5CE29D}"/>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540926F7-39DA-54F3-4FA9-8AE00F6C8AD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AC49195C-9C87-6164-ECA2-CD4CA82C881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DDAFE7FE-A134-D46C-3562-5B08CD8C4BED}"/>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19A15B23-37F5-321B-4FC4-1688B79ADC40}"/>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F5466969-64E7-C9A7-83BB-603D440D162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2CB18FA1-922A-3264-FEDA-9E1C48439749}"/>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7366486D-7CE8-331A-1109-F24848A05BFF}"/>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C05C80DD-8BC4-BE9E-3FC9-DF79BFEDDDB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F9878F74-E673-7989-FFC8-C0B738CE8D8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E7376151-8C77-24D5-9797-B1A58E7D48F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C47F31E4-159B-DB9D-AFCD-8F638C3C5D2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D41218B-5D12-246A-8EA5-F815FB5132E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5AF306A7-0913-30EC-2C0F-BD94665B1C0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EF1BD19D-B10D-9955-3F9E-FD8BE8EE1787}"/>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3D27DBE4-D0BB-6E91-812D-A6294A990E17}"/>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D8FCA4C7-5886-C66A-C2E4-D7827E29FC7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3E250946-2239-7323-E14B-B04C28199E2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229D1AC-C7D6-A0B1-4BF9-8A9B98227A2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93F41268-BA3A-2771-4E10-28D8162CD3C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9B277F83-263A-47EB-DA6D-FFE56E35C62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F09C4DFF-399C-FEE7-17D5-407FEE5DA0A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5CE31B18-8A50-3F55-8F2B-C0798467F1FD}"/>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6BC2E004-7B63-0399-3B0C-4756D1BCBC32}"/>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8183CEAC-464C-24B1-3187-5A453A8FBA19}"/>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7D838FDD-95CB-2F8D-5BD5-069785C7CDB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A90E01B7-9A1B-2B0F-71F6-228F08522F63}"/>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C145A0F9-45D7-DB49-7E48-5A288040AD58}"/>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A4E5FA3B-BEF0-AA32-B834-7A4BA41B215D}"/>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DC82169D-C4EA-81FD-9D45-76A15F35EC6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B441147B-4F7B-A44B-E5A9-3D7B1C4CFCD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83F89102-52EB-7F74-05E6-EF450C02276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B2B657DC-5239-D3B2-60EC-7D0238573D7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D9B1B29C-9EB0-4FC7-C876-356A3D5EF2A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84032DBA-F42C-139A-6A14-76771E67351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12D68B95-41BA-70F4-0FF2-5CCA90ACF7C2}"/>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E01FF351-893D-0851-B22B-043D8D903920}"/>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064406A5-B06A-39F4-1870-5DEAA0CC0E17}"/>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193E6AF6-40D8-27FE-5473-655D6D5D95D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142E451F-F47B-26DB-0D50-D5B04F66DF2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0871F5BA-F3A4-0DB3-DF67-154973C5FAC3}"/>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67C1A0D6-BC07-9492-251D-29B0E2B74804}"/>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282F3C60-7498-B2AF-C463-75F180DF76F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B2FB7C18-D130-40E4-2131-28F62138C8F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184818AA-F36C-9CB3-9D0C-9FFB58A47D07}"/>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F0F65DC2-BBC6-21B0-EB36-EB677C3BBFA5}"/>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4C8CB1AA-0713-2EDB-ED43-436B12BE1E9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35DEFC04-A9A7-169E-CCF5-E9FDFA43C60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8A06F22F-7609-F715-B955-22D52832484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C8A23695-E32B-B2DD-5D29-1A2CADF76FAE}"/>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2" name="INSTRUCTION">
            <a:extLst>
              <a:ext uri="{FF2B5EF4-FFF2-40B4-BE49-F238E27FC236}">
                <a16:creationId xmlns:a16="http://schemas.microsoft.com/office/drawing/2014/main" id="{ABBA2584-EB2E-097C-61ED-9AD0B02E720F}"/>
              </a:ext>
            </a:extLst>
          </p:cNvPr>
          <p:cNvGrpSpPr/>
          <p:nvPr userDrawn="1"/>
        </p:nvGrpSpPr>
        <p:grpSpPr>
          <a:xfrm>
            <a:off x="-3786165" y="-1"/>
            <a:ext cx="3693386" cy="6640349"/>
            <a:chOff x="-3786165" y="-1"/>
            <a:chExt cx="3693386" cy="6640349"/>
          </a:xfrm>
        </p:grpSpPr>
        <p:sp>
          <p:nvSpPr>
            <p:cNvPr id="83" name="Rechthoek 82">
              <a:extLst>
                <a:ext uri="{FF2B5EF4-FFF2-40B4-BE49-F238E27FC236}">
                  <a16:creationId xmlns:a16="http://schemas.microsoft.com/office/drawing/2014/main" id="{197CFE1F-62E8-0CB4-F076-3895FD22F54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4" name="Ovaal 83">
              <a:extLst>
                <a:ext uri="{FF2B5EF4-FFF2-40B4-BE49-F238E27FC236}">
                  <a16:creationId xmlns:a16="http://schemas.microsoft.com/office/drawing/2014/main" id="{01EF32E0-A25C-0B98-C22C-DB8BB01C719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3CBF2FA5-CCDC-025D-ADE5-3EAB258BBFF5}"/>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631CEF0A-6463-D0BF-6C68-F3C3EDDA97B7}"/>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7" name="Rechthoek 86">
              <a:extLst>
                <a:ext uri="{FF2B5EF4-FFF2-40B4-BE49-F238E27FC236}">
                  <a16:creationId xmlns:a16="http://schemas.microsoft.com/office/drawing/2014/main" id="{E3D7DA09-0073-1375-CFB7-D48D4FF2F42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545AEC8C-ECC1-F810-E268-3E0FD2C3317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9" name="Rechthoek 88">
              <a:extLst>
                <a:ext uri="{FF2B5EF4-FFF2-40B4-BE49-F238E27FC236}">
                  <a16:creationId xmlns:a16="http://schemas.microsoft.com/office/drawing/2014/main" id="{B241703D-7C46-A6BF-B227-6DFBCECA5F50}"/>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0" name="Rechthoek 89">
              <a:extLst>
                <a:ext uri="{FF2B5EF4-FFF2-40B4-BE49-F238E27FC236}">
                  <a16:creationId xmlns:a16="http://schemas.microsoft.com/office/drawing/2014/main" id="{5AC093CC-3EC1-A92F-02DA-AE729C416523}"/>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CA7FC607-2ED5-C448-D706-EF201EAC42B6}"/>
                </a:ext>
              </a:extLst>
            </p:cNvPr>
            <p:cNvGrpSpPr/>
            <p:nvPr userDrawn="1"/>
          </p:nvGrpSpPr>
          <p:grpSpPr>
            <a:xfrm>
              <a:off x="-2485819" y="3479783"/>
              <a:ext cx="1222990" cy="563933"/>
              <a:chOff x="-2485819" y="3399207"/>
              <a:chExt cx="1222990" cy="563933"/>
            </a:xfrm>
          </p:grpSpPr>
          <p:sp>
            <p:nvSpPr>
              <p:cNvPr id="130" name="Rechthoek 129">
                <a:extLst>
                  <a:ext uri="{FF2B5EF4-FFF2-40B4-BE49-F238E27FC236}">
                    <a16:creationId xmlns:a16="http://schemas.microsoft.com/office/drawing/2014/main" id="{9E96E077-0E80-F053-510A-0207308572D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E881AF09-38C3-E2F5-10E4-BBE9764C1C1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2" name="Groep 131">
                <a:extLst>
                  <a:ext uri="{FF2B5EF4-FFF2-40B4-BE49-F238E27FC236}">
                    <a16:creationId xmlns:a16="http://schemas.microsoft.com/office/drawing/2014/main" id="{FC877618-F4D8-0538-8B40-747782A16638}"/>
                  </a:ext>
                </a:extLst>
              </p:cNvPr>
              <p:cNvGrpSpPr/>
              <p:nvPr userDrawn="1"/>
            </p:nvGrpSpPr>
            <p:grpSpPr>
              <a:xfrm>
                <a:off x="-2403869" y="3460544"/>
                <a:ext cx="155951" cy="131922"/>
                <a:chOff x="12968836" y="3354170"/>
                <a:chExt cx="404806" cy="342433"/>
              </a:xfrm>
            </p:grpSpPr>
            <p:sp>
              <p:nvSpPr>
                <p:cNvPr id="145" name="Rechthoek: afgeronde hoeken 144">
                  <a:extLst>
                    <a:ext uri="{FF2B5EF4-FFF2-40B4-BE49-F238E27FC236}">
                      <a16:creationId xmlns:a16="http://schemas.microsoft.com/office/drawing/2014/main" id="{20532B2D-CDA3-FA36-CAAF-86D4F99D965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6" name="Rechthoek 145">
                  <a:extLst>
                    <a:ext uri="{FF2B5EF4-FFF2-40B4-BE49-F238E27FC236}">
                      <a16:creationId xmlns:a16="http://schemas.microsoft.com/office/drawing/2014/main" id="{7D028589-6AE7-5D8A-70DB-58993521759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EECCCCC9-A47D-A533-F544-F38BBEBC14F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D1A39F79-BD4E-38DA-909D-D5605198F4B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9E386CB9-59D6-A1A2-3EED-45CC91F5C00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DA199680-BE14-2A1E-268D-FE43C05695B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3" name="Groep 132">
                <a:extLst>
                  <a:ext uri="{FF2B5EF4-FFF2-40B4-BE49-F238E27FC236}">
                    <a16:creationId xmlns:a16="http://schemas.microsoft.com/office/drawing/2014/main" id="{E7DBE0D6-7EA2-89E9-CE65-1CF29C25D75A}"/>
                  </a:ext>
                </a:extLst>
              </p:cNvPr>
              <p:cNvGrpSpPr/>
              <p:nvPr userDrawn="1"/>
            </p:nvGrpSpPr>
            <p:grpSpPr>
              <a:xfrm>
                <a:off x="-2423424" y="3690208"/>
                <a:ext cx="166739" cy="218963"/>
                <a:chOff x="12940828" y="3950597"/>
                <a:chExt cx="432813" cy="568367"/>
              </a:xfrm>
            </p:grpSpPr>
            <p:grpSp>
              <p:nvGrpSpPr>
                <p:cNvPr id="137" name="Groep 136">
                  <a:extLst>
                    <a:ext uri="{FF2B5EF4-FFF2-40B4-BE49-F238E27FC236}">
                      <a16:creationId xmlns:a16="http://schemas.microsoft.com/office/drawing/2014/main" id="{E18461F9-11B5-C8CB-0E81-69E6D3FCD0FB}"/>
                    </a:ext>
                  </a:extLst>
                </p:cNvPr>
                <p:cNvGrpSpPr/>
                <p:nvPr userDrawn="1"/>
              </p:nvGrpSpPr>
              <p:grpSpPr>
                <a:xfrm>
                  <a:off x="13000382" y="4006891"/>
                  <a:ext cx="373259" cy="315747"/>
                  <a:chOff x="12968836" y="3354170"/>
                  <a:chExt cx="404806" cy="342433"/>
                </a:xfrm>
              </p:grpSpPr>
              <p:sp>
                <p:nvSpPr>
                  <p:cNvPr id="139" name="Rechthoek: afgeronde hoeken 138">
                    <a:extLst>
                      <a:ext uri="{FF2B5EF4-FFF2-40B4-BE49-F238E27FC236}">
                        <a16:creationId xmlns:a16="http://schemas.microsoft.com/office/drawing/2014/main" id="{A33F0500-6672-F106-4282-8FCD6F10A1F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6B6B4812-828C-D822-E7A0-74103428161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5CEA06D3-9BCE-72D5-E374-91F261957EC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A3153A60-2EC8-A221-91C5-7ACE42CA4E5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C38140D7-D6AF-FEA7-6AF9-5C2C2A9C0B0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FA36004D-FD9C-B107-01EA-DD6FA8AA8D8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8" name="Boog 137">
                  <a:extLst>
                    <a:ext uri="{FF2B5EF4-FFF2-40B4-BE49-F238E27FC236}">
                      <a16:creationId xmlns:a16="http://schemas.microsoft.com/office/drawing/2014/main" id="{84A96E7D-A637-42C8-8F63-26465DCFBB8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4" name="Tekstvak 133">
                <a:extLst>
                  <a:ext uri="{FF2B5EF4-FFF2-40B4-BE49-F238E27FC236}">
                    <a16:creationId xmlns:a16="http://schemas.microsoft.com/office/drawing/2014/main" id="{12B9ED65-7296-1120-7AC6-461D16714F7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5" name="Tekstvak 134">
                <a:extLst>
                  <a:ext uri="{FF2B5EF4-FFF2-40B4-BE49-F238E27FC236}">
                    <a16:creationId xmlns:a16="http://schemas.microsoft.com/office/drawing/2014/main" id="{C56B4E1E-06A7-DAE2-ED36-3F1FC1FC6EF0}"/>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6" name="Vrije vorm: vorm 135">
                <a:extLst>
                  <a:ext uri="{FF2B5EF4-FFF2-40B4-BE49-F238E27FC236}">
                    <a16:creationId xmlns:a16="http://schemas.microsoft.com/office/drawing/2014/main" id="{B2A7B7A8-6066-C590-56F4-92D8DEB319E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84CDA475-9168-AA76-FF8D-9FB4BBF514D8}"/>
                </a:ext>
              </a:extLst>
            </p:cNvPr>
            <p:cNvGrpSpPr/>
            <p:nvPr userDrawn="1"/>
          </p:nvGrpSpPr>
          <p:grpSpPr>
            <a:xfrm>
              <a:off x="-3786165" y="5680652"/>
              <a:ext cx="3693386" cy="959696"/>
              <a:chOff x="-3786437" y="6163468"/>
              <a:chExt cx="3693386" cy="959696"/>
            </a:xfrm>
          </p:grpSpPr>
          <p:sp>
            <p:nvSpPr>
              <p:cNvPr id="120" name="Rechthoek 119">
                <a:extLst>
                  <a:ext uri="{FF2B5EF4-FFF2-40B4-BE49-F238E27FC236}">
                    <a16:creationId xmlns:a16="http://schemas.microsoft.com/office/drawing/2014/main" id="{5A31E6D1-BF05-E3D1-1EB8-2981DE5C037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1" name="ICOON_info">
                <a:extLst>
                  <a:ext uri="{FF2B5EF4-FFF2-40B4-BE49-F238E27FC236}">
                    <a16:creationId xmlns:a16="http://schemas.microsoft.com/office/drawing/2014/main" id="{0D0F6C5E-CA7C-0E19-9F9B-E0410E872783}"/>
                  </a:ext>
                </a:extLst>
              </p:cNvPr>
              <p:cNvGrpSpPr/>
              <p:nvPr userDrawn="1"/>
            </p:nvGrpSpPr>
            <p:grpSpPr>
              <a:xfrm>
                <a:off x="-376736" y="6163468"/>
                <a:ext cx="283685" cy="283685"/>
                <a:chOff x="-510741" y="5913713"/>
                <a:chExt cx="267555" cy="267555"/>
              </a:xfrm>
            </p:grpSpPr>
            <p:sp>
              <p:nvSpPr>
                <p:cNvPr id="128" name="Ovaal 127">
                  <a:extLst>
                    <a:ext uri="{FF2B5EF4-FFF2-40B4-BE49-F238E27FC236}">
                      <a16:creationId xmlns:a16="http://schemas.microsoft.com/office/drawing/2014/main" id="{57662B22-43FE-3E38-970B-4021994EF13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9" name="Graphic 163" descr="Informatie">
                  <a:extLst>
                    <a:ext uri="{FF2B5EF4-FFF2-40B4-BE49-F238E27FC236}">
                      <a16:creationId xmlns:a16="http://schemas.microsoft.com/office/drawing/2014/main" id="{42EE14BC-D019-FE01-BC94-92188C12C39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2" name="Groep 121">
                <a:extLst>
                  <a:ext uri="{FF2B5EF4-FFF2-40B4-BE49-F238E27FC236}">
                    <a16:creationId xmlns:a16="http://schemas.microsoft.com/office/drawing/2014/main" id="{11B39E94-2DB5-3632-D6F5-1066AB4A12F6}"/>
                  </a:ext>
                </a:extLst>
              </p:cNvPr>
              <p:cNvGrpSpPr/>
              <p:nvPr userDrawn="1"/>
            </p:nvGrpSpPr>
            <p:grpSpPr>
              <a:xfrm>
                <a:off x="-938434" y="6420818"/>
                <a:ext cx="627798" cy="576693"/>
                <a:chOff x="-938434" y="4570310"/>
                <a:chExt cx="627798" cy="576693"/>
              </a:xfrm>
            </p:grpSpPr>
            <p:grpSp>
              <p:nvGrpSpPr>
                <p:cNvPr id="123" name="Inspireren">
                  <a:extLst>
                    <a:ext uri="{FF2B5EF4-FFF2-40B4-BE49-F238E27FC236}">
                      <a16:creationId xmlns:a16="http://schemas.microsoft.com/office/drawing/2014/main" id="{7C5CCB28-788B-69AD-61E7-8FFE9C8DDFF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5" name="Freeform 12">
                    <a:extLst>
                      <a:ext uri="{FF2B5EF4-FFF2-40B4-BE49-F238E27FC236}">
                        <a16:creationId xmlns:a16="http://schemas.microsoft.com/office/drawing/2014/main" id="{B1979129-8360-5A8F-9025-74FCE4263B7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6" name="Freeform 13">
                    <a:extLst>
                      <a:ext uri="{FF2B5EF4-FFF2-40B4-BE49-F238E27FC236}">
                        <a16:creationId xmlns:a16="http://schemas.microsoft.com/office/drawing/2014/main" id="{062B8236-9687-2507-4998-6D149721E94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4">
                    <a:extLst>
                      <a:ext uri="{FF2B5EF4-FFF2-40B4-BE49-F238E27FC236}">
                        <a16:creationId xmlns:a16="http://schemas.microsoft.com/office/drawing/2014/main" id="{F10E2487-6402-6DAE-C117-5B6D3D26055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4" name="Tekstvak 123">
                  <a:extLst>
                    <a:ext uri="{FF2B5EF4-FFF2-40B4-BE49-F238E27FC236}">
                      <a16:creationId xmlns:a16="http://schemas.microsoft.com/office/drawing/2014/main" id="{99B5D6F4-5D1E-FD38-719A-33B75CF8C8D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3" name="Groep 92">
              <a:extLst>
                <a:ext uri="{FF2B5EF4-FFF2-40B4-BE49-F238E27FC236}">
                  <a16:creationId xmlns:a16="http://schemas.microsoft.com/office/drawing/2014/main" id="{9A2E264A-8EA2-B9CC-521C-A51CC9A8D037}"/>
                </a:ext>
              </a:extLst>
            </p:cNvPr>
            <p:cNvGrpSpPr/>
            <p:nvPr userDrawn="1"/>
          </p:nvGrpSpPr>
          <p:grpSpPr>
            <a:xfrm>
              <a:off x="-3426806" y="5129582"/>
              <a:ext cx="514284" cy="506545"/>
              <a:chOff x="12617641" y="3403239"/>
              <a:chExt cx="752963" cy="741634"/>
            </a:xfrm>
          </p:grpSpPr>
          <p:grpSp>
            <p:nvGrpSpPr>
              <p:cNvPr id="104" name="Groep 103">
                <a:extLst>
                  <a:ext uri="{FF2B5EF4-FFF2-40B4-BE49-F238E27FC236}">
                    <a16:creationId xmlns:a16="http://schemas.microsoft.com/office/drawing/2014/main" id="{6AE8B6CD-971E-3744-5319-11531C0135CA}"/>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4F86ABF1-AED6-69CC-41E8-A3F5DE01B2A6}"/>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A7A8C876-6306-B932-1915-932B0F76BDE4}"/>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DCCE4507-54C3-5A71-C0C9-D06864EA0F77}"/>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647FAF5E-8C74-2291-98B5-07765370DA3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8272CFB2-C196-E22A-6FCE-447128165D3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5AE5EF3A-0F5C-010B-4F71-BD025AC7E4BD}"/>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190620F3-18EC-27BA-2475-AA1A6A927D9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886EB32F-5865-873B-48FC-904B7843217F}"/>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AB84B581-2C37-66C9-C748-1C0A68A66DC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E1690D03-2492-1FD6-0726-BF08D95D13E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10325537-5A98-FDE4-07BD-73B9E057E3DD}"/>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006095F2-7D8F-55B6-8522-1B2DF479798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93E72C50-15CD-B642-2E37-A933251614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1E08ED1F-EF07-15E3-802C-52803D5E4E6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91608643-D1B3-4768-F951-B23F24ECAFC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4" name="Ovaal 93">
              <a:extLst>
                <a:ext uri="{FF2B5EF4-FFF2-40B4-BE49-F238E27FC236}">
                  <a16:creationId xmlns:a16="http://schemas.microsoft.com/office/drawing/2014/main" id="{A00954BB-5325-4A84-7D90-114E402F996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5" name="Rechthoek 94">
              <a:extLst>
                <a:ext uri="{FF2B5EF4-FFF2-40B4-BE49-F238E27FC236}">
                  <a16:creationId xmlns:a16="http://schemas.microsoft.com/office/drawing/2014/main" id="{1EE2235F-F018-D5E5-106F-3CD24842DA7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Rechthoek 95">
              <a:extLst>
                <a:ext uri="{FF2B5EF4-FFF2-40B4-BE49-F238E27FC236}">
                  <a16:creationId xmlns:a16="http://schemas.microsoft.com/office/drawing/2014/main" id="{23AA42D3-9774-8BBC-843D-4416DF5B478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7" name="Groep 96">
              <a:extLst>
                <a:ext uri="{FF2B5EF4-FFF2-40B4-BE49-F238E27FC236}">
                  <a16:creationId xmlns:a16="http://schemas.microsoft.com/office/drawing/2014/main" id="{F352F5CD-B1BD-4861-FEA7-E5EDF29D9F97}"/>
                </a:ext>
              </a:extLst>
            </p:cNvPr>
            <p:cNvGrpSpPr/>
            <p:nvPr userDrawn="1"/>
          </p:nvGrpSpPr>
          <p:grpSpPr>
            <a:xfrm>
              <a:off x="-3365484" y="1226982"/>
              <a:ext cx="446937" cy="406485"/>
              <a:chOff x="-3563526" y="1409294"/>
              <a:chExt cx="354190" cy="322133"/>
            </a:xfrm>
          </p:grpSpPr>
          <p:grpSp>
            <p:nvGrpSpPr>
              <p:cNvPr id="98" name="Groep 97">
                <a:extLst>
                  <a:ext uri="{FF2B5EF4-FFF2-40B4-BE49-F238E27FC236}">
                    <a16:creationId xmlns:a16="http://schemas.microsoft.com/office/drawing/2014/main" id="{94C0320C-6307-4149-B1B4-5E90FBC232B9}"/>
                  </a:ext>
                </a:extLst>
              </p:cNvPr>
              <p:cNvGrpSpPr/>
              <p:nvPr userDrawn="1"/>
            </p:nvGrpSpPr>
            <p:grpSpPr>
              <a:xfrm>
                <a:off x="-3499992" y="1409294"/>
                <a:ext cx="225195" cy="195499"/>
                <a:chOff x="8987389" y="1361199"/>
                <a:chExt cx="2200275" cy="1914525"/>
              </a:xfrm>
            </p:grpSpPr>
            <p:sp>
              <p:nvSpPr>
                <p:cNvPr id="100" name="Vrije vorm: vorm 99">
                  <a:extLst>
                    <a:ext uri="{FF2B5EF4-FFF2-40B4-BE49-F238E27FC236}">
                      <a16:creationId xmlns:a16="http://schemas.microsoft.com/office/drawing/2014/main" id="{9CF1F5EC-FFE7-7BD7-CB13-5A0DF99BB735}"/>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1" name="Groep 100">
                  <a:extLst>
                    <a:ext uri="{FF2B5EF4-FFF2-40B4-BE49-F238E27FC236}">
                      <a16:creationId xmlns:a16="http://schemas.microsoft.com/office/drawing/2014/main" id="{7FA4587A-D307-DF5A-EBE9-988766AE401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2" name="Vrije vorm: vorm 101">
                    <a:extLst>
                      <a:ext uri="{FF2B5EF4-FFF2-40B4-BE49-F238E27FC236}">
                        <a16:creationId xmlns:a16="http://schemas.microsoft.com/office/drawing/2014/main" id="{580874E5-40C7-33FB-571A-42AA15E4B39C}"/>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3" name="Vrije vorm: vorm 102">
                    <a:extLst>
                      <a:ext uri="{FF2B5EF4-FFF2-40B4-BE49-F238E27FC236}">
                        <a16:creationId xmlns:a16="http://schemas.microsoft.com/office/drawing/2014/main" id="{A3DDEB1A-597C-4424-0853-95C317934B02}"/>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99" name="Tekstvak 98">
                <a:extLst>
                  <a:ext uri="{FF2B5EF4-FFF2-40B4-BE49-F238E27FC236}">
                    <a16:creationId xmlns:a16="http://schemas.microsoft.com/office/drawing/2014/main" id="{6053E988-0CF6-1284-8060-57F1D01A177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193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 + text | blue mode">
    <p:bg>
      <p:bgPr>
        <a:solidFill>
          <a:schemeClr val="accent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1" y="0"/>
            <a:ext cx="703511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1363" y="1569104"/>
            <a:ext cx="37183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L)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1710" y="722454"/>
            <a:ext cx="3718052" cy="323709"/>
          </a:xfrm>
        </p:spPr>
        <p:txBody>
          <a:bodyPr/>
          <a:lstStyle>
            <a:lvl1pPr>
              <a:defRPr>
                <a:solidFill>
                  <a:schemeClr val="tx2"/>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1" y="4094329"/>
            <a:ext cx="7035113"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F2CE8C7B-360C-FFE0-9E57-5AD6A1997D6F}"/>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C5564012-1912-9450-5FB3-C2D99D9A0187}"/>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9F482477-B036-5D7E-2431-4686085ECED7}"/>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7C18B15F-8CB0-36CB-4132-022C379024B5}"/>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DB448D0-37D2-1E97-AE6E-6CB6EB87E8A6}"/>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DECD613A-2768-135B-D788-E7D8831FAE78}"/>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732C590C-39D9-6A87-B4BE-E667C01E00C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6D8C6019-E558-67A0-1DEB-1B99FBD3AEC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763C2EAC-36A1-60E5-82F1-4542194264C6}"/>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FB40DCBF-AB24-25E1-8F58-9F1241FDAFF5}"/>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D21D15D5-7379-E56D-FEFC-980320947E6D}"/>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46C415F4-0755-BCDA-3411-F3AB8ADD02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0D658161-325A-28F7-6955-43E9A2D0800C}"/>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3C16F4D7-033E-39EF-3698-E52C4CFF82A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92DA9D1E-1316-8EAF-39C3-633F69188591}"/>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C3811279-355F-46ED-11D2-C158074834BA}"/>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2CD76153-E7AE-B444-343F-F0925ACA915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DD3D3F60-DBFA-8C2F-8866-FBEEEE8579ED}"/>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0451C1E2-471C-8B47-F19F-A20F42365765}"/>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203E4EA4-74F1-86D2-871D-232F972F505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E09AEEB4-7905-4EC1-E1AB-10C2E52585AF}"/>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DAFB141D-4210-F056-0EC0-7C95C7E13A0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0FD5EE1E-05D7-6BAE-8011-5C42CE77ABAF}"/>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4A367698-9FDD-9329-42AE-CA1338F81F9A}"/>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34BBE4E7-3B8E-DD1F-E079-1533483E5E3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D1755EB3-38C6-3692-0173-FC6AA22741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74093231-30A3-00A7-4C66-1601A7768CDC}"/>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8F03249D-AAD0-68D8-8C2F-368CFBDB3993}"/>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6CB16A27-0EA7-DDA1-485D-1879EC47550C}"/>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5DDF132B-FB9C-78D9-3F26-D9F110CF73BF}"/>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144C11BC-4810-5E1C-B34A-BA233A22BE73}"/>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46BD0B0D-D8DF-F59B-04FD-D838EBA4973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E720DFC0-4D28-B137-27A2-C0B189183B7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1118595D-1200-7858-5D9C-7A238486B17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B26C46AD-0B66-9D7C-9FC4-8A16A53D116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055A3277-E624-18B6-D19A-27507105446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2315519A-4B0E-0B2F-4460-D58FE51B021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526EC352-36FE-8142-03BE-04B569AFE72A}"/>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09632EB7-48E0-71E7-BDF7-D925658DD910}"/>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ED2F9E54-A731-26FD-A767-68E6701FDC8C}"/>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39AC02C-9082-7147-1CC1-8D1C6569CE8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5396A51E-9B20-C56D-AE39-E19FF2B3A7B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C17FC455-FD73-4D26-3461-CDB12A0C0CC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11482E8-ACF8-FDA8-220C-812C900BA8E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A9AAFCDC-9F4D-37E6-2766-CB1B18CB15C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363AD987-1161-2872-1491-35E77880AF4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A5F2F453-F46E-4600-23E1-7B0C68AEAB5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DF25AE5A-8195-91AF-E8B8-C86C0A10510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ACACE095-809D-92CE-852E-91F4A2A46A10}"/>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45509355-2089-447A-20C1-E20B857B1926}"/>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9C433AA5-6AC2-FA6D-AE2E-4B4370D97455}"/>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6CC64A8F-EFC7-5128-A869-F4DB4BEC45F8}"/>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C5054BE0-1632-D53A-02FE-C86830FDBFD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73EAD92F-51AB-3C12-2F56-452291C94A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1CD778D7-33A5-C84C-13B6-E60FD9A9342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3C54E428-7FED-2343-FD61-273FF063EAF9}"/>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D7A7612C-6FEF-938C-EAC4-55A9BEB814A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C30FD48E-B893-3404-64C1-5CC8ACC369C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FAB11BA-864A-1D5F-B220-8DD3A10A3E8E}"/>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63179556-C1DD-7952-5E45-4213386037CB}"/>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1E2AF22F-473C-A6E8-F63C-21666C95052D}"/>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1760650E-CC90-10A4-5154-0571AB78987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2A3E8100-7EDE-6785-4843-98958C8C7D5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2A3C1821-A1A1-ED03-F727-85DC1CE11DB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6444AD83-3460-AAA2-AC09-1EFE16037AF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4F3C2A51-65C6-6739-7B12-855ED168D35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D168D7AF-E66C-9D68-F29D-12B56BDC299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6A86315F-CE6D-A421-9582-63DB1311F6B7}"/>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A7C26EC0-A42E-F5B9-8F0A-44F064D2FCA4}"/>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EBC72EBD-677E-CECE-3EBC-06F281CFE9B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25F18558-DA35-FB02-7E20-4E64CDB3E9F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D890AC45-FF2F-B336-876B-057FF717113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8B9FB497-A268-4702-E483-D37D608CBC87}"/>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DADB640B-F848-BF22-D9FD-1280D8BB256D}"/>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30A59C9E-A5E3-9CFB-DB6D-D1818672C98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31F617BA-443B-B604-887B-807D4774C08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92B0F077-C636-F02C-B0E5-6C6E08D4AFD9}"/>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E3F72F69-7C07-CFCB-51F8-E99D6915645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9091F0B1-182E-AB64-F686-2FCEE439E9AF}"/>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CFEFB352-A2BE-D63C-2FAB-5C2BF6A2650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7B801473-D5E8-DAC9-B62C-1CCAA1AE98AC}"/>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7ECF16FD-A827-8A4F-C0A9-BCA60D9BC6FB}"/>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80534B9D-5094-52EA-E869-2A3B610D1AF7}"/>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0EC07636-605E-EC78-0E6B-F18D7E22746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25326BA8-AA52-3973-2EF2-4282A6370A9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A6F3190D-B871-F8BD-A59D-F0E213EC18DA}"/>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B69C5BC7-7F6C-D15D-4294-D0183C42991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12132457-6BB3-5FD1-6969-5A35ABDB0FF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D383B8B7-E7A4-E39F-2D5A-17041E6081D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C537C40B-564E-434F-5FAF-B38FC66FD12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D4D46503-562A-91B5-07C9-A7806C1ACB3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7DC78F9F-DBD1-4690-EEB3-D55CF1C68FA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D0FBB1C7-28DA-B9C0-7691-28988782201F}"/>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CA764267-1C4F-2584-454A-1184B133A3FE}"/>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3D627100-7CAA-5068-0024-FDC664D23C1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C3392647-A40B-7DC5-E652-1F3D2982A64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5C4FE589-B40B-0945-C711-6727D94FF42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CD58B93F-2C90-1F4A-DD69-CF8CF8E07B1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211A8B7A-4B14-A89D-94B7-A053990BDF3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A6FDFA63-9A0E-59F7-07A3-3BA7F55EF6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93934C78-BA19-5FF5-A663-51F0F25094B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C584F701-9445-1FCC-9E79-CB8E38E71B3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9B838821-5A9A-5FC3-7D0C-0C2161031F8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0E00BB0D-9EC3-71ED-BB92-82EC7D4B8EFC}"/>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F41B6FB0-6DE5-3043-0F64-3C28B565310F}"/>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32902CD8-B7A4-4A94-3355-A58737AC59B8}"/>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161A0F02-D7A7-9E22-DBF0-36B7CB3408A9}"/>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68D6C11E-FACC-4A35-49CB-34B5EE3B079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2CB0D6B8-8A90-0918-ECE3-10E2C322A07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7D1444BC-65AC-894E-BE11-2F81C4746B86}"/>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73790A88-64EA-FBB5-C84B-B29D01231EBF}"/>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B13080AE-CC17-8D30-2A89-6EF330C4EA0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E1DE025A-993A-E256-DFF8-C05AD5E1AA1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8527177F-6F96-5EB2-0CB8-7EE4F2CC98B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AE7907BE-1008-4C4F-7A98-3382D2AD0CA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4DCAFB2A-9564-E13A-6978-26E18E179B72}"/>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2F2DF590-3E74-2972-A9FC-69E233CC7723}"/>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79AE5742-0FD1-B388-EDE7-AAA8393C589D}"/>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AACBE424-0327-C5C7-BBCC-A8484F770B6E}"/>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8DDE7238-DEDB-BD61-2AC0-A8447997597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24CAF6A2-72B6-7A8C-776E-0CECF05CCDA2}"/>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062C60B0-FBAE-1387-8B3C-A0A30355BB2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CDF3B38B-56FE-FE19-7CBA-AC26D74F4DBC}"/>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56925B78-2420-9263-5698-320AFF9F2E02}"/>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FF26AFE1-85ED-4883-FD58-36FD1AF1E9AF}"/>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74AE44B6-3547-F066-961C-FE3BECD93C1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E4E17695-279A-1BCA-565E-BE42B3CB535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8191F1BF-C315-B89C-BBC0-FD99A46D1FCB}"/>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CE75644D-6EDD-5C74-1374-B45DF3B52CD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7297CA82-0828-28AC-291E-05552A1DA8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66A8E329-8C4C-744C-B50F-F908B69830C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8C8738C7-DAFA-B166-ADAC-54C8A9C0898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A532AA27-C5B7-8227-55CF-E0CD6BA55F39}"/>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27294885-0684-1A98-196C-F3597A4FA6B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4DB68C6F-8BFA-85AE-9D37-34F392C2ACE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9648D4D6-F727-688B-B1A8-EB1DE507EA79}"/>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6B608090-81AF-A43C-C813-76E48AB1972E}"/>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B8461E32-E73D-1B3F-FBAB-7F844D7EE0F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E236059C-7079-0E28-32DA-0FA9073CE34F}"/>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B15D5726-B38D-0E0A-B5BD-2D0FE776D87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69DB4185-0C50-12CC-86E4-1B80536F780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ED472295-600B-FA4B-183A-522A345F29A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2439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L) + text | dark mode">
    <p:bg>
      <p:bgPr>
        <a:solidFill>
          <a:schemeClr val="accent2"/>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0" y="0"/>
            <a:ext cx="7035112"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1363" y="1569104"/>
            <a:ext cx="37183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dirty="0">
                <a:solidFill>
                  <a:schemeClr val="accent1"/>
                </a:solidFill>
                <a:latin typeface="+mj-lt"/>
              </a:rPr>
              <a:t>Image (L) + text | dark mode</a:t>
            </a:r>
            <a:endParaRPr lang="en-GB" sz="1800" b="1" cap="none" baseline="0" noProof="0" dirty="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1710" y="722454"/>
            <a:ext cx="3718052" cy="323709"/>
          </a:xfrm>
        </p:spPr>
        <p:txBody>
          <a:bodyPr/>
          <a:lstStyle>
            <a:lvl1pPr>
              <a:defRPr>
                <a:solidFill>
                  <a:schemeClr val="bg1"/>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0" y="4094329"/>
            <a:ext cx="7035112"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A7336FF7-18FF-3BB8-5AEA-E983219567F5}"/>
              </a:ext>
            </a:extLst>
          </p:cNvPr>
          <p:cNvGrpSpPr/>
          <p:nvPr userDrawn="1"/>
        </p:nvGrpSpPr>
        <p:grpSpPr>
          <a:xfrm>
            <a:off x="-3786165" y="-1"/>
            <a:ext cx="3693386" cy="6640349"/>
            <a:chOff x="-3786165" y="-1"/>
            <a:chExt cx="3693386" cy="6640349"/>
          </a:xfrm>
        </p:grpSpPr>
        <p:sp>
          <p:nvSpPr>
            <p:cNvPr id="7" name="Rechthoek 6">
              <a:extLst>
                <a:ext uri="{FF2B5EF4-FFF2-40B4-BE49-F238E27FC236}">
                  <a16:creationId xmlns:a16="http://schemas.microsoft.com/office/drawing/2014/main" id="{8C770C59-D708-F964-89F9-E59E317418A1}"/>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 name="Ovaal 9">
              <a:extLst>
                <a:ext uri="{FF2B5EF4-FFF2-40B4-BE49-F238E27FC236}">
                  <a16:creationId xmlns:a16="http://schemas.microsoft.com/office/drawing/2014/main" id="{EE48741E-CA30-117C-60C6-1C308653AB2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88A8179E-0C1F-1E64-E21C-7D5FE802D0CC}"/>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7650F560-EA1D-F0EA-031C-BA7971A45D4B}"/>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 name="Rechthoek 12">
              <a:extLst>
                <a:ext uri="{FF2B5EF4-FFF2-40B4-BE49-F238E27FC236}">
                  <a16:creationId xmlns:a16="http://schemas.microsoft.com/office/drawing/2014/main" id="{DE947BCF-4AEB-601F-6859-0E6D01CD798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3B75BDB9-29FC-AEDF-BE33-AF52FADAB9C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 name="Rechthoek 14">
              <a:extLst>
                <a:ext uri="{FF2B5EF4-FFF2-40B4-BE49-F238E27FC236}">
                  <a16:creationId xmlns:a16="http://schemas.microsoft.com/office/drawing/2014/main" id="{D8B57B2C-B484-CDBB-ECB9-7B12A253A78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 name="Rechthoek 15">
              <a:extLst>
                <a:ext uri="{FF2B5EF4-FFF2-40B4-BE49-F238E27FC236}">
                  <a16:creationId xmlns:a16="http://schemas.microsoft.com/office/drawing/2014/main" id="{46414778-C8E8-4B70-81E1-CD07B6AB51D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7" name="Groep 16">
              <a:extLst>
                <a:ext uri="{FF2B5EF4-FFF2-40B4-BE49-F238E27FC236}">
                  <a16:creationId xmlns:a16="http://schemas.microsoft.com/office/drawing/2014/main" id="{E9C2B093-EDB0-5F40-D292-4A905355B386}"/>
                </a:ext>
              </a:extLst>
            </p:cNvPr>
            <p:cNvGrpSpPr/>
            <p:nvPr userDrawn="1"/>
          </p:nvGrpSpPr>
          <p:grpSpPr>
            <a:xfrm>
              <a:off x="-2485819" y="3479783"/>
              <a:ext cx="1222990" cy="563933"/>
              <a:chOff x="-2485819" y="3399207"/>
              <a:chExt cx="1222990" cy="563933"/>
            </a:xfrm>
          </p:grpSpPr>
          <p:sp>
            <p:nvSpPr>
              <p:cNvPr id="58" name="Rechthoek 57">
                <a:extLst>
                  <a:ext uri="{FF2B5EF4-FFF2-40B4-BE49-F238E27FC236}">
                    <a16:creationId xmlns:a16="http://schemas.microsoft.com/office/drawing/2014/main" id="{56A6D143-97DA-1FBC-0159-F98F7C02A09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8A89AFB5-C0D5-A34D-7042-62ACA4D4DBF3}"/>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AD10234B-746A-BCC6-8413-E91002E9FFCE}"/>
                  </a:ext>
                </a:extLst>
              </p:cNvPr>
              <p:cNvGrpSpPr/>
              <p:nvPr userDrawn="1"/>
            </p:nvGrpSpPr>
            <p:grpSpPr>
              <a:xfrm>
                <a:off x="-2403869" y="3460544"/>
                <a:ext cx="155951" cy="131922"/>
                <a:chOff x="12968836" y="3354170"/>
                <a:chExt cx="404806" cy="342433"/>
              </a:xfrm>
            </p:grpSpPr>
            <p:sp>
              <p:nvSpPr>
                <p:cNvPr id="73" name="Rechthoek: afgeronde hoeken 72">
                  <a:extLst>
                    <a:ext uri="{FF2B5EF4-FFF2-40B4-BE49-F238E27FC236}">
                      <a16:creationId xmlns:a16="http://schemas.microsoft.com/office/drawing/2014/main" id="{030E6B89-58B9-55AE-7303-DA231A9537F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452E2F6F-FB77-E0D8-3F55-20CDCB0B0C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74E57709-86D8-9295-DD87-28D8EFB59AE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B8224673-FE02-FF00-D930-21BDB7248F3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F0FB8FCB-DB22-1525-A02E-3EEEB1300D5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7947469E-FC83-B524-6A12-7499EBFA7CEE}"/>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219AD492-35FA-37D4-978E-4303BFD6CA65}"/>
                  </a:ext>
                </a:extLst>
              </p:cNvPr>
              <p:cNvGrpSpPr/>
              <p:nvPr userDrawn="1"/>
            </p:nvGrpSpPr>
            <p:grpSpPr>
              <a:xfrm>
                <a:off x="-2423424" y="3690208"/>
                <a:ext cx="166739" cy="218963"/>
                <a:chOff x="12940828" y="3950597"/>
                <a:chExt cx="432813" cy="568367"/>
              </a:xfrm>
            </p:grpSpPr>
            <p:grpSp>
              <p:nvGrpSpPr>
                <p:cNvPr id="65" name="Groep 64">
                  <a:extLst>
                    <a:ext uri="{FF2B5EF4-FFF2-40B4-BE49-F238E27FC236}">
                      <a16:creationId xmlns:a16="http://schemas.microsoft.com/office/drawing/2014/main" id="{2FB59377-2435-FB65-4AC5-D4E30865CE6B}"/>
                    </a:ext>
                  </a:extLst>
                </p:cNvPr>
                <p:cNvGrpSpPr/>
                <p:nvPr userDrawn="1"/>
              </p:nvGrpSpPr>
              <p:grpSpPr>
                <a:xfrm>
                  <a:off x="13000382" y="4006891"/>
                  <a:ext cx="373259" cy="315747"/>
                  <a:chOff x="12968836" y="3354170"/>
                  <a:chExt cx="404806" cy="342433"/>
                </a:xfrm>
              </p:grpSpPr>
              <p:sp>
                <p:nvSpPr>
                  <p:cNvPr id="67" name="Rechthoek: afgeronde hoeken 66">
                    <a:extLst>
                      <a:ext uri="{FF2B5EF4-FFF2-40B4-BE49-F238E27FC236}">
                        <a16:creationId xmlns:a16="http://schemas.microsoft.com/office/drawing/2014/main" id="{B3149741-1451-A6D0-D7BA-95BC07C4294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B79DE03C-1274-C94F-19F1-5CFE5A208C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B3B80C84-98B6-EE4A-AA97-8EB32ECCE1F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7C599F19-AAA5-F994-7F3E-59B75FB8222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4E0967AD-4F8A-D0BD-9A67-85CEF93BB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E45FEE40-2FCB-0701-61B6-60C6BAAB986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6" name="Boog 65">
                  <a:extLst>
                    <a:ext uri="{FF2B5EF4-FFF2-40B4-BE49-F238E27FC236}">
                      <a16:creationId xmlns:a16="http://schemas.microsoft.com/office/drawing/2014/main" id="{4D28163B-7175-CAA8-906B-87BA06F1862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2" name="Tekstvak 61">
                <a:extLst>
                  <a:ext uri="{FF2B5EF4-FFF2-40B4-BE49-F238E27FC236}">
                    <a16:creationId xmlns:a16="http://schemas.microsoft.com/office/drawing/2014/main" id="{201300D6-726F-E35C-3AA6-BB733D8E5EAD}"/>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3" name="Tekstvak 62">
                <a:extLst>
                  <a:ext uri="{FF2B5EF4-FFF2-40B4-BE49-F238E27FC236}">
                    <a16:creationId xmlns:a16="http://schemas.microsoft.com/office/drawing/2014/main" id="{EF2572E2-9484-1CE8-D388-B7EBCB69F74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4" name="Vrije vorm: vorm 63">
                <a:extLst>
                  <a:ext uri="{FF2B5EF4-FFF2-40B4-BE49-F238E27FC236}">
                    <a16:creationId xmlns:a16="http://schemas.microsoft.com/office/drawing/2014/main" id="{E5391AE2-7F0E-CADB-EBA4-772021FA20B2}"/>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AC138F54-9069-D405-D823-3CE87D591A92}"/>
                </a:ext>
              </a:extLst>
            </p:cNvPr>
            <p:cNvGrpSpPr/>
            <p:nvPr userDrawn="1"/>
          </p:nvGrpSpPr>
          <p:grpSpPr>
            <a:xfrm>
              <a:off x="-3786165" y="5680652"/>
              <a:ext cx="3693386" cy="959696"/>
              <a:chOff x="-3786437" y="6163468"/>
              <a:chExt cx="3693386" cy="959696"/>
            </a:xfrm>
          </p:grpSpPr>
          <p:sp>
            <p:nvSpPr>
              <p:cNvPr id="48" name="Rechthoek 47">
                <a:extLst>
                  <a:ext uri="{FF2B5EF4-FFF2-40B4-BE49-F238E27FC236}">
                    <a16:creationId xmlns:a16="http://schemas.microsoft.com/office/drawing/2014/main" id="{77B28C19-1D07-E5E3-7371-A6BF2BA10EEB}"/>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9" name="ICOON_info">
                <a:extLst>
                  <a:ext uri="{FF2B5EF4-FFF2-40B4-BE49-F238E27FC236}">
                    <a16:creationId xmlns:a16="http://schemas.microsoft.com/office/drawing/2014/main" id="{8B2F2EDF-935F-BFC1-EAE2-BFE9DE353D0A}"/>
                  </a:ext>
                </a:extLst>
              </p:cNvPr>
              <p:cNvGrpSpPr/>
              <p:nvPr userDrawn="1"/>
            </p:nvGrpSpPr>
            <p:grpSpPr>
              <a:xfrm>
                <a:off x="-376736" y="6163468"/>
                <a:ext cx="283685" cy="283685"/>
                <a:chOff x="-510741" y="5913713"/>
                <a:chExt cx="267555" cy="267555"/>
              </a:xfrm>
            </p:grpSpPr>
            <p:sp>
              <p:nvSpPr>
                <p:cNvPr id="56" name="Ovaal 55">
                  <a:extLst>
                    <a:ext uri="{FF2B5EF4-FFF2-40B4-BE49-F238E27FC236}">
                      <a16:creationId xmlns:a16="http://schemas.microsoft.com/office/drawing/2014/main" id="{DC8C16BF-D80C-D82E-E9E0-96B51E08AEA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7" name="Graphic 163" descr="Informatie">
                  <a:extLst>
                    <a:ext uri="{FF2B5EF4-FFF2-40B4-BE49-F238E27FC236}">
                      <a16:creationId xmlns:a16="http://schemas.microsoft.com/office/drawing/2014/main" id="{00411D94-0F43-1744-7F62-556550349F3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106D254-B184-895A-C7A3-1803CB483944}"/>
                  </a:ext>
                </a:extLst>
              </p:cNvPr>
              <p:cNvGrpSpPr/>
              <p:nvPr userDrawn="1"/>
            </p:nvGrpSpPr>
            <p:grpSpPr>
              <a:xfrm>
                <a:off x="-938434" y="6420818"/>
                <a:ext cx="627798" cy="576693"/>
                <a:chOff x="-938434" y="4570310"/>
                <a:chExt cx="627798" cy="576693"/>
              </a:xfrm>
            </p:grpSpPr>
            <p:grpSp>
              <p:nvGrpSpPr>
                <p:cNvPr id="51" name="Inspireren">
                  <a:extLst>
                    <a:ext uri="{FF2B5EF4-FFF2-40B4-BE49-F238E27FC236}">
                      <a16:creationId xmlns:a16="http://schemas.microsoft.com/office/drawing/2014/main" id="{98F1D1E8-2DD7-70A7-E3B3-F5D7E74E796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3" name="Freeform 12">
                    <a:extLst>
                      <a:ext uri="{FF2B5EF4-FFF2-40B4-BE49-F238E27FC236}">
                        <a16:creationId xmlns:a16="http://schemas.microsoft.com/office/drawing/2014/main" id="{F13A0130-608B-8F0C-2C34-8DB7A141257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4" name="Freeform 13">
                    <a:extLst>
                      <a:ext uri="{FF2B5EF4-FFF2-40B4-BE49-F238E27FC236}">
                        <a16:creationId xmlns:a16="http://schemas.microsoft.com/office/drawing/2014/main" id="{49A6CDD9-B881-0AA9-9539-E8EF620BFCC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5" name="Freeform 14">
                    <a:extLst>
                      <a:ext uri="{FF2B5EF4-FFF2-40B4-BE49-F238E27FC236}">
                        <a16:creationId xmlns:a16="http://schemas.microsoft.com/office/drawing/2014/main" id="{119F5919-919E-7EAB-DC5A-F13A1EF6637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2" name="Tekstvak 51">
                  <a:extLst>
                    <a:ext uri="{FF2B5EF4-FFF2-40B4-BE49-F238E27FC236}">
                      <a16:creationId xmlns:a16="http://schemas.microsoft.com/office/drawing/2014/main" id="{0C08ABFD-EE1C-E82B-A339-E9914FD8248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1" name="Groep 20">
              <a:extLst>
                <a:ext uri="{FF2B5EF4-FFF2-40B4-BE49-F238E27FC236}">
                  <a16:creationId xmlns:a16="http://schemas.microsoft.com/office/drawing/2014/main" id="{1923CB5C-702E-1049-5161-D8278C1B03E6}"/>
                </a:ext>
              </a:extLst>
            </p:cNvPr>
            <p:cNvGrpSpPr/>
            <p:nvPr userDrawn="1"/>
          </p:nvGrpSpPr>
          <p:grpSpPr>
            <a:xfrm>
              <a:off x="-3426806" y="5129582"/>
              <a:ext cx="514284" cy="506545"/>
              <a:chOff x="12617641" y="3403239"/>
              <a:chExt cx="752963" cy="741634"/>
            </a:xfrm>
          </p:grpSpPr>
          <p:grpSp>
            <p:nvGrpSpPr>
              <p:cNvPr id="32" name="Groep 31">
                <a:extLst>
                  <a:ext uri="{FF2B5EF4-FFF2-40B4-BE49-F238E27FC236}">
                    <a16:creationId xmlns:a16="http://schemas.microsoft.com/office/drawing/2014/main" id="{C752A4FB-682E-9FB7-59E4-FFB571703969}"/>
                  </a:ext>
                </a:extLst>
              </p:cNvPr>
              <p:cNvGrpSpPr/>
              <p:nvPr userDrawn="1"/>
            </p:nvGrpSpPr>
            <p:grpSpPr>
              <a:xfrm>
                <a:off x="12771530" y="3403239"/>
                <a:ext cx="467176" cy="448491"/>
                <a:chOff x="12782157" y="3403239"/>
                <a:chExt cx="467176" cy="448491"/>
              </a:xfrm>
            </p:grpSpPr>
            <p:grpSp>
              <p:nvGrpSpPr>
                <p:cNvPr id="35" name="Groep 34">
                  <a:extLst>
                    <a:ext uri="{FF2B5EF4-FFF2-40B4-BE49-F238E27FC236}">
                      <a16:creationId xmlns:a16="http://schemas.microsoft.com/office/drawing/2014/main" id="{429596E8-0EF8-F48A-AF79-37B11CB3E4A5}"/>
                    </a:ext>
                  </a:extLst>
                </p:cNvPr>
                <p:cNvGrpSpPr/>
                <p:nvPr userDrawn="1"/>
              </p:nvGrpSpPr>
              <p:grpSpPr>
                <a:xfrm>
                  <a:off x="12782157" y="3403239"/>
                  <a:ext cx="412976" cy="396132"/>
                  <a:chOff x="13554906" y="3320109"/>
                  <a:chExt cx="443917" cy="425811"/>
                </a:xfrm>
              </p:grpSpPr>
              <p:grpSp>
                <p:nvGrpSpPr>
                  <p:cNvPr id="42" name="Groep 41">
                    <a:extLst>
                      <a:ext uri="{FF2B5EF4-FFF2-40B4-BE49-F238E27FC236}">
                        <a16:creationId xmlns:a16="http://schemas.microsoft.com/office/drawing/2014/main" id="{6173BA00-BDAF-D9F6-5602-8C9B9D4CD3E0}"/>
                      </a:ext>
                    </a:extLst>
                  </p:cNvPr>
                  <p:cNvGrpSpPr/>
                  <p:nvPr userDrawn="1"/>
                </p:nvGrpSpPr>
                <p:grpSpPr>
                  <a:xfrm>
                    <a:off x="13554906" y="3320109"/>
                    <a:ext cx="443917" cy="425811"/>
                    <a:chOff x="12909684" y="1276143"/>
                    <a:chExt cx="443917" cy="425811"/>
                  </a:xfrm>
                </p:grpSpPr>
                <p:sp>
                  <p:nvSpPr>
                    <p:cNvPr id="45" name="Rechthoek 44">
                      <a:extLst>
                        <a:ext uri="{FF2B5EF4-FFF2-40B4-BE49-F238E27FC236}">
                          <a16:creationId xmlns:a16="http://schemas.microsoft.com/office/drawing/2014/main" id="{31611FDB-5321-B5AC-CD19-32339D25FA8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F5762C02-6485-DE25-7B70-921C9D3193C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Ovaal 46">
                      <a:extLst>
                        <a:ext uri="{FF2B5EF4-FFF2-40B4-BE49-F238E27FC236}">
                          <a16:creationId xmlns:a16="http://schemas.microsoft.com/office/drawing/2014/main" id="{FF84C1A4-6E3A-7E7F-9686-BDF578B3650C}"/>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3" name="Afbeelding 42">
                    <a:extLst>
                      <a:ext uri="{FF2B5EF4-FFF2-40B4-BE49-F238E27FC236}">
                        <a16:creationId xmlns:a16="http://schemas.microsoft.com/office/drawing/2014/main" id="{3C67B1C0-178E-F471-8E3E-2FE56B30A2F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4" name="Afbeelding 43">
                    <a:extLst>
                      <a:ext uri="{FF2B5EF4-FFF2-40B4-BE49-F238E27FC236}">
                        <a16:creationId xmlns:a16="http://schemas.microsoft.com/office/drawing/2014/main" id="{CDA9251C-32FA-9E92-51F2-E504DD03CEB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6" name="Groep 35">
                  <a:extLst>
                    <a:ext uri="{FF2B5EF4-FFF2-40B4-BE49-F238E27FC236}">
                      <a16:creationId xmlns:a16="http://schemas.microsoft.com/office/drawing/2014/main" id="{F8C032AF-DF1F-088A-A98E-E7E147B93AA2}"/>
                    </a:ext>
                  </a:extLst>
                </p:cNvPr>
                <p:cNvGrpSpPr/>
                <p:nvPr userDrawn="1"/>
              </p:nvGrpSpPr>
              <p:grpSpPr>
                <a:xfrm>
                  <a:off x="13103513" y="3705268"/>
                  <a:ext cx="145820" cy="146462"/>
                  <a:chOff x="13096169" y="3602278"/>
                  <a:chExt cx="145820" cy="146462"/>
                </a:xfrm>
              </p:grpSpPr>
              <p:sp>
                <p:nvSpPr>
                  <p:cNvPr id="40" name="Rechthoek 39">
                    <a:extLst>
                      <a:ext uri="{FF2B5EF4-FFF2-40B4-BE49-F238E27FC236}">
                        <a16:creationId xmlns:a16="http://schemas.microsoft.com/office/drawing/2014/main" id="{2CD6BBF0-E75C-B0C4-C22E-4AAA402410D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EC0628E7-D46B-1F65-1223-7D3259E3E3F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6B4B8766-ABE0-99CF-03B2-F54B1F0CF01E}"/>
                    </a:ext>
                  </a:extLst>
                </p:cNvPr>
                <p:cNvGrpSpPr/>
                <p:nvPr userDrawn="1"/>
              </p:nvGrpSpPr>
              <p:grpSpPr>
                <a:xfrm rot="10800000">
                  <a:off x="13061402" y="3665637"/>
                  <a:ext cx="145820" cy="146462"/>
                  <a:chOff x="13096169" y="3602278"/>
                  <a:chExt cx="145820" cy="146462"/>
                </a:xfrm>
              </p:grpSpPr>
              <p:sp>
                <p:nvSpPr>
                  <p:cNvPr id="38" name="Rechthoek 37">
                    <a:extLst>
                      <a:ext uri="{FF2B5EF4-FFF2-40B4-BE49-F238E27FC236}">
                        <a16:creationId xmlns:a16="http://schemas.microsoft.com/office/drawing/2014/main" id="{2CDF8746-5F58-217E-AC6D-98C825F56B9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02609685-BC32-C20C-E6D5-3AA9CE27F9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3" name="Rechthoek 32">
                <a:extLst>
                  <a:ext uri="{FF2B5EF4-FFF2-40B4-BE49-F238E27FC236}">
                    <a16:creationId xmlns:a16="http://schemas.microsoft.com/office/drawing/2014/main" id="{4D6FEA86-EB08-7D77-1BC3-ACE55992FBB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4" name="Gelijkbenige driehoek 33">
                <a:extLst>
                  <a:ext uri="{FF2B5EF4-FFF2-40B4-BE49-F238E27FC236}">
                    <a16:creationId xmlns:a16="http://schemas.microsoft.com/office/drawing/2014/main" id="{82C976CC-965E-7725-D8D1-AE59C467F42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2" name="Ovaal 21">
              <a:extLst>
                <a:ext uri="{FF2B5EF4-FFF2-40B4-BE49-F238E27FC236}">
                  <a16:creationId xmlns:a16="http://schemas.microsoft.com/office/drawing/2014/main" id="{6CBC82C2-E07F-C27F-3B40-37DE103CC3DE}"/>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3" name="Rechthoek 22">
              <a:extLst>
                <a:ext uri="{FF2B5EF4-FFF2-40B4-BE49-F238E27FC236}">
                  <a16:creationId xmlns:a16="http://schemas.microsoft.com/office/drawing/2014/main" id="{90B0BD46-FA64-110F-1847-E0A18ECA8D1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C8B80033-7F25-0523-8A5C-2DDF4DC0501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5" name="Groep 24">
              <a:extLst>
                <a:ext uri="{FF2B5EF4-FFF2-40B4-BE49-F238E27FC236}">
                  <a16:creationId xmlns:a16="http://schemas.microsoft.com/office/drawing/2014/main" id="{2CA96F27-72E5-B1D3-AD0C-8356DEC1BBF4}"/>
                </a:ext>
              </a:extLst>
            </p:cNvPr>
            <p:cNvGrpSpPr/>
            <p:nvPr userDrawn="1"/>
          </p:nvGrpSpPr>
          <p:grpSpPr>
            <a:xfrm>
              <a:off x="-3365484" y="1226982"/>
              <a:ext cx="446937" cy="406485"/>
              <a:chOff x="-3563526" y="1409294"/>
              <a:chExt cx="354190" cy="322133"/>
            </a:xfrm>
          </p:grpSpPr>
          <p:grpSp>
            <p:nvGrpSpPr>
              <p:cNvPr id="26" name="Groep 25">
                <a:extLst>
                  <a:ext uri="{FF2B5EF4-FFF2-40B4-BE49-F238E27FC236}">
                    <a16:creationId xmlns:a16="http://schemas.microsoft.com/office/drawing/2014/main" id="{1E79B584-F09B-6344-8669-2B23FACD2CE1}"/>
                  </a:ext>
                </a:extLst>
              </p:cNvPr>
              <p:cNvGrpSpPr/>
              <p:nvPr userDrawn="1"/>
            </p:nvGrpSpPr>
            <p:grpSpPr>
              <a:xfrm>
                <a:off x="-3499992" y="1409294"/>
                <a:ext cx="225195" cy="195499"/>
                <a:chOff x="8987389" y="1361199"/>
                <a:chExt cx="2200275" cy="1914525"/>
              </a:xfrm>
            </p:grpSpPr>
            <p:sp>
              <p:nvSpPr>
                <p:cNvPr id="28" name="Vrije vorm: vorm 27">
                  <a:extLst>
                    <a:ext uri="{FF2B5EF4-FFF2-40B4-BE49-F238E27FC236}">
                      <a16:creationId xmlns:a16="http://schemas.microsoft.com/office/drawing/2014/main" id="{8E3BDEBC-B023-A5FA-BDB4-B49D3E240C9B}"/>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9" name="Groep 28">
                  <a:extLst>
                    <a:ext uri="{FF2B5EF4-FFF2-40B4-BE49-F238E27FC236}">
                      <a16:creationId xmlns:a16="http://schemas.microsoft.com/office/drawing/2014/main" id="{FACBDBA0-4A2C-0F20-615A-020C6AA4AAE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0" name="Vrije vorm: vorm 29">
                    <a:extLst>
                      <a:ext uri="{FF2B5EF4-FFF2-40B4-BE49-F238E27FC236}">
                        <a16:creationId xmlns:a16="http://schemas.microsoft.com/office/drawing/2014/main" id="{C8EEBE41-315A-01E2-4C27-ABB71570B980}"/>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1" name="Vrije vorm: vorm 30">
                    <a:extLst>
                      <a:ext uri="{FF2B5EF4-FFF2-40B4-BE49-F238E27FC236}">
                        <a16:creationId xmlns:a16="http://schemas.microsoft.com/office/drawing/2014/main" id="{1FDC0460-EF4B-7BB4-42FA-7157D0008ED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7" name="Tekstvak 26">
                <a:extLst>
                  <a:ext uri="{FF2B5EF4-FFF2-40B4-BE49-F238E27FC236}">
                    <a16:creationId xmlns:a16="http://schemas.microsoft.com/office/drawing/2014/main" id="{8B743AA9-EBE1-BA1E-9595-C9D051DA582B}"/>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57315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4BA9A9DA-7F82-A455-1C60-3EE6BCAB128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61002"/>
            <a:ext cx="66684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Quote</a:t>
            </a:r>
          </a:p>
        </p:txBody>
      </p:sp>
      <p:sp>
        <p:nvSpPr>
          <p:cNvPr id="36" name="Rechthoek 35">
            <a:extLst>
              <a:ext uri="{FF2B5EF4-FFF2-40B4-BE49-F238E27FC236}">
                <a16:creationId xmlns:a16="http://schemas.microsoft.com/office/drawing/2014/main" id="{643AF82E-C1ED-400F-120E-32FD5E07D149}"/>
              </a:ext>
            </a:extLst>
          </p:cNvPr>
          <p:cNvSpPr>
            <a:spLocks/>
          </p:cNvSpPr>
          <p:nvPr userDrawn="1"/>
        </p:nvSpPr>
        <p:spPr>
          <a:xfrm>
            <a:off x="0" y="0"/>
            <a:ext cx="12192000" cy="68580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41" name="Vrije vorm: vorm 40">
            <a:extLst>
              <a:ext uri="{FF2B5EF4-FFF2-40B4-BE49-F238E27FC236}">
                <a16:creationId xmlns:a16="http://schemas.microsoft.com/office/drawing/2014/main" id="{D840FC76-4BFA-9D62-E866-F7E43D493289}"/>
              </a:ext>
            </a:extLst>
          </p:cNvPr>
          <p:cNvSpPr>
            <a:spLocks/>
          </p:cNvSpPr>
          <p:nvPr userDrawn="1"/>
        </p:nvSpPr>
        <p:spPr>
          <a:xfrm>
            <a:off x="2" y="2"/>
            <a:ext cx="12191999" cy="6857999"/>
          </a:xfrm>
          <a:custGeom>
            <a:avLst/>
            <a:gdLst>
              <a:gd name="connsiteX0" fmla="*/ 2664877 w 12191999"/>
              <a:gd name="connsiteY0" fmla="*/ 0 h 6857999"/>
              <a:gd name="connsiteX1" fmla="*/ 9662219 w 12191999"/>
              <a:gd name="connsiteY1" fmla="*/ 0 h 6857999"/>
              <a:gd name="connsiteX2" fmla="*/ 9669502 w 12191999"/>
              <a:gd name="connsiteY2" fmla="*/ 58454 h 6857999"/>
              <a:gd name="connsiteX3" fmla="*/ 12141987 w 12191999"/>
              <a:gd name="connsiteY3" fmla="*/ 2645975 h 6857999"/>
              <a:gd name="connsiteX4" fmla="*/ 12191999 w 12191999"/>
              <a:gd name="connsiteY4" fmla="*/ 2652349 h 6857999"/>
              <a:gd name="connsiteX5" fmla="*/ 12191999 w 12191999"/>
              <a:gd name="connsiteY5" fmla="*/ 6857999 h 6857999"/>
              <a:gd name="connsiteX6" fmla="*/ 7658728 w 12191999"/>
              <a:gd name="connsiteY6" fmla="*/ 6857999 h 6857999"/>
              <a:gd name="connsiteX7" fmla="*/ 7684133 w 12191999"/>
              <a:gd name="connsiteY7" fmla="*/ 6682259 h 6857999"/>
              <a:gd name="connsiteX8" fmla="*/ 7588732 w 12191999"/>
              <a:gd name="connsiteY8" fmla="*/ 5413362 h 6857999"/>
              <a:gd name="connsiteX9" fmla="*/ 6769078 w 12191999"/>
              <a:gd name="connsiteY9" fmla="*/ 6441900 h 6857999"/>
              <a:gd name="connsiteX10" fmla="*/ 6629774 w 12191999"/>
              <a:gd name="connsiteY10" fmla="*/ 6673849 h 6857999"/>
              <a:gd name="connsiteX11" fmla="*/ 6506207 w 12191999"/>
              <a:gd name="connsiteY11" fmla="*/ 6857999 h 6857999"/>
              <a:gd name="connsiteX12" fmla="*/ 0 w 12191999"/>
              <a:gd name="connsiteY12" fmla="*/ 6857999 h 6857999"/>
              <a:gd name="connsiteX13" fmla="*/ 0 w 12191999"/>
              <a:gd name="connsiteY13" fmla="*/ 4333078 h 6857999"/>
              <a:gd name="connsiteX14" fmla="*/ 146172 w 12191999"/>
              <a:gd name="connsiteY14" fmla="*/ 4092082 h 6857999"/>
              <a:gd name="connsiteX15" fmla="*/ 2642743 w 12191999"/>
              <a:gd name="connsiteY15" fmla="*/ 49565 h 6857999"/>
              <a:gd name="connsiteX16" fmla="*/ 0 w 12191999"/>
              <a:gd name="connsiteY16" fmla="*/ 0 h 6857999"/>
              <a:gd name="connsiteX17" fmla="*/ 960612 w 12191999"/>
              <a:gd name="connsiteY17" fmla="*/ 0 h 6857999"/>
              <a:gd name="connsiteX18" fmla="*/ 943428 w 12191999"/>
              <a:gd name="connsiteY18" fmla="*/ 19059 h 6857999"/>
              <a:gd name="connsiteX19" fmla="*/ 113541 w 12191999"/>
              <a:gd name="connsiteY19" fmla="*/ 831096 h 6857999"/>
              <a:gd name="connsiteX20" fmla="*/ 0 w 12191999"/>
              <a:gd name="connsiteY20" fmla="*/ 93168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1999" h="6857999">
                <a:moveTo>
                  <a:pt x="2664877" y="0"/>
                </a:moveTo>
                <a:lnTo>
                  <a:pt x="9662219" y="0"/>
                </a:lnTo>
                <a:lnTo>
                  <a:pt x="9669502" y="58454"/>
                </a:lnTo>
                <a:cubicBezTo>
                  <a:pt x="9916918" y="1666551"/>
                  <a:pt x="10899414" y="2453064"/>
                  <a:pt x="12141987" y="2645975"/>
                </a:cubicBezTo>
                <a:lnTo>
                  <a:pt x="12191999" y="2652349"/>
                </a:lnTo>
                <a:lnTo>
                  <a:pt x="12191999" y="6857999"/>
                </a:lnTo>
                <a:lnTo>
                  <a:pt x="7658728" y="6857999"/>
                </a:lnTo>
                <a:lnTo>
                  <a:pt x="7684133" y="6682259"/>
                </a:lnTo>
                <a:cubicBezTo>
                  <a:pt x="7761749" y="6064946"/>
                  <a:pt x="7755600" y="5464341"/>
                  <a:pt x="7588732" y="5413362"/>
                </a:cubicBezTo>
                <a:cubicBezTo>
                  <a:pt x="7340994" y="5335952"/>
                  <a:pt x="7131278" y="5762726"/>
                  <a:pt x="6769078" y="6441900"/>
                </a:cubicBezTo>
                <a:cubicBezTo>
                  <a:pt x="6725598" y="6518910"/>
                  <a:pt x="6679102" y="6596298"/>
                  <a:pt x="6629774" y="6673849"/>
                </a:cubicBezTo>
                <a:lnTo>
                  <a:pt x="6506207" y="6857999"/>
                </a:lnTo>
                <a:lnTo>
                  <a:pt x="0" y="6857999"/>
                </a:lnTo>
                <a:lnTo>
                  <a:pt x="0" y="4333078"/>
                </a:lnTo>
                <a:lnTo>
                  <a:pt x="146172" y="4092082"/>
                </a:lnTo>
                <a:cubicBezTo>
                  <a:pt x="909057" y="2863958"/>
                  <a:pt x="1936780" y="1556781"/>
                  <a:pt x="2642743" y="49565"/>
                </a:cubicBezTo>
                <a:close/>
                <a:moveTo>
                  <a:pt x="0" y="0"/>
                </a:moveTo>
                <a:lnTo>
                  <a:pt x="960612" y="0"/>
                </a:lnTo>
                <a:lnTo>
                  <a:pt x="943428" y="19059"/>
                </a:lnTo>
                <a:cubicBezTo>
                  <a:pt x="681749" y="296223"/>
                  <a:pt x="403894" y="566215"/>
                  <a:pt x="11354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8" name="Tijdelijke aanduiding voor tekst 3">
            <a:extLst>
              <a:ext uri="{FF2B5EF4-FFF2-40B4-BE49-F238E27FC236}">
                <a16:creationId xmlns:a16="http://schemas.microsoft.com/office/drawing/2014/main" id="{76CBEE19-19B8-54C7-B3D4-7E145D8FAA60}"/>
              </a:ext>
            </a:extLst>
          </p:cNvPr>
          <p:cNvSpPr>
            <a:spLocks noGrp="1" noRot="1" noMove="1" noResize="1" noEditPoints="1" noAdjustHandles="1" noChangeArrowheads="1" noChangeShapeType="1"/>
          </p:cNvSpPr>
          <p:nvPr>
            <p:ph type="body" sz="quarter" idx="13" hasCustomPrompt="1"/>
          </p:nvPr>
        </p:nvSpPr>
        <p:spPr>
          <a:xfrm>
            <a:off x="719138" y="719138"/>
            <a:ext cx="10752137" cy="5281612"/>
          </a:xfrm>
        </p:spPr>
        <p:txBody>
          <a:bodyPr wrap="square" anchor="ctr" anchorCtr="0">
            <a:normAutofit/>
          </a:bodyPr>
          <a:lstStyle>
            <a:lvl1pPr marL="0" indent="0" algn="ctr">
              <a:lnSpc>
                <a:spcPts val="5200"/>
              </a:lnSpc>
              <a:spcBef>
                <a:spcPts val="0"/>
              </a:spcBef>
              <a:spcAft>
                <a:spcPts val="0"/>
              </a:spcAft>
              <a:buNone/>
              <a:defRPr sz="4800" b="0"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r>
              <a:rPr lang="en-GB" noProof="0" dirty="0"/>
              <a:t>Quote</a:t>
            </a:r>
          </a:p>
        </p:txBody>
      </p:sp>
      <p:grpSp>
        <p:nvGrpSpPr>
          <p:cNvPr id="25" name="Groep 24">
            <a:extLst>
              <a:ext uri="{FF2B5EF4-FFF2-40B4-BE49-F238E27FC236}">
                <a16:creationId xmlns:a16="http://schemas.microsoft.com/office/drawing/2014/main" id="{E6F410F0-D1DC-202A-E501-96449F5D92C6}"/>
              </a:ext>
            </a:extLst>
          </p:cNvPr>
          <p:cNvGrpSpPr/>
          <p:nvPr userDrawn="1"/>
        </p:nvGrpSpPr>
        <p:grpSpPr>
          <a:xfrm>
            <a:off x="721079" y="6216736"/>
            <a:ext cx="961200" cy="381600"/>
            <a:chOff x="2807303" y="2354764"/>
            <a:chExt cx="944974" cy="368527"/>
          </a:xfrm>
          <a:solidFill>
            <a:schemeClr val="bg1"/>
          </a:solidFill>
        </p:grpSpPr>
        <p:sp>
          <p:nvSpPr>
            <p:cNvPr id="26" name="Vrije vorm: vorm 25">
              <a:extLst>
                <a:ext uri="{FF2B5EF4-FFF2-40B4-BE49-F238E27FC236}">
                  <a16:creationId xmlns:a16="http://schemas.microsoft.com/office/drawing/2014/main" id="{902B7BC0-E1DE-6761-BAA2-289E1BF2AE2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77DB36C0-4B06-148B-B57C-74F842A70ECB}"/>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44F18412-D70E-7985-05EF-0A560429034C}"/>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4CDC0AA2-CBAF-B659-0AC6-C307B4BF19D0}"/>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30" name="Vrije vorm: vorm 29">
              <a:extLst>
                <a:ext uri="{FF2B5EF4-FFF2-40B4-BE49-F238E27FC236}">
                  <a16:creationId xmlns:a16="http://schemas.microsoft.com/office/drawing/2014/main" id="{8B5196A6-0E92-0BA6-DAB1-3CFEF96E2966}"/>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ADC5254-E2B3-7491-C71F-7DFFE5010D54}"/>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4DE709D1-04E9-E28E-EF96-038EF13D728E}"/>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B23C046E-991A-48FD-E45D-368DA85614E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2" name="Tijdelijke aanduiding voor datum 41">
            <a:extLst>
              <a:ext uri="{FF2B5EF4-FFF2-40B4-BE49-F238E27FC236}">
                <a16:creationId xmlns:a16="http://schemas.microsoft.com/office/drawing/2014/main" id="{443D2E7F-A623-8993-DD43-05FEE32F8EBC}"/>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43" name="Tijdelijke aanduiding voor dianummer 42">
            <a:extLst>
              <a:ext uri="{FF2B5EF4-FFF2-40B4-BE49-F238E27FC236}">
                <a16:creationId xmlns:a16="http://schemas.microsoft.com/office/drawing/2014/main" id="{5C52521A-2ED3-C2C9-18F8-B9748BDDEE94}"/>
              </a:ext>
            </a:extLst>
          </p:cNvPr>
          <p:cNvSpPr>
            <a:spLocks noGrp="1"/>
          </p:cNvSpPr>
          <p:nvPr>
            <p:ph type="sldNum" sz="quarter" idx="15"/>
          </p:nvPr>
        </p:nvSpPr>
        <p:spPr/>
        <p:txBody>
          <a:bodyPr/>
          <a:lstStyle>
            <a:lvl1pPr>
              <a:defRPr>
                <a:solidFill>
                  <a:schemeClr val="bg1"/>
                </a:solidFill>
              </a:defRPr>
            </a:lvl1pPr>
          </a:lstStyle>
          <a:p>
            <a:fld id="{9E843DB9-9987-4157-AB9C-CEA8D7D910BB}" type="slidenum">
              <a:rPr lang="en-GB" smtClean="0"/>
              <a:pPr/>
              <a:t>‹#›</a:t>
            </a:fld>
            <a:endParaRPr lang="en-GB" dirty="0"/>
          </a:p>
        </p:txBody>
      </p:sp>
    </p:spTree>
    <p:extLst>
      <p:ext uri="{BB962C8B-B14F-4D97-AF65-F5344CB8AC3E}">
        <p14:creationId xmlns:p14="http://schemas.microsoft.com/office/powerpoint/2010/main" val="251051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accent1"/>
        </a:solidFill>
        <a:effectLst/>
      </p:bgPr>
    </p:bg>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4BA9A9DA-7F82-A455-1C60-3EE6BCAB128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61002"/>
            <a:ext cx="155811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Image </a:t>
            </a:r>
            <a:r>
              <a:rPr lang="en-US" dirty="0"/>
              <a:t>+ </a:t>
            </a:r>
            <a:r>
              <a:rPr lang="en-GB" dirty="0"/>
              <a:t>quote</a:t>
            </a:r>
          </a:p>
        </p:txBody>
      </p:sp>
      <p:sp>
        <p:nvSpPr>
          <p:cNvPr id="36" name="Rechthoek 35">
            <a:extLst>
              <a:ext uri="{FF2B5EF4-FFF2-40B4-BE49-F238E27FC236}">
                <a16:creationId xmlns:a16="http://schemas.microsoft.com/office/drawing/2014/main" id="{643AF82E-C1ED-400F-120E-32FD5E07D149}"/>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41" name="Vrije vorm: vorm 40">
            <a:extLst>
              <a:ext uri="{FF2B5EF4-FFF2-40B4-BE49-F238E27FC236}">
                <a16:creationId xmlns:a16="http://schemas.microsoft.com/office/drawing/2014/main" id="{D840FC76-4BFA-9D62-E866-F7E43D493289}"/>
              </a:ext>
            </a:extLst>
          </p:cNvPr>
          <p:cNvSpPr>
            <a:spLocks noGrp="1" noRot="1" noMove="1" noResize="1" noEditPoints="1" noAdjustHandles="1" noChangeArrowheads="1" noChangeShapeType="1"/>
          </p:cNvSpPr>
          <p:nvPr userDrawn="1"/>
        </p:nvSpPr>
        <p:spPr>
          <a:xfrm>
            <a:off x="2" y="2"/>
            <a:ext cx="12191999" cy="6857999"/>
          </a:xfrm>
          <a:custGeom>
            <a:avLst/>
            <a:gdLst>
              <a:gd name="connsiteX0" fmla="*/ 2664877 w 12191999"/>
              <a:gd name="connsiteY0" fmla="*/ 0 h 6857999"/>
              <a:gd name="connsiteX1" fmla="*/ 9662219 w 12191999"/>
              <a:gd name="connsiteY1" fmla="*/ 0 h 6857999"/>
              <a:gd name="connsiteX2" fmla="*/ 9669502 w 12191999"/>
              <a:gd name="connsiteY2" fmla="*/ 58454 h 6857999"/>
              <a:gd name="connsiteX3" fmla="*/ 12141987 w 12191999"/>
              <a:gd name="connsiteY3" fmla="*/ 2645975 h 6857999"/>
              <a:gd name="connsiteX4" fmla="*/ 12191999 w 12191999"/>
              <a:gd name="connsiteY4" fmla="*/ 2652349 h 6857999"/>
              <a:gd name="connsiteX5" fmla="*/ 12191999 w 12191999"/>
              <a:gd name="connsiteY5" fmla="*/ 6857999 h 6857999"/>
              <a:gd name="connsiteX6" fmla="*/ 7658728 w 12191999"/>
              <a:gd name="connsiteY6" fmla="*/ 6857999 h 6857999"/>
              <a:gd name="connsiteX7" fmla="*/ 7684133 w 12191999"/>
              <a:gd name="connsiteY7" fmla="*/ 6682259 h 6857999"/>
              <a:gd name="connsiteX8" fmla="*/ 7588732 w 12191999"/>
              <a:gd name="connsiteY8" fmla="*/ 5413362 h 6857999"/>
              <a:gd name="connsiteX9" fmla="*/ 6769078 w 12191999"/>
              <a:gd name="connsiteY9" fmla="*/ 6441900 h 6857999"/>
              <a:gd name="connsiteX10" fmla="*/ 6629774 w 12191999"/>
              <a:gd name="connsiteY10" fmla="*/ 6673849 h 6857999"/>
              <a:gd name="connsiteX11" fmla="*/ 6506207 w 12191999"/>
              <a:gd name="connsiteY11" fmla="*/ 6857999 h 6857999"/>
              <a:gd name="connsiteX12" fmla="*/ 0 w 12191999"/>
              <a:gd name="connsiteY12" fmla="*/ 6857999 h 6857999"/>
              <a:gd name="connsiteX13" fmla="*/ 0 w 12191999"/>
              <a:gd name="connsiteY13" fmla="*/ 4333078 h 6857999"/>
              <a:gd name="connsiteX14" fmla="*/ 146172 w 12191999"/>
              <a:gd name="connsiteY14" fmla="*/ 4092082 h 6857999"/>
              <a:gd name="connsiteX15" fmla="*/ 2642743 w 12191999"/>
              <a:gd name="connsiteY15" fmla="*/ 49565 h 6857999"/>
              <a:gd name="connsiteX16" fmla="*/ 0 w 12191999"/>
              <a:gd name="connsiteY16" fmla="*/ 0 h 6857999"/>
              <a:gd name="connsiteX17" fmla="*/ 960612 w 12191999"/>
              <a:gd name="connsiteY17" fmla="*/ 0 h 6857999"/>
              <a:gd name="connsiteX18" fmla="*/ 943428 w 12191999"/>
              <a:gd name="connsiteY18" fmla="*/ 19059 h 6857999"/>
              <a:gd name="connsiteX19" fmla="*/ 113541 w 12191999"/>
              <a:gd name="connsiteY19" fmla="*/ 831096 h 6857999"/>
              <a:gd name="connsiteX20" fmla="*/ 0 w 12191999"/>
              <a:gd name="connsiteY20" fmla="*/ 93168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1999" h="6857999">
                <a:moveTo>
                  <a:pt x="2664877" y="0"/>
                </a:moveTo>
                <a:lnTo>
                  <a:pt x="9662219" y="0"/>
                </a:lnTo>
                <a:lnTo>
                  <a:pt x="9669502" y="58454"/>
                </a:lnTo>
                <a:cubicBezTo>
                  <a:pt x="9916918" y="1666551"/>
                  <a:pt x="10899414" y="2453064"/>
                  <a:pt x="12141987" y="2645975"/>
                </a:cubicBezTo>
                <a:lnTo>
                  <a:pt x="12191999" y="2652349"/>
                </a:lnTo>
                <a:lnTo>
                  <a:pt x="12191999" y="6857999"/>
                </a:lnTo>
                <a:lnTo>
                  <a:pt x="7658728" y="6857999"/>
                </a:lnTo>
                <a:lnTo>
                  <a:pt x="7684133" y="6682259"/>
                </a:lnTo>
                <a:cubicBezTo>
                  <a:pt x="7761749" y="6064946"/>
                  <a:pt x="7755600" y="5464341"/>
                  <a:pt x="7588732" y="5413362"/>
                </a:cubicBezTo>
                <a:cubicBezTo>
                  <a:pt x="7340994" y="5335952"/>
                  <a:pt x="7131278" y="5762726"/>
                  <a:pt x="6769078" y="6441900"/>
                </a:cubicBezTo>
                <a:cubicBezTo>
                  <a:pt x="6725598" y="6518910"/>
                  <a:pt x="6679102" y="6596298"/>
                  <a:pt x="6629774" y="6673849"/>
                </a:cubicBezTo>
                <a:lnTo>
                  <a:pt x="6506207" y="6857999"/>
                </a:lnTo>
                <a:lnTo>
                  <a:pt x="0" y="6857999"/>
                </a:lnTo>
                <a:lnTo>
                  <a:pt x="0" y="4333078"/>
                </a:lnTo>
                <a:lnTo>
                  <a:pt x="146172" y="4092082"/>
                </a:lnTo>
                <a:cubicBezTo>
                  <a:pt x="909057" y="2863958"/>
                  <a:pt x="1936780" y="1556781"/>
                  <a:pt x="2642743" y="49565"/>
                </a:cubicBezTo>
                <a:close/>
                <a:moveTo>
                  <a:pt x="0" y="0"/>
                </a:moveTo>
                <a:lnTo>
                  <a:pt x="960612" y="0"/>
                </a:lnTo>
                <a:lnTo>
                  <a:pt x="943428" y="19059"/>
                </a:lnTo>
                <a:cubicBezTo>
                  <a:pt x="681749" y="296223"/>
                  <a:pt x="403894" y="566215"/>
                  <a:pt x="11354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8" name="Tijdelijke aanduiding voor tekst 3">
            <a:extLst>
              <a:ext uri="{FF2B5EF4-FFF2-40B4-BE49-F238E27FC236}">
                <a16:creationId xmlns:a16="http://schemas.microsoft.com/office/drawing/2014/main" id="{76CBEE19-19B8-54C7-B3D4-7E145D8FAA60}"/>
              </a:ext>
            </a:extLst>
          </p:cNvPr>
          <p:cNvSpPr>
            <a:spLocks noGrp="1"/>
          </p:cNvSpPr>
          <p:nvPr>
            <p:ph type="body" sz="quarter" idx="13" hasCustomPrompt="1"/>
          </p:nvPr>
        </p:nvSpPr>
        <p:spPr>
          <a:xfrm>
            <a:off x="6845643" y="719138"/>
            <a:ext cx="4625632" cy="5281612"/>
          </a:xfrm>
        </p:spPr>
        <p:txBody>
          <a:bodyPr wrap="square" anchor="ctr" anchorCtr="0">
            <a:normAutofit/>
          </a:bodyPr>
          <a:lstStyle>
            <a:lvl1pPr marL="0" indent="0" algn="ctr">
              <a:lnSpc>
                <a:spcPts val="5200"/>
              </a:lnSpc>
              <a:spcBef>
                <a:spcPts val="0"/>
              </a:spcBef>
              <a:spcAft>
                <a:spcPts val="0"/>
              </a:spcAft>
              <a:buNone/>
              <a:defRPr sz="4800" b="0"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r>
              <a:rPr lang="en-GB" noProof="0" dirty="0"/>
              <a:t>Quote</a:t>
            </a:r>
          </a:p>
        </p:txBody>
      </p:sp>
      <p:grpSp>
        <p:nvGrpSpPr>
          <p:cNvPr id="25" name="Groep 24">
            <a:extLst>
              <a:ext uri="{FF2B5EF4-FFF2-40B4-BE49-F238E27FC236}">
                <a16:creationId xmlns:a16="http://schemas.microsoft.com/office/drawing/2014/main" id="{E6F410F0-D1DC-202A-E501-96449F5D92C6}"/>
              </a:ext>
            </a:extLst>
          </p:cNvPr>
          <p:cNvGrpSpPr/>
          <p:nvPr userDrawn="1"/>
        </p:nvGrpSpPr>
        <p:grpSpPr>
          <a:xfrm>
            <a:off x="721079" y="6216736"/>
            <a:ext cx="961200" cy="381600"/>
            <a:chOff x="2807303" y="2354764"/>
            <a:chExt cx="944974" cy="368527"/>
          </a:xfrm>
          <a:solidFill>
            <a:schemeClr val="bg1"/>
          </a:solidFill>
        </p:grpSpPr>
        <p:sp>
          <p:nvSpPr>
            <p:cNvPr id="26" name="Vrije vorm: vorm 25">
              <a:extLst>
                <a:ext uri="{FF2B5EF4-FFF2-40B4-BE49-F238E27FC236}">
                  <a16:creationId xmlns:a16="http://schemas.microsoft.com/office/drawing/2014/main" id="{902B7BC0-E1DE-6761-BAA2-289E1BF2AE2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77DB36C0-4B06-148B-B57C-74F842A70ECB}"/>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44F18412-D70E-7985-05EF-0A560429034C}"/>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4CDC0AA2-CBAF-B659-0AC6-C307B4BF19D0}"/>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30" name="Vrije vorm: vorm 29">
              <a:extLst>
                <a:ext uri="{FF2B5EF4-FFF2-40B4-BE49-F238E27FC236}">
                  <a16:creationId xmlns:a16="http://schemas.microsoft.com/office/drawing/2014/main" id="{8B5196A6-0E92-0BA6-DAB1-3CFEF96E2966}"/>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ADC5254-E2B3-7491-C71F-7DFFE5010D54}"/>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4DE709D1-04E9-E28E-EF96-038EF13D728E}"/>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B23C046E-991A-48FD-E45D-368DA85614E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2" name="Tijdelijke aanduiding voor datum 41">
            <a:extLst>
              <a:ext uri="{FF2B5EF4-FFF2-40B4-BE49-F238E27FC236}">
                <a16:creationId xmlns:a16="http://schemas.microsoft.com/office/drawing/2014/main" id="{443D2E7F-A623-8993-DD43-05FEE32F8EBC}"/>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43" name="Tijdelijke aanduiding voor dianummer 42">
            <a:extLst>
              <a:ext uri="{FF2B5EF4-FFF2-40B4-BE49-F238E27FC236}">
                <a16:creationId xmlns:a16="http://schemas.microsoft.com/office/drawing/2014/main" id="{5C52521A-2ED3-C2C9-18F8-B9748BDDEE94}"/>
              </a:ext>
            </a:extLst>
          </p:cNvPr>
          <p:cNvSpPr>
            <a:spLocks noGrp="1"/>
          </p:cNvSpPr>
          <p:nvPr>
            <p:ph type="sldNum" sz="quarter" idx="15"/>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2" name="Tijdelijke aanduiding voor afbeelding 16">
            <a:extLst>
              <a:ext uri="{FF2B5EF4-FFF2-40B4-BE49-F238E27FC236}">
                <a16:creationId xmlns:a16="http://schemas.microsoft.com/office/drawing/2014/main" id="{974DC6B1-5FBE-F762-EB87-7DD8109BBE9D}"/>
              </a:ext>
            </a:extLst>
          </p:cNvPr>
          <p:cNvSpPr>
            <a:spLocks noGrp="1"/>
          </p:cNvSpPr>
          <p:nvPr>
            <p:ph type="pic" sz="quarter" idx="16"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tekst 18">
            <a:extLst>
              <a:ext uri="{FF2B5EF4-FFF2-40B4-BE49-F238E27FC236}">
                <a16:creationId xmlns:a16="http://schemas.microsoft.com/office/drawing/2014/main" id="{7A3A8DF1-30AE-209E-FAA7-38BAD3B4B2C7}"/>
              </a:ext>
            </a:extLst>
          </p:cNvPr>
          <p:cNvSpPr>
            <a:spLocks noGrp="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4" name="Tijdelijke aanduiding voor tekst 18">
            <a:extLst>
              <a:ext uri="{FF2B5EF4-FFF2-40B4-BE49-F238E27FC236}">
                <a16:creationId xmlns:a16="http://schemas.microsoft.com/office/drawing/2014/main" id="{0B8B641F-7D71-A980-1A73-47282BC4213D}"/>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5" name="INSTRUCTION">
            <a:extLst>
              <a:ext uri="{FF2B5EF4-FFF2-40B4-BE49-F238E27FC236}">
                <a16:creationId xmlns:a16="http://schemas.microsoft.com/office/drawing/2014/main" id="{713464DE-31A3-FF03-3292-7990BB450B8E}"/>
              </a:ext>
            </a:extLst>
          </p:cNvPr>
          <p:cNvGrpSpPr/>
          <p:nvPr userDrawn="1"/>
        </p:nvGrpSpPr>
        <p:grpSpPr>
          <a:xfrm>
            <a:off x="-3786165" y="-1"/>
            <a:ext cx="3693386" cy="6640349"/>
            <a:chOff x="-3786165" y="-1"/>
            <a:chExt cx="3693386" cy="6640349"/>
          </a:xfrm>
        </p:grpSpPr>
        <p:sp>
          <p:nvSpPr>
            <p:cNvPr id="6" name="Rechthoek 5">
              <a:extLst>
                <a:ext uri="{FF2B5EF4-FFF2-40B4-BE49-F238E27FC236}">
                  <a16:creationId xmlns:a16="http://schemas.microsoft.com/office/drawing/2014/main" id="{4B03BB14-0771-54CD-E9C6-CC8845CC36EB}"/>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Ovaal 7">
              <a:extLst>
                <a:ext uri="{FF2B5EF4-FFF2-40B4-BE49-F238E27FC236}">
                  <a16:creationId xmlns:a16="http://schemas.microsoft.com/office/drawing/2014/main" id="{6E29086E-5289-EB23-2067-BA0D2EF6892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E65F95B9-20E7-27B4-C0A8-268BB3702922}"/>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06E22166-DCA4-ECEB-ACD5-42257365FF6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D6B885CA-0726-A52D-706E-C2705F3994B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4CBBC036-7836-547B-442B-A162EDFFC3FD}"/>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DA26781F-D1AF-C01C-D1F9-BACA228E4B4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EFB32EAC-2B93-C56C-B455-06C8AB966FDA}"/>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58DA69D7-141B-5CBD-87EC-F24FF63FA824}"/>
                </a:ext>
              </a:extLst>
            </p:cNvPr>
            <p:cNvGrpSpPr/>
            <p:nvPr userDrawn="1"/>
          </p:nvGrpSpPr>
          <p:grpSpPr>
            <a:xfrm>
              <a:off x="-2485819" y="3479783"/>
              <a:ext cx="1222990" cy="563933"/>
              <a:chOff x="-2485819" y="3399207"/>
              <a:chExt cx="1222990" cy="563933"/>
            </a:xfrm>
          </p:grpSpPr>
          <p:sp>
            <p:nvSpPr>
              <p:cNvPr id="69" name="Rechthoek 68">
                <a:extLst>
                  <a:ext uri="{FF2B5EF4-FFF2-40B4-BE49-F238E27FC236}">
                    <a16:creationId xmlns:a16="http://schemas.microsoft.com/office/drawing/2014/main" id="{65666394-7747-E89D-DEA6-55026071B0F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6A7E8A51-D855-A800-CD58-204E2B425FC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71" name="Groep 70">
                <a:extLst>
                  <a:ext uri="{FF2B5EF4-FFF2-40B4-BE49-F238E27FC236}">
                    <a16:creationId xmlns:a16="http://schemas.microsoft.com/office/drawing/2014/main" id="{7975DAC0-A422-BE33-6F1B-9292E2243DFD}"/>
                  </a:ext>
                </a:extLst>
              </p:cNvPr>
              <p:cNvGrpSpPr/>
              <p:nvPr userDrawn="1"/>
            </p:nvGrpSpPr>
            <p:grpSpPr>
              <a:xfrm>
                <a:off x="-2403869" y="3460544"/>
                <a:ext cx="155951" cy="131922"/>
                <a:chOff x="12968836" y="3354170"/>
                <a:chExt cx="404806" cy="342433"/>
              </a:xfrm>
            </p:grpSpPr>
            <p:sp>
              <p:nvSpPr>
                <p:cNvPr id="84" name="Rechthoek: afgeronde hoeken 83">
                  <a:extLst>
                    <a:ext uri="{FF2B5EF4-FFF2-40B4-BE49-F238E27FC236}">
                      <a16:creationId xmlns:a16="http://schemas.microsoft.com/office/drawing/2014/main" id="{ABD401C6-28F8-585A-DF72-E14FCE38A42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CD4407BE-88BB-DD90-D8AB-3D3A14CE84F0}"/>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6" name="Rechthoek 85">
                  <a:extLst>
                    <a:ext uri="{FF2B5EF4-FFF2-40B4-BE49-F238E27FC236}">
                      <a16:creationId xmlns:a16="http://schemas.microsoft.com/office/drawing/2014/main" id="{213473A7-BBEC-99AE-2EE5-5F98C8858CD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7" name="Rechthoek 86">
                  <a:extLst>
                    <a:ext uri="{FF2B5EF4-FFF2-40B4-BE49-F238E27FC236}">
                      <a16:creationId xmlns:a16="http://schemas.microsoft.com/office/drawing/2014/main" id="{9398F7A2-52B6-7686-1D48-CDFDFDD7533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4FAFFDC0-81D5-970E-4BDA-5BD4EC45054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CA0D335A-3ACE-1B15-384F-92CA190EE97B}"/>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2" name="Groep 71">
                <a:extLst>
                  <a:ext uri="{FF2B5EF4-FFF2-40B4-BE49-F238E27FC236}">
                    <a16:creationId xmlns:a16="http://schemas.microsoft.com/office/drawing/2014/main" id="{7968E732-C5CF-D850-7F48-1451E5ACE843}"/>
                  </a:ext>
                </a:extLst>
              </p:cNvPr>
              <p:cNvGrpSpPr/>
              <p:nvPr userDrawn="1"/>
            </p:nvGrpSpPr>
            <p:grpSpPr>
              <a:xfrm>
                <a:off x="-2423424" y="3690208"/>
                <a:ext cx="166739" cy="218963"/>
                <a:chOff x="12940828" y="3950597"/>
                <a:chExt cx="432813" cy="568367"/>
              </a:xfrm>
            </p:grpSpPr>
            <p:grpSp>
              <p:nvGrpSpPr>
                <p:cNvPr id="76" name="Groep 75">
                  <a:extLst>
                    <a:ext uri="{FF2B5EF4-FFF2-40B4-BE49-F238E27FC236}">
                      <a16:creationId xmlns:a16="http://schemas.microsoft.com/office/drawing/2014/main" id="{982E9006-80BF-2055-9596-D13A6CB1FB04}"/>
                    </a:ext>
                  </a:extLst>
                </p:cNvPr>
                <p:cNvGrpSpPr/>
                <p:nvPr userDrawn="1"/>
              </p:nvGrpSpPr>
              <p:grpSpPr>
                <a:xfrm>
                  <a:off x="13000382" y="4006891"/>
                  <a:ext cx="373259" cy="315747"/>
                  <a:chOff x="12968836" y="3354170"/>
                  <a:chExt cx="404806" cy="342433"/>
                </a:xfrm>
              </p:grpSpPr>
              <p:sp>
                <p:nvSpPr>
                  <p:cNvPr id="78" name="Rechthoek: afgeronde hoeken 77">
                    <a:extLst>
                      <a:ext uri="{FF2B5EF4-FFF2-40B4-BE49-F238E27FC236}">
                        <a16:creationId xmlns:a16="http://schemas.microsoft.com/office/drawing/2014/main" id="{A52A5F37-DC95-8FE6-F7C6-91FC57DD33B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06D541A9-D8FE-DCB2-C9AC-9AAFBFCFB51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B8761B28-0138-4419-8F7B-8D7C8F3898F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9563D739-E975-CA93-F22D-7E4D39306B6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D6097BED-2529-F12B-32FE-FD77ABCD1CE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F749D837-D8D5-A670-733A-3A5E9938B67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77" name="Boog 76">
                  <a:extLst>
                    <a:ext uri="{FF2B5EF4-FFF2-40B4-BE49-F238E27FC236}">
                      <a16:creationId xmlns:a16="http://schemas.microsoft.com/office/drawing/2014/main" id="{E719CA74-6772-0F1A-5A98-7CD45BBAD37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73" name="Tekstvak 72">
                <a:extLst>
                  <a:ext uri="{FF2B5EF4-FFF2-40B4-BE49-F238E27FC236}">
                    <a16:creationId xmlns:a16="http://schemas.microsoft.com/office/drawing/2014/main" id="{4AB4936A-3AA3-E395-9B50-7903BF03B9CF}"/>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74" name="Tekstvak 73">
                <a:extLst>
                  <a:ext uri="{FF2B5EF4-FFF2-40B4-BE49-F238E27FC236}">
                    <a16:creationId xmlns:a16="http://schemas.microsoft.com/office/drawing/2014/main" id="{C46031F7-18AD-C58C-C8BD-B279FDC4823C}"/>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75" name="Vrije vorm: vorm 74">
                <a:extLst>
                  <a:ext uri="{FF2B5EF4-FFF2-40B4-BE49-F238E27FC236}">
                    <a16:creationId xmlns:a16="http://schemas.microsoft.com/office/drawing/2014/main" id="{FA85B7C9-77E4-D390-69B7-002360E451C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4F06251D-5186-5478-54A7-6CECD70410D4}"/>
                </a:ext>
              </a:extLst>
            </p:cNvPr>
            <p:cNvGrpSpPr/>
            <p:nvPr userDrawn="1"/>
          </p:nvGrpSpPr>
          <p:grpSpPr>
            <a:xfrm>
              <a:off x="-3786165" y="5680652"/>
              <a:ext cx="3693386" cy="959696"/>
              <a:chOff x="-3786437" y="6163468"/>
              <a:chExt cx="3693386" cy="959696"/>
            </a:xfrm>
          </p:grpSpPr>
          <p:sp>
            <p:nvSpPr>
              <p:cNvPr id="59" name="Rechthoek 58">
                <a:extLst>
                  <a:ext uri="{FF2B5EF4-FFF2-40B4-BE49-F238E27FC236}">
                    <a16:creationId xmlns:a16="http://schemas.microsoft.com/office/drawing/2014/main" id="{214D442C-2145-B06C-F030-F14A03693FE2}"/>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60" name="ICOON_info">
                <a:extLst>
                  <a:ext uri="{FF2B5EF4-FFF2-40B4-BE49-F238E27FC236}">
                    <a16:creationId xmlns:a16="http://schemas.microsoft.com/office/drawing/2014/main" id="{7AC659FD-B073-7529-C18A-AABA4EBD081A}"/>
                  </a:ext>
                </a:extLst>
              </p:cNvPr>
              <p:cNvGrpSpPr/>
              <p:nvPr userDrawn="1"/>
            </p:nvGrpSpPr>
            <p:grpSpPr>
              <a:xfrm>
                <a:off x="-376736" y="6163468"/>
                <a:ext cx="283685" cy="283685"/>
                <a:chOff x="-510741" y="5913713"/>
                <a:chExt cx="267555" cy="267555"/>
              </a:xfrm>
            </p:grpSpPr>
            <p:sp>
              <p:nvSpPr>
                <p:cNvPr id="67" name="Ovaal 66">
                  <a:extLst>
                    <a:ext uri="{FF2B5EF4-FFF2-40B4-BE49-F238E27FC236}">
                      <a16:creationId xmlns:a16="http://schemas.microsoft.com/office/drawing/2014/main" id="{52B7F277-7D71-5F12-369C-C7DABB29F97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8" name="Graphic 163" descr="Informatie">
                  <a:extLst>
                    <a:ext uri="{FF2B5EF4-FFF2-40B4-BE49-F238E27FC236}">
                      <a16:creationId xmlns:a16="http://schemas.microsoft.com/office/drawing/2014/main" id="{85CB978C-AC3D-A449-06A2-F67F05341B4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146F97F6-F223-13A2-5474-DDEF5F94FAB1}"/>
                  </a:ext>
                </a:extLst>
              </p:cNvPr>
              <p:cNvGrpSpPr/>
              <p:nvPr userDrawn="1"/>
            </p:nvGrpSpPr>
            <p:grpSpPr>
              <a:xfrm>
                <a:off x="-938434" y="6420818"/>
                <a:ext cx="627798" cy="576693"/>
                <a:chOff x="-938434" y="4570310"/>
                <a:chExt cx="627798" cy="576693"/>
              </a:xfrm>
            </p:grpSpPr>
            <p:grpSp>
              <p:nvGrpSpPr>
                <p:cNvPr id="62" name="Inspireren">
                  <a:extLst>
                    <a:ext uri="{FF2B5EF4-FFF2-40B4-BE49-F238E27FC236}">
                      <a16:creationId xmlns:a16="http://schemas.microsoft.com/office/drawing/2014/main" id="{E8FCB087-14A5-DBC9-0314-3044E219E98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4" name="Freeform 12">
                    <a:extLst>
                      <a:ext uri="{FF2B5EF4-FFF2-40B4-BE49-F238E27FC236}">
                        <a16:creationId xmlns:a16="http://schemas.microsoft.com/office/drawing/2014/main" id="{D478E702-E873-59FF-D79C-793FE8B3000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5" name="Freeform 13">
                    <a:extLst>
                      <a:ext uri="{FF2B5EF4-FFF2-40B4-BE49-F238E27FC236}">
                        <a16:creationId xmlns:a16="http://schemas.microsoft.com/office/drawing/2014/main" id="{6671A40F-1053-EA19-1624-22D0C8C6FDA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6" name="Freeform 14">
                    <a:extLst>
                      <a:ext uri="{FF2B5EF4-FFF2-40B4-BE49-F238E27FC236}">
                        <a16:creationId xmlns:a16="http://schemas.microsoft.com/office/drawing/2014/main" id="{B473F71A-5475-B13D-D883-CC83F3230A3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63" name="Tekstvak 62">
                  <a:extLst>
                    <a:ext uri="{FF2B5EF4-FFF2-40B4-BE49-F238E27FC236}">
                      <a16:creationId xmlns:a16="http://schemas.microsoft.com/office/drawing/2014/main" id="{45BF62BA-2E1F-2CF0-A64B-F0F29D38D9A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7" name="Groep 16">
              <a:extLst>
                <a:ext uri="{FF2B5EF4-FFF2-40B4-BE49-F238E27FC236}">
                  <a16:creationId xmlns:a16="http://schemas.microsoft.com/office/drawing/2014/main" id="{479E7C04-3AC5-48DE-D29C-250AE780AE62}"/>
                </a:ext>
              </a:extLst>
            </p:cNvPr>
            <p:cNvGrpSpPr/>
            <p:nvPr userDrawn="1"/>
          </p:nvGrpSpPr>
          <p:grpSpPr>
            <a:xfrm>
              <a:off x="-3426806" y="5129582"/>
              <a:ext cx="514284" cy="506545"/>
              <a:chOff x="12617641" y="3403239"/>
              <a:chExt cx="752963" cy="741634"/>
            </a:xfrm>
          </p:grpSpPr>
          <p:grpSp>
            <p:nvGrpSpPr>
              <p:cNvPr id="40" name="Groep 39">
                <a:extLst>
                  <a:ext uri="{FF2B5EF4-FFF2-40B4-BE49-F238E27FC236}">
                    <a16:creationId xmlns:a16="http://schemas.microsoft.com/office/drawing/2014/main" id="{38783D98-DEA5-E27A-C4B2-7ABBCC5A8B8C}"/>
                  </a:ext>
                </a:extLst>
              </p:cNvPr>
              <p:cNvGrpSpPr/>
              <p:nvPr userDrawn="1"/>
            </p:nvGrpSpPr>
            <p:grpSpPr>
              <a:xfrm>
                <a:off x="12771530" y="3403239"/>
                <a:ext cx="467176" cy="448491"/>
                <a:chOff x="12782157" y="3403239"/>
                <a:chExt cx="467176" cy="448491"/>
              </a:xfrm>
            </p:grpSpPr>
            <p:grpSp>
              <p:nvGrpSpPr>
                <p:cNvPr id="46" name="Groep 45">
                  <a:extLst>
                    <a:ext uri="{FF2B5EF4-FFF2-40B4-BE49-F238E27FC236}">
                      <a16:creationId xmlns:a16="http://schemas.microsoft.com/office/drawing/2014/main" id="{207D1FED-4D20-31FF-C9D9-ED5E78886876}"/>
                    </a:ext>
                  </a:extLst>
                </p:cNvPr>
                <p:cNvGrpSpPr/>
                <p:nvPr userDrawn="1"/>
              </p:nvGrpSpPr>
              <p:grpSpPr>
                <a:xfrm>
                  <a:off x="12782157" y="3403239"/>
                  <a:ext cx="412976" cy="396132"/>
                  <a:chOff x="13554906" y="3320109"/>
                  <a:chExt cx="443917" cy="425811"/>
                </a:xfrm>
              </p:grpSpPr>
              <p:grpSp>
                <p:nvGrpSpPr>
                  <p:cNvPr id="53" name="Groep 52">
                    <a:extLst>
                      <a:ext uri="{FF2B5EF4-FFF2-40B4-BE49-F238E27FC236}">
                        <a16:creationId xmlns:a16="http://schemas.microsoft.com/office/drawing/2014/main" id="{F71AD621-7514-A780-6498-E40EC9CE8740}"/>
                      </a:ext>
                    </a:extLst>
                  </p:cNvPr>
                  <p:cNvGrpSpPr/>
                  <p:nvPr userDrawn="1"/>
                </p:nvGrpSpPr>
                <p:grpSpPr>
                  <a:xfrm>
                    <a:off x="13554906" y="3320109"/>
                    <a:ext cx="443917" cy="425811"/>
                    <a:chOff x="12909684" y="1276143"/>
                    <a:chExt cx="443917" cy="425811"/>
                  </a:xfrm>
                </p:grpSpPr>
                <p:sp>
                  <p:nvSpPr>
                    <p:cNvPr id="56" name="Rechthoek 55">
                      <a:extLst>
                        <a:ext uri="{FF2B5EF4-FFF2-40B4-BE49-F238E27FC236}">
                          <a16:creationId xmlns:a16="http://schemas.microsoft.com/office/drawing/2014/main" id="{C03F1BC5-67DF-3857-46DF-7236FB01DE2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ADCBD14F-3B9C-2B61-FD86-32CE9D44E61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8" name="Ovaal 57">
                      <a:extLst>
                        <a:ext uri="{FF2B5EF4-FFF2-40B4-BE49-F238E27FC236}">
                          <a16:creationId xmlns:a16="http://schemas.microsoft.com/office/drawing/2014/main" id="{5221755B-D268-3702-0666-7949230E313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4" name="Afbeelding 53">
                    <a:extLst>
                      <a:ext uri="{FF2B5EF4-FFF2-40B4-BE49-F238E27FC236}">
                        <a16:creationId xmlns:a16="http://schemas.microsoft.com/office/drawing/2014/main" id="{AFA4049C-F5E6-4B8B-4110-868276838D2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5" name="Afbeelding 54">
                    <a:extLst>
                      <a:ext uri="{FF2B5EF4-FFF2-40B4-BE49-F238E27FC236}">
                        <a16:creationId xmlns:a16="http://schemas.microsoft.com/office/drawing/2014/main" id="{73C14D4F-E030-C5A9-21B8-1E41B506AE59}"/>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7" name="Groep 46">
                  <a:extLst>
                    <a:ext uri="{FF2B5EF4-FFF2-40B4-BE49-F238E27FC236}">
                      <a16:creationId xmlns:a16="http://schemas.microsoft.com/office/drawing/2014/main" id="{A6CDB6E7-A3FF-A684-F9DA-CE58D8220431}"/>
                    </a:ext>
                  </a:extLst>
                </p:cNvPr>
                <p:cNvGrpSpPr/>
                <p:nvPr userDrawn="1"/>
              </p:nvGrpSpPr>
              <p:grpSpPr>
                <a:xfrm>
                  <a:off x="13103513" y="3705268"/>
                  <a:ext cx="145820" cy="146462"/>
                  <a:chOff x="13096169" y="3602278"/>
                  <a:chExt cx="145820" cy="146462"/>
                </a:xfrm>
              </p:grpSpPr>
              <p:sp>
                <p:nvSpPr>
                  <p:cNvPr id="51" name="Rechthoek 50">
                    <a:extLst>
                      <a:ext uri="{FF2B5EF4-FFF2-40B4-BE49-F238E27FC236}">
                        <a16:creationId xmlns:a16="http://schemas.microsoft.com/office/drawing/2014/main" id="{A82889F1-F370-1C0E-C8DE-97C25DAACDC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C422F5D2-C68E-71D2-3EF6-60A7E4B1824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8" name="Groep 47">
                  <a:extLst>
                    <a:ext uri="{FF2B5EF4-FFF2-40B4-BE49-F238E27FC236}">
                      <a16:creationId xmlns:a16="http://schemas.microsoft.com/office/drawing/2014/main" id="{C411A677-ADD9-1A53-5AD5-B22A7E848936}"/>
                    </a:ext>
                  </a:extLst>
                </p:cNvPr>
                <p:cNvGrpSpPr/>
                <p:nvPr userDrawn="1"/>
              </p:nvGrpSpPr>
              <p:grpSpPr>
                <a:xfrm rot="10800000">
                  <a:off x="13061402" y="3665637"/>
                  <a:ext cx="145820" cy="146462"/>
                  <a:chOff x="13096169" y="3602278"/>
                  <a:chExt cx="145820" cy="146462"/>
                </a:xfrm>
              </p:grpSpPr>
              <p:sp>
                <p:nvSpPr>
                  <p:cNvPr id="49" name="Rechthoek 48">
                    <a:extLst>
                      <a:ext uri="{FF2B5EF4-FFF2-40B4-BE49-F238E27FC236}">
                        <a16:creationId xmlns:a16="http://schemas.microsoft.com/office/drawing/2014/main" id="{98076301-A147-32CF-1408-DF06651541E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20045967-E8C5-DC91-1388-3C24354937C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4" name="Rechthoek 43">
                <a:extLst>
                  <a:ext uri="{FF2B5EF4-FFF2-40B4-BE49-F238E27FC236}">
                    <a16:creationId xmlns:a16="http://schemas.microsoft.com/office/drawing/2014/main" id="{D9CC1755-6693-B806-7FE8-B478B3CA80DB}"/>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5" name="Gelijkbenige driehoek 44">
                <a:extLst>
                  <a:ext uri="{FF2B5EF4-FFF2-40B4-BE49-F238E27FC236}">
                    <a16:creationId xmlns:a16="http://schemas.microsoft.com/office/drawing/2014/main" id="{127BA261-DAEA-401F-3711-B6DE04DBC44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8" name="Ovaal 17">
              <a:extLst>
                <a:ext uri="{FF2B5EF4-FFF2-40B4-BE49-F238E27FC236}">
                  <a16:creationId xmlns:a16="http://schemas.microsoft.com/office/drawing/2014/main" id="{1EC2F4AD-E6D2-CBBB-E406-3A2367CB12B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 name="Rechthoek 18">
              <a:extLst>
                <a:ext uri="{FF2B5EF4-FFF2-40B4-BE49-F238E27FC236}">
                  <a16:creationId xmlns:a16="http://schemas.microsoft.com/office/drawing/2014/main" id="{ED756127-253F-90A6-BF10-557FDEE6B9B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 name="Rechthoek 19">
              <a:extLst>
                <a:ext uri="{FF2B5EF4-FFF2-40B4-BE49-F238E27FC236}">
                  <a16:creationId xmlns:a16="http://schemas.microsoft.com/office/drawing/2014/main" id="{7E7E902D-CD84-81AC-F7F3-3EA08BAB681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1" name="Groep 20">
              <a:extLst>
                <a:ext uri="{FF2B5EF4-FFF2-40B4-BE49-F238E27FC236}">
                  <a16:creationId xmlns:a16="http://schemas.microsoft.com/office/drawing/2014/main" id="{5929E58E-C549-D2C7-DEB5-093BA2957DE6}"/>
                </a:ext>
              </a:extLst>
            </p:cNvPr>
            <p:cNvGrpSpPr/>
            <p:nvPr userDrawn="1"/>
          </p:nvGrpSpPr>
          <p:grpSpPr>
            <a:xfrm>
              <a:off x="-3365484" y="1226982"/>
              <a:ext cx="446937" cy="406485"/>
              <a:chOff x="-3563526" y="1409294"/>
              <a:chExt cx="354190" cy="322133"/>
            </a:xfrm>
          </p:grpSpPr>
          <p:grpSp>
            <p:nvGrpSpPr>
              <p:cNvPr id="22" name="Groep 21">
                <a:extLst>
                  <a:ext uri="{FF2B5EF4-FFF2-40B4-BE49-F238E27FC236}">
                    <a16:creationId xmlns:a16="http://schemas.microsoft.com/office/drawing/2014/main" id="{DDC2CEFC-7CB1-A780-CF73-1F4F1987A4AC}"/>
                  </a:ext>
                </a:extLst>
              </p:cNvPr>
              <p:cNvGrpSpPr/>
              <p:nvPr userDrawn="1"/>
            </p:nvGrpSpPr>
            <p:grpSpPr>
              <a:xfrm>
                <a:off x="-3499992" y="1409294"/>
                <a:ext cx="225195" cy="195499"/>
                <a:chOff x="8987389" y="1361199"/>
                <a:chExt cx="2200275" cy="1914525"/>
              </a:xfrm>
            </p:grpSpPr>
            <p:sp>
              <p:nvSpPr>
                <p:cNvPr id="24" name="Vrije vorm: vorm 23">
                  <a:extLst>
                    <a:ext uri="{FF2B5EF4-FFF2-40B4-BE49-F238E27FC236}">
                      <a16:creationId xmlns:a16="http://schemas.microsoft.com/office/drawing/2014/main" id="{E2491FB2-C557-3233-EE25-E1E415BCA9B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35" name="Groep 34">
                  <a:extLst>
                    <a:ext uri="{FF2B5EF4-FFF2-40B4-BE49-F238E27FC236}">
                      <a16:creationId xmlns:a16="http://schemas.microsoft.com/office/drawing/2014/main" id="{BDC9F8A4-A7F1-D4BF-21CB-0CBA8759918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7" name="Vrije vorm: vorm 36">
                    <a:extLst>
                      <a:ext uri="{FF2B5EF4-FFF2-40B4-BE49-F238E27FC236}">
                        <a16:creationId xmlns:a16="http://schemas.microsoft.com/office/drawing/2014/main" id="{99F7E725-E4BD-01A0-F686-BD5B82F5EBD1}"/>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9" name="Vrije vorm: vorm 38">
                    <a:extLst>
                      <a:ext uri="{FF2B5EF4-FFF2-40B4-BE49-F238E27FC236}">
                        <a16:creationId xmlns:a16="http://schemas.microsoft.com/office/drawing/2014/main" id="{7D355568-B8A1-7C0E-ECFD-B45C095763D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3" name="Tekstvak 22">
                <a:extLst>
                  <a:ext uri="{FF2B5EF4-FFF2-40B4-BE49-F238E27FC236}">
                    <a16:creationId xmlns:a16="http://schemas.microsoft.com/office/drawing/2014/main" id="{5C8232F0-8E2E-7C95-7C6B-BAE2F12BF6A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27625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EE88B6D-7143-4386-BA0D-08FD41A1EEB7}"/>
              </a:ext>
            </a:extLst>
          </p:cNvPr>
          <p:cNvSpPr>
            <a:spLocks noGrp="1" noRot="1" noMove="1" noResize="1" noEditPoints="1" noAdjustHandles="1" noChangeArrowheads="1" noChangeShapeType="1"/>
          </p:cNvSpPr>
          <p:nvPr userDrawn="1"/>
        </p:nvSpPr>
        <p:spPr>
          <a:xfrm>
            <a:off x="0" y="0"/>
            <a:ext cx="53746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718666" y="722455"/>
            <a:ext cx="3937333" cy="322156"/>
          </a:xfrm>
        </p:spPr>
        <p:txBody>
          <a:bodyPr/>
          <a:lstStyle>
            <a:lvl1pPr>
              <a:defRPr>
                <a:solidFill>
                  <a:schemeClr val="tx2"/>
                </a:solidFill>
              </a:defRPr>
            </a:lvl1pPr>
          </a:lstStyle>
          <a:p>
            <a:r>
              <a:rPr lang="en-GB" noProof="0" dirty="0"/>
              <a:t>Title goes here</a:t>
            </a:r>
          </a:p>
        </p:txBody>
      </p:sp>
      <p:sp>
        <p:nvSpPr>
          <p:cNvPr id="18" name="Tijdelijke aanduiding voor grafiek 17">
            <a:extLst>
              <a:ext uri="{FF2B5EF4-FFF2-40B4-BE49-F238E27FC236}">
                <a16:creationId xmlns:a16="http://schemas.microsoft.com/office/drawing/2014/main" id="{FBAE20DA-BB0F-413F-A532-86A4D0079AB9}"/>
              </a:ext>
            </a:extLst>
          </p:cNvPr>
          <p:cNvSpPr>
            <a:spLocks noGrp="1"/>
          </p:cNvSpPr>
          <p:nvPr>
            <p:ph type="chart" sz="quarter" idx="13" hasCustomPrompt="1"/>
          </p:nvPr>
        </p:nvSpPr>
        <p:spPr>
          <a:xfrm>
            <a:off x="6093331" y="722455"/>
            <a:ext cx="5378669" cy="527829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graph</a:t>
            </a:r>
          </a:p>
        </p:txBody>
      </p:sp>
      <p:sp>
        <p:nvSpPr>
          <p:cNvPr id="8" name="Rechthoek 7">
            <a:extLst>
              <a:ext uri="{FF2B5EF4-FFF2-40B4-BE49-F238E27FC236}">
                <a16:creationId xmlns:a16="http://schemas.microsoft.com/office/drawing/2014/main" id="{47FABFDC-C1CE-40A8-B8C0-2D4AF73C1297}"/>
              </a:ext>
            </a:extLst>
          </p:cNvPr>
          <p:cNvSpPr/>
          <p:nvPr userDrawn="1"/>
        </p:nvSpPr>
        <p:spPr>
          <a:xfrm>
            <a:off x="0" y="-441330"/>
            <a:ext cx="136146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graph</a:t>
            </a:r>
          </a:p>
        </p:txBody>
      </p:sp>
      <p:sp>
        <p:nvSpPr>
          <p:cNvPr id="3" name="Tijdelijke aanduiding voor datum 2">
            <a:extLst>
              <a:ext uri="{FF2B5EF4-FFF2-40B4-BE49-F238E27FC236}">
                <a16:creationId xmlns:a16="http://schemas.microsoft.com/office/drawing/2014/main" id="{EDE8389D-5D11-4D45-B4A3-64DB64DBE22B}"/>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D0153074-F70B-4B82-96FF-348823D4B9B8}"/>
              </a:ext>
            </a:extLst>
          </p:cNvPr>
          <p:cNvSpPr>
            <a:spLocks noGrp="1"/>
          </p:cNvSpPr>
          <p:nvPr>
            <p:ph type="sldNum" sz="quarter" idx="16"/>
          </p:nvPr>
        </p:nvSpPr>
        <p:spPr/>
        <p:txBody>
          <a:bodyPr/>
          <a:lstStyle/>
          <a:p>
            <a:fld id="{9E843DB9-9987-4157-AB9C-CEA8D7D910BB}" type="slidenum">
              <a:rPr lang="en-GB" smtClean="0"/>
              <a:pPr/>
              <a:t>‹#›</a:t>
            </a:fld>
            <a:endParaRPr lang="en-GB" dirty="0"/>
          </a:p>
        </p:txBody>
      </p:sp>
      <p:sp>
        <p:nvSpPr>
          <p:cNvPr id="7" name="Tijdelijke aanduiding voor verticale tekst 2">
            <a:extLst>
              <a:ext uri="{FF2B5EF4-FFF2-40B4-BE49-F238E27FC236}">
                <a16:creationId xmlns:a16="http://schemas.microsoft.com/office/drawing/2014/main" id="{4BAC3E69-ABB1-C907-B9D7-5DFA7221ABF5}"/>
              </a:ext>
            </a:extLst>
          </p:cNvPr>
          <p:cNvSpPr>
            <a:spLocks noGrp="1"/>
          </p:cNvSpPr>
          <p:nvPr>
            <p:ph type="body" orient="vert" idx="1" hasCustomPrompt="1"/>
          </p:nvPr>
        </p:nvSpPr>
        <p:spPr>
          <a:xfrm>
            <a:off x="718666" y="1569104"/>
            <a:ext cx="3937333"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0" name="Groep 9">
            <a:extLst>
              <a:ext uri="{FF2B5EF4-FFF2-40B4-BE49-F238E27FC236}">
                <a16:creationId xmlns:a16="http://schemas.microsoft.com/office/drawing/2014/main" id="{56D01710-570D-A6AD-85CD-4A7D6F5AF72A}"/>
              </a:ext>
            </a:extLst>
          </p:cNvPr>
          <p:cNvGrpSpPr>
            <a:grpSpLocks noGrp="1" noUngrp="1" noRot="1" noMove="1" noResize="1"/>
          </p:cNvGrpSpPr>
          <p:nvPr userDrawn="1"/>
        </p:nvGrpSpPr>
        <p:grpSpPr>
          <a:xfrm>
            <a:off x="721079" y="6216736"/>
            <a:ext cx="961200" cy="381600"/>
            <a:chOff x="2807303" y="2354764"/>
            <a:chExt cx="944974" cy="368527"/>
          </a:xfrm>
          <a:solidFill>
            <a:schemeClr val="bg1"/>
          </a:solidFill>
        </p:grpSpPr>
        <p:sp>
          <p:nvSpPr>
            <p:cNvPr id="11" name="Vrije vorm: vorm 10">
              <a:extLst>
                <a:ext uri="{FF2B5EF4-FFF2-40B4-BE49-F238E27FC236}">
                  <a16:creationId xmlns:a16="http://schemas.microsoft.com/office/drawing/2014/main" id="{AF7B0112-A1E8-4C7E-1384-3C29FF3CFE6E}"/>
                </a:ext>
              </a:extLst>
            </p:cNvPr>
            <p:cNvSpPr>
              <a:spLocks noGrp="1" noRot="1" noMove="1" noResize="1" noEditPoints="1" noAdjustHandles="1" noChangeArrowheads="1" noChangeShapeType="1"/>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318E13D-0E3A-A9B5-D897-3F3631C31423}"/>
                </a:ext>
              </a:extLst>
            </p:cNvPr>
            <p:cNvSpPr>
              <a:spLocks noGrp="1" noRot="1" noMove="1" noResize="1" noEditPoints="1" noAdjustHandles="1" noChangeArrowheads="1" noChangeShapeType="1"/>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9B6F2C4-B2C2-63A6-625D-6345DAC27823}"/>
                </a:ext>
              </a:extLst>
            </p:cNvPr>
            <p:cNvSpPr>
              <a:spLocks noGrp="1" noRot="1" noMove="1" noResize="1" noEditPoints="1" noAdjustHandles="1" noChangeArrowheads="1" noChangeShapeType="1"/>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B788DDB6-EF97-F727-5009-6E0903065CE2}"/>
                </a:ext>
              </a:extLst>
            </p:cNvPr>
            <p:cNvSpPr>
              <a:spLocks noGrp="1" noRot="1" noMove="1" noResize="1" noEditPoints="1" noAdjustHandles="1" noChangeArrowheads="1" noChangeShapeType="1"/>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94FA6C1F-C8CB-57A9-5C49-001F6E8FF855}"/>
                </a:ext>
              </a:extLst>
            </p:cNvPr>
            <p:cNvSpPr>
              <a:spLocks noGrp="1" noRot="1" noMove="1" noResize="1" noEditPoints="1" noAdjustHandles="1" noChangeArrowheads="1" noChangeShapeType="1"/>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16A3CDC8-B743-992B-27EF-E6404DA86E2E}"/>
                </a:ext>
              </a:extLst>
            </p:cNvPr>
            <p:cNvSpPr>
              <a:spLocks noGrp="1" noRot="1" noMove="1" noResize="1" noEditPoints="1" noAdjustHandles="1" noChangeArrowheads="1" noChangeShapeType="1"/>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88E32565-559D-E724-512C-6994CD123156}"/>
                </a:ext>
              </a:extLst>
            </p:cNvPr>
            <p:cNvSpPr>
              <a:spLocks noGrp="1" noRot="1" noMove="1" noResize="1" noEditPoints="1" noAdjustHandles="1" noChangeArrowheads="1" noChangeShapeType="1"/>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E2808C1-607A-8070-888F-F8F44C353592}"/>
                </a:ext>
              </a:extLst>
            </p:cNvPr>
            <p:cNvSpPr>
              <a:spLocks noGrp="1" noRot="1" noMove="1" noResize="1" noEditPoints="1" noAdjustHandles="1" noChangeArrowheads="1" noChangeShapeType="1"/>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grpSp>
        <p:nvGrpSpPr>
          <p:cNvPr id="4" name="INSTRUCTION">
            <a:extLst>
              <a:ext uri="{FF2B5EF4-FFF2-40B4-BE49-F238E27FC236}">
                <a16:creationId xmlns:a16="http://schemas.microsoft.com/office/drawing/2014/main" id="{D59144BE-8A99-C269-400B-9D68868F4A97}"/>
              </a:ext>
            </a:extLst>
          </p:cNvPr>
          <p:cNvGrpSpPr/>
          <p:nvPr userDrawn="1"/>
        </p:nvGrpSpPr>
        <p:grpSpPr>
          <a:xfrm>
            <a:off x="-3786437" y="0"/>
            <a:ext cx="3693386" cy="5359349"/>
            <a:chOff x="-3786437" y="0"/>
            <a:chExt cx="3693386" cy="5359349"/>
          </a:xfrm>
        </p:grpSpPr>
        <p:sp>
          <p:nvSpPr>
            <p:cNvPr id="9" name="Rechthoek 8">
              <a:extLst>
                <a:ext uri="{FF2B5EF4-FFF2-40B4-BE49-F238E27FC236}">
                  <a16:creationId xmlns:a16="http://schemas.microsoft.com/office/drawing/2014/main" id="{85A5382D-8A23-F76B-A3F1-65EB2AB1E73C}"/>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0" name="Rechthoek 19">
              <a:extLst>
                <a:ext uri="{FF2B5EF4-FFF2-40B4-BE49-F238E27FC236}">
                  <a16:creationId xmlns:a16="http://schemas.microsoft.com/office/drawing/2014/main" id="{585F4107-57F5-3D45-FA66-E5D502BA3C91}"/>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21" name="Ovaal 20">
              <a:extLst>
                <a:ext uri="{FF2B5EF4-FFF2-40B4-BE49-F238E27FC236}">
                  <a16:creationId xmlns:a16="http://schemas.microsoft.com/office/drawing/2014/main" id="{B299F5A0-F482-489E-08B8-C3ACCE28C5EC}"/>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22" name="Rechthoek 21">
              <a:extLst>
                <a:ext uri="{FF2B5EF4-FFF2-40B4-BE49-F238E27FC236}">
                  <a16:creationId xmlns:a16="http://schemas.microsoft.com/office/drawing/2014/main" id="{049F51C4-3C5A-60E2-BFFF-74FD546D00E0}"/>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23" name="Ovaal 22">
              <a:extLst>
                <a:ext uri="{FF2B5EF4-FFF2-40B4-BE49-F238E27FC236}">
                  <a16:creationId xmlns:a16="http://schemas.microsoft.com/office/drawing/2014/main" id="{76E32F7F-E128-95D1-2361-829273F04153}"/>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24" name="Rechthoek 23">
              <a:extLst>
                <a:ext uri="{FF2B5EF4-FFF2-40B4-BE49-F238E27FC236}">
                  <a16:creationId xmlns:a16="http://schemas.microsoft.com/office/drawing/2014/main" id="{C0DF96B0-1604-48C1-6604-90470CDE1794}"/>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 name="Rechthoek 24">
              <a:extLst>
                <a:ext uri="{FF2B5EF4-FFF2-40B4-BE49-F238E27FC236}">
                  <a16:creationId xmlns:a16="http://schemas.microsoft.com/office/drawing/2014/main" id="{8EC8AD8A-2671-9A8F-C175-93DD5AFFAB0A}"/>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26" name="Ovaal 25">
              <a:extLst>
                <a:ext uri="{FF2B5EF4-FFF2-40B4-BE49-F238E27FC236}">
                  <a16:creationId xmlns:a16="http://schemas.microsoft.com/office/drawing/2014/main" id="{265F716A-AA9E-B614-2FC4-EEC8024E65CE}"/>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27" name="Rechthoek 26">
              <a:extLst>
                <a:ext uri="{FF2B5EF4-FFF2-40B4-BE49-F238E27FC236}">
                  <a16:creationId xmlns:a16="http://schemas.microsoft.com/office/drawing/2014/main" id="{11C08510-D645-64A3-084E-EBD354CE423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28" name="Ovaal 27">
              <a:extLst>
                <a:ext uri="{FF2B5EF4-FFF2-40B4-BE49-F238E27FC236}">
                  <a16:creationId xmlns:a16="http://schemas.microsoft.com/office/drawing/2014/main" id="{B444B49A-F9D5-21ED-102D-6E091D25EC6F}"/>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9" name="Rechthoek 28">
              <a:extLst>
                <a:ext uri="{FF2B5EF4-FFF2-40B4-BE49-F238E27FC236}">
                  <a16:creationId xmlns:a16="http://schemas.microsoft.com/office/drawing/2014/main" id="{97390E05-6CD2-EDB9-0F6A-15D54C64A03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30" name="Ovaal 29">
              <a:extLst>
                <a:ext uri="{FF2B5EF4-FFF2-40B4-BE49-F238E27FC236}">
                  <a16:creationId xmlns:a16="http://schemas.microsoft.com/office/drawing/2014/main" id="{C95ECFCE-D7E5-97D8-AA58-B03DAA66C035}"/>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31" name="Rechthoek 30">
              <a:extLst>
                <a:ext uri="{FF2B5EF4-FFF2-40B4-BE49-F238E27FC236}">
                  <a16:creationId xmlns:a16="http://schemas.microsoft.com/office/drawing/2014/main" id="{2305A90F-852F-3EC6-4C4A-A9A785C4B788}"/>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32" name="Ovaal 31">
              <a:extLst>
                <a:ext uri="{FF2B5EF4-FFF2-40B4-BE49-F238E27FC236}">
                  <a16:creationId xmlns:a16="http://schemas.microsoft.com/office/drawing/2014/main" id="{389F6311-C221-8067-1126-EBDCAE0E5A69}"/>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33" name="Rechthoek 32">
              <a:extLst>
                <a:ext uri="{FF2B5EF4-FFF2-40B4-BE49-F238E27FC236}">
                  <a16:creationId xmlns:a16="http://schemas.microsoft.com/office/drawing/2014/main" id="{DF1A603A-EDDA-ED38-DA0F-11A7433FE61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34" name="Ovaal 33">
              <a:extLst>
                <a:ext uri="{FF2B5EF4-FFF2-40B4-BE49-F238E27FC236}">
                  <a16:creationId xmlns:a16="http://schemas.microsoft.com/office/drawing/2014/main" id="{8A1A3B82-196E-A31E-A5FA-879340B397B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35" name="Rechthoek 34">
              <a:extLst>
                <a:ext uri="{FF2B5EF4-FFF2-40B4-BE49-F238E27FC236}">
                  <a16:creationId xmlns:a16="http://schemas.microsoft.com/office/drawing/2014/main" id="{FB5D4B9B-DE21-7C2E-D713-A10D276DA878}"/>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36" name="Ovaal 35">
              <a:extLst>
                <a:ext uri="{FF2B5EF4-FFF2-40B4-BE49-F238E27FC236}">
                  <a16:creationId xmlns:a16="http://schemas.microsoft.com/office/drawing/2014/main" id="{4AB9DD57-CCA1-C2AA-1142-32E25D39AC0F}"/>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37" name="Rechthoek 36">
              <a:extLst>
                <a:ext uri="{FF2B5EF4-FFF2-40B4-BE49-F238E27FC236}">
                  <a16:creationId xmlns:a16="http://schemas.microsoft.com/office/drawing/2014/main" id="{6A8D1F49-3D21-AEE2-9AF7-4A982B6CD841}"/>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8" name="Ovaal 37">
              <a:extLst>
                <a:ext uri="{FF2B5EF4-FFF2-40B4-BE49-F238E27FC236}">
                  <a16:creationId xmlns:a16="http://schemas.microsoft.com/office/drawing/2014/main" id="{9E753A53-9C80-CC9A-34B7-AC3D1CFC0FA8}"/>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9" name="Rechthoek 38">
              <a:extLst>
                <a:ext uri="{FF2B5EF4-FFF2-40B4-BE49-F238E27FC236}">
                  <a16:creationId xmlns:a16="http://schemas.microsoft.com/office/drawing/2014/main" id="{7413BC2B-90A6-58D5-1CEC-300B07C2A1B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40" name="Rechthoek 39">
              <a:extLst>
                <a:ext uri="{FF2B5EF4-FFF2-40B4-BE49-F238E27FC236}">
                  <a16:creationId xmlns:a16="http://schemas.microsoft.com/office/drawing/2014/main" id="{E3D7E444-0865-2F12-7C95-95740E05BFE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1" name="ICOON_info">
              <a:extLst>
                <a:ext uri="{FF2B5EF4-FFF2-40B4-BE49-F238E27FC236}">
                  <a16:creationId xmlns:a16="http://schemas.microsoft.com/office/drawing/2014/main" id="{6A93CC44-357C-B454-2B46-DE6328C5ADED}"/>
                </a:ext>
              </a:extLst>
            </p:cNvPr>
            <p:cNvGrpSpPr/>
            <p:nvPr userDrawn="1"/>
          </p:nvGrpSpPr>
          <p:grpSpPr>
            <a:xfrm>
              <a:off x="-376736" y="4400186"/>
              <a:ext cx="283685" cy="283685"/>
              <a:chOff x="-510741" y="5913713"/>
              <a:chExt cx="267555" cy="267555"/>
            </a:xfrm>
          </p:grpSpPr>
          <p:sp>
            <p:nvSpPr>
              <p:cNvPr id="89" name="Ovaal 88">
                <a:extLst>
                  <a:ext uri="{FF2B5EF4-FFF2-40B4-BE49-F238E27FC236}">
                    <a16:creationId xmlns:a16="http://schemas.microsoft.com/office/drawing/2014/main" id="{4C1992AB-5768-CCD7-BAE1-CA34B4AAA4F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2B5FFA2A-A959-6711-0B68-B2AF5263AC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2" name="VOORBEELD">
              <a:extLst>
                <a:ext uri="{FF2B5EF4-FFF2-40B4-BE49-F238E27FC236}">
                  <a16:creationId xmlns:a16="http://schemas.microsoft.com/office/drawing/2014/main" id="{ABEE6276-EFC7-68DB-2404-8DE36F05A045}"/>
                </a:ext>
              </a:extLst>
            </p:cNvPr>
            <p:cNvGrpSpPr/>
            <p:nvPr userDrawn="1"/>
          </p:nvGrpSpPr>
          <p:grpSpPr>
            <a:xfrm>
              <a:off x="-3605171" y="458674"/>
              <a:ext cx="3234311" cy="558875"/>
              <a:chOff x="-3605171" y="458674"/>
              <a:chExt cx="3234311" cy="558875"/>
            </a:xfrm>
          </p:grpSpPr>
          <p:sp>
            <p:nvSpPr>
              <p:cNvPr id="49" name="Rechthoek 48">
                <a:extLst>
                  <a:ext uri="{FF2B5EF4-FFF2-40B4-BE49-F238E27FC236}">
                    <a16:creationId xmlns:a16="http://schemas.microsoft.com/office/drawing/2014/main" id="{0D5F01AC-6FA9-4138-B206-E0D8E96B43B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50" name="Rechthoek 49">
                <a:extLst>
                  <a:ext uri="{FF2B5EF4-FFF2-40B4-BE49-F238E27FC236}">
                    <a16:creationId xmlns:a16="http://schemas.microsoft.com/office/drawing/2014/main" id="{A1316048-0344-F109-2579-DC7CFC244B7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1DC2874A-6CA7-994E-A3C1-85A0EED8C50D}"/>
                  </a:ext>
                </a:extLst>
              </p:cNvPr>
              <p:cNvGrpSpPr/>
              <p:nvPr userDrawn="1"/>
            </p:nvGrpSpPr>
            <p:grpSpPr>
              <a:xfrm>
                <a:off x="-3386247" y="830871"/>
                <a:ext cx="139423" cy="109566"/>
                <a:chOff x="-2866744" y="827071"/>
                <a:chExt cx="168701" cy="132575"/>
              </a:xfrm>
            </p:grpSpPr>
            <p:grpSp>
              <p:nvGrpSpPr>
                <p:cNvPr id="82" name="Groep 81">
                  <a:extLst>
                    <a:ext uri="{FF2B5EF4-FFF2-40B4-BE49-F238E27FC236}">
                      <a16:creationId xmlns:a16="http://schemas.microsoft.com/office/drawing/2014/main" id="{C0BB2822-7937-3038-1CED-3E74660EBA5C}"/>
                    </a:ext>
                  </a:extLst>
                </p:cNvPr>
                <p:cNvGrpSpPr/>
                <p:nvPr userDrawn="1"/>
              </p:nvGrpSpPr>
              <p:grpSpPr>
                <a:xfrm>
                  <a:off x="-2866744" y="827071"/>
                  <a:ext cx="168701" cy="132575"/>
                  <a:chOff x="-2866744" y="827071"/>
                  <a:chExt cx="168701" cy="132575"/>
                </a:xfrm>
              </p:grpSpPr>
              <p:cxnSp>
                <p:nvCxnSpPr>
                  <p:cNvPr id="84" name="Rechte verbindingslijn 83">
                    <a:extLst>
                      <a:ext uri="{FF2B5EF4-FFF2-40B4-BE49-F238E27FC236}">
                        <a16:creationId xmlns:a16="http://schemas.microsoft.com/office/drawing/2014/main" id="{EB8F155E-0820-9F74-A5F3-FF1D5AE080E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85" name="Rechte verbindingslijn 84">
                    <a:extLst>
                      <a:ext uri="{FF2B5EF4-FFF2-40B4-BE49-F238E27FC236}">
                        <a16:creationId xmlns:a16="http://schemas.microsoft.com/office/drawing/2014/main" id="{6AAD9618-B34B-9F50-0D7F-FF091B1E0A9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86" name="Rechte verbindingslijn 85">
                    <a:extLst>
                      <a:ext uri="{FF2B5EF4-FFF2-40B4-BE49-F238E27FC236}">
                        <a16:creationId xmlns:a16="http://schemas.microsoft.com/office/drawing/2014/main" id="{1C853E2E-F9C0-551D-07DE-FAC07CFA673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7" name="Rechte verbindingslijn 86">
                    <a:extLst>
                      <a:ext uri="{FF2B5EF4-FFF2-40B4-BE49-F238E27FC236}">
                        <a16:creationId xmlns:a16="http://schemas.microsoft.com/office/drawing/2014/main" id="{6BD397CF-8D51-0AD0-89FD-6FC7E19F95E0}"/>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8" name="Rechte verbindingslijn 87">
                    <a:extLst>
                      <a:ext uri="{FF2B5EF4-FFF2-40B4-BE49-F238E27FC236}">
                        <a16:creationId xmlns:a16="http://schemas.microsoft.com/office/drawing/2014/main" id="{57900762-F8CE-3D0E-3709-9B860E42F6E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83" name="Pijl: rechts 82">
                  <a:extLst>
                    <a:ext uri="{FF2B5EF4-FFF2-40B4-BE49-F238E27FC236}">
                      <a16:creationId xmlns:a16="http://schemas.microsoft.com/office/drawing/2014/main" id="{A9EFDA3B-D849-91FD-81A9-C63585687B28}"/>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409968CC-A339-4FC3-8D0D-2436C1BB0FE7}"/>
                  </a:ext>
                </a:extLst>
              </p:cNvPr>
              <p:cNvGrpSpPr/>
              <p:nvPr userDrawn="1"/>
            </p:nvGrpSpPr>
            <p:grpSpPr>
              <a:xfrm>
                <a:off x="-3605171" y="830871"/>
                <a:ext cx="139423" cy="109566"/>
                <a:chOff x="-2866744" y="518074"/>
                <a:chExt cx="168701" cy="132575"/>
              </a:xfrm>
            </p:grpSpPr>
            <p:grpSp>
              <p:nvGrpSpPr>
                <p:cNvPr id="75" name="Groep 74">
                  <a:extLst>
                    <a:ext uri="{FF2B5EF4-FFF2-40B4-BE49-F238E27FC236}">
                      <a16:creationId xmlns:a16="http://schemas.microsoft.com/office/drawing/2014/main" id="{68E4AD88-74DA-170E-6C80-B0D1F402E24A}"/>
                    </a:ext>
                  </a:extLst>
                </p:cNvPr>
                <p:cNvGrpSpPr/>
                <p:nvPr userDrawn="1"/>
              </p:nvGrpSpPr>
              <p:grpSpPr>
                <a:xfrm>
                  <a:off x="-2866744" y="518074"/>
                  <a:ext cx="168701" cy="132575"/>
                  <a:chOff x="-2866744" y="518074"/>
                  <a:chExt cx="168701" cy="132575"/>
                </a:xfrm>
              </p:grpSpPr>
              <p:cxnSp>
                <p:nvCxnSpPr>
                  <p:cNvPr id="77" name="Rechte verbindingslijn 76">
                    <a:extLst>
                      <a:ext uri="{FF2B5EF4-FFF2-40B4-BE49-F238E27FC236}">
                        <a16:creationId xmlns:a16="http://schemas.microsoft.com/office/drawing/2014/main" id="{8821CAC1-0493-026F-C8DF-779C10A24F4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06258173-563E-42E9-1E4C-48C26B58C46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EB3242B9-EADE-5F49-5F7E-B29CDE22946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2950CCF7-021E-D18C-36E1-C6AF26D02A1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81" name="Rechte verbindingslijn 80">
                    <a:extLst>
                      <a:ext uri="{FF2B5EF4-FFF2-40B4-BE49-F238E27FC236}">
                        <a16:creationId xmlns:a16="http://schemas.microsoft.com/office/drawing/2014/main" id="{C5F14EDB-31B1-AC4F-0450-3488586CCA9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76" name="Pijl: rechts 75">
                  <a:extLst>
                    <a:ext uri="{FF2B5EF4-FFF2-40B4-BE49-F238E27FC236}">
                      <a16:creationId xmlns:a16="http://schemas.microsoft.com/office/drawing/2014/main" id="{A7E42B44-4500-B6A7-2ACA-ECCC92DAD55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53" name="Rechte verbindingslijn 52">
                <a:extLst>
                  <a:ext uri="{FF2B5EF4-FFF2-40B4-BE49-F238E27FC236}">
                    <a16:creationId xmlns:a16="http://schemas.microsoft.com/office/drawing/2014/main" id="{1A17C06E-1195-5D53-0ACE-B74CF6F5727A}"/>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54" name="Rechte verbindingslijn 53">
                <a:extLst>
                  <a:ext uri="{FF2B5EF4-FFF2-40B4-BE49-F238E27FC236}">
                    <a16:creationId xmlns:a16="http://schemas.microsoft.com/office/drawing/2014/main" id="{A56FC4A8-E788-EE79-6E80-65700D2FD71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55" name="Rechthoek 54">
                <a:extLst>
                  <a:ext uri="{FF2B5EF4-FFF2-40B4-BE49-F238E27FC236}">
                    <a16:creationId xmlns:a16="http://schemas.microsoft.com/office/drawing/2014/main" id="{962CFA35-E6A4-6528-7335-3DDC5430616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56" name="Rechthoek 55">
                <a:extLst>
                  <a:ext uri="{FF2B5EF4-FFF2-40B4-BE49-F238E27FC236}">
                    <a16:creationId xmlns:a16="http://schemas.microsoft.com/office/drawing/2014/main" id="{F1702738-4883-1395-EA4E-2752965529C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57" name="Groep 56">
                <a:extLst>
                  <a:ext uri="{FF2B5EF4-FFF2-40B4-BE49-F238E27FC236}">
                    <a16:creationId xmlns:a16="http://schemas.microsoft.com/office/drawing/2014/main" id="{78853CF6-97E4-E018-545B-8A3D4735C18D}"/>
                  </a:ext>
                </a:extLst>
              </p:cNvPr>
              <p:cNvGrpSpPr/>
              <p:nvPr userDrawn="1"/>
            </p:nvGrpSpPr>
            <p:grpSpPr>
              <a:xfrm>
                <a:off x="-2916763" y="769168"/>
                <a:ext cx="268738" cy="248381"/>
                <a:chOff x="-2916763" y="769168"/>
                <a:chExt cx="268738" cy="248381"/>
              </a:xfrm>
            </p:grpSpPr>
            <p:sp>
              <p:nvSpPr>
                <p:cNvPr id="67" name="Rechthoek 66">
                  <a:extLst>
                    <a:ext uri="{FF2B5EF4-FFF2-40B4-BE49-F238E27FC236}">
                      <a16:creationId xmlns:a16="http://schemas.microsoft.com/office/drawing/2014/main" id="{557EC5DF-8EB2-5901-C2D6-DE5EC640DD11}"/>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8" name="Groep 67">
                  <a:extLst>
                    <a:ext uri="{FF2B5EF4-FFF2-40B4-BE49-F238E27FC236}">
                      <a16:creationId xmlns:a16="http://schemas.microsoft.com/office/drawing/2014/main" id="{D21D5BAE-2C55-BD55-4900-8B20C21685B0}"/>
                    </a:ext>
                  </a:extLst>
                </p:cNvPr>
                <p:cNvGrpSpPr/>
                <p:nvPr userDrawn="1"/>
              </p:nvGrpSpPr>
              <p:grpSpPr>
                <a:xfrm>
                  <a:off x="-2866744" y="827071"/>
                  <a:ext cx="168701" cy="132575"/>
                  <a:chOff x="-2866744" y="827071"/>
                  <a:chExt cx="168701" cy="132575"/>
                </a:xfrm>
              </p:grpSpPr>
              <p:cxnSp>
                <p:nvCxnSpPr>
                  <p:cNvPr id="70" name="Rechte verbindingslijn 69">
                    <a:extLst>
                      <a:ext uri="{FF2B5EF4-FFF2-40B4-BE49-F238E27FC236}">
                        <a16:creationId xmlns:a16="http://schemas.microsoft.com/office/drawing/2014/main" id="{47F96410-82EA-F07E-C590-50576EA4AAF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DC4CC8BB-577B-10BD-916B-8601D84A0FB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5153C5C9-DE8E-7779-345E-E34A5C425D7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62CCFBA-0EF4-D03A-7687-626DC0F5B9A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000294A2-BF66-998E-C8F3-A88232FF627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9" name="Pijl: rechts 68">
                  <a:extLst>
                    <a:ext uri="{FF2B5EF4-FFF2-40B4-BE49-F238E27FC236}">
                      <a16:creationId xmlns:a16="http://schemas.microsoft.com/office/drawing/2014/main" id="{6F4CB703-B5DE-4A9A-CFFA-E9ACA2D0CF9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F9E30254-EB77-01FF-6367-EF7D886D58C5}"/>
                  </a:ext>
                </a:extLst>
              </p:cNvPr>
              <p:cNvGrpSpPr/>
              <p:nvPr userDrawn="1"/>
            </p:nvGrpSpPr>
            <p:grpSpPr>
              <a:xfrm>
                <a:off x="-2916763" y="460171"/>
                <a:ext cx="268738" cy="248381"/>
                <a:chOff x="-2916763" y="460171"/>
                <a:chExt cx="268738" cy="248381"/>
              </a:xfrm>
            </p:grpSpPr>
            <p:sp>
              <p:nvSpPr>
                <p:cNvPr id="59" name="Rechthoek 58">
                  <a:extLst>
                    <a:ext uri="{FF2B5EF4-FFF2-40B4-BE49-F238E27FC236}">
                      <a16:creationId xmlns:a16="http://schemas.microsoft.com/office/drawing/2014/main" id="{97D66CB7-B1A1-A16C-8CE5-40A929F735C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F15A3035-7AAE-341B-7AB7-0DFF728F1671}"/>
                    </a:ext>
                  </a:extLst>
                </p:cNvPr>
                <p:cNvGrpSpPr/>
                <p:nvPr userDrawn="1"/>
              </p:nvGrpSpPr>
              <p:grpSpPr>
                <a:xfrm>
                  <a:off x="-2866744" y="518074"/>
                  <a:ext cx="168701" cy="132575"/>
                  <a:chOff x="-2866744" y="518074"/>
                  <a:chExt cx="168701" cy="132575"/>
                </a:xfrm>
              </p:grpSpPr>
              <p:cxnSp>
                <p:nvCxnSpPr>
                  <p:cNvPr id="62" name="Rechte verbindingslijn 61">
                    <a:extLst>
                      <a:ext uri="{FF2B5EF4-FFF2-40B4-BE49-F238E27FC236}">
                        <a16:creationId xmlns:a16="http://schemas.microsoft.com/office/drawing/2014/main" id="{D6D4E862-E192-2AB6-87A7-28861CE1E37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6E49D5EF-9577-8E6A-3718-8980B924945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6D604E36-65C1-A16C-9DC3-F20F7E3C6B48}"/>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435F1CB5-F27B-5B6E-271D-B9987A7FC9A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C6FB763B-6A19-6D1C-521D-0E7F3D7E410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9B7059CB-CEA1-1604-3232-591E41F035D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43" name="Groep 42">
              <a:extLst>
                <a:ext uri="{FF2B5EF4-FFF2-40B4-BE49-F238E27FC236}">
                  <a16:creationId xmlns:a16="http://schemas.microsoft.com/office/drawing/2014/main" id="{F6CDF610-2F56-8722-3F16-37A41F9AD884}"/>
                </a:ext>
              </a:extLst>
            </p:cNvPr>
            <p:cNvGrpSpPr/>
            <p:nvPr userDrawn="1"/>
          </p:nvGrpSpPr>
          <p:grpSpPr>
            <a:xfrm>
              <a:off x="-938434" y="4663037"/>
              <a:ext cx="627798" cy="576693"/>
              <a:chOff x="-1753862" y="6112775"/>
              <a:chExt cx="759635" cy="697798"/>
            </a:xfrm>
          </p:grpSpPr>
          <p:grpSp>
            <p:nvGrpSpPr>
              <p:cNvPr id="44" name="Inspireren">
                <a:extLst>
                  <a:ext uri="{FF2B5EF4-FFF2-40B4-BE49-F238E27FC236}">
                    <a16:creationId xmlns:a16="http://schemas.microsoft.com/office/drawing/2014/main" id="{D9B64CB7-D92D-8172-F059-39A1899E89B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46" name="Freeform 12">
                  <a:extLst>
                    <a:ext uri="{FF2B5EF4-FFF2-40B4-BE49-F238E27FC236}">
                      <a16:creationId xmlns:a16="http://schemas.microsoft.com/office/drawing/2014/main" id="{9B86A540-40C9-8BC2-79BC-4E8FE64FF9C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7" name="Freeform 13">
                  <a:extLst>
                    <a:ext uri="{FF2B5EF4-FFF2-40B4-BE49-F238E27FC236}">
                      <a16:creationId xmlns:a16="http://schemas.microsoft.com/office/drawing/2014/main" id="{DE92C47D-4233-7736-6E28-3E7043209C0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8" name="Freeform 14">
                  <a:extLst>
                    <a:ext uri="{FF2B5EF4-FFF2-40B4-BE49-F238E27FC236}">
                      <a16:creationId xmlns:a16="http://schemas.microsoft.com/office/drawing/2014/main" id="{6D47E93A-E5E2-E125-5D59-1C4F2258BD1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45" name="Tekstvak 44">
                <a:extLst>
                  <a:ext uri="{FF2B5EF4-FFF2-40B4-BE49-F238E27FC236}">
                    <a16:creationId xmlns:a16="http://schemas.microsoft.com/office/drawing/2014/main" id="{858D6127-63D8-80F1-5237-08978C0081E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3" name="INSTRUCTION">
            <a:extLst>
              <a:ext uri="{FF2B5EF4-FFF2-40B4-BE49-F238E27FC236}">
                <a16:creationId xmlns:a16="http://schemas.microsoft.com/office/drawing/2014/main" id="{BBFB1799-A9FB-0B9B-8527-E721DFF7F375}"/>
              </a:ext>
            </a:extLst>
          </p:cNvPr>
          <p:cNvGrpSpPr/>
          <p:nvPr userDrawn="1"/>
        </p:nvGrpSpPr>
        <p:grpSpPr>
          <a:xfrm>
            <a:off x="12377595" y="2"/>
            <a:ext cx="3693386" cy="5715919"/>
            <a:chOff x="-3786437" y="2"/>
            <a:chExt cx="3693386" cy="5715919"/>
          </a:xfrm>
        </p:grpSpPr>
        <p:grpSp>
          <p:nvGrpSpPr>
            <p:cNvPr id="164" name="Groep 163">
              <a:extLst>
                <a:ext uri="{FF2B5EF4-FFF2-40B4-BE49-F238E27FC236}">
                  <a16:creationId xmlns:a16="http://schemas.microsoft.com/office/drawing/2014/main" id="{376A8FFA-BDB5-DCDA-F6BE-459A4E13093D}"/>
                </a:ext>
              </a:extLst>
            </p:cNvPr>
            <p:cNvGrpSpPr/>
            <p:nvPr userDrawn="1"/>
          </p:nvGrpSpPr>
          <p:grpSpPr>
            <a:xfrm>
              <a:off x="-3786437" y="3234716"/>
              <a:ext cx="3693386" cy="2481205"/>
              <a:chOff x="-3786437" y="3234716"/>
              <a:chExt cx="3693386" cy="2481205"/>
            </a:xfrm>
          </p:grpSpPr>
          <p:sp>
            <p:nvSpPr>
              <p:cNvPr id="188" name="Rechthoek 187">
                <a:extLst>
                  <a:ext uri="{FF2B5EF4-FFF2-40B4-BE49-F238E27FC236}">
                    <a16:creationId xmlns:a16="http://schemas.microsoft.com/office/drawing/2014/main" id="{16166FF0-59E8-5000-D650-909F6E5CC990}"/>
                  </a:ext>
                </a:extLst>
              </p:cNvPr>
              <p:cNvSpPr/>
              <p:nvPr userDrawn="1"/>
            </p:nvSpPr>
            <p:spPr>
              <a:xfrm>
                <a:off x="-3786165" y="3234716"/>
                <a:ext cx="3593091" cy="184934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89" name="Ovaal 188">
                <a:extLst>
                  <a:ext uri="{FF2B5EF4-FFF2-40B4-BE49-F238E27FC236}">
                    <a16:creationId xmlns:a16="http://schemas.microsoft.com/office/drawing/2014/main" id="{D115DF7B-37AF-7E8F-42DF-B6F8C728F302}"/>
                  </a:ext>
                </a:extLst>
              </p:cNvPr>
              <p:cNvSpPr/>
              <p:nvPr userDrawn="1"/>
            </p:nvSpPr>
            <p:spPr>
              <a:xfrm>
                <a:off x="-3603587" y="369931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0" name="Rechthoek 189">
                <a:extLst>
                  <a:ext uri="{FF2B5EF4-FFF2-40B4-BE49-F238E27FC236}">
                    <a16:creationId xmlns:a16="http://schemas.microsoft.com/office/drawing/2014/main" id="{CA87C2DD-E271-0281-5354-E0957B452735}"/>
                  </a:ext>
                </a:extLst>
              </p:cNvPr>
              <p:cNvSpPr/>
              <p:nvPr userDrawn="1"/>
            </p:nvSpPr>
            <p:spPr>
              <a:xfrm>
                <a:off x="-3319415" y="3699315"/>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91" name="Groep 190">
                <a:extLst>
                  <a:ext uri="{FF2B5EF4-FFF2-40B4-BE49-F238E27FC236}">
                    <a16:creationId xmlns:a16="http://schemas.microsoft.com/office/drawing/2014/main" id="{E1894133-C670-FA7C-CD39-9B14D8ADAD93}"/>
                  </a:ext>
                </a:extLst>
              </p:cNvPr>
              <p:cNvGrpSpPr/>
              <p:nvPr userDrawn="1"/>
            </p:nvGrpSpPr>
            <p:grpSpPr>
              <a:xfrm>
                <a:off x="-3314821" y="4139107"/>
                <a:ext cx="1495189" cy="563933"/>
                <a:chOff x="-3314821" y="3310415"/>
                <a:chExt cx="1495189" cy="563933"/>
              </a:xfrm>
            </p:grpSpPr>
            <p:sp>
              <p:nvSpPr>
                <p:cNvPr id="202" name="Rechthoek 201">
                  <a:extLst>
                    <a:ext uri="{FF2B5EF4-FFF2-40B4-BE49-F238E27FC236}">
                      <a16:creationId xmlns:a16="http://schemas.microsoft.com/office/drawing/2014/main" id="{54D27D39-181D-0C47-0BFD-4EC31B279F4F}"/>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3" name="Rechthoek 202">
                  <a:extLst>
                    <a:ext uri="{FF2B5EF4-FFF2-40B4-BE49-F238E27FC236}">
                      <a16:creationId xmlns:a16="http://schemas.microsoft.com/office/drawing/2014/main" id="{7187EDE5-C222-C7DF-C2AA-474066417A29}"/>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4" name="Tekstvak 203">
                  <a:extLst>
                    <a:ext uri="{FF2B5EF4-FFF2-40B4-BE49-F238E27FC236}">
                      <a16:creationId xmlns:a16="http://schemas.microsoft.com/office/drawing/2014/main" id="{809C2F61-4A57-DD94-D2E9-860F6D6BA5B9}"/>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205" name="Tekstvak 204">
                  <a:extLst>
                    <a:ext uri="{FF2B5EF4-FFF2-40B4-BE49-F238E27FC236}">
                      <a16:creationId xmlns:a16="http://schemas.microsoft.com/office/drawing/2014/main" id="{DCC74E20-4A8E-911A-686E-A749A81501F0}"/>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206" name="Vrije vorm: vorm 205">
                  <a:extLst>
                    <a:ext uri="{FF2B5EF4-FFF2-40B4-BE49-F238E27FC236}">
                      <a16:creationId xmlns:a16="http://schemas.microsoft.com/office/drawing/2014/main" id="{6A792A47-9B06-C6E4-200C-32EC7C0320EB}"/>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207" name="Groep 206">
                  <a:extLst>
                    <a:ext uri="{FF2B5EF4-FFF2-40B4-BE49-F238E27FC236}">
                      <a16:creationId xmlns:a16="http://schemas.microsoft.com/office/drawing/2014/main" id="{82387B82-2625-41E3-4A9C-799FCBC82D37}"/>
                    </a:ext>
                  </a:extLst>
                </p:cNvPr>
                <p:cNvGrpSpPr/>
                <p:nvPr userDrawn="1"/>
              </p:nvGrpSpPr>
              <p:grpSpPr>
                <a:xfrm>
                  <a:off x="-3261976" y="3361742"/>
                  <a:ext cx="139861" cy="152244"/>
                  <a:chOff x="12574450" y="6053892"/>
                  <a:chExt cx="169232" cy="184215"/>
                </a:xfrm>
              </p:grpSpPr>
              <p:sp>
                <p:nvSpPr>
                  <p:cNvPr id="227" name="Rechthoek 226">
                    <a:extLst>
                      <a:ext uri="{FF2B5EF4-FFF2-40B4-BE49-F238E27FC236}">
                        <a16:creationId xmlns:a16="http://schemas.microsoft.com/office/drawing/2014/main" id="{02975B70-82FC-889D-696A-747AF603954D}"/>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28" name="Rechthoek 227">
                    <a:extLst>
                      <a:ext uri="{FF2B5EF4-FFF2-40B4-BE49-F238E27FC236}">
                        <a16:creationId xmlns:a16="http://schemas.microsoft.com/office/drawing/2014/main" id="{5C54A0D6-A6E1-0793-0720-A802AB9713F4}"/>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29" name="Rechthoek 228">
                    <a:extLst>
                      <a:ext uri="{FF2B5EF4-FFF2-40B4-BE49-F238E27FC236}">
                        <a16:creationId xmlns:a16="http://schemas.microsoft.com/office/drawing/2014/main" id="{A12B62AE-7B12-E979-D276-7CF38AE0A38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8" name="Groep 207">
                  <a:extLst>
                    <a:ext uri="{FF2B5EF4-FFF2-40B4-BE49-F238E27FC236}">
                      <a16:creationId xmlns:a16="http://schemas.microsoft.com/office/drawing/2014/main" id="{753FEFA5-4914-4A12-E914-187A84825D52}"/>
                    </a:ext>
                  </a:extLst>
                </p:cNvPr>
                <p:cNvGrpSpPr/>
                <p:nvPr userDrawn="1"/>
              </p:nvGrpSpPr>
              <p:grpSpPr>
                <a:xfrm>
                  <a:off x="-3261070" y="3635199"/>
                  <a:ext cx="168905" cy="104490"/>
                  <a:chOff x="-3261070" y="3620931"/>
                  <a:chExt cx="193920" cy="119965"/>
                </a:xfrm>
              </p:grpSpPr>
              <p:sp>
                <p:nvSpPr>
                  <p:cNvPr id="209" name="Rechthoek 208">
                    <a:extLst>
                      <a:ext uri="{FF2B5EF4-FFF2-40B4-BE49-F238E27FC236}">
                        <a16:creationId xmlns:a16="http://schemas.microsoft.com/office/drawing/2014/main" id="{7E0896D3-D6B7-534A-30A2-21E4A7DACD71}"/>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10" name="Groep 209">
                    <a:extLst>
                      <a:ext uri="{FF2B5EF4-FFF2-40B4-BE49-F238E27FC236}">
                        <a16:creationId xmlns:a16="http://schemas.microsoft.com/office/drawing/2014/main" id="{A34C5CDC-B49C-05FE-4B02-5DA7D540AB18}"/>
                      </a:ext>
                    </a:extLst>
                  </p:cNvPr>
                  <p:cNvGrpSpPr/>
                  <p:nvPr userDrawn="1"/>
                </p:nvGrpSpPr>
                <p:grpSpPr>
                  <a:xfrm>
                    <a:off x="-3261070" y="3622063"/>
                    <a:ext cx="141113" cy="117345"/>
                    <a:chOff x="1094874" y="-878306"/>
                    <a:chExt cx="867364" cy="613611"/>
                  </a:xfrm>
                </p:grpSpPr>
                <p:cxnSp>
                  <p:nvCxnSpPr>
                    <p:cNvPr id="220" name="Rechte verbindingslijn 219">
                      <a:extLst>
                        <a:ext uri="{FF2B5EF4-FFF2-40B4-BE49-F238E27FC236}">
                          <a16:creationId xmlns:a16="http://schemas.microsoft.com/office/drawing/2014/main" id="{144C17A7-E675-EA61-8A90-33D0C30DBA0B}"/>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1" name="Rechte verbindingslijn 220">
                      <a:extLst>
                        <a:ext uri="{FF2B5EF4-FFF2-40B4-BE49-F238E27FC236}">
                          <a16:creationId xmlns:a16="http://schemas.microsoft.com/office/drawing/2014/main" id="{B677B2DD-E316-F31F-9539-78CA7CEB360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222" name="Groep 221">
                      <a:extLst>
                        <a:ext uri="{FF2B5EF4-FFF2-40B4-BE49-F238E27FC236}">
                          <a16:creationId xmlns:a16="http://schemas.microsoft.com/office/drawing/2014/main" id="{C3DE41E7-F626-2B0B-3138-440F9AA7756B}"/>
                        </a:ext>
                      </a:extLst>
                    </p:cNvPr>
                    <p:cNvGrpSpPr/>
                    <p:nvPr userDrawn="1"/>
                  </p:nvGrpSpPr>
                  <p:grpSpPr>
                    <a:xfrm>
                      <a:off x="1270535" y="-878306"/>
                      <a:ext cx="526983" cy="613611"/>
                      <a:chOff x="1270535" y="-745959"/>
                      <a:chExt cx="526983" cy="481264"/>
                    </a:xfrm>
                  </p:grpSpPr>
                  <p:cxnSp>
                    <p:nvCxnSpPr>
                      <p:cNvPr id="223" name="Rechte verbindingslijn 222">
                        <a:extLst>
                          <a:ext uri="{FF2B5EF4-FFF2-40B4-BE49-F238E27FC236}">
                            <a16:creationId xmlns:a16="http://schemas.microsoft.com/office/drawing/2014/main" id="{C622C463-4FA0-93B2-F4A1-C307360ABA70}"/>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4" name="Rechte verbindingslijn 223">
                        <a:extLst>
                          <a:ext uri="{FF2B5EF4-FFF2-40B4-BE49-F238E27FC236}">
                            <a16:creationId xmlns:a16="http://schemas.microsoft.com/office/drawing/2014/main" id="{FB8F493B-91B4-06D6-D05F-63D3AF937F23}"/>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5" name="Rechte verbindingslijn 224">
                        <a:extLst>
                          <a:ext uri="{FF2B5EF4-FFF2-40B4-BE49-F238E27FC236}">
                            <a16:creationId xmlns:a16="http://schemas.microsoft.com/office/drawing/2014/main" id="{33BCB902-7DBD-0E86-1D4B-A8F3ADF07B03}"/>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6" name="Rechte verbindingslijn 225">
                        <a:extLst>
                          <a:ext uri="{FF2B5EF4-FFF2-40B4-BE49-F238E27FC236}">
                            <a16:creationId xmlns:a16="http://schemas.microsoft.com/office/drawing/2014/main" id="{C78D4EE6-9193-50AC-EB9E-30A276E3DF98}"/>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211" name="Rechte verbindingslijn 210">
                    <a:extLst>
                      <a:ext uri="{FF2B5EF4-FFF2-40B4-BE49-F238E27FC236}">
                        <a16:creationId xmlns:a16="http://schemas.microsoft.com/office/drawing/2014/main" id="{84CB4AB9-B648-E7BA-A6E5-ACA2DECEED62}"/>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2" name="Rechte verbindingslijn 211">
                    <a:extLst>
                      <a:ext uri="{FF2B5EF4-FFF2-40B4-BE49-F238E27FC236}">
                        <a16:creationId xmlns:a16="http://schemas.microsoft.com/office/drawing/2014/main" id="{4B13D1E7-736E-0BEB-B80A-6C8D6CA109BD}"/>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3" name="Rechte verbindingslijn 212">
                    <a:extLst>
                      <a:ext uri="{FF2B5EF4-FFF2-40B4-BE49-F238E27FC236}">
                        <a16:creationId xmlns:a16="http://schemas.microsoft.com/office/drawing/2014/main" id="{02DA0B7F-4A33-070A-1683-F802641BFFD4}"/>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4" name="Rechte verbindingslijn 213">
                    <a:extLst>
                      <a:ext uri="{FF2B5EF4-FFF2-40B4-BE49-F238E27FC236}">
                        <a16:creationId xmlns:a16="http://schemas.microsoft.com/office/drawing/2014/main" id="{1912AE89-E57B-DDBB-79D5-F66AFA7A555F}"/>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215" name="Rechthoek 214">
                    <a:extLst>
                      <a:ext uri="{FF2B5EF4-FFF2-40B4-BE49-F238E27FC236}">
                        <a16:creationId xmlns:a16="http://schemas.microsoft.com/office/drawing/2014/main" id="{A3EBD554-C687-F143-5D95-633E949BC2C4}"/>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16" name="Groep 215">
                    <a:extLst>
                      <a:ext uri="{FF2B5EF4-FFF2-40B4-BE49-F238E27FC236}">
                        <a16:creationId xmlns:a16="http://schemas.microsoft.com/office/drawing/2014/main" id="{18502057-A6EC-F094-FFFA-7D4CB0B6E650}"/>
                      </a:ext>
                    </a:extLst>
                  </p:cNvPr>
                  <p:cNvGrpSpPr/>
                  <p:nvPr userDrawn="1"/>
                </p:nvGrpSpPr>
                <p:grpSpPr>
                  <a:xfrm rot="2700000">
                    <a:off x="-3158000" y="3650045"/>
                    <a:ext cx="34350" cy="147351"/>
                    <a:chOff x="3148392" y="-836646"/>
                    <a:chExt cx="132124" cy="596095"/>
                  </a:xfrm>
                  <a:solidFill>
                    <a:srgbClr val="3399FF"/>
                  </a:solidFill>
                </p:grpSpPr>
                <p:sp>
                  <p:nvSpPr>
                    <p:cNvPr id="217" name="Rechthoek 216">
                      <a:extLst>
                        <a:ext uri="{FF2B5EF4-FFF2-40B4-BE49-F238E27FC236}">
                          <a16:creationId xmlns:a16="http://schemas.microsoft.com/office/drawing/2014/main" id="{58628DED-E386-BDA6-2308-F148C50F592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18" name="Rechthoek: afgeronde bovenhoeken 217">
                      <a:extLst>
                        <a:ext uri="{FF2B5EF4-FFF2-40B4-BE49-F238E27FC236}">
                          <a16:creationId xmlns:a16="http://schemas.microsoft.com/office/drawing/2014/main" id="{DD3B394F-E31C-8C43-FFE6-B0C15EA65FDD}"/>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19" name="Gelijkbenige driehoek 218">
                      <a:extLst>
                        <a:ext uri="{FF2B5EF4-FFF2-40B4-BE49-F238E27FC236}">
                          <a16:creationId xmlns:a16="http://schemas.microsoft.com/office/drawing/2014/main" id="{A4A2FB7B-4CF0-669D-B442-DBCA357BA68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192" name="Rechthoek 191">
                <a:extLst>
                  <a:ext uri="{FF2B5EF4-FFF2-40B4-BE49-F238E27FC236}">
                    <a16:creationId xmlns:a16="http://schemas.microsoft.com/office/drawing/2014/main" id="{CD241BA3-ADBD-B1FE-3731-65EB2F6E3F3E}"/>
                  </a:ext>
                </a:extLst>
              </p:cNvPr>
              <p:cNvSpPr/>
              <p:nvPr userDrawn="1"/>
            </p:nvSpPr>
            <p:spPr>
              <a:xfrm>
                <a:off x="-3786437" y="488792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93" name="ICOON_info">
                <a:extLst>
                  <a:ext uri="{FF2B5EF4-FFF2-40B4-BE49-F238E27FC236}">
                    <a16:creationId xmlns:a16="http://schemas.microsoft.com/office/drawing/2014/main" id="{244B8596-741E-D003-4704-E9B4471E2ADC}"/>
                  </a:ext>
                </a:extLst>
              </p:cNvPr>
              <p:cNvGrpSpPr/>
              <p:nvPr userDrawn="1"/>
            </p:nvGrpSpPr>
            <p:grpSpPr>
              <a:xfrm>
                <a:off x="-376736" y="4751903"/>
                <a:ext cx="283685" cy="283685"/>
                <a:chOff x="-510741" y="5913713"/>
                <a:chExt cx="267555" cy="267555"/>
              </a:xfrm>
            </p:grpSpPr>
            <p:sp>
              <p:nvSpPr>
                <p:cNvPr id="200" name="Ovaal 199">
                  <a:extLst>
                    <a:ext uri="{FF2B5EF4-FFF2-40B4-BE49-F238E27FC236}">
                      <a16:creationId xmlns:a16="http://schemas.microsoft.com/office/drawing/2014/main" id="{C172E72D-AFDC-0DDB-19A6-394AE5F7CE8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1" name="Graphic 163" descr="Informatie">
                  <a:extLst>
                    <a:ext uri="{FF2B5EF4-FFF2-40B4-BE49-F238E27FC236}">
                      <a16:creationId xmlns:a16="http://schemas.microsoft.com/office/drawing/2014/main" id="{590D9824-0CA3-8173-806A-8163E2C34DE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4" name="Groep 193">
                <a:extLst>
                  <a:ext uri="{FF2B5EF4-FFF2-40B4-BE49-F238E27FC236}">
                    <a16:creationId xmlns:a16="http://schemas.microsoft.com/office/drawing/2014/main" id="{3EEA84B9-3344-5BEE-9911-F8E27709F96F}"/>
                  </a:ext>
                </a:extLst>
              </p:cNvPr>
              <p:cNvGrpSpPr/>
              <p:nvPr userDrawn="1"/>
            </p:nvGrpSpPr>
            <p:grpSpPr>
              <a:xfrm>
                <a:off x="-938434" y="5025298"/>
                <a:ext cx="627798" cy="576693"/>
                <a:chOff x="-938434" y="4570310"/>
                <a:chExt cx="627798" cy="576693"/>
              </a:xfrm>
            </p:grpSpPr>
            <p:grpSp>
              <p:nvGrpSpPr>
                <p:cNvPr id="195" name="Inspireren">
                  <a:extLst>
                    <a:ext uri="{FF2B5EF4-FFF2-40B4-BE49-F238E27FC236}">
                      <a16:creationId xmlns:a16="http://schemas.microsoft.com/office/drawing/2014/main" id="{F81DDBB8-B2B0-B3A9-97F8-CA6F9B1A8DF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7" name="Freeform 12">
                    <a:extLst>
                      <a:ext uri="{FF2B5EF4-FFF2-40B4-BE49-F238E27FC236}">
                        <a16:creationId xmlns:a16="http://schemas.microsoft.com/office/drawing/2014/main" id="{45DCD921-F3FD-96D7-6FD2-BD028BEC112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8" name="Freeform 13">
                    <a:extLst>
                      <a:ext uri="{FF2B5EF4-FFF2-40B4-BE49-F238E27FC236}">
                        <a16:creationId xmlns:a16="http://schemas.microsoft.com/office/drawing/2014/main" id="{783F8875-8123-89C1-CB4E-47299B9ECCC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9" name="Freeform 14">
                    <a:extLst>
                      <a:ext uri="{FF2B5EF4-FFF2-40B4-BE49-F238E27FC236}">
                        <a16:creationId xmlns:a16="http://schemas.microsoft.com/office/drawing/2014/main" id="{B92F35C6-F10E-A861-B1D9-5BA99734B0A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96" name="Tekstvak 195">
                  <a:extLst>
                    <a:ext uri="{FF2B5EF4-FFF2-40B4-BE49-F238E27FC236}">
                      <a16:creationId xmlns:a16="http://schemas.microsoft.com/office/drawing/2014/main" id="{78B13830-73E4-62AC-F40C-7D15EF15C15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5" name="Groep 164">
              <a:extLst>
                <a:ext uri="{FF2B5EF4-FFF2-40B4-BE49-F238E27FC236}">
                  <a16:creationId xmlns:a16="http://schemas.microsoft.com/office/drawing/2014/main" id="{5733B18B-6E95-B209-E6ED-A87DF1CD8AE6}"/>
                </a:ext>
              </a:extLst>
            </p:cNvPr>
            <p:cNvGrpSpPr/>
            <p:nvPr userDrawn="1"/>
          </p:nvGrpSpPr>
          <p:grpSpPr>
            <a:xfrm>
              <a:off x="-3786165" y="2"/>
              <a:ext cx="3593091" cy="3041230"/>
              <a:chOff x="-3786165" y="2"/>
              <a:chExt cx="3593091" cy="3041230"/>
            </a:xfrm>
          </p:grpSpPr>
          <p:sp>
            <p:nvSpPr>
              <p:cNvPr id="166" name="Rechthoek 165">
                <a:extLst>
                  <a:ext uri="{FF2B5EF4-FFF2-40B4-BE49-F238E27FC236}">
                    <a16:creationId xmlns:a16="http://schemas.microsoft.com/office/drawing/2014/main" id="{AF87B8FB-2E4D-BF19-2F8A-04084B90D059}"/>
                  </a:ext>
                </a:extLst>
              </p:cNvPr>
              <p:cNvSpPr/>
              <p:nvPr userDrawn="1"/>
            </p:nvSpPr>
            <p:spPr>
              <a:xfrm>
                <a:off x="-3786165" y="2"/>
                <a:ext cx="3593091" cy="3041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CHART</a:t>
                </a:r>
              </a:p>
            </p:txBody>
          </p:sp>
          <p:sp>
            <p:nvSpPr>
              <p:cNvPr id="167" name="Ovaal 166">
                <a:extLst>
                  <a:ext uri="{FF2B5EF4-FFF2-40B4-BE49-F238E27FC236}">
                    <a16:creationId xmlns:a16="http://schemas.microsoft.com/office/drawing/2014/main" id="{191B5158-CCFD-980A-2114-4926E7A8A2A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8" name="Rechthoek 167">
                <a:extLst>
                  <a:ext uri="{FF2B5EF4-FFF2-40B4-BE49-F238E27FC236}">
                    <a16:creationId xmlns:a16="http://schemas.microsoft.com/office/drawing/2014/main" id="{FDADFA2E-2346-7268-595E-1EE03C795531}"/>
                  </a:ext>
                </a:extLst>
              </p:cNvPr>
              <p:cNvSpPr/>
              <p:nvPr userDrawn="1"/>
            </p:nvSpPr>
            <p:spPr>
              <a:xfrm>
                <a:off x="-3319415" y="465324"/>
                <a:ext cx="2944682" cy="4900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chart, select the preferred part of the chart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69" name="Ovaal 168">
                <a:extLst>
                  <a:ext uri="{FF2B5EF4-FFF2-40B4-BE49-F238E27FC236}">
                    <a16:creationId xmlns:a16="http://schemas.microsoft.com/office/drawing/2014/main" id="{79E3D707-84F2-BAA3-BD0E-66FF6E09A443}"/>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0" name="Rechthoek 169">
                <a:extLst>
                  <a:ext uri="{FF2B5EF4-FFF2-40B4-BE49-F238E27FC236}">
                    <a16:creationId xmlns:a16="http://schemas.microsoft.com/office/drawing/2014/main" id="{67D74489-60EC-E41F-7E91-419795BFFAB7}"/>
                  </a:ext>
                </a:extLst>
              </p:cNvPr>
              <p:cNvSpPr/>
              <p:nvPr userDrawn="1"/>
            </p:nvSpPr>
            <p:spPr>
              <a:xfrm>
                <a:off x="-3319415" y="1493636"/>
                <a:ext cx="2944682" cy="65805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You can change the settings of the axes and data series by clicking on them with the right mouse button.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Axi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r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Data Seri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71" name="Groep 170">
                <a:extLst>
                  <a:ext uri="{FF2B5EF4-FFF2-40B4-BE49-F238E27FC236}">
                    <a16:creationId xmlns:a16="http://schemas.microsoft.com/office/drawing/2014/main" id="{5DF94223-FBE7-1D2B-C06A-8CAA86AFE0F8}"/>
                  </a:ext>
                </a:extLst>
              </p:cNvPr>
              <p:cNvGrpSpPr/>
              <p:nvPr userDrawn="1"/>
            </p:nvGrpSpPr>
            <p:grpSpPr>
              <a:xfrm>
                <a:off x="-3312582" y="1060763"/>
                <a:ext cx="576000" cy="246597"/>
                <a:chOff x="-3303310" y="1024128"/>
                <a:chExt cx="576000" cy="246597"/>
              </a:xfrm>
            </p:grpSpPr>
            <p:sp>
              <p:nvSpPr>
                <p:cNvPr id="186" name="Rechthoek 185">
                  <a:extLst>
                    <a:ext uri="{FF2B5EF4-FFF2-40B4-BE49-F238E27FC236}">
                      <a16:creationId xmlns:a16="http://schemas.microsoft.com/office/drawing/2014/main" id="{018702AC-D273-A79D-7A99-67B02AE9A7F7}"/>
                    </a:ext>
                  </a:extLst>
                </p:cNvPr>
                <p:cNvSpPr/>
                <p:nvPr userDrawn="1"/>
              </p:nvSpPr>
              <p:spPr>
                <a:xfrm>
                  <a:off x="-3303310" y="1024128"/>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187" name="Rechthoek 186">
                  <a:extLst>
                    <a:ext uri="{FF2B5EF4-FFF2-40B4-BE49-F238E27FC236}">
                      <a16:creationId xmlns:a16="http://schemas.microsoft.com/office/drawing/2014/main" id="{FC6948E7-3503-1844-5374-2916B944102A}"/>
                    </a:ext>
                  </a:extLst>
                </p:cNvPr>
                <p:cNvSpPr/>
                <p:nvPr userDrawn="1"/>
              </p:nvSpPr>
              <p:spPr>
                <a:xfrm>
                  <a:off x="-3303310" y="1243554"/>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72" name="Groep 171">
                <a:extLst>
                  <a:ext uri="{FF2B5EF4-FFF2-40B4-BE49-F238E27FC236}">
                    <a16:creationId xmlns:a16="http://schemas.microsoft.com/office/drawing/2014/main" id="{8BA8E2EB-23DE-1ADF-EAAE-BE8E132A1873}"/>
                  </a:ext>
                </a:extLst>
              </p:cNvPr>
              <p:cNvGrpSpPr/>
              <p:nvPr userDrawn="1"/>
            </p:nvGrpSpPr>
            <p:grpSpPr>
              <a:xfrm>
                <a:off x="-3314821" y="2257494"/>
                <a:ext cx="1377262" cy="591693"/>
                <a:chOff x="-3314821" y="2421532"/>
                <a:chExt cx="1377262" cy="591693"/>
              </a:xfrm>
            </p:grpSpPr>
            <p:sp>
              <p:nvSpPr>
                <p:cNvPr id="173" name="Rechthoek 172">
                  <a:extLst>
                    <a:ext uri="{FF2B5EF4-FFF2-40B4-BE49-F238E27FC236}">
                      <a16:creationId xmlns:a16="http://schemas.microsoft.com/office/drawing/2014/main" id="{A62644D1-07D9-7407-B3BE-FBC654C34C0D}"/>
                    </a:ext>
                  </a:extLst>
                </p:cNvPr>
                <p:cNvSpPr/>
                <p:nvPr userDrawn="1"/>
              </p:nvSpPr>
              <p:spPr>
                <a:xfrm>
                  <a:off x="-3314821" y="2421532"/>
                  <a:ext cx="1360375"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74" name="Rechthoek 173">
                  <a:extLst>
                    <a:ext uri="{FF2B5EF4-FFF2-40B4-BE49-F238E27FC236}">
                      <a16:creationId xmlns:a16="http://schemas.microsoft.com/office/drawing/2014/main" id="{50EDD732-4EE5-E8D8-D2CF-63D569BF4E70}"/>
                    </a:ext>
                  </a:extLst>
                </p:cNvPr>
                <p:cNvSpPr/>
                <p:nvPr userDrawn="1"/>
              </p:nvSpPr>
              <p:spPr>
                <a:xfrm>
                  <a:off x="-3304719" y="2675257"/>
                  <a:ext cx="1344885"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5" name="Tekstvak 174">
                  <a:extLst>
                    <a:ext uri="{FF2B5EF4-FFF2-40B4-BE49-F238E27FC236}">
                      <a16:creationId xmlns:a16="http://schemas.microsoft.com/office/drawing/2014/main" id="{82EAEA45-A722-A414-A293-78AFA06261B8}"/>
                    </a:ext>
                  </a:extLst>
                </p:cNvPr>
                <p:cNvSpPr txBox="1"/>
                <p:nvPr userDrawn="1"/>
              </p:nvSpPr>
              <p:spPr>
                <a:xfrm>
                  <a:off x="-3122115" y="2480234"/>
                  <a:ext cx="111600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Add Trendline</a:t>
                  </a:r>
                </a:p>
              </p:txBody>
            </p:sp>
            <p:sp>
              <p:nvSpPr>
                <p:cNvPr id="176" name="Tekstvak 175">
                  <a:extLst>
                    <a:ext uri="{FF2B5EF4-FFF2-40B4-BE49-F238E27FC236}">
                      <a16:creationId xmlns:a16="http://schemas.microsoft.com/office/drawing/2014/main" id="{3D95E609-9DA8-2487-1F55-3C8F6A4604B4}"/>
                    </a:ext>
                  </a:extLst>
                </p:cNvPr>
                <p:cNvSpPr txBox="1"/>
                <p:nvPr userDrawn="1"/>
              </p:nvSpPr>
              <p:spPr>
                <a:xfrm>
                  <a:off x="-3115841" y="2753263"/>
                  <a:ext cx="1116000" cy="10850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Format Data Series</a:t>
                  </a:r>
                </a:p>
              </p:txBody>
            </p:sp>
            <p:sp>
              <p:nvSpPr>
                <p:cNvPr id="177" name="Vrije vorm: vorm 176">
                  <a:extLst>
                    <a:ext uri="{FF2B5EF4-FFF2-40B4-BE49-F238E27FC236}">
                      <a16:creationId xmlns:a16="http://schemas.microsoft.com/office/drawing/2014/main" id="{B39F80B8-013B-300C-B774-AF88B8DF7F58}"/>
                    </a:ext>
                  </a:extLst>
                </p:cNvPr>
                <p:cNvSpPr/>
                <p:nvPr userDrawn="1"/>
              </p:nvSpPr>
              <p:spPr>
                <a:xfrm>
                  <a:off x="-2035121" y="2833225"/>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178" name="Groep 177">
                  <a:extLst>
                    <a:ext uri="{FF2B5EF4-FFF2-40B4-BE49-F238E27FC236}">
                      <a16:creationId xmlns:a16="http://schemas.microsoft.com/office/drawing/2014/main" id="{A606DEAA-A554-5356-29AF-FBC898F8CC14}"/>
                    </a:ext>
                  </a:extLst>
                </p:cNvPr>
                <p:cNvGrpSpPr/>
                <p:nvPr userDrawn="1"/>
              </p:nvGrpSpPr>
              <p:grpSpPr>
                <a:xfrm>
                  <a:off x="-3258488" y="2718400"/>
                  <a:ext cx="225663" cy="229638"/>
                  <a:chOff x="-3258488" y="2713782"/>
                  <a:chExt cx="225663" cy="229638"/>
                </a:xfrm>
              </p:grpSpPr>
              <p:sp>
                <p:nvSpPr>
                  <p:cNvPr id="182" name="Rechthoek 181">
                    <a:extLst>
                      <a:ext uri="{FF2B5EF4-FFF2-40B4-BE49-F238E27FC236}">
                        <a16:creationId xmlns:a16="http://schemas.microsoft.com/office/drawing/2014/main" id="{03B1236E-CF80-BA2C-DA92-01AEBE5CAB7D}"/>
                      </a:ext>
                    </a:extLst>
                  </p:cNvPr>
                  <p:cNvSpPr/>
                  <p:nvPr userDrawn="1"/>
                </p:nvSpPr>
                <p:spPr>
                  <a:xfrm>
                    <a:off x="-3245249" y="2761416"/>
                    <a:ext cx="43200" cy="104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83" name="Rechthoek 182">
                    <a:extLst>
                      <a:ext uri="{FF2B5EF4-FFF2-40B4-BE49-F238E27FC236}">
                        <a16:creationId xmlns:a16="http://schemas.microsoft.com/office/drawing/2014/main" id="{FE78E0CA-DF49-9083-259A-67C6E8144555}"/>
                      </a:ext>
                    </a:extLst>
                  </p:cNvPr>
                  <p:cNvSpPr/>
                  <p:nvPr userDrawn="1"/>
                </p:nvSpPr>
                <p:spPr>
                  <a:xfrm>
                    <a:off x="-3199591" y="2713782"/>
                    <a:ext cx="43200" cy="152244"/>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84" name="Rechthoek 183">
                    <a:extLst>
                      <a:ext uri="{FF2B5EF4-FFF2-40B4-BE49-F238E27FC236}">
                        <a16:creationId xmlns:a16="http://schemas.microsoft.com/office/drawing/2014/main" id="{BCF1D88D-E000-7D7B-392E-72C3BC6F2AE6}"/>
                      </a:ext>
                    </a:extLst>
                  </p:cNvPr>
                  <p:cNvSpPr/>
                  <p:nvPr userDrawn="1"/>
                </p:nvSpPr>
                <p:spPr>
                  <a:xfrm>
                    <a:off x="-3152134" y="2747679"/>
                    <a:ext cx="43200" cy="118347"/>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85" name="Rechthoek 282">
                    <a:extLst>
                      <a:ext uri="{FF2B5EF4-FFF2-40B4-BE49-F238E27FC236}">
                        <a16:creationId xmlns:a16="http://schemas.microsoft.com/office/drawing/2014/main" id="{541AA9A3-D3E4-79F9-831C-2E68E68382C5}"/>
                      </a:ext>
                    </a:extLst>
                  </p:cNvPr>
                  <p:cNvSpPr/>
                  <p:nvPr userDrawn="1"/>
                </p:nvSpPr>
                <p:spPr>
                  <a:xfrm rot="19731948">
                    <a:off x="-3258488" y="2796616"/>
                    <a:ext cx="225663" cy="146804"/>
                  </a:xfrm>
                  <a:custGeom>
                    <a:avLst/>
                    <a:gdLst>
                      <a:gd name="connsiteX0" fmla="*/ 0 w 205092"/>
                      <a:gd name="connsiteY0" fmla="*/ 0 h 73844"/>
                      <a:gd name="connsiteX1" fmla="*/ 205092 w 205092"/>
                      <a:gd name="connsiteY1" fmla="*/ 0 h 73844"/>
                      <a:gd name="connsiteX2" fmla="*/ 205092 w 205092"/>
                      <a:gd name="connsiteY2" fmla="*/ 73844 h 73844"/>
                      <a:gd name="connsiteX3" fmla="*/ 0 w 205092"/>
                      <a:gd name="connsiteY3" fmla="*/ 73844 h 73844"/>
                      <a:gd name="connsiteX4" fmla="*/ 0 w 205092"/>
                      <a:gd name="connsiteY4" fmla="*/ 0 h 73844"/>
                      <a:gd name="connsiteX0" fmla="*/ 0 w 205092"/>
                      <a:gd name="connsiteY0" fmla="*/ 0 h 121600"/>
                      <a:gd name="connsiteX1" fmla="*/ 205092 w 205092"/>
                      <a:gd name="connsiteY1" fmla="*/ 0 h 121600"/>
                      <a:gd name="connsiteX2" fmla="*/ 187772 w 205092"/>
                      <a:gd name="connsiteY2" fmla="*/ 121600 h 121600"/>
                      <a:gd name="connsiteX3" fmla="*/ 0 w 205092"/>
                      <a:gd name="connsiteY3" fmla="*/ 73844 h 121600"/>
                      <a:gd name="connsiteX4" fmla="*/ 0 w 205092"/>
                      <a:gd name="connsiteY4" fmla="*/ 0 h 121600"/>
                      <a:gd name="connsiteX0" fmla="*/ 0 w 205092"/>
                      <a:gd name="connsiteY0" fmla="*/ 0 h 121600"/>
                      <a:gd name="connsiteX1" fmla="*/ 205092 w 205092"/>
                      <a:gd name="connsiteY1" fmla="*/ 0 h 121600"/>
                      <a:gd name="connsiteX2" fmla="*/ 187772 w 205092"/>
                      <a:gd name="connsiteY2" fmla="*/ 121600 h 121600"/>
                      <a:gd name="connsiteX3" fmla="*/ 3148 w 205092"/>
                      <a:gd name="connsiteY3" fmla="*/ 65161 h 121600"/>
                      <a:gd name="connsiteX4" fmla="*/ 0 w 205092"/>
                      <a:gd name="connsiteY4" fmla="*/ 0 h 121600"/>
                      <a:gd name="connsiteX0" fmla="*/ 13407 w 218499"/>
                      <a:gd name="connsiteY0" fmla="*/ 0 h 121600"/>
                      <a:gd name="connsiteX1" fmla="*/ 218499 w 218499"/>
                      <a:gd name="connsiteY1" fmla="*/ 0 h 121600"/>
                      <a:gd name="connsiteX2" fmla="*/ 201179 w 218499"/>
                      <a:gd name="connsiteY2" fmla="*/ 121600 h 121600"/>
                      <a:gd name="connsiteX3" fmla="*/ 0 w 218499"/>
                      <a:gd name="connsiteY3" fmla="*/ 38976 h 121600"/>
                      <a:gd name="connsiteX4" fmla="*/ 13407 w 218499"/>
                      <a:gd name="connsiteY4" fmla="*/ 0 h 121600"/>
                      <a:gd name="connsiteX0" fmla="*/ 13407 w 218499"/>
                      <a:gd name="connsiteY0" fmla="*/ 0 h 134944"/>
                      <a:gd name="connsiteX1" fmla="*/ 218499 w 218499"/>
                      <a:gd name="connsiteY1" fmla="*/ 0 h 134944"/>
                      <a:gd name="connsiteX2" fmla="*/ 160746 w 218499"/>
                      <a:gd name="connsiteY2" fmla="*/ 134944 h 134944"/>
                      <a:gd name="connsiteX3" fmla="*/ 0 w 218499"/>
                      <a:gd name="connsiteY3" fmla="*/ 38976 h 134944"/>
                      <a:gd name="connsiteX4" fmla="*/ 13407 w 218499"/>
                      <a:gd name="connsiteY4" fmla="*/ 0 h 134944"/>
                      <a:gd name="connsiteX0" fmla="*/ 13407 w 225663"/>
                      <a:gd name="connsiteY0" fmla="*/ 11860 h 146804"/>
                      <a:gd name="connsiteX1" fmla="*/ 225663 w 225663"/>
                      <a:gd name="connsiteY1" fmla="*/ 0 h 146804"/>
                      <a:gd name="connsiteX2" fmla="*/ 160746 w 225663"/>
                      <a:gd name="connsiteY2" fmla="*/ 146804 h 146804"/>
                      <a:gd name="connsiteX3" fmla="*/ 0 w 225663"/>
                      <a:gd name="connsiteY3" fmla="*/ 50836 h 146804"/>
                      <a:gd name="connsiteX4" fmla="*/ 13407 w 225663"/>
                      <a:gd name="connsiteY4" fmla="*/ 11860 h 14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3" h="146804">
                        <a:moveTo>
                          <a:pt x="13407" y="11860"/>
                        </a:moveTo>
                        <a:lnTo>
                          <a:pt x="225663" y="0"/>
                        </a:lnTo>
                        <a:lnTo>
                          <a:pt x="160746" y="146804"/>
                        </a:lnTo>
                        <a:lnTo>
                          <a:pt x="0" y="50836"/>
                        </a:lnTo>
                        <a:lnTo>
                          <a:pt x="13407" y="11860"/>
                        </a:lnTo>
                        <a:close/>
                      </a:path>
                    </a:pathLst>
                  </a:cu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lvl="0"/>
                    <a:endParaRPr lang="en-GB" sz="1000" b="1" dirty="0" err="1">
                      <a:solidFill>
                        <a:srgbClr val="211F26"/>
                      </a:solidFill>
                      <a:latin typeface="Calibri" panose="020F0502020204030204" pitchFamily="34" charset="0"/>
                      <a:cs typeface="Calibri" panose="020F0502020204030204" pitchFamily="34" charset="0"/>
                    </a:endParaRPr>
                  </a:p>
                </p:txBody>
              </p:sp>
            </p:grpSp>
            <p:grpSp>
              <p:nvGrpSpPr>
                <p:cNvPr id="179" name="Groep 178">
                  <a:extLst>
                    <a:ext uri="{FF2B5EF4-FFF2-40B4-BE49-F238E27FC236}">
                      <a16:creationId xmlns:a16="http://schemas.microsoft.com/office/drawing/2014/main" id="{C11ACF26-CAA1-4022-DEE8-6D2B885393A1}"/>
                    </a:ext>
                  </a:extLst>
                </p:cNvPr>
                <p:cNvGrpSpPr/>
                <p:nvPr userDrawn="1"/>
              </p:nvGrpSpPr>
              <p:grpSpPr>
                <a:xfrm>
                  <a:off x="-3219980" y="2771792"/>
                  <a:ext cx="140241" cy="116552"/>
                  <a:chOff x="-2608640" y="2891109"/>
                  <a:chExt cx="309118" cy="261993"/>
                </a:xfrm>
              </p:grpSpPr>
              <p:sp>
                <p:nvSpPr>
                  <p:cNvPr id="180" name="Vrije vorm: vorm 179">
                    <a:extLst>
                      <a:ext uri="{FF2B5EF4-FFF2-40B4-BE49-F238E27FC236}">
                        <a16:creationId xmlns:a16="http://schemas.microsoft.com/office/drawing/2014/main" id="{DFAAADDF-AB2B-E43F-DBDD-B066B4FA1761}"/>
                      </a:ext>
                    </a:extLst>
                  </p:cNvPr>
                  <p:cNvSpPr/>
                  <p:nvPr userDrawn="1"/>
                </p:nvSpPr>
                <p:spPr>
                  <a:xfrm rot="513866">
                    <a:off x="-2465317" y="2891109"/>
                    <a:ext cx="165795" cy="200435"/>
                  </a:xfrm>
                  <a:custGeom>
                    <a:avLst/>
                    <a:gdLst>
                      <a:gd name="connsiteX0" fmla="*/ 0 w 147782"/>
                      <a:gd name="connsiteY0" fmla="*/ 184728 h 221673"/>
                      <a:gd name="connsiteX1" fmla="*/ 147782 w 147782"/>
                      <a:gd name="connsiteY1" fmla="*/ 0 h 221673"/>
                      <a:gd name="connsiteX2" fmla="*/ 92363 w 147782"/>
                      <a:gd name="connsiteY2" fmla="*/ 221673 h 221673"/>
                      <a:gd name="connsiteX3" fmla="*/ 0 w 147782"/>
                      <a:gd name="connsiteY3" fmla="*/ 184728 h 221673"/>
                      <a:gd name="connsiteX0" fmla="*/ 0 w 180109"/>
                      <a:gd name="connsiteY0" fmla="*/ 166255 h 203200"/>
                      <a:gd name="connsiteX1" fmla="*/ 180109 w 180109"/>
                      <a:gd name="connsiteY1" fmla="*/ 0 h 203200"/>
                      <a:gd name="connsiteX2" fmla="*/ 92363 w 180109"/>
                      <a:gd name="connsiteY2" fmla="*/ 203200 h 203200"/>
                      <a:gd name="connsiteX3" fmla="*/ 0 w 180109"/>
                      <a:gd name="connsiteY3" fmla="*/ 166255 h 203200"/>
                      <a:gd name="connsiteX0" fmla="*/ 0 w 182213"/>
                      <a:gd name="connsiteY0" fmla="*/ 166453 h 203398"/>
                      <a:gd name="connsiteX1" fmla="*/ 180109 w 182213"/>
                      <a:gd name="connsiteY1" fmla="*/ 198 h 203398"/>
                      <a:gd name="connsiteX2" fmla="*/ 92363 w 182213"/>
                      <a:gd name="connsiteY2" fmla="*/ 203398 h 203398"/>
                      <a:gd name="connsiteX3" fmla="*/ 0 w 182213"/>
                      <a:gd name="connsiteY3" fmla="*/ 166453 h 203398"/>
                      <a:gd name="connsiteX0" fmla="*/ 0 w 186034"/>
                      <a:gd name="connsiteY0" fmla="*/ 168058 h 205003"/>
                      <a:gd name="connsiteX1" fmla="*/ 180109 w 186034"/>
                      <a:gd name="connsiteY1" fmla="*/ 1803 h 205003"/>
                      <a:gd name="connsiteX2" fmla="*/ 92363 w 186034"/>
                      <a:gd name="connsiteY2" fmla="*/ 205003 h 205003"/>
                      <a:gd name="connsiteX3" fmla="*/ 0 w 186034"/>
                      <a:gd name="connsiteY3" fmla="*/ 168058 h 205003"/>
                      <a:gd name="connsiteX0" fmla="*/ 0 w 163074"/>
                      <a:gd name="connsiteY0" fmla="*/ 161895 h 203458"/>
                      <a:gd name="connsiteX1" fmla="*/ 161637 w 163074"/>
                      <a:gd name="connsiteY1" fmla="*/ 258 h 203458"/>
                      <a:gd name="connsiteX2" fmla="*/ 73891 w 163074"/>
                      <a:gd name="connsiteY2" fmla="*/ 203458 h 203458"/>
                      <a:gd name="connsiteX3" fmla="*/ 0 w 163074"/>
                      <a:gd name="connsiteY3" fmla="*/ 161895 h 203458"/>
                      <a:gd name="connsiteX0" fmla="*/ 0 w 162654"/>
                      <a:gd name="connsiteY0" fmla="*/ 161843 h 198788"/>
                      <a:gd name="connsiteX1" fmla="*/ 161637 w 162654"/>
                      <a:gd name="connsiteY1" fmla="*/ 206 h 198788"/>
                      <a:gd name="connsiteX2" fmla="*/ 64654 w 162654"/>
                      <a:gd name="connsiteY2" fmla="*/ 198788 h 198788"/>
                      <a:gd name="connsiteX3" fmla="*/ 0 w 162654"/>
                      <a:gd name="connsiteY3" fmla="*/ 161843 h 198788"/>
                      <a:gd name="connsiteX0" fmla="*/ 0 w 165794"/>
                      <a:gd name="connsiteY0" fmla="*/ 163491 h 200436"/>
                      <a:gd name="connsiteX1" fmla="*/ 161637 w 165794"/>
                      <a:gd name="connsiteY1" fmla="*/ 1854 h 200436"/>
                      <a:gd name="connsiteX2" fmla="*/ 64654 w 165794"/>
                      <a:gd name="connsiteY2" fmla="*/ 200436 h 200436"/>
                      <a:gd name="connsiteX3" fmla="*/ 0 w 165794"/>
                      <a:gd name="connsiteY3" fmla="*/ 163491 h 200436"/>
                    </a:gdLst>
                    <a:ahLst/>
                    <a:cxnLst>
                      <a:cxn ang="0">
                        <a:pos x="connsiteX0" y="connsiteY0"/>
                      </a:cxn>
                      <a:cxn ang="0">
                        <a:pos x="connsiteX1" y="connsiteY1"/>
                      </a:cxn>
                      <a:cxn ang="0">
                        <a:pos x="connsiteX2" y="connsiteY2"/>
                      </a:cxn>
                      <a:cxn ang="0">
                        <a:pos x="connsiteX3" y="connsiteY3"/>
                      </a:cxn>
                    </a:cxnLst>
                    <a:rect l="l" t="t" r="r" b="b"/>
                    <a:pathLst>
                      <a:path w="165794" h="200436">
                        <a:moveTo>
                          <a:pt x="0" y="163491"/>
                        </a:moveTo>
                        <a:cubicBezTo>
                          <a:pt x="14624" y="129624"/>
                          <a:pt x="137006" y="-18157"/>
                          <a:pt x="161637" y="1854"/>
                        </a:cubicBezTo>
                        <a:cubicBezTo>
                          <a:pt x="186268" y="21865"/>
                          <a:pt x="94672" y="172727"/>
                          <a:pt x="64654" y="200436"/>
                        </a:cubicBezTo>
                        <a:lnTo>
                          <a:pt x="0" y="163491"/>
                        </a:lnTo>
                        <a:close/>
                      </a:path>
                    </a:pathLst>
                  </a:custGeom>
                  <a:solidFill>
                    <a:srgbClr val="FFFFFF"/>
                  </a:solidFill>
                  <a:ln w="9525">
                    <a:solidFill>
                      <a:srgbClr val="3F3E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sp>
                <p:nvSpPr>
                  <p:cNvPr id="181" name="Vrije vorm: vorm 180">
                    <a:extLst>
                      <a:ext uri="{FF2B5EF4-FFF2-40B4-BE49-F238E27FC236}">
                        <a16:creationId xmlns:a16="http://schemas.microsoft.com/office/drawing/2014/main" id="{FB71A196-168B-F8FB-4D81-8DEDDA7C25F2}"/>
                      </a:ext>
                    </a:extLst>
                  </p:cNvPr>
                  <p:cNvSpPr/>
                  <p:nvPr userDrawn="1"/>
                </p:nvSpPr>
                <p:spPr>
                  <a:xfrm rot="513866">
                    <a:off x="-2608640" y="3034770"/>
                    <a:ext cx="207309" cy="118332"/>
                  </a:xfrm>
                  <a:custGeom>
                    <a:avLst/>
                    <a:gdLst>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46181 w 138545"/>
                      <a:gd name="connsiteY4" fmla="*/ 41564 h 87746"/>
                      <a:gd name="connsiteX5" fmla="*/ 0 w 138545"/>
                      <a:gd name="connsiteY5"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8052"/>
                      <a:gd name="connsiteX1" fmla="*/ 73891 w 138545"/>
                      <a:gd name="connsiteY1" fmla="*/ 87746 h 88052"/>
                      <a:gd name="connsiteX2" fmla="*/ 138545 w 138545"/>
                      <a:gd name="connsiteY2" fmla="*/ 27709 h 88052"/>
                      <a:gd name="connsiteX3" fmla="*/ 96981 w 138545"/>
                      <a:gd name="connsiteY3" fmla="*/ 0 h 88052"/>
                      <a:gd name="connsiteX4" fmla="*/ 0 w 138545"/>
                      <a:gd name="connsiteY4" fmla="*/ 78509 h 88052"/>
                      <a:gd name="connsiteX0" fmla="*/ 188 w 138733"/>
                      <a:gd name="connsiteY0" fmla="*/ 78509 h 97514"/>
                      <a:gd name="connsiteX1" fmla="*/ 74079 w 138733"/>
                      <a:gd name="connsiteY1" fmla="*/ 87746 h 97514"/>
                      <a:gd name="connsiteX2" fmla="*/ 138733 w 138733"/>
                      <a:gd name="connsiteY2" fmla="*/ 27709 h 97514"/>
                      <a:gd name="connsiteX3" fmla="*/ 97169 w 138733"/>
                      <a:gd name="connsiteY3" fmla="*/ 0 h 97514"/>
                      <a:gd name="connsiteX4" fmla="*/ 188 w 138733"/>
                      <a:gd name="connsiteY4" fmla="*/ 78509 h 97514"/>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9150"/>
                      <a:gd name="connsiteY0" fmla="*/ 78509 h 91707"/>
                      <a:gd name="connsiteX1" fmla="*/ 74058 w 139150"/>
                      <a:gd name="connsiteY1" fmla="*/ 87746 h 91707"/>
                      <a:gd name="connsiteX2" fmla="*/ 138712 w 139150"/>
                      <a:gd name="connsiteY2" fmla="*/ 27709 h 91707"/>
                      <a:gd name="connsiteX3" fmla="*/ 97148 w 139150"/>
                      <a:gd name="connsiteY3" fmla="*/ 0 h 91707"/>
                      <a:gd name="connsiteX4" fmla="*/ 167 w 139150"/>
                      <a:gd name="connsiteY4" fmla="*/ 78509 h 91707"/>
                      <a:gd name="connsiteX0" fmla="*/ 167 w 139150"/>
                      <a:gd name="connsiteY0" fmla="*/ 87626 h 100824"/>
                      <a:gd name="connsiteX1" fmla="*/ 74058 w 139150"/>
                      <a:gd name="connsiteY1" fmla="*/ 96863 h 100824"/>
                      <a:gd name="connsiteX2" fmla="*/ 138712 w 139150"/>
                      <a:gd name="connsiteY2" fmla="*/ 36826 h 100824"/>
                      <a:gd name="connsiteX3" fmla="*/ 97148 w 139150"/>
                      <a:gd name="connsiteY3" fmla="*/ 9117 h 100824"/>
                      <a:gd name="connsiteX4" fmla="*/ 167 w 139150"/>
                      <a:gd name="connsiteY4" fmla="*/ 87626 h 100824"/>
                      <a:gd name="connsiteX0" fmla="*/ 167 w 139150"/>
                      <a:gd name="connsiteY0" fmla="*/ 79509 h 92707"/>
                      <a:gd name="connsiteX1" fmla="*/ 74058 w 139150"/>
                      <a:gd name="connsiteY1" fmla="*/ 88746 h 92707"/>
                      <a:gd name="connsiteX2" fmla="*/ 138712 w 139150"/>
                      <a:gd name="connsiteY2" fmla="*/ 28709 h 92707"/>
                      <a:gd name="connsiteX3" fmla="*/ 97148 w 139150"/>
                      <a:gd name="connsiteY3" fmla="*/ 1000 h 92707"/>
                      <a:gd name="connsiteX4" fmla="*/ 167 w 139150"/>
                      <a:gd name="connsiteY4" fmla="*/ 79509 h 92707"/>
                      <a:gd name="connsiteX0" fmla="*/ 167 w 138974"/>
                      <a:gd name="connsiteY0" fmla="*/ 71888 h 85086"/>
                      <a:gd name="connsiteX1" fmla="*/ 74058 w 138974"/>
                      <a:gd name="connsiteY1" fmla="*/ 81125 h 85086"/>
                      <a:gd name="connsiteX2" fmla="*/ 138712 w 138974"/>
                      <a:gd name="connsiteY2" fmla="*/ 21088 h 85086"/>
                      <a:gd name="connsiteX3" fmla="*/ 91899 w 138974"/>
                      <a:gd name="connsiteY3" fmla="*/ 1252 h 85086"/>
                      <a:gd name="connsiteX4" fmla="*/ 167 w 138974"/>
                      <a:gd name="connsiteY4" fmla="*/ 71888 h 85086"/>
                      <a:gd name="connsiteX0" fmla="*/ 278 w 118032"/>
                      <a:gd name="connsiteY0" fmla="*/ 56375 h 82581"/>
                      <a:gd name="connsiteX1" fmla="*/ 53174 w 118032"/>
                      <a:gd name="connsiteY1" fmla="*/ 81359 h 82581"/>
                      <a:gd name="connsiteX2" fmla="*/ 117828 w 118032"/>
                      <a:gd name="connsiteY2" fmla="*/ 21322 h 82581"/>
                      <a:gd name="connsiteX3" fmla="*/ 71015 w 118032"/>
                      <a:gd name="connsiteY3" fmla="*/ 1486 h 82581"/>
                      <a:gd name="connsiteX4" fmla="*/ 278 w 118032"/>
                      <a:gd name="connsiteY4" fmla="*/ 56375 h 82581"/>
                      <a:gd name="connsiteX0" fmla="*/ 220 w 117808"/>
                      <a:gd name="connsiteY0" fmla="*/ 56172 h 67245"/>
                      <a:gd name="connsiteX1" fmla="*/ 63614 w 117808"/>
                      <a:gd name="connsiteY1" fmla="*/ 62785 h 67245"/>
                      <a:gd name="connsiteX2" fmla="*/ 117770 w 117808"/>
                      <a:gd name="connsiteY2" fmla="*/ 21119 h 67245"/>
                      <a:gd name="connsiteX3" fmla="*/ 70957 w 117808"/>
                      <a:gd name="connsiteY3" fmla="*/ 1283 h 67245"/>
                      <a:gd name="connsiteX4" fmla="*/ 220 w 117808"/>
                      <a:gd name="connsiteY4" fmla="*/ 56172 h 6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08" h="67245">
                        <a:moveTo>
                          <a:pt x="220" y="56172"/>
                        </a:moveTo>
                        <a:cubicBezTo>
                          <a:pt x="-3628" y="70796"/>
                          <a:pt x="44022" y="68627"/>
                          <a:pt x="63614" y="62785"/>
                        </a:cubicBezTo>
                        <a:cubicBezTo>
                          <a:pt x="83206" y="56943"/>
                          <a:pt x="116546" y="31369"/>
                          <a:pt x="117770" y="21119"/>
                        </a:cubicBezTo>
                        <a:cubicBezTo>
                          <a:pt x="118994" y="10869"/>
                          <a:pt x="90549" y="-4559"/>
                          <a:pt x="70957" y="1283"/>
                        </a:cubicBezTo>
                        <a:cubicBezTo>
                          <a:pt x="51365" y="7125"/>
                          <a:pt x="61415" y="48373"/>
                          <a:pt x="220" y="56172"/>
                        </a:cubicBezTo>
                        <a:close/>
                      </a:path>
                    </a:pathLst>
                  </a:custGeom>
                  <a:solidFill>
                    <a:srgbClr val="8AC3EF"/>
                  </a:solidFill>
                  <a:ln w="9525">
                    <a:solidFill>
                      <a:srgbClr val="307E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grpSp>
        </p:grpSp>
      </p:grpSp>
    </p:spTree>
    <p:extLst>
      <p:ext uri="{BB962C8B-B14F-4D97-AF65-F5344CB8AC3E}">
        <p14:creationId xmlns:p14="http://schemas.microsoft.com/office/powerpoint/2010/main" val="149744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4" name="Tijdelijke aanduiding voor grafiek 17">
            <a:extLst>
              <a:ext uri="{FF2B5EF4-FFF2-40B4-BE49-F238E27FC236}">
                <a16:creationId xmlns:a16="http://schemas.microsoft.com/office/drawing/2014/main" id="{9C976D4D-6916-D2FC-E254-80706C2BEE24}"/>
              </a:ext>
            </a:extLst>
          </p:cNvPr>
          <p:cNvSpPr>
            <a:spLocks noGrp="1"/>
          </p:cNvSpPr>
          <p:nvPr>
            <p:ph type="chart" sz="quarter" idx="17" hasCustomPrompt="1"/>
          </p:nvPr>
        </p:nvSpPr>
        <p:spPr>
          <a:xfrm>
            <a:off x="718667" y="1565275"/>
            <a:ext cx="10753334" cy="443547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graph</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p:txBody>
          <a:bodyPr/>
          <a:lstStyle/>
          <a:p>
            <a:r>
              <a:rPr lang="en-GB" noProof="0" dirty="0"/>
              <a:t>Title goes here</a:t>
            </a:r>
          </a:p>
        </p:txBody>
      </p:sp>
      <p:sp>
        <p:nvSpPr>
          <p:cNvPr id="8" name="Rechthoek 7">
            <a:extLst>
              <a:ext uri="{FF2B5EF4-FFF2-40B4-BE49-F238E27FC236}">
                <a16:creationId xmlns:a16="http://schemas.microsoft.com/office/drawing/2014/main" id="{02FC7157-BDBD-4338-9C83-079E45D53067}"/>
              </a:ext>
            </a:extLst>
          </p:cNvPr>
          <p:cNvSpPr/>
          <p:nvPr userDrawn="1"/>
        </p:nvSpPr>
        <p:spPr>
          <a:xfrm>
            <a:off x="0" y="-441330"/>
            <a:ext cx="6796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Graph</a:t>
            </a:r>
          </a:p>
        </p:txBody>
      </p:sp>
      <p:sp>
        <p:nvSpPr>
          <p:cNvPr id="3" name="Tijdelijke aanduiding voor datum 2">
            <a:extLst>
              <a:ext uri="{FF2B5EF4-FFF2-40B4-BE49-F238E27FC236}">
                <a16:creationId xmlns:a16="http://schemas.microsoft.com/office/drawing/2014/main" id="{939B92A0-6A1A-48FD-9DE6-B4526A0F6820}"/>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439C9CDC-BA47-4EE3-AB72-1B052FAD6FB1}"/>
              </a:ext>
            </a:extLst>
          </p:cNvPr>
          <p:cNvSpPr>
            <a:spLocks noGrp="1"/>
          </p:cNvSpPr>
          <p:nvPr>
            <p:ph type="sldNum" sz="quarter" idx="16"/>
          </p:nvPr>
        </p:nvSpPr>
        <p:spPr/>
        <p:txBody>
          <a:bodyPr/>
          <a:lstStyle/>
          <a:p>
            <a:fld id="{9E843DB9-9987-4157-AB9C-CEA8D7D910BB}" type="slidenum">
              <a:rPr lang="en-GB" smtClean="0"/>
              <a:pPr/>
              <a:t>‹#›</a:t>
            </a:fld>
            <a:endParaRPr lang="en-GB" dirty="0"/>
          </a:p>
        </p:txBody>
      </p:sp>
      <p:grpSp>
        <p:nvGrpSpPr>
          <p:cNvPr id="6" name="INSTRUCTION">
            <a:extLst>
              <a:ext uri="{FF2B5EF4-FFF2-40B4-BE49-F238E27FC236}">
                <a16:creationId xmlns:a16="http://schemas.microsoft.com/office/drawing/2014/main" id="{2DB909E2-579E-7420-B285-B389C3AE3393}"/>
              </a:ext>
            </a:extLst>
          </p:cNvPr>
          <p:cNvGrpSpPr/>
          <p:nvPr userDrawn="1"/>
        </p:nvGrpSpPr>
        <p:grpSpPr>
          <a:xfrm>
            <a:off x="-3786437" y="2"/>
            <a:ext cx="3693386" cy="5715919"/>
            <a:chOff x="-3786437" y="2"/>
            <a:chExt cx="3693386" cy="5715919"/>
          </a:xfrm>
        </p:grpSpPr>
        <p:grpSp>
          <p:nvGrpSpPr>
            <p:cNvPr id="7" name="Groep 6">
              <a:extLst>
                <a:ext uri="{FF2B5EF4-FFF2-40B4-BE49-F238E27FC236}">
                  <a16:creationId xmlns:a16="http://schemas.microsoft.com/office/drawing/2014/main" id="{680CF1DF-856E-8E3E-4BBE-4805542EA914}"/>
                </a:ext>
              </a:extLst>
            </p:cNvPr>
            <p:cNvGrpSpPr/>
            <p:nvPr userDrawn="1"/>
          </p:nvGrpSpPr>
          <p:grpSpPr>
            <a:xfrm>
              <a:off x="-3786437" y="3234716"/>
              <a:ext cx="3693386" cy="2481205"/>
              <a:chOff x="-3786437" y="3234716"/>
              <a:chExt cx="3693386" cy="2481205"/>
            </a:xfrm>
          </p:grpSpPr>
          <p:sp>
            <p:nvSpPr>
              <p:cNvPr id="32" name="Rechthoek 31">
                <a:extLst>
                  <a:ext uri="{FF2B5EF4-FFF2-40B4-BE49-F238E27FC236}">
                    <a16:creationId xmlns:a16="http://schemas.microsoft.com/office/drawing/2014/main" id="{DD6DEF1C-D18F-9BF8-4FBB-393B195F8523}"/>
                  </a:ext>
                </a:extLst>
              </p:cNvPr>
              <p:cNvSpPr/>
              <p:nvPr userDrawn="1"/>
            </p:nvSpPr>
            <p:spPr>
              <a:xfrm>
                <a:off x="-3786165" y="3234716"/>
                <a:ext cx="3593091" cy="184934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33" name="Ovaal 32">
                <a:extLst>
                  <a:ext uri="{FF2B5EF4-FFF2-40B4-BE49-F238E27FC236}">
                    <a16:creationId xmlns:a16="http://schemas.microsoft.com/office/drawing/2014/main" id="{C2AA5349-4667-F1BB-8749-61754D67B08A}"/>
                  </a:ext>
                </a:extLst>
              </p:cNvPr>
              <p:cNvSpPr/>
              <p:nvPr userDrawn="1"/>
            </p:nvSpPr>
            <p:spPr>
              <a:xfrm>
                <a:off x="-3603587" y="369931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4" name="Rechthoek 33">
                <a:extLst>
                  <a:ext uri="{FF2B5EF4-FFF2-40B4-BE49-F238E27FC236}">
                    <a16:creationId xmlns:a16="http://schemas.microsoft.com/office/drawing/2014/main" id="{948A4516-EE53-9ED0-1F2F-7410A66E5832}"/>
                  </a:ext>
                </a:extLst>
              </p:cNvPr>
              <p:cNvSpPr/>
              <p:nvPr userDrawn="1"/>
            </p:nvSpPr>
            <p:spPr>
              <a:xfrm>
                <a:off x="-3319415" y="3699315"/>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5" name="Groep 34">
                <a:extLst>
                  <a:ext uri="{FF2B5EF4-FFF2-40B4-BE49-F238E27FC236}">
                    <a16:creationId xmlns:a16="http://schemas.microsoft.com/office/drawing/2014/main" id="{883D4637-4338-DD25-45CB-22329D8FF6A1}"/>
                  </a:ext>
                </a:extLst>
              </p:cNvPr>
              <p:cNvGrpSpPr/>
              <p:nvPr userDrawn="1"/>
            </p:nvGrpSpPr>
            <p:grpSpPr>
              <a:xfrm>
                <a:off x="-3314821" y="4139107"/>
                <a:ext cx="1495189" cy="563933"/>
                <a:chOff x="-3314821" y="3310415"/>
                <a:chExt cx="1495189" cy="563933"/>
              </a:xfrm>
            </p:grpSpPr>
            <p:sp>
              <p:nvSpPr>
                <p:cNvPr id="46" name="Rechthoek 45">
                  <a:extLst>
                    <a:ext uri="{FF2B5EF4-FFF2-40B4-BE49-F238E27FC236}">
                      <a16:creationId xmlns:a16="http://schemas.microsoft.com/office/drawing/2014/main" id="{F34B3B2A-C80C-D662-35DD-C7972D581181}"/>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A6E43491-EF0F-05B7-1F05-BBFDA2A92B8E}"/>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Tekstvak 47">
                  <a:extLst>
                    <a:ext uri="{FF2B5EF4-FFF2-40B4-BE49-F238E27FC236}">
                      <a16:creationId xmlns:a16="http://schemas.microsoft.com/office/drawing/2014/main" id="{1C7EA8EB-CD33-9439-E202-16194D92EE85}"/>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49" name="Tekstvak 48">
                  <a:extLst>
                    <a:ext uri="{FF2B5EF4-FFF2-40B4-BE49-F238E27FC236}">
                      <a16:creationId xmlns:a16="http://schemas.microsoft.com/office/drawing/2014/main" id="{5FFEB4FB-F37F-B1A5-2DA9-2399B6B6511A}"/>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50" name="Vrije vorm: vorm 49">
                  <a:extLst>
                    <a:ext uri="{FF2B5EF4-FFF2-40B4-BE49-F238E27FC236}">
                      <a16:creationId xmlns:a16="http://schemas.microsoft.com/office/drawing/2014/main" id="{BBF461B4-9C4B-F5F3-DFDB-1B00E3910BA7}"/>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5296A3EF-5B20-BA91-1AF3-24FB56ED49C0}"/>
                    </a:ext>
                  </a:extLst>
                </p:cNvPr>
                <p:cNvGrpSpPr/>
                <p:nvPr userDrawn="1"/>
              </p:nvGrpSpPr>
              <p:grpSpPr>
                <a:xfrm>
                  <a:off x="-3261976" y="3361742"/>
                  <a:ext cx="139861" cy="152244"/>
                  <a:chOff x="12574450" y="6053892"/>
                  <a:chExt cx="169232" cy="184215"/>
                </a:xfrm>
              </p:grpSpPr>
              <p:sp>
                <p:nvSpPr>
                  <p:cNvPr id="71" name="Rechthoek 70">
                    <a:extLst>
                      <a:ext uri="{FF2B5EF4-FFF2-40B4-BE49-F238E27FC236}">
                        <a16:creationId xmlns:a16="http://schemas.microsoft.com/office/drawing/2014/main" id="{A6E02C25-B3CC-B095-2619-965D3212719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7F79493F-F589-8CB2-EC65-2CD9EBAF1861}"/>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B761E95E-2BC3-DF23-E772-5C701D5EB87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B31C3B2F-C551-7FFA-1994-50DFD9C355E4}"/>
                    </a:ext>
                  </a:extLst>
                </p:cNvPr>
                <p:cNvGrpSpPr/>
                <p:nvPr userDrawn="1"/>
              </p:nvGrpSpPr>
              <p:grpSpPr>
                <a:xfrm>
                  <a:off x="-3261070" y="3635199"/>
                  <a:ext cx="168905" cy="104490"/>
                  <a:chOff x="-3261070" y="3620931"/>
                  <a:chExt cx="193920" cy="119965"/>
                </a:xfrm>
              </p:grpSpPr>
              <p:sp>
                <p:nvSpPr>
                  <p:cNvPr id="53" name="Rechthoek 52">
                    <a:extLst>
                      <a:ext uri="{FF2B5EF4-FFF2-40B4-BE49-F238E27FC236}">
                        <a16:creationId xmlns:a16="http://schemas.microsoft.com/office/drawing/2014/main" id="{B196AFE8-BAF3-9B20-F55E-555D3E6D633B}"/>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54" name="Groep 53">
                    <a:extLst>
                      <a:ext uri="{FF2B5EF4-FFF2-40B4-BE49-F238E27FC236}">
                        <a16:creationId xmlns:a16="http://schemas.microsoft.com/office/drawing/2014/main" id="{029ED99F-086B-DFC1-BD59-96A3BB73A1E7}"/>
                      </a:ext>
                    </a:extLst>
                  </p:cNvPr>
                  <p:cNvGrpSpPr/>
                  <p:nvPr userDrawn="1"/>
                </p:nvGrpSpPr>
                <p:grpSpPr>
                  <a:xfrm>
                    <a:off x="-3261070" y="3622063"/>
                    <a:ext cx="141113" cy="117345"/>
                    <a:chOff x="1094874" y="-878306"/>
                    <a:chExt cx="867364" cy="613611"/>
                  </a:xfrm>
                </p:grpSpPr>
                <p:cxnSp>
                  <p:nvCxnSpPr>
                    <p:cNvPr id="64" name="Rechte verbindingslijn 63">
                      <a:extLst>
                        <a:ext uri="{FF2B5EF4-FFF2-40B4-BE49-F238E27FC236}">
                          <a16:creationId xmlns:a16="http://schemas.microsoft.com/office/drawing/2014/main" id="{AE2D43E5-34C5-B533-FDC8-9875789C0F92}"/>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EB5E7D2D-A2F7-31C9-7733-8B6DF553AE2B}"/>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66" name="Groep 65">
                      <a:extLst>
                        <a:ext uri="{FF2B5EF4-FFF2-40B4-BE49-F238E27FC236}">
                          <a16:creationId xmlns:a16="http://schemas.microsoft.com/office/drawing/2014/main" id="{F724BAD9-4B97-5FC3-2704-C1465C3B41AC}"/>
                        </a:ext>
                      </a:extLst>
                    </p:cNvPr>
                    <p:cNvGrpSpPr/>
                    <p:nvPr userDrawn="1"/>
                  </p:nvGrpSpPr>
                  <p:grpSpPr>
                    <a:xfrm>
                      <a:off x="1270535" y="-878306"/>
                      <a:ext cx="526983" cy="613611"/>
                      <a:chOff x="1270535" y="-745959"/>
                      <a:chExt cx="526983" cy="481264"/>
                    </a:xfrm>
                  </p:grpSpPr>
                  <p:cxnSp>
                    <p:nvCxnSpPr>
                      <p:cNvPr id="67" name="Rechte verbindingslijn 66">
                        <a:extLst>
                          <a:ext uri="{FF2B5EF4-FFF2-40B4-BE49-F238E27FC236}">
                            <a16:creationId xmlns:a16="http://schemas.microsoft.com/office/drawing/2014/main" id="{4831ED37-35C9-37E3-6163-578A1EAE9E28}"/>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8" name="Rechte verbindingslijn 67">
                        <a:extLst>
                          <a:ext uri="{FF2B5EF4-FFF2-40B4-BE49-F238E27FC236}">
                            <a16:creationId xmlns:a16="http://schemas.microsoft.com/office/drawing/2014/main" id="{DFF104EF-9AA2-18D8-729B-EEE5927A7638}"/>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EA6A74D-9ED8-19D6-A2B9-FEAA889D13C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698B3A79-C1F7-5F71-D5A9-0CC83C8D0E0B}"/>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55" name="Rechte verbindingslijn 54">
                    <a:extLst>
                      <a:ext uri="{FF2B5EF4-FFF2-40B4-BE49-F238E27FC236}">
                        <a16:creationId xmlns:a16="http://schemas.microsoft.com/office/drawing/2014/main" id="{4EE3CE9F-13AA-FBBD-B74F-E690C0F07154}"/>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E7AC75CB-1385-0081-A6EE-476D3A8C91EF}"/>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id="{8EDB2AF1-01E4-84B6-E591-7C60D6C0B41B}"/>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2BE38BFD-CF15-99BD-52D7-BAE4792A6D36}"/>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59" name="Rechthoek 58">
                    <a:extLst>
                      <a:ext uri="{FF2B5EF4-FFF2-40B4-BE49-F238E27FC236}">
                        <a16:creationId xmlns:a16="http://schemas.microsoft.com/office/drawing/2014/main" id="{E7C7006E-DA51-74A5-5437-0982DDE60B10}"/>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69B4CA6F-3C30-C9D4-6CDE-69D4FFD5462F}"/>
                      </a:ext>
                    </a:extLst>
                  </p:cNvPr>
                  <p:cNvGrpSpPr/>
                  <p:nvPr userDrawn="1"/>
                </p:nvGrpSpPr>
                <p:grpSpPr>
                  <a:xfrm rot="2700000">
                    <a:off x="-3158000" y="3650045"/>
                    <a:ext cx="34350" cy="147351"/>
                    <a:chOff x="3148392" y="-836646"/>
                    <a:chExt cx="132124" cy="596095"/>
                  </a:xfrm>
                  <a:solidFill>
                    <a:srgbClr val="3399FF"/>
                  </a:solidFill>
                </p:grpSpPr>
                <p:sp>
                  <p:nvSpPr>
                    <p:cNvPr id="61" name="Rechthoek 60">
                      <a:extLst>
                        <a:ext uri="{FF2B5EF4-FFF2-40B4-BE49-F238E27FC236}">
                          <a16:creationId xmlns:a16="http://schemas.microsoft.com/office/drawing/2014/main" id="{7587ED83-F8C0-317C-74C0-4C453F74C910}"/>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62" name="Rechthoek: afgeronde bovenhoeken 61">
                      <a:extLst>
                        <a:ext uri="{FF2B5EF4-FFF2-40B4-BE49-F238E27FC236}">
                          <a16:creationId xmlns:a16="http://schemas.microsoft.com/office/drawing/2014/main" id="{3E5E5670-9461-25A0-4574-183B2CD0C150}"/>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63" name="Gelijkbenige driehoek 62">
                      <a:extLst>
                        <a:ext uri="{FF2B5EF4-FFF2-40B4-BE49-F238E27FC236}">
                          <a16:creationId xmlns:a16="http://schemas.microsoft.com/office/drawing/2014/main" id="{3576B5E2-335E-BDC1-D94D-3AF8C0870FD0}"/>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36" name="Rechthoek 35">
                <a:extLst>
                  <a:ext uri="{FF2B5EF4-FFF2-40B4-BE49-F238E27FC236}">
                    <a16:creationId xmlns:a16="http://schemas.microsoft.com/office/drawing/2014/main" id="{4FD77C49-F4D1-428A-AC10-EB0884CD9787}"/>
                  </a:ext>
                </a:extLst>
              </p:cNvPr>
              <p:cNvSpPr/>
              <p:nvPr userDrawn="1"/>
            </p:nvSpPr>
            <p:spPr>
              <a:xfrm>
                <a:off x="-3786437" y="488792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7" name="ICOON_info">
                <a:extLst>
                  <a:ext uri="{FF2B5EF4-FFF2-40B4-BE49-F238E27FC236}">
                    <a16:creationId xmlns:a16="http://schemas.microsoft.com/office/drawing/2014/main" id="{CFCB81CF-43E1-DC89-ED74-18FE0A4DC5E0}"/>
                  </a:ext>
                </a:extLst>
              </p:cNvPr>
              <p:cNvGrpSpPr/>
              <p:nvPr userDrawn="1"/>
            </p:nvGrpSpPr>
            <p:grpSpPr>
              <a:xfrm>
                <a:off x="-376736" y="4751903"/>
                <a:ext cx="283685" cy="283685"/>
                <a:chOff x="-510741" y="5913713"/>
                <a:chExt cx="267555" cy="267555"/>
              </a:xfrm>
            </p:grpSpPr>
            <p:sp>
              <p:nvSpPr>
                <p:cNvPr id="44" name="Ovaal 43">
                  <a:extLst>
                    <a:ext uri="{FF2B5EF4-FFF2-40B4-BE49-F238E27FC236}">
                      <a16:creationId xmlns:a16="http://schemas.microsoft.com/office/drawing/2014/main" id="{30A42F84-B94C-26E6-D041-B44B25B0672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45" name="Graphic 163" descr="Informatie">
                  <a:extLst>
                    <a:ext uri="{FF2B5EF4-FFF2-40B4-BE49-F238E27FC236}">
                      <a16:creationId xmlns:a16="http://schemas.microsoft.com/office/drawing/2014/main" id="{83D8FACC-EE78-E1C6-AE43-00CAFA0E03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A6078BFE-9F83-C28E-12FD-051E8C5B8010}"/>
                  </a:ext>
                </a:extLst>
              </p:cNvPr>
              <p:cNvGrpSpPr/>
              <p:nvPr userDrawn="1"/>
            </p:nvGrpSpPr>
            <p:grpSpPr>
              <a:xfrm>
                <a:off x="-938434" y="5025298"/>
                <a:ext cx="627798" cy="576693"/>
                <a:chOff x="-938434" y="4570310"/>
                <a:chExt cx="627798" cy="576693"/>
              </a:xfrm>
            </p:grpSpPr>
            <p:grpSp>
              <p:nvGrpSpPr>
                <p:cNvPr id="39" name="Inspireren">
                  <a:extLst>
                    <a:ext uri="{FF2B5EF4-FFF2-40B4-BE49-F238E27FC236}">
                      <a16:creationId xmlns:a16="http://schemas.microsoft.com/office/drawing/2014/main" id="{08B1427C-46F9-6B49-82FD-6E3C66E9516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1" name="Freeform 12">
                    <a:extLst>
                      <a:ext uri="{FF2B5EF4-FFF2-40B4-BE49-F238E27FC236}">
                        <a16:creationId xmlns:a16="http://schemas.microsoft.com/office/drawing/2014/main" id="{3A0FC7A3-3C8E-F597-CF49-D94C6CDABF6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2" name="Freeform 13">
                    <a:extLst>
                      <a:ext uri="{FF2B5EF4-FFF2-40B4-BE49-F238E27FC236}">
                        <a16:creationId xmlns:a16="http://schemas.microsoft.com/office/drawing/2014/main" id="{0AEE7C72-28A1-4329-E2F3-F00C6F02DF8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3" name="Freeform 14">
                    <a:extLst>
                      <a:ext uri="{FF2B5EF4-FFF2-40B4-BE49-F238E27FC236}">
                        <a16:creationId xmlns:a16="http://schemas.microsoft.com/office/drawing/2014/main" id="{A782A2E6-DF24-7E0E-54DA-AE986E4E167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40" name="Tekstvak 39">
                  <a:extLst>
                    <a:ext uri="{FF2B5EF4-FFF2-40B4-BE49-F238E27FC236}">
                      <a16:creationId xmlns:a16="http://schemas.microsoft.com/office/drawing/2014/main" id="{5C85C14F-71FC-0EC9-EC77-F93303E0B75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 name="Groep 8">
              <a:extLst>
                <a:ext uri="{FF2B5EF4-FFF2-40B4-BE49-F238E27FC236}">
                  <a16:creationId xmlns:a16="http://schemas.microsoft.com/office/drawing/2014/main" id="{E0C74600-E0A1-32F6-F13A-80390DBD08F3}"/>
                </a:ext>
              </a:extLst>
            </p:cNvPr>
            <p:cNvGrpSpPr/>
            <p:nvPr userDrawn="1"/>
          </p:nvGrpSpPr>
          <p:grpSpPr>
            <a:xfrm>
              <a:off x="-3786165" y="2"/>
              <a:ext cx="3593091" cy="3041230"/>
              <a:chOff x="-3786165" y="2"/>
              <a:chExt cx="3593091" cy="3041230"/>
            </a:xfrm>
          </p:grpSpPr>
          <p:sp>
            <p:nvSpPr>
              <p:cNvPr id="10" name="Rechthoek 9">
                <a:extLst>
                  <a:ext uri="{FF2B5EF4-FFF2-40B4-BE49-F238E27FC236}">
                    <a16:creationId xmlns:a16="http://schemas.microsoft.com/office/drawing/2014/main" id="{24EC8A38-F574-0E35-63BE-11DF49F4E34C}"/>
                  </a:ext>
                </a:extLst>
              </p:cNvPr>
              <p:cNvSpPr/>
              <p:nvPr userDrawn="1"/>
            </p:nvSpPr>
            <p:spPr>
              <a:xfrm>
                <a:off x="-3786165" y="2"/>
                <a:ext cx="3593091" cy="3041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CHART</a:t>
                </a:r>
              </a:p>
            </p:txBody>
          </p:sp>
          <p:sp>
            <p:nvSpPr>
              <p:cNvPr id="11" name="Ovaal 10">
                <a:extLst>
                  <a:ext uri="{FF2B5EF4-FFF2-40B4-BE49-F238E27FC236}">
                    <a16:creationId xmlns:a16="http://schemas.microsoft.com/office/drawing/2014/main" id="{45A82A4C-DF5D-DAD5-72AA-53FF5FAB9D7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6483ACA4-C62D-91E9-EAC0-5EDA7398955E}"/>
                  </a:ext>
                </a:extLst>
              </p:cNvPr>
              <p:cNvSpPr/>
              <p:nvPr userDrawn="1"/>
            </p:nvSpPr>
            <p:spPr>
              <a:xfrm>
                <a:off x="-3319415" y="465324"/>
                <a:ext cx="2944682" cy="4900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chart, select the preferred part of the chart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526618F2-1324-5E8A-BB71-6664AC1889B7}"/>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E8406F88-F7D9-1EDE-8CE6-BA8D8B59E542}"/>
                  </a:ext>
                </a:extLst>
              </p:cNvPr>
              <p:cNvSpPr/>
              <p:nvPr userDrawn="1"/>
            </p:nvSpPr>
            <p:spPr>
              <a:xfrm>
                <a:off x="-3319415" y="1493636"/>
                <a:ext cx="2944682" cy="65805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You can change the settings of the axes and data series by clicking on them with the right mouse button.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Axi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r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Data Seri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5" name="Groep 14">
                <a:extLst>
                  <a:ext uri="{FF2B5EF4-FFF2-40B4-BE49-F238E27FC236}">
                    <a16:creationId xmlns:a16="http://schemas.microsoft.com/office/drawing/2014/main" id="{62069577-5F1C-3A70-6ACD-A40A9ECBECA0}"/>
                  </a:ext>
                </a:extLst>
              </p:cNvPr>
              <p:cNvGrpSpPr/>
              <p:nvPr userDrawn="1"/>
            </p:nvGrpSpPr>
            <p:grpSpPr>
              <a:xfrm>
                <a:off x="-3312582" y="1060763"/>
                <a:ext cx="576000" cy="246597"/>
                <a:chOff x="-3303310" y="1024128"/>
                <a:chExt cx="576000" cy="246597"/>
              </a:xfrm>
            </p:grpSpPr>
            <p:sp>
              <p:nvSpPr>
                <p:cNvPr id="30" name="Rechthoek 29">
                  <a:extLst>
                    <a:ext uri="{FF2B5EF4-FFF2-40B4-BE49-F238E27FC236}">
                      <a16:creationId xmlns:a16="http://schemas.microsoft.com/office/drawing/2014/main" id="{894F8D05-7113-E8C0-2B1E-FF2E01C3A4B8}"/>
                    </a:ext>
                  </a:extLst>
                </p:cNvPr>
                <p:cNvSpPr/>
                <p:nvPr userDrawn="1"/>
              </p:nvSpPr>
              <p:spPr>
                <a:xfrm>
                  <a:off x="-3303310" y="1024128"/>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31" name="Rechthoek 30">
                  <a:extLst>
                    <a:ext uri="{FF2B5EF4-FFF2-40B4-BE49-F238E27FC236}">
                      <a16:creationId xmlns:a16="http://schemas.microsoft.com/office/drawing/2014/main" id="{82A9E0A3-7689-1860-1E9B-0E50481EA941}"/>
                    </a:ext>
                  </a:extLst>
                </p:cNvPr>
                <p:cNvSpPr/>
                <p:nvPr userDrawn="1"/>
              </p:nvSpPr>
              <p:spPr>
                <a:xfrm>
                  <a:off x="-3303310" y="1243554"/>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EA37E07D-0213-C4CD-69FE-A8048220E7CF}"/>
                  </a:ext>
                </a:extLst>
              </p:cNvPr>
              <p:cNvGrpSpPr/>
              <p:nvPr userDrawn="1"/>
            </p:nvGrpSpPr>
            <p:grpSpPr>
              <a:xfrm>
                <a:off x="-3314821" y="2257494"/>
                <a:ext cx="1377262" cy="591693"/>
                <a:chOff x="-3314821" y="2421532"/>
                <a:chExt cx="1377262" cy="591693"/>
              </a:xfrm>
            </p:grpSpPr>
            <p:sp>
              <p:nvSpPr>
                <p:cNvPr id="17" name="Rechthoek 16">
                  <a:extLst>
                    <a:ext uri="{FF2B5EF4-FFF2-40B4-BE49-F238E27FC236}">
                      <a16:creationId xmlns:a16="http://schemas.microsoft.com/office/drawing/2014/main" id="{FE5D13BD-1999-6110-78C0-D7F82EDB4F64}"/>
                    </a:ext>
                  </a:extLst>
                </p:cNvPr>
                <p:cNvSpPr/>
                <p:nvPr userDrawn="1"/>
              </p:nvSpPr>
              <p:spPr>
                <a:xfrm>
                  <a:off x="-3314821" y="2421532"/>
                  <a:ext cx="1360375"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8" name="Rechthoek 17">
                  <a:extLst>
                    <a:ext uri="{FF2B5EF4-FFF2-40B4-BE49-F238E27FC236}">
                      <a16:creationId xmlns:a16="http://schemas.microsoft.com/office/drawing/2014/main" id="{A01F8DE7-341F-F591-B409-A46B7F9D65A2}"/>
                    </a:ext>
                  </a:extLst>
                </p:cNvPr>
                <p:cNvSpPr/>
                <p:nvPr userDrawn="1"/>
              </p:nvSpPr>
              <p:spPr>
                <a:xfrm>
                  <a:off x="-3304719" y="2675257"/>
                  <a:ext cx="1344885"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9" name="Tekstvak 18">
                  <a:extLst>
                    <a:ext uri="{FF2B5EF4-FFF2-40B4-BE49-F238E27FC236}">
                      <a16:creationId xmlns:a16="http://schemas.microsoft.com/office/drawing/2014/main" id="{A8AAB229-07B8-C7CE-21D7-A6AB1D8F6505}"/>
                    </a:ext>
                  </a:extLst>
                </p:cNvPr>
                <p:cNvSpPr txBox="1"/>
                <p:nvPr userDrawn="1"/>
              </p:nvSpPr>
              <p:spPr>
                <a:xfrm>
                  <a:off x="-3122115" y="2480234"/>
                  <a:ext cx="111600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Add Trendline</a:t>
                  </a:r>
                </a:p>
              </p:txBody>
            </p:sp>
            <p:sp>
              <p:nvSpPr>
                <p:cNvPr id="20" name="Tekstvak 19">
                  <a:extLst>
                    <a:ext uri="{FF2B5EF4-FFF2-40B4-BE49-F238E27FC236}">
                      <a16:creationId xmlns:a16="http://schemas.microsoft.com/office/drawing/2014/main" id="{CBE770A8-AA3B-F19B-BAF3-D092339DA4C0}"/>
                    </a:ext>
                  </a:extLst>
                </p:cNvPr>
                <p:cNvSpPr txBox="1"/>
                <p:nvPr userDrawn="1"/>
              </p:nvSpPr>
              <p:spPr>
                <a:xfrm>
                  <a:off x="-3115841" y="2753263"/>
                  <a:ext cx="1116000" cy="10850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Format Data Series</a:t>
                  </a:r>
                </a:p>
              </p:txBody>
            </p:sp>
            <p:sp>
              <p:nvSpPr>
                <p:cNvPr id="21" name="Vrije vorm: vorm 20">
                  <a:extLst>
                    <a:ext uri="{FF2B5EF4-FFF2-40B4-BE49-F238E27FC236}">
                      <a16:creationId xmlns:a16="http://schemas.microsoft.com/office/drawing/2014/main" id="{4D1992F5-364B-A1AA-BF83-EEA478039BEB}"/>
                    </a:ext>
                  </a:extLst>
                </p:cNvPr>
                <p:cNvSpPr/>
                <p:nvPr userDrawn="1"/>
              </p:nvSpPr>
              <p:spPr>
                <a:xfrm>
                  <a:off x="-2035121" y="2833225"/>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22" name="Groep 21">
                  <a:extLst>
                    <a:ext uri="{FF2B5EF4-FFF2-40B4-BE49-F238E27FC236}">
                      <a16:creationId xmlns:a16="http://schemas.microsoft.com/office/drawing/2014/main" id="{81D43394-7465-F780-625C-2049EF0FBBD2}"/>
                    </a:ext>
                  </a:extLst>
                </p:cNvPr>
                <p:cNvGrpSpPr/>
                <p:nvPr userDrawn="1"/>
              </p:nvGrpSpPr>
              <p:grpSpPr>
                <a:xfrm>
                  <a:off x="-3258488" y="2718400"/>
                  <a:ext cx="225663" cy="229638"/>
                  <a:chOff x="-3258488" y="2713782"/>
                  <a:chExt cx="225663" cy="229638"/>
                </a:xfrm>
              </p:grpSpPr>
              <p:sp>
                <p:nvSpPr>
                  <p:cNvPr id="26" name="Rechthoek 25">
                    <a:extLst>
                      <a:ext uri="{FF2B5EF4-FFF2-40B4-BE49-F238E27FC236}">
                        <a16:creationId xmlns:a16="http://schemas.microsoft.com/office/drawing/2014/main" id="{48686A95-5633-4F92-4103-8B63ADA8D700}"/>
                      </a:ext>
                    </a:extLst>
                  </p:cNvPr>
                  <p:cNvSpPr/>
                  <p:nvPr userDrawn="1"/>
                </p:nvSpPr>
                <p:spPr>
                  <a:xfrm>
                    <a:off x="-3245249" y="2761416"/>
                    <a:ext cx="43200" cy="104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7" name="Rechthoek 26">
                    <a:extLst>
                      <a:ext uri="{FF2B5EF4-FFF2-40B4-BE49-F238E27FC236}">
                        <a16:creationId xmlns:a16="http://schemas.microsoft.com/office/drawing/2014/main" id="{2EED59AE-5793-247D-22EE-99445C5AC390}"/>
                      </a:ext>
                    </a:extLst>
                  </p:cNvPr>
                  <p:cNvSpPr/>
                  <p:nvPr userDrawn="1"/>
                </p:nvSpPr>
                <p:spPr>
                  <a:xfrm>
                    <a:off x="-3199591" y="2713782"/>
                    <a:ext cx="43200" cy="152244"/>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8" name="Rechthoek 27">
                    <a:extLst>
                      <a:ext uri="{FF2B5EF4-FFF2-40B4-BE49-F238E27FC236}">
                        <a16:creationId xmlns:a16="http://schemas.microsoft.com/office/drawing/2014/main" id="{292B9951-969D-2933-55CF-C20C8A85D3B8}"/>
                      </a:ext>
                    </a:extLst>
                  </p:cNvPr>
                  <p:cNvSpPr/>
                  <p:nvPr userDrawn="1"/>
                </p:nvSpPr>
                <p:spPr>
                  <a:xfrm>
                    <a:off x="-3152134" y="2747679"/>
                    <a:ext cx="43200" cy="118347"/>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9" name="Rechthoek 282">
                    <a:extLst>
                      <a:ext uri="{FF2B5EF4-FFF2-40B4-BE49-F238E27FC236}">
                        <a16:creationId xmlns:a16="http://schemas.microsoft.com/office/drawing/2014/main" id="{24A0D8CC-21F9-7BAE-D8E7-F39F888BE809}"/>
                      </a:ext>
                    </a:extLst>
                  </p:cNvPr>
                  <p:cNvSpPr/>
                  <p:nvPr userDrawn="1"/>
                </p:nvSpPr>
                <p:spPr>
                  <a:xfrm rot="19731948">
                    <a:off x="-3258488" y="2796616"/>
                    <a:ext cx="225663" cy="146804"/>
                  </a:xfrm>
                  <a:custGeom>
                    <a:avLst/>
                    <a:gdLst>
                      <a:gd name="connsiteX0" fmla="*/ 0 w 205092"/>
                      <a:gd name="connsiteY0" fmla="*/ 0 h 73844"/>
                      <a:gd name="connsiteX1" fmla="*/ 205092 w 205092"/>
                      <a:gd name="connsiteY1" fmla="*/ 0 h 73844"/>
                      <a:gd name="connsiteX2" fmla="*/ 205092 w 205092"/>
                      <a:gd name="connsiteY2" fmla="*/ 73844 h 73844"/>
                      <a:gd name="connsiteX3" fmla="*/ 0 w 205092"/>
                      <a:gd name="connsiteY3" fmla="*/ 73844 h 73844"/>
                      <a:gd name="connsiteX4" fmla="*/ 0 w 205092"/>
                      <a:gd name="connsiteY4" fmla="*/ 0 h 73844"/>
                      <a:gd name="connsiteX0" fmla="*/ 0 w 205092"/>
                      <a:gd name="connsiteY0" fmla="*/ 0 h 121600"/>
                      <a:gd name="connsiteX1" fmla="*/ 205092 w 205092"/>
                      <a:gd name="connsiteY1" fmla="*/ 0 h 121600"/>
                      <a:gd name="connsiteX2" fmla="*/ 187772 w 205092"/>
                      <a:gd name="connsiteY2" fmla="*/ 121600 h 121600"/>
                      <a:gd name="connsiteX3" fmla="*/ 0 w 205092"/>
                      <a:gd name="connsiteY3" fmla="*/ 73844 h 121600"/>
                      <a:gd name="connsiteX4" fmla="*/ 0 w 205092"/>
                      <a:gd name="connsiteY4" fmla="*/ 0 h 121600"/>
                      <a:gd name="connsiteX0" fmla="*/ 0 w 205092"/>
                      <a:gd name="connsiteY0" fmla="*/ 0 h 121600"/>
                      <a:gd name="connsiteX1" fmla="*/ 205092 w 205092"/>
                      <a:gd name="connsiteY1" fmla="*/ 0 h 121600"/>
                      <a:gd name="connsiteX2" fmla="*/ 187772 w 205092"/>
                      <a:gd name="connsiteY2" fmla="*/ 121600 h 121600"/>
                      <a:gd name="connsiteX3" fmla="*/ 3148 w 205092"/>
                      <a:gd name="connsiteY3" fmla="*/ 65161 h 121600"/>
                      <a:gd name="connsiteX4" fmla="*/ 0 w 205092"/>
                      <a:gd name="connsiteY4" fmla="*/ 0 h 121600"/>
                      <a:gd name="connsiteX0" fmla="*/ 13407 w 218499"/>
                      <a:gd name="connsiteY0" fmla="*/ 0 h 121600"/>
                      <a:gd name="connsiteX1" fmla="*/ 218499 w 218499"/>
                      <a:gd name="connsiteY1" fmla="*/ 0 h 121600"/>
                      <a:gd name="connsiteX2" fmla="*/ 201179 w 218499"/>
                      <a:gd name="connsiteY2" fmla="*/ 121600 h 121600"/>
                      <a:gd name="connsiteX3" fmla="*/ 0 w 218499"/>
                      <a:gd name="connsiteY3" fmla="*/ 38976 h 121600"/>
                      <a:gd name="connsiteX4" fmla="*/ 13407 w 218499"/>
                      <a:gd name="connsiteY4" fmla="*/ 0 h 121600"/>
                      <a:gd name="connsiteX0" fmla="*/ 13407 w 218499"/>
                      <a:gd name="connsiteY0" fmla="*/ 0 h 134944"/>
                      <a:gd name="connsiteX1" fmla="*/ 218499 w 218499"/>
                      <a:gd name="connsiteY1" fmla="*/ 0 h 134944"/>
                      <a:gd name="connsiteX2" fmla="*/ 160746 w 218499"/>
                      <a:gd name="connsiteY2" fmla="*/ 134944 h 134944"/>
                      <a:gd name="connsiteX3" fmla="*/ 0 w 218499"/>
                      <a:gd name="connsiteY3" fmla="*/ 38976 h 134944"/>
                      <a:gd name="connsiteX4" fmla="*/ 13407 w 218499"/>
                      <a:gd name="connsiteY4" fmla="*/ 0 h 134944"/>
                      <a:gd name="connsiteX0" fmla="*/ 13407 w 225663"/>
                      <a:gd name="connsiteY0" fmla="*/ 11860 h 146804"/>
                      <a:gd name="connsiteX1" fmla="*/ 225663 w 225663"/>
                      <a:gd name="connsiteY1" fmla="*/ 0 h 146804"/>
                      <a:gd name="connsiteX2" fmla="*/ 160746 w 225663"/>
                      <a:gd name="connsiteY2" fmla="*/ 146804 h 146804"/>
                      <a:gd name="connsiteX3" fmla="*/ 0 w 225663"/>
                      <a:gd name="connsiteY3" fmla="*/ 50836 h 146804"/>
                      <a:gd name="connsiteX4" fmla="*/ 13407 w 225663"/>
                      <a:gd name="connsiteY4" fmla="*/ 11860 h 14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3" h="146804">
                        <a:moveTo>
                          <a:pt x="13407" y="11860"/>
                        </a:moveTo>
                        <a:lnTo>
                          <a:pt x="225663" y="0"/>
                        </a:lnTo>
                        <a:lnTo>
                          <a:pt x="160746" y="146804"/>
                        </a:lnTo>
                        <a:lnTo>
                          <a:pt x="0" y="50836"/>
                        </a:lnTo>
                        <a:lnTo>
                          <a:pt x="13407" y="11860"/>
                        </a:lnTo>
                        <a:close/>
                      </a:path>
                    </a:pathLst>
                  </a:cu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lvl="0"/>
                    <a:endParaRPr lang="en-GB" sz="1000" b="1" dirty="0" err="1">
                      <a:solidFill>
                        <a:srgbClr val="211F26"/>
                      </a:solidFill>
                      <a:latin typeface="Calibri" panose="020F0502020204030204" pitchFamily="34" charset="0"/>
                      <a:cs typeface="Calibri" panose="020F0502020204030204" pitchFamily="34" charset="0"/>
                    </a:endParaRPr>
                  </a:p>
                </p:txBody>
              </p:sp>
            </p:grpSp>
            <p:grpSp>
              <p:nvGrpSpPr>
                <p:cNvPr id="23" name="Groep 22">
                  <a:extLst>
                    <a:ext uri="{FF2B5EF4-FFF2-40B4-BE49-F238E27FC236}">
                      <a16:creationId xmlns:a16="http://schemas.microsoft.com/office/drawing/2014/main" id="{1C06E203-D7C6-F1DC-D055-C5898F3E8459}"/>
                    </a:ext>
                  </a:extLst>
                </p:cNvPr>
                <p:cNvGrpSpPr/>
                <p:nvPr userDrawn="1"/>
              </p:nvGrpSpPr>
              <p:grpSpPr>
                <a:xfrm>
                  <a:off x="-3219980" y="2771792"/>
                  <a:ext cx="140241" cy="116552"/>
                  <a:chOff x="-2608640" y="2891109"/>
                  <a:chExt cx="309118" cy="261993"/>
                </a:xfrm>
              </p:grpSpPr>
              <p:sp>
                <p:nvSpPr>
                  <p:cNvPr id="24" name="Vrije vorm: vorm 23">
                    <a:extLst>
                      <a:ext uri="{FF2B5EF4-FFF2-40B4-BE49-F238E27FC236}">
                        <a16:creationId xmlns:a16="http://schemas.microsoft.com/office/drawing/2014/main" id="{48E01D86-B451-04DD-0A0E-70FC18279310}"/>
                      </a:ext>
                    </a:extLst>
                  </p:cNvPr>
                  <p:cNvSpPr/>
                  <p:nvPr userDrawn="1"/>
                </p:nvSpPr>
                <p:spPr>
                  <a:xfrm rot="513866">
                    <a:off x="-2465317" y="2891109"/>
                    <a:ext cx="165795" cy="200435"/>
                  </a:xfrm>
                  <a:custGeom>
                    <a:avLst/>
                    <a:gdLst>
                      <a:gd name="connsiteX0" fmla="*/ 0 w 147782"/>
                      <a:gd name="connsiteY0" fmla="*/ 184728 h 221673"/>
                      <a:gd name="connsiteX1" fmla="*/ 147782 w 147782"/>
                      <a:gd name="connsiteY1" fmla="*/ 0 h 221673"/>
                      <a:gd name="connsiteX2" fmla="*/ 92363 w 147782"/>
                      <a:gd name="connsiteY2" fmla="*/ 221673 h 221673"/>
                      <a:gd name="connsiteX3" fmla="*/ 0 w 147782"/>
                      <a:gd name="connsiteY3" fmla="*/ 184728 h 221673"/>
                      <a:gd name="connsiteX0" fmla="*/ 0 w 180109"/>
                      <a:gd name="connsiteY0" fmla="*/ 166255 h 203200"/>
                      <a:gd name="connsiteX1" fmla="*/ 180109 w 180109"/>
                      <a:gd name="connsiteY1" fmla="*/ 0 h 203200"/>
                      <a:gd name="connsiteX2" fmla="*/ 92363 w 180109"/>
                      <a:gd name="connsiteY2" fmla="*/ 203200 h 203200"/>
                      <a:gd name="connsiteX3" fmla="*/ 0 w 180109"/>
                      <a:gd name="connsiteY3" fmla="*/ 166255 h 203200"/>
                      <a:gd name="connsiteX0" fmla="*/ 0 w 182213"/>
                      <a:gd name="connsiteY0" fmla="*/ 166453 h 203398"/>
                      <a:gd name="connsiteX1" fmla="*/ 180109 w 182213"/>
                      <a:gd name="connsiteY1" fmla="*/ 198 h 203398"/>
                      <a:gd name="connsiteX2" fmla="*/ 92363 w 182213"/>
                      <a:gd name="connsiteY2" fmla="*/ 203398 h 203398"/>
                      <a:gd name="connsiteX3" fmla="*/ 0 w 182213"/>
                      <a:gd name="connsiteY3" fmla="*/ 166453 h 203398"/>
                      <a:gd name="connsiteX0" fmla="*/ 0 w 186034"/>
                      <a:gd name="connsiteY0" fmla="*/ 168058 h 205003"/>
                      <a:gd name="connsiteX1" fmla="*/ 180109 w 186034"/>
                      <a:gd name="connsiteY1" fmla="*/ 1803 h 205003"/>
                      <a:gd name="connsiteX2" fmla="*/ 92363 w 186034"/>
                      <a:gd name="connsiteY2" fmla="*/ 205003 h 205003"/>
                      <a:gd name="connsiteX3" fmla="*/ 0 w 186034"/>
                      <a:gd name="connsiteY3" fmla="*/ 168058 h 205003"/>
                      <a:gd name="connsiteX0" fmla="*/ 0 w 163074"/>
                      <a:gd name="connsiteY0" fmla="*/ 161895 h 203458"/>
                      <a:gd name="connsiteX1" fmla="*/ 161637 w 163074"/>
                      <a:gd name="connsiteY1" fmla="*/ 258 h 203458"/>
                      <a:gd name="connsiteX2" fmla="*/ 73891 w 163074"/>
                      <a:gd name="connsiteY2" fmla="*/ 203458 h 203458"/>
                      <a:gd name="connsiteX3" fmla="*/ 0 w 163074"/>
                      <a:gd name="connsiteY3" fmla="*/ 161895 h 203458"/>
                      <a:gd name="connsiteX0" fmla="*/ 0 w 162654"/>
                      <a:gd name="connsiteY0" fmla="*/ 161843 h 198788"/>
                      <a:gd name="connsiteX1" fmla="*/ 161637 w 162654"/>
                      <a:gd name="connsiteY1" fmla="*/ 206 h 198788"/>
                      <a:gd name="connsiteX2" fmla="*/ 64654 w 162654"/>
                      <a:gd name="connsiteY2" fmla="*/ 198788 h 198788"/>
                      <a:gd name="connsiteX3" fmla="*/ 0 w 162654"/>
                      <a:gd name="connsiteY3" fmla="*/ 161843 h 198788"/>
                      <a:gd name="connsiteX0" fmla="*/ 0 w 165794"/>
                      <a:gd name="connsiteY0" fmla="*/ 163491 h 200436"/>
                      <a:gd name="connsiteX1" fmla="*/ 161637 w 165794"/>
                      <a:gd name="connsiteY1" fmla="*/ 1854 h 200436"/>
                      <a:gd name="connsiteX2" fmla="*/ 64654 w 165794"/>
                      <a:gd name="connsiteY2" fmla="*/ 200436 h 200436"/>
                      <a:gd name="connsiteX3" fmla="*/ 0 w 165794"/>
                      <a:gd name="connsiteY3" fmla="*/ 163491 h 200436"/>
                    </a:gdLst>
                    <a:ahLst/>
                    <a:cxnLst>
                      <a:cxn ang="0">
                        <a:pos x="connsiteX0" y="connsiteY0"/>
                      </a:cxn>
                      <a:cxn ang="0">
                        <a:pos x="connsiteX1" y="connsiteY1"/>
                      </a:cxn>
                      <a:cxn ang="0">
                        <a:pos x="connsiteX2" y="connsiteY2"/>
                      </a:cxn>
                      <a:cxn ang="0">
                        <a:pos x="connsiteX3" y="connsiteY3"/>
                      </a:cxn>
                    </a:cxnLst>
                    <a:rect l="l" t="t" r="r" b="b"/>
                    <a:pathLst>
                      <a:path w="165794" h="200436">
                        <a:moveTo>
                          <a:pt x="0" y="163491"/>
                        </a:moveTo>
                        <a:cubicBezTo>
                          <a:pt x="14624" y="129624"/>
                          <a:pt x="137006" y="-18157"/>
                          <a:pt x="161637" y="1854"/>
                        </a:cubicBezTo>
                        <a:cubicBezTo>
                          <a:pt x="186268" y="21865"/>
                          <a:pt x="94672" y="172727"/>
                          <a:pt x="64654" y="200436"/>
                        </a:cubicBezTo>
                        <a:lnTo>
                          <a:pt x="0" y="163491"/>
                        </a:lnTo>
                        <a:close/>
                      </a:path>
                    </a:pathLst>
                  </a:custGeom>
                  <a:solidFill>
                    <a:srgbClr val="FFFFFF"/>
                  </a:solidFill>
                  <a:ln w="9525">
                    <a:solidFill>
                      <a:srgbClr val="3F3E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sp>
                <p:nvSpPr>
                  <p:cNvPr id="25" name="Vrije vorm: vorm 24">
                    <a:extLst>
                      <a:ext uri="{FF2B5EF4-FFF2-40B4-BE49-F238E27FC236}">
                        <a16:creationId xmlns:a16="http://schemas.microsoft.com/office/drawing/2014/main" id="{7924C626-1261-4B06-A851-7075F28E6DFD}"/>
                      </a:ext>
                    </a:extLst>
                  </p:cNvPr>
                  <p:cNvSpPr/>
                  <p:nvPr userDrawn="1"/>
                </p:nvSpPr>
                <p:spPr>
                  <a:xfrm rot="513866">
                    <a:off x="-2608640" y="3034770"/>
                    <a:ext cx="207309" cy="118332"/>
                  </a:xfrm>
                  <a:custGeom>
                    <a:avLst/>
                    <a:gdLst>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46181 w 138545"/>
                      <a:gd name="connsiteY4" fmla="*/ 41564 h 87746"/>
                      <a:gd name="connsiteX5" fmla="*/ 0 w 138545"/>
                      <a:gd name="connsiteY5"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8052"/>
                      <a:gd name="connsiteX1" fmla="*/ 73891 w 138545"/>
                      <a:gd name="connsiteY1" fmla="*/ 87746 h 88052"/>
                      <a:gd name="connsiteX2" fmla="*/ 138545 w 138545"/>
                      <a:gd name="connsiteY2" fmla="*/ 27709 h 88052"/>
                      <a:gd name="connsiteX3" fmla="*/ 96981 w 138545"/>
                      <a:gd name="connsiteY3" fmla="*/ 0 h 88052"/>
                      <a:gd name="connsiteX4" fmla="*/ 0 w 138545"/>
                      <a:gd name="connsiteY4" fmla="*/ 78509 h 88052"/>
                      <a:gd name="connsiteX0" fmla="*/ 188 w 138733"/>
                      <a:gd name="connsiteY0" fmla="*/ 78509 h 97514"/>
                      <a:gd name="connsiteX1" fmla="*/ 74079 w 138733"/>
                      <a:gd name="connsiteY1" fmla="*/ 87746 h 97514"/>
                      <a:gd name="connsiteX2" fmla="*/ 138733 w 138733"/>
                      <a:gd name="connsiteY2" fmla="*/ 27709 h 97514"/>
                      <a:gd name="connsiteX3" fmla="*/ 97169 w 138733"/>
                      <a:gd name="connsiteY3" fmla="*/ 0 h 97514"/>
                      <a:gd name="connsiteX4" fmla="*/ 188 w 138733"/>
                      <a:gd name="connsiteY4" fmla="*/ 78509 h 97514"/>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9150"/>
                      <a:gd name="connsiteY0" fmla="*/ 78509 h 91707"/>
                      <a:gd name="connsiteX1" fmla="*/ 74058 w 139150"/>
                      <a:gd name="connsiteY1" fmla="*/ 87746 h 91707"/>
                      <a:gd name="connsiteX2" fmla="*/ 138712 w 139150"/>
                      <a:gd name="connsiteY2" fmla="*/ 27709 h 91707"/>
                      <a:gd name="connsiteX3" fmla="*/ 97148 w 139150"/>
                      <a:gd name="connsiteY3" fmla="*/ 0 h 91707"/>
                      <a:gd name="connsiteX4" fmla="*/ 167 w 139150"/>
                      <a:gd name="connsiteY4" fmla="*/ 78509 h 91707"/>
                      <a:gd name="connsiteX0" fmla="*/ 167 w 139150"/>
                      <a:gd name="connsiteY0" fmla="*/ 87626 h 100824"/>
                      <a:gd name="connsiteX1" fmla="*/ 74058 w 139150"/>
                      <a:gd name="connsiteY1" fmla="*/ 96863 h 100824"/>
                      <a:gd name="connsiteX2" fmla="*/ 138712 w 139150"/>
                      <a:gd name="connsiteY2" fmla="*/ 36826 h 100824"/>
                      <a:gd name="connsiteX3" fmla="*/ 97148 w 139150"/>
                      <a:gd name="connsiteY3" fmla="*/ 9117 h 100824"/>
                      <a:gd name="connsiteX4" fmla="*/ 167 w 139150"/>
                      <a:gd name="connsiteY4" fmla="*/ 87626 h 100824"/>
                      <a:gd name="connsiteX0" fmla="*/ 167 w 139150"/>
                      <a:gd name="connsiteY0" fmla="*/ 79509 h 92707"/>
                      <a:gd name="connsiteX1" fmla="*/ 74058 w 139150"/>
                      <a:gd name="connsiteY1" fmla="*/ 88746 h 92707"/>
                      <a:gd name="connsiteX2" fmla="*/ 138712 w 139150"/>
                      <a:gd name="connsiteY2" fmla="*/ 28709 h 92707"/>
                      <a:gd name="connsiteX3" fmla="*/ 97148 w 139150"/>
                      <a:gd name="connsiteY3" fmla="*/ 1000 h 92707"/>
                      <a:gd name="connsiteX4" fmla="*/ 167 w 139150"/>
                      <a:gd name="connsiteY4" fmla="*/ 79509 h 92707"/>
                      <a:gd name="connsiteX0" fmla="*/ 167 w 138974"/>
                      <a:gd name="connsiteY0" fmla="*/ 71888 h 85086"/>
                      <a:gd name="connsiteX1" fmla="*/ 74058 w 138974"/>
                      <a:gd name="connsiteY1" fmla="*/ 81125 h 85086"/>
                      <a:gd name="connsiteX2" fmla="*/ 138712 w 138974"/>
                      <a:gd name="connsiteY2" fmla="*/ 21088 h 85086"/>
                      <a:gd name="connsiteX3" fmla="*/ 91899 w 138974"/>
                      <a:gd name="connsiteY3" fmla="*/ 1252 h 85086"/>
                      <a:gd name="connsiteX4" fmla="*/ 167 w 138974"/>
                      <a:gd name="connsiteY4" fmla="*/ 71888 h 85086"/>
                      <a:gd name="connsiteX0" fmla="*/ 278 w 118032"/>
                      <a:gd name="connsiteY0" fmla="*/ 56375 h 82581"/>
                      <a:gd name="connsiteX1" fmla="*/ 53174 w 118032"/>
                      <a:gd name="connsiteY1" fmla="*/ 81359 h 82581"/>
                      <a:gd name="connsiteX2" fmla="*/ 117828 w 118032"/>
                      <a:gd name="connsiteY2" fmla="*/ 21322 h 82581"/>
                      <a:gd name="connsiteX3" fmla="*/ 71015 w 118032"/>
                      <a:gd name="connsiteY3" fmla="*/ 1486 h 82581"/>
                      <a:gd name="connsiteX4" fmla="*/ 278 w 118032"/>
                      <a:gd name="connsiteY4" fmla="*/ 56375 h 82581"/>
                      <a:gd name="connsiteX0" fmla="*/ 220 w 117808"/>
                      <a:gd name="connsiteY0" fmla="*/ 56172 h 67245"/>
                      <a:gd name="connsiteX1" fmla="*/ 63614 w 117808"/>
                      <a:gd name="connsiteY1" fmla="*/ 62785 h 67245"/>
                      <a:gd name="connsiteX2" fmla="*/ 117770 w 117808"/>
                      <a:gd name="connsiteY2" fmla="*/ 21119 h 67245"/>
                      <a:gd name="connsiteX3" fmla="*/ 70957 w 117808"/>
                      <a:gd name="connsiteY3" fmla="*/ 1283 h 67245"/>
                      <a:gd name="connsiteX4" fmla="*/ 220 w 117808"/>
                      <a:gd name="connsiteY4" fmla="*/ 56172 h 6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08" h="67245">
                        <a:moveTo>
                          <a:pt x="220" y="56172"/>
                        </a:moveTo>
                        <a:cubicBezTo>
                          <a:pt x="-3628" y="70796"/>
                          <a:pt x="44022" y="68627"/>
                          <a:pt x="63614" y="62785"/>
                        </a:cubicBezTo>
                        <a:cubicBezTo>
                          <a:pt x="83206" y="56943"/>
                          <a:pt x="116546" y="31369"/>
                          <a:pt x="117770" y="21119"/>
                        </a:cubicBezTo>
                        <a:cubicBezTo>
                          <a:pt x="118994" y="10869"/>
                          <a:pt x="90549" y="-4559"/>
                          <a:pt x="70957" y="1283"/>
                        </a:cubicBezTo>
                        <a:cubicBezTo>
                          <a:pt x="51365" y="7125"/>
                          <a:pt x="61415" y="48373"/>
                          <a:pt x="220" y="56172"/>
                        </a:cubicBezTo>
                        <a:close/>
                      </a:path>
                    </a:pathLst>
                  </a:custGeom>
                  <a:solidFill>
                    <a:srgbClr val="8AC3EF"/>
                  </a:solidFill>
                  <a:ln w="9525">
                    <a:solidFill>
                      <a:srgbClr val="307E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grpSp>
        </p:grpSp>
      </p:grpSp>
    </p:spTree>
    <p:extLst>
      <p:ext uri="{BB962C8B-B14F-4D97-AF65-F5344CB8AC3E}">
        <p14:creationId xmlns:p14="http://schemas.microsoft.com/office/powerpoint/2010/main" val="349663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table">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EE88B6D-7143-4386-BA0D-08FD41A1EEB7}"/>
              </a:ext>
            </a:extLst>
          </p:cNvPr>
          <p:cNvSpPr>
            <a:spLocks/>
          </p:cNvSpPr>
          <p:nvPr userDrawn="1"/>
        </p:nvSpPr>
        <p:spPr>
          <a:xfrm>
            <a:off x="0" y="0"/>
            <a:ext cx="53746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718666" y="722455"/>
            <a:ext cx="3937333" cy="322156"/>
          </a:xfrm>
        </p:spPr>
        <p:txBody>
          <a:bodyPr/>
          <a:lstStyle>
            <a:lvl1pPr>
              <a:defRPr>
                <a:solidFill>
                  <a:schemeClr val="tx2"/>
                </a:solidFill>
              </a:defRPr>
            </a:lvl1pPr>
          </a:lstStyle>
          <a:p>
            <a:r>
              <a:rPr lang="en-GB" noProof="0" dirty="0"/>
              <a:t>Title goes here</a:t>
            </a:r>
          </a:p>
        </p:txBody>
      </p:sp>
      <p:sp>
        <p:nvSpPr>
          <p:cNvPr id="8" name="Rechthoek 7">
            <a:extLst>
              <a:ext uri="{FF2B5EF4-FFF2-40B4-BE49-F238E27FC236}">
                <a16:creationId xmlns:a16="http://schemas.microsoft.com/office/drawing/2014/main" id="{47FABFDC-C1CE-40A8-B8C0-2D4AF73C1297}"/>
              </a:ext>
            </a:extLst>
          </p:cNvPr>
          <p:cNvSpPr/>
          <p:nvPr userDrawn="1"/>
        </p:nvSpPr>
        <p:spPr>
          <a:xfrm>
            <a:off x="0" y="-441330"/>
            <a:ext cx="125887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table</a:t>
            </a:r>
          </a:p>
        </p:txBody>
      </p:sp>
      <p:sp>
        <p:nvSpPr>
          <p:cNvPr id="3" name="Tijdelijke aanduiding voor datum 2">
            <a:extLst>
              <a:ext uri="{FF2B5EF4-FFF2-40B4-BE49-F238E27FC236}">
                <a16:creationId xmlns:a16="http://schemas.microsoft.com/office/drawing/2014/main" id="{EDE8389D-5D11-4D45-B4A3-64DB64DBE22B}"/>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D0153074-F70B-4B82-96FF-348823D4B9B8}"/>
              </a:ext>
            </a:extLst>
          </p:cNvPr>
          <p:cNvSpPr>
            <a:spLocks noGrp="1"/>
          </p:cNvSpPr>
          <p:nvPr>
            <p:ph type="sldNum" sz="quarter" idx="16"/>
          </p:nvPr>
        </p:nvSpPr>
        <p:spPr/>
        <p:txBody>
          <a:bodyPr/>
          <a:lstStyle/>
          <a:p>
            <a:fld id="{9E843DB9-9987-4157-AB9C-CEA8D7D910BB}" type="slidenum">
              <a:rPr lang="en-GB" smtClean="0"/>
              <a:pPr/>
              <a:t>‹#›</a:t>
            </a:fld>
            <a:endParaRPr lang="en-GB" dirty="0"/>
          </a:p>
        </p:txBody>
      </p:sp>
      <p:sp>
        <p:nvSpPr>
          <p:cNvPr id="7" name="Tijdelijke aanduiding voor verticale tekst 2">
            <a:extLst>
              <a:ext uri="{FF2B5EF4-FFF2-40B4-BE49-F238E27FC236}">
                <a16:creationId xmlns:a16="http://schemas.microsoft.com/office/drawing/2014/main" id="{4BAC3E69-ABB1-C907-B9D7-5DFA7221ABF5}"/>
              </a:ext>
            </a:extLst>
          </p:cNvPr>
          <p:cNvSpPr>
            <a:spLocks noGrp="1"/>
          </p:cNvSpPr>
          <p:nvPr>
            <p:ph type="body" orient="vert" idx="1" hasCustomPrompt="1"/>
          </p:nvPr>
        </p:nvSpPr>
        <p:spPr>
          <a:xfrm>
            <a:off x="718666" y="1569104"/>
            <a:ext cx="3937333"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0" name="Groep 9">
            <a:extLst>
              <a:ext uri="{FF2B5EF4-FFF2-40B4-BE49-F238E27FC236}">
                <a16:creationId xmlns:a16="http://schemas.microsoft.com/office/drawing/2014/main" id="{56D01710-570D-A6AD-85CD-4A7D6F5AF72A}"/>
              </a:ext>
            </a:extLst>
          </p:cNvPr>
          <p:cNvGrpSpPr>
            <a:grpSpLocks noGrp="1" noUngrp="1" noRot="1" noMove="1" noResize="1"/>
          </p:cNvGrpSpPr>
          <p:nvPr userDrawn="1"/>
        </p:nvGrpSpPr>
        <p:grpSpPr>
          <a:xfrm>
            <a:off x="721079" y="6216736"/>
            <a:ext cx="961200" cy="381600"/>
            <a:chOff x="2807303" y="2354764"/>
            <a:chExt cx="944974" cy="368527"/>
          </a:xfrm>
          <a:solidFill>
            <a:schemeClr val="bg1"/>
          </a:solidFill>
        </p:grpSpPr>
        <p:sp>
          <p:nvSpPr>
            <p:cNvPr id="11" name="Vrije vorm: vorm 10">
              <a:extLst>
                <a:ext uri="{FF2B5EF4-FFF2-40B4-BE49-F238E27FC236}">
                  <a16:creationId xmlns:a16="http://schemas.microsoft.com/office/drawing/2014/main" id="{AF7B0112-A1E8-4C7E-1384-3C29FF3CFE6E}"/>
                </a:ext>
              </a:extLst>
            </p:cNvPr>
            <p:cNvSpPr>
              <a:spLocks noGrp="1" noRot="1" noMove="1" noResize="1" noEditPoints="1" noAdjustHandles="1" noChangeArrowheads="1" noChangeShapeType="1"/>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318E13D-0E3A-A9B5-D897-3F3631C31423}"/>
                </a:ext>
              </a:extLst>
            </p:cNvPr>
            <p:cNvSpPr>
              <a:spLocks noGrp="1" noRot="1" noMove="1" noResize="1" noEditPoints="1" noAdjustHandles="1" noChangeArrowheads="1" noChangeShapeType="1"/>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9B6F2C4-B2C2-63A6-625D-6345DAC27823}"/>
                </a:ext>
              </a:extLst>
            </p:cNvPr>
            <p:cNvSpPr>
              <a:spLocks noGrp="1" noRot="1" noMove="1" noResize="1" noEditPoints="1" noAdjustHandles="1" noChangeArrowheads="1" noChangeShapeType="1"/>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B788DDB6-EF97-F727-5009-6E0903065CE2}"/>
                </a:ext>
              </a:extLst>
            </p:cNvPr>
            <p:cNvSpPr>
              <a:spLocks noGrp="1" noRot="1" noMove="1" noResize="1" noEditPoints="1" noAdjustHandles="1" noChangeArrowheads="1" noChangeShapeType="1"/>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94FA6C1F-C8CB-57A9-5C49-001F6E8FF855}"/>
                </a:ext>
              </a:extLst>
            </p:cNvPr>
            <p:cNvSpPr>
              <a:spLocks noGrp="1" noRot="1" noMove="1" noResize="1" noEditPoints="1" noAdjustHandles="1" noChangeArrowheads="1" noChangeShapeType="1"/>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16A3CDC8-B743-992B-27EF-E6404DA86E2E}"/>
                </a:ext>
              </a:extLst>
            </p:cNvPr>
            <p:cNvSpPr>
              <a:spLocks noGrp="1" noRot="1" noMove="1" noResize="1" noEditPoints="1" noAdjustHandles="1" noChangeArrowheads="1" noChangeShapeType="1"/>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88E32565-559D-E724-512C-6994CD123156}"/>
                </a:ext>
              </a:extLst>
            </p:cNvPr>
            <p:cNvSpPr>
              <a:spLocks noGrp="1" noRot="1" noMove="1" noResize="1" noEditPoints="1" noAdjustHandles="1" noChangeArrowheads="1" noChangeShapeType="1"/>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E2808C1-607A-8070-888F-F8F44C353592}"/>
                </a:ext>
              </a:extLst>
            </p:cNvPr>
            <p:cNvSpPr>
              <a:spLocks noGrp="1" noRot="1" noMove="1" noResize="1" noEditPoints="1" noAdjustHandles="1" noChangeArrowheads="1" noChangeShapeType="1"/>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 name="Tijdelijke aanduiding voor tabel 16">
            <a:extLst>
              <a:ext uri="{FF2B5EF4-FFF2-40B4-BE49-F238E27FC236}">
                <a16:creationId xmlns:a16="http://schemas.microsoft.com/office/drawing/2014/main" id="{72892D3B-022F-0A60-07A2-9240602D7C10}"/>
              </a:ext>
            </a:extLst>
          </p:cNvPr>
          <p:cNvSpPr>
            <a:spLocks noGrp="1"/>
          </p:cNvSpPr>
          <p:nvPr>
            <p:ph type="tbl" sz="quarter" idx="17" hasCustomPrompt="1"/>
          </p:nvPr>
        </p:nvSpPr>
        <p:spPr>
          <a:xfrm>
            <a:off x="6090330" y="719139"/>
            <a:ext cx="5378669" cy="5281612"/>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table</a:t>
            </a:r>
          </a:p>
        </p:txBody>
      </p:sp>
      <p:grpSp>
        <p:nvGrpSpPr>
          <p:cNvPr id="9" name="INSTRUCTION">
            <a:extLst>
              <a:ext uri="{FF2B5EF4-FFF2-40B4-BE49-F238E27FC236}">
                <a16:creationId xmlns:a16="http://schemas.microsoft.com/office/drawing/2014/main" id="{E4A8B664-E285-146B-425F-966F0C83FFD5}"/>
              </a:ext>
            </a:extLst>
          </p:cNvPr>
          <p:cNvGrpSpPr/>
          <p:nvPr userDrawn="1"/>
        </p:nvGrpSpPr>
        <p:grpSpPr>
          <a:xfrm>
            <a:off x="12377323" y="-12068"/>
            <a:ext cx="3693386" cy="6705423"/>
            <a:chOff x="-3786437" y="-12068"/>
            <a:chExt cx="3693386" cy="6705423"/>
          </a:xfrm>
        </p:grpSpPr>
        <p:grpSp>
          <p:nvGrpSpPr>
            <p:cNvPr id="18" name="Groep 17">
              <a:extLst>
                <a:ext uri="{FF2B5EF4-FFF2-40B4-BE49-F238E27FC236}">
                  <a16:creationId xmlns:a16="http://schemas.microsoft.com/office/drawing/2014/main" id="{0FA06D8B-28EB-C4A2-7FC9-5876F11318F7}"/>
                </a:ext>
              </a:extLst>
            </p:cNvPr>
            <p:cNvGrpSpPr/>
            <p:nvPr userDrawn="1"/>
          </p:nvGrpSpPr>
          <p:grpSpPr>
            <a:xfrm>
              <a:off x="-3784148" y="-12068"/>
              <a:ext cx="3592800" cy="3238700"/>
              <a:chOff x="-3784148" y="-12068"/>
              <a:chExt cx="3592800" cy="3238700"/>
            </a:xfrm>
          </p:grpSpPr>
          <p:sp>
            <p:nvSpPr>
              <p:cNvPr id="91" name="Rechthoek 90">
                <a:extLst>
                  <a:ext uri="{FF2B5EF4-FFF2-40B4-BE49-F238E27FC236}">
                    <a16:creationId xmlns:a16="http://schemas.microsoft.com/office/drawing/2014/main" id="{84A9A109-5F2F-76CD-D36C-1BFF992DC99A}"/>
                  </a:ext>
                </a:extLst>
              </p:cNvPr>
              <p:cNvSpPr/>
              <p:nvPr userDrawn="1"/>
            </p:nvSpPr>
            <p:spPr>
              <a:xfrm>
                <a:off x="-3784148" y="-12068"/>
                <a:ext cx="3592800" cy="32387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Table</a:t>
                </a:r>
              </a:p>
            </p:txBody>
          </p:sp>
          <p:sp>
            <p:nvSpPr>
              <p:cNvPr id="92" name="Ovaal 91">
                <a:extLst>
                  <a:ext uri="{FF2B5EF4-FFF2-40B4-BE49-F238E27FC236}">
                    <a16:creationId xmlns:a16="http://schemas.microsoft.com/office/drawing/2014/main" id="{4A6BDC20-7889-A1EC-7305-2B1594DB617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3" name="Rechthoek 92">
                <a:extLst>
                  <a:ext uri="{FF2B5EF4-FFF2-40B4-BE49-F238E27FC236}">
                    <a16:creationId xmlns:a16="http://schemas.microsoft.com/office/drawing/2014/main" id="{367B6AC6-B827-E374-851C-C2149579E8A6}"/>
                  </a:ext>
                </a:extLst>
              </p:cNvPr>
              <p:cNvSpPr/>
              <p:nvPr userDrawn="1"/>
            </p:nvSpPr>
            <p:spPr>
              <a:xfrm>
                <a:off x="-3319415" y="465324"/>
                <a:ext cx="2944682" cy="49950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table, select the preferred part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94" name="Groep 93">
                <a:extLst>
                  <a:ext uri="{FF2B5EF4-FFF2-40B4-BE49-F238E27FC236}">
                    <a16:creationId xmlns:a16="http://schemas.microsoft.com/office/drawing/2014/main" id="{DB62565E-E81A-6271-2420-4C8B9979EFAB}"/>
                  </a:ext>
                </a:extLst>
              </p:cNvPr>
              <p:cNvGrpSpPr/>
              <p:nvPr userDrawn="1"/>
            </p:nvGrpSpPr>
            <p:grpSpPr>
              <a:xfrm>
                <a:off x="-3312582" y="1060763"/>
                <a:ext cx="576000" cy="246597"/>
                <a:chOff x="-3312582" y="1060763"/>
                <a:chExt cx="576000" cy="246597"/>
              </a:xfrm>
            </p:grpSpPr>
            <p:sp>
              <p:nvSpPr>
                <p:cNvPr id="113" name="Rechthoek 112">
                  <a:extLst>
                    <a:ext uri="{FF2B5EF4-FFF2-40B4-BE49-F238E27FC236}">
                      <a16:creationId xmlns:a16="http://schemas.microsoft.com/office/drawing/2014/main" id="{F9D2B0F2-35AC-B27C-331A-AA4EA7AE3531}"/>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114" name="Rechthoek 113">
                  <a:extLst>
                    <a:ext uri="{FF2B5EF4-FFF2-40B4-BE49-F238E27FC236}">
                      <a16:creationId xmlns:a16="http://schemas.microsoft.com/office/drawing/2014/main" id="{A1207CCE-D23C-61D2-3557-384CE4F16353}"/>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40F6B4BE-7517-FB8C-6454-2D97BAC074CC}"/>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DD4170F0-3993-7307-5F52-9FC24CE5C979}"/>
                  </a:ext>
                </a:extLst>
              </p:cNvPr>
              <p:cNvSpPr/>
              <p:nvPr userDrawn="1"/>
            </p:nvSpPr>
            <p:spPr>
              <a:xfrm>
                <a:off x="-3319415" y="1493636"/>
                <a:ext cx="2944682" cy="81348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is tab you can choose a different fill colou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ding’</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choose a border format as well. Find and edit this 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aw borders’ </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apply this to the table by clicking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orders’.</a:t>
                </a:r>
              </a:p>
            </p:txBody>
          </p:sp>
          <p:grpSp>
            <p:nvGrpSpPr>
              <p:cNvPr id="97" name="Groep 96">
                <a:extLst>
                  <a:ext uri="{FF2B5EF4-FFF2-40B4-BE49-F238E27FC236}">
                    <a16:creationId xmlns:a16="http://schemas.microsoft.com/office/drawing/2014/main" id="{3B18104F-8646-CB9E-54F5-66A829E2ADAA}"/>
                  </a:ext>
                </a:extLst>
              </p:cNvPr>
              <p:cNvGrpSpPr/>
              <p:nvPr userDrawn="1"/>
            </p:nvGrpSpPr>
            <p:grpSpPr>
              <a:xfrm>
                <a:off x="-3314820" y="2412753"/>
                <a:ext cx="1026864" cy="628849"/>
                <a:chOff x="-3314820" y="2412753"/>
                <a:chExt cx="1026864" cy="628849"/>
              </a:xfrm>
            </p:grpSpPr>
            <p:sp>
              <p:nvSpPr>
                <p:cNvPr id="98" name="Rechthoek 97">
                  <a:extLst>
                    <a:ext uri="{FF2B5EF4-FFF2-40B4-BE49-F238E27FC236}">
                      <a16:creationId xmlns:a16="http://schemas.microsoft.com/office/drawing/2014/main" id="{2F0BBF4F-B470-85AF-31D6-9F27F1894A9E}"/>
                    </a:ext>
                  </a:extLst>
                </p:cNvPr>
                <p:cNvSpPr/>
                <p:nvPr userDrawn="1"/>
              </p:nvSpPr>
              <p:spPr>
                <a:xfrm>
                  <a:off x="-3314820" y="2412753"/>
                  <a:ext cx="998435" cy="531042"/>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21AB1B09-F471-C843-91C1-B1500A66C13C}"/>
                    </a:ext>
                  </a:extLst>
                </p:cNvPr>
                <p:cNvSpPr/>
                <p:nvPr userDrawn="1"/>
              </p:nvSpPr>
              <p:spPr>
                <a:xfrm>
                  <a:off x="-3304719" y="2684815"/>
                  <a:ext cx="982999" cy="254009"/>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0" name="Tekstvak 99">
                  <a:extLst>
                    <a:ext uri="{FF2B5EF4-FFF2-40B4-BE49-F238E27FC236}">
                      <a16:creationId xmlns:a16="http://schemas.microsoft.com/office/drawing/2014/main" id="{38D6C6D5-7AA8-E2CF-AC8F-3683E366C96C}"/>
                    </a:ext>
                  </a:extLst>
                </p:cNvPr>
                <p:cNvSpPr txBox="1"/>
                <p:nvPr userDrawn="1"/>
              </p:nvSpPr>
              <p:spPr>
                <a:xfrm>
                  <a:off x="-3083201" y="2494002"/>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hading</a:t>
                  </a:r>
                </a:p>
              </p:txBody>
            </p:sp>
            <p:sp>
              <p:nvSpPr>
                <p:cNvPr id="101" name="Vrije vorm: vorm 100">
                  <a:extLst>
                    <a:ext uri="{FF2B5EF4-FFF2-40B4-BE49-F238E27FC236}">
                      <a16:creationId xmlns:a16="http://schemas.microsoft.com/office/drawing/2014/main" id="{74B6CC58-142D-C9FF-E950-DE760788AD4E}"/>
                    </a:ext>
                  </a:extLst>
                </p:cNvPr>
                <p:cNvSpPr/>
                <p:nvPr userDrawn="1"/>
              </p:nvSpPr>
              <p:spPr>
                <a:xfrm>
                  <a:off x="-2385518" y="286160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102" name="Groep 101">
                  <a:extLst>
                    <a:ext uri="{FF2B5EF4-FFF2-40B4-BE49-F238E27FC236}">
                      <a16:creationId xmlns:a16="http://schemas.microsoft.com/office/drawing/2014/main" id="{ED0C3047-4937-D65E-8723-417EB3CA968F}"/>
                    </a:ext>
                  </a:extLst>
                </p:cNvPr>
                <p:cNvGrpSpPr/>
                <p:nvPr userDrawn="1"/>
              </p:nvGrpSpPr>
              <p:grpSpPr>
                <a:xfrm>
                  <a:off x="-3243855" y="2463212"/>
                  <a:ext cx="157453" cy="147831"/>
                  <a:chOff x="-899320" y="3037554"/>
                  <a:chExt cx="175977" cy="165227"/>
                </a:xfrm>
              </p:grpSpPr>
              <p:sp>
                <p:nvSpPr>
                  <p:cNvPr id="110" name="Vrije vorm: vorm 109">
                    <a:extLst>
                      <a:ext uri="{FF2B5EF4-FFF2-40B4-BE49-F238E27FC236}">
                        <a16:creationId xmlns:a16="http://schemas.microsoft.com/office/drawing/2014/main" id="{3279E7D7-B32B-8989-26FA-87B5D742F2C2}"/>
                      </a:ext>
                    </a:extLst>
                  </p:cNvPr>
                  <p:cNvSpPr/>
                  <p:nvPr userDrawn="1"/>
                </p:nvSpPr>
                <p:spPr>
                  <a:xfrm>
                    <a:off x="-804124" y="3081338"/>
                    <a:ext cx="80781" cy="121443"/>
                  </a:xfrm>
                  <a:custGeom>
                    <a:avLst/>
                    <a:gdLst>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61912"/>
                      <a:gd name="connsiteY0" fmla="*/ 4763 h 76200"/>
                      <a:gd name="connsiteX1" fmla="*/ 4762 w 61912"/>
                      <a:gd name="connsiteY1" fmla="*/ 76200 h 76200"/>
                      <a:gd name="connsiteX2" fmla="*/ 61912 w 61912"/>
                      <a:gd name="connsiteY2" fmla="*/ 0 h 76200"/>
                      <a:gd name="connsiteX3" fmla="*/ 0 w 61912"/>
                      <a:gd name="connsiteY3" fmla="*/ 4763 h 76200"/>
                      <a:gd name="connsiteX0" fmla="*/ 0 w 61912"/>
                      <a:gd name="connsiteY0" fmla="*/ 50015 h 121452"/>
                      <a:gd name="connsiteX1" fmla="*/ 4762 w 61912"/>
                      <a:gd name="connsiteY1" fmla="*/ 121452 h 121452"/>
                      <a:gd name="connsiteX2" fmla="*/ 61912 w 61912"/>
                      <a:gd name="connsiteY2" fmla="*/ 45252 h 121452"/>
                      <a:gd name="connsiteX3" fmla="*/ 7143 w 61912"/>
                      <a:gd name="connsiteY3" fmla="*/ 9 h 121452"/>
                      <a:gd name="connsiteX4" fmla="*/ 0 w 61912"/>
                      <a:gd name="connsiteY4" fmla="*/ 50015 h 121452"/>
                      <a:gd name="connsiteX0" fmla="*/ 30217 w 92129"/>
                      <a:gd name="connsiteY0" fmla="*/ 50015 h 121452"/>
                      <a:gd name="connsiteX1" fmla="*/ 34979 w 92129"/>
                      <a:gd name="connsiteY1" fmla="*/ 121452 h 121452"/>
                      <a:gd name="connsiteX2" fmla="*/ 92129 w 92129"/>
                      <a:gd name="connsiteY2" fmla="*/ 45252 h 121452"/>
                      <a:gd name="connsiteX3" fmla="*/ 37360 w 92129"/>
                      <a:gd name="connsiteY3" fmla="*/ 9 h 121452"/>
                      <a:gd name="connsiteX4" fmla="*/ 30217 w 92129"/>
                      <a:gd name="connsiteY4" fmla="*/ 50015 h 121452"/>
                      <a:gd name="connsiteX0" fmla="*/ 30217 w 92129"/>
                      <a:gd name="connsiteY0" fmla="*/ 50006 h 121443"/>
                      <a:gd name="connsiteX1" fmla="*/ 34979 w 92129"/>
                      <a:gd name="connsiteY1" fmla="*/ 121443 h 121443"/>
                      <a:gd name="connsiteX2" fmla="*/ 92129 w 92129"/>
                      <a:gd name="connsiteY2" fmla="*/ 45243 h 121443"/>
                      <a:gd name="connsiteX3" fmla="*/ 37360 w 92129"/>
                      <a:gd name="connsiteY3" fmla="*/ 0 h 121443"/>
                      <a:gd name="connsiteX4" fmla="*/ 30217 w 92129"/>
                      <a:gd name="connsiteY4" fmla="*/ 50006 h 121443"/>
                      <a:gd name="connsiteX0" fmla="*/ 30217 w 92490"/>
                      <a:gd name="connsiteY0" fmla="*/ 50006 h 121443"/>
                      <a:gd name="connsiteX1" fmla="*/ 34979 w 92490"/>
                      <a:gd name="connsiteY1" fmla="*/ 121443 h 121443"/>
                      <a:gd name="connsiteX2" fmla="*/ 92129 w 92490"/>
                      <a:gd name="connsiteY2" fmla="*/ 45243 h 121443"/>
                      <a:gd name="connsiteX3" fmla="*/ 37360 w 92490"/>
                      <a:gd name="connsiteY3" fmla="*/ 0 h 121443"/>
                      <a:gd name="connsiteX4" fmla="*/ 30217 w 92490"/>
                      <a:gd name="connsiteY4" fmla="*/ 50006 h 121443"/>
                      <a:gd name="connsiteX0" fmla="*/ 30217 w 80781"/>
                      <a:gd name="connsiteY0" fmla="*/ 50006 h 121443"/>
                      <a:gd name="connsiteX1" fmla="*/ 34979 w 80781"/>
                      <a:gd name="connsiteY1" fmla="*/ 121443 h 121443"/>
                      <a:gd name="connsiteX2" fmla="*/ 80222 w 80781"/>
                      <a:gd name="connsiteY2" fmla="*/ 52387 h 121443"/>
                      <a:gd name="connsiteX3" fmla="*/ 37360 w 80781"/>
                      <a:gd name="connsiteY3" fmla="*/ 0 h 121443"/>
                      <a:gd name="connsiteX4" fmla="*/ 30217 w 80781"/>
                      <a:gd name="connsiteY4" fmla="*/ 50006 h 12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81" h="121443">
                        <a:moveTo>
                          <a:pt x="30217" y="50006"/>
                        </a:moveTo>
                        <a:lnTo>
                          <a:pt x="34979" y="121443"/>
                        </a:lnTo>
                        <a:lnTo>
                          <a:pt x="80222" y="52387"/>
                        </a:lnTo>
                        <a:cubicBezTo>
                          <a:pt x="84191" y="29368"/>
                          <a:pt x="66729" y="1588"/>
                          <a:pt x="37360" y="0"/>
                        </a:cubicBezTo>
                        <a:cubicBezTo>
                          <a:pt x="-43602" y="21431"/>
                          <a:pt x="32598" y="33337"/>
                          <a:pt x="30217" y="50006"/>
                        </a:cubicBezTo>
                        <a:close/>
                      </a:path>
                    </a:pathLst>
                  </a:custGeom>
                  <a:solidFill>
                    <a:srgbClr val="366FA8"/>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prstClr val="black"/>
                      </a:solidFill>
                      <a:effectLst/>
                      <a:uLnTx/>
                      <a:uFillTx/>
                      <a:latin typeface="+mn-lt"/>
                      <a:ea typeface="+mn-ea"/>
                      <a:cs typeface="+mn-cs"/>
                    </a:endParaRPr>
                  </a:p>
                </p:txBody>
              </p:sp>
              <p:sp>
                <p:nvSpPr>
                  <p:cNvPr id="111" name="Rechthoek: afgeronde hoeken 110">
                    <a:extLst>
                      <a:ext uri="{FF2B5EF4-FFF2-40B4-BE49-F238E27FC236}">
                        <a16:creationId xmlns:a16="http://schemas.microsoft.com/office/drawing/2014/main" id="{12962EA6-82F5-6439-721A-DAAC8B0BC46D}"/>
                      </a:ext>
                    </a:extLst>
                  </p:cNvPr>
                  <p:cNvSpPr/>
                  <p:nvPr userDrawn="1"/>
                </p:nvSpPr>
                <p:spPr>
                  <a:xfrm rot="2903873">
                    <a:off x="-887744" y="3085651"/>
                    <a:ext cx="99751" cy="122903"/>
                  </a:xfrm>
                  <a:prstGeom prst="roundRect">
                    <a:avLst>
                      <a:gd name="adj" fmla="val 2911"/>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12" name="Vrije vorm: vorm 111">
                    <a:extLst>
                      <a:ext uri="{FF2B5EF4-FFF2-40B4-BE49-F238E27FC236}">
                        <a16:creationId xmlns:a16="http://schemas.microsoft.com/office/drawing/2014/main" id="{3D195318-CC8F-82F9-127E-A086E8D5417D}"/>
                      </a:ext>
                    </a:extLst>
                  </p:cNvPr>
                  <p:cNvSpPr/>
                  <p:nvPr userDrawn="1"/>
                </p:nvSpPr>
                <p:spPr>
                  <a:xfrm>
                    <a:off x="-894646" y="3037554"/>
                    <a:ext cx="64753" cy="85767"/>
                  </a:xfrm>
                  <a:custGeom>
                    <a:avLst/>
                    <a:gdLst>
                      <a:gd name="connsiteX0" fmla="*/ 0 w 52388"/>
                      <a:gd name="connsiteY0" fmla="*/ 76203 h 76203"/>
                      <a:gd name="connsiteX1" fmla="*/ 26194 w 52388"/>
                      <a:gd name="connsiteY1" fmla="*/ 3 h 76203"/>
                      <a:gd name="connsiteX2" fmla="*/ 52388 w 52388"/>
                      <a:gd name="connsiteY2" fmla="*/ 73822 h 76203"/>
                      <a:gd name="connsiteX0" fmla="*/ 0 w 52388"/>
                      <a:gd name="connsiteY0" fmla="*/ 76203 h 76203"/>
                      <a:gd name="connsiteX1" fmla="*/ 26194 w 52388"/>
                      <a:gd name="connsiteY1" fmla="*/ 3 h 76203"/>
                      <a:gd name="connsiteX2" fmla="*/ 52388 w 52388"/>
                      <a:gd name="connsiteY2" fmla="*/ 73822 h 76203"/>
                      <a:gd name="connsiteX0" fmla="*/ 0 w 46443"/>
                      <a:gd name="connsiteY0" fmla="*/ 78387 h 78387"/>
                      <a:gd name="connsiteX1" fmla="*/ 20249 w 46443"/>
                      <a:gd name="connsiteY1" fmla="*/ 11 h 78387"/>
                      <a:gd name="connsiteX2" fmla="*/ 46443 w 46443"/>
                      <a:gd name="connsiteY2" fmla="*/ 73830 h 78387"/>
                      <a:gd name="connsiteX0" fmla="*/ 135 w 46578"/>
                      <a:gd name="connsiteY0" fmla="*/ 78387 h 78387"/>
                      <a:gd name="connsiteX1" fmla="*/ 20384 w 46578"/>
                      <a:gd name="connsiteY1" fmla="*/ 11 h 78387"/>
                      <a:gd name="connsiteX2" fmla="*/ 46578 w 46578"/>
                      <a:gd name="connsiteY2" fmla="*/ 73830 h 78387"/>
                      <a:gd name="connsiteX0" fmla="*/ 295 w 46738"/>
                      <a:gd name="connsiteY0" fmla="*/ 78387 h 78387"/>
                      <a:gd name="connsiteX1" fmla="*/ 20544 w 46738"/>
                      <a:gd name="connsiteY1" fmla="*/ 11 h 78387"/>
                      <a:gd name="connsiteX2" fmla="*/ 46738 w 46738"/>
                      <a:gd name="connsiteY2" fmla="*/ 73830 h 78387"/>
                      <a:gd name="connsiteX0" fmla="*/ 127 w 39137"/>
                      <a:gd name="connsiteY0" fmla="*/ 78452 h 78452"/>
                      <a:gd name="connsiteX1" fmla="*/ 20376 w 39137"/>
                      <a:gd name="connsiteY1" fmla="*/ 76 h 78452"/>
                      <a:gd name="connsiteX2" fmla="*/ 39137 w 39137"/>
                      <a:gd name="connsiteY2" fmla="*/ 67366 h 78452"/>
                      <a:gd name="connsiteX0" fmla="*/ 127 w 39933"/>
                      <a:gd name="connsiteY0" fmla="*/ 78470 h 78470"/>
                      <a:gd name="connsiteX1" fmla="*/ 20376 w 39933"/>
                      <a:gd name="connsiteY1" fmla="*/ 94 h 78470"/>
                      <a:gd name="connsiteX2" fmla="*/ 39137 w 39933"/>
                      <a:gd name="connsiteY2" fmla="*/ 67384 h 78470"/>
                      <a:gd name="connsiteX0" fmla="*/ 219 w 40422"/>
                      <a:gd name="connsiteY0" fmla="*/ 78381 h 78381"/>
                      <a:gd name="connsiteX1" fmla="*/ 20468 w 40422"/>
                      <a:gd name="connsiteY1" fmla="*/ 5 h 78381"/>
                      <a:gd name="connsiteX2" fmla="*/ 39229 w 40422"/>
                      <a:gd name="connsiteY2" fmla="*/ 67295 h 78381"/>
                    </a:gdLst>
                    <a:ahLst/>
                    <a:cxnLst>
                      <a:cxn ang="0">
                        <a:pos x="connsiteX0" y="connsiteY0"/>
                      </a:cxn>
                      <a:cxn ang="0">
                        <a:pos x="connsiteX1" y="connsiteY1"/>
                      </a:cxn>
                      <a:cxn ang="0">
                        <a:pos x="connsiteX2" y="connsiteY2"/>
                      </a:cxn>
                    </a:cxnLst>
                    <a:rect l="l" t="t" r="r" b="b"/>
                    <a:pathLst>
                      <a:path w="40422" h="78381">
                        <a:moveTo>
                          <a:pt x="219" y="78381"/>
                        </a:moveTo>
                        <a:cubicBezTo>
                          <a:pt x="-1454" y="18717"/>
                          <a:pt x="6534" y="-324"/>
                          <a:pt x="20468" y="5"/>
                        </a:cubicBezTo>
                        <a:cubicBezTo>
                          <a:pt x="34402" y="334"/>
                          <a:pt x="43874" y="23658"/>
                          <a:pt x="39229" y="67295"/>
                        </a:cubicBezTo>
                      </a:path>
                    </a:pathLst>
                  </a:custGeom>
                  <a:no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03" name="Gelijkbenige driehoek 102">
                  <a:extLst>
                    <a:ext uri="{FF2B5EF4-FFF2-40B4-BE49-F238E27FC236}">
                      <a16:creationId xmlns:a16="http://schemas.microsoft.com/office/drawing/2014/main" id="{CC647A2B-3357-D7CE-4C3D-0A70B4989570}"/>
                    </a:ext>
                  </a:extLst>
                </p:cNvPr>
                <p:cNvSpPr/>
                <p:nvPr userDrawn="1"/>
              </p:nvSpPr>
              <p:spPr>
                <a:xfrm rot="10800000">
                  <a:off x="-2528907" y="2540201"/>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sp>
              <p:nvSpPr>
                <p:cNvPr id="104" name="Tekstvak 103">
                  <a:extLst>
                    <a:ext uri="{FF2B5EF4-FFF2-40B4-BE49-F238E27FC236}">
                      <a16:creationId xmlns:a16="http://schemas.microsoft.com/office/drawing/2014/main" id="{E7004719-204B-3B65-D864-F0CC7C18A1F6}"/>
                    </a:ext>
                  </a:extLst>
                </p:cNvPr>
                <p:cNvSpPr txBox="1"/>
                <p:nvPr userDrawn="1"/>
              </p:nvSpPr>
              <p:spPr>
                <a:xfrm>
                  <a:off x="-3083201" y="2750275"/>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Borders</a:t>
                  </a:r>
                </a:p>
              </p:txBody>
            </p:sp>
            <p:sp>
              <p:nvSpPr>
                <p:cNvPr id="105" name="Gelijkbenige driehoek 104">
                  <a:extLst>
                    <a:ext uri="{FF2B5EF4-FFF2-40B4-BE49-F238E27FC236}">
                      <a16:creationId xmlns:a16="http://schemas.microsoft.com/office/drawing/2014/main" id="{D058E11D-E52D-F145-2A03-CF11F173362A}"/>
                    </a:ext>
                  </a:extLst>
                </p:cNvPr>
                <p:cNvSpPr/>
                <p:nvPr userDrawn="1"/>
              </p:nvSpPr>
              <p:spPr>
                <a:xfrm rot="10800000">
                  <a:off x="-2528907" y="2796474"/>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grpSp>
              <p:nvGrpSpPr>
                <p:cNvPr id="106" name="Groep 105">
                  <a:extLst>
                    <a:ext uri="{FF2B5EF4-FFF2-40B4-BE49-F238E27FC236}">
                      <a16:creationId xmlns:a16="http://schemas.microsoft.com/office/drawing/2014/main" id="{8FCF2C8A-A7F3-E9CF-8200-CBB53E7E2FB4}"/>
                    </a:ext>
                  </a:extLst>
                </p:cNvPr>
                <p:cNvGrpSpPr/>
                <p:nvPr userDrawn="1"/>
              </p:nvGrpSpPr>
              <p:grpSpPr>
                <a:xfrm>
                  <a:off x="-3250409" y="2732592"/>
                  <a:ext cx="164055" cy="164055"/>
                  <a:chOff x="-3258612" y="2724389"/>
                  <a:chExt cx="180460" cy="180460"/>
                </a:xfrm>
              </p:grpSpPr>
              <p:sp>
                <p:nvSpPr>
                  <p:cNvPr id="107" name="Rechthoek 106">
                    <a:extLst>
                      <a:ext uri="{FF2B5EF4-FFF2-40B4-BE49-F238E27FC236}">
                        <a16:creationId xmlns:a16="http://schemas.microsoft.com/office/drawing/2014/main" id="{BDA66D7A-CCEC-0D29-5A35-48819F392885}"/>
                      </a:ext>
                    </a:extLst>
                  </p:cNvPr>
                  <p:cNvSpPr/>
                  <p:nvPr userDrawn="1"/>
                </p:nvSpPr>
                <p:spPr>
                  <a:xfrm>
                    <a:off x="-3258612" y="2724389"/>
                    <a:ext cx="180460" cy="180460"/>
                  </a:xfrm>
                  <a:prstGeom prst="rect">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cxnSp>
                <p:nvCxnSpPr>
                  <p:cNvPr id="108" name="Rechte verbindingslijn 107">
                    <a:extLst>
                      <a:ext uri="{FF2B5EF4-FFF2-40B4-BE49-F238E27FC236}">
                        <a16:creationId xmlns:a16="http://schemas.microsoft.com/office/drawing/2014/main" id="{F300DB65-44AA-34EC-D98F-7C8558C4E2C5}"/>
                      </a:ext>
                    </a:extLst>
                  </p:cNvPr>
                  <p:cNvCxnSpPr>
                    <a:stCxn id="107" idx="0"/>
                    <a:endCxn id="107" idx="2"/>
                  </p:cNvCxnSpPr>
                  <p:nvPr userDrawn="1"/>
                </p:nvCxnSpPr>
                <p:spPr>
                  <a:xfrm>
                    <a:off x="-3168382" y="2724389"/>
                    <a:ext cx="0" cy="18046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09" name="Rechte verbindingslijn 108">
                    <a:extLst>
                      <a:ext uri="{FF2B5EF4-FFF2-40B4-BE49-F238E27FC236}">
                        <a16:creationId xmlns:a16="http://schemas.microsoft.com/office/drawing/2014/main" id="{2B425145-6F2C-1742-6A3C-2243A3B48AEB}"/>
                      </a:ext>
                    </a:extLst>
                  </p:cNvPr>
                  <p:cNvCxnSpPr>
                    <a:stCxn id="107" idx="1"/>
                    <a:endCxn id="107" idx="3"/>
                  </p:cNvCxnSpPr>
                  <p:nvPr userDrawn="1"/>
                </p:nvCxnSpPr>
                <p:spPr>
                  <a:xfrm>
                    <a:off x="-3258612" y="2814619"/>
                    <a:ext cx="180460" cy="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20" name="Groep 19">
              <a:extLst>
                <a:ext uri="{FF2B5EF4-FFF2-40B4-BE49-F238E27FC236}">
                  <a16:creationId xmlns:a16="http://schemas.microsoft.com/office/drawing/2014/main" id="{7BB46775-EF55-EF02-82D4-08930637DAC1}"/>
                </a:ext>
              </a:extLst>
            </p:cNvPr>
            <p:cNvGrpSpPr/>
            <p:nvPr userDrawn="1"/>
          </p:nvGrpSpPr>
          <p:grpSpPr>
            <a:xfrm>
              <a:off x="-3786437" y="3410167"/>
              <a:ext cx="3693386" cy="3283188"/>
              <a:chOff x="-3786437" y="3410167"/>
              <a:chExt cx="3693386" cy="3283188"/>
            </a:xfrm>
          </p:grpSpPr>
          <p:sp>
            <p:nvSpPr>
              <p:cNvPr id="21" name="Rechthoek 20">
                <a:extLst>
                  <a:ext uri="{FF2B5EF4-FFF2-40B4-BE49-F238E27FC236}">
                    <a16:creationId xmlns:a16="http://schemas.microsoft.com/office/drawing/2014/main" id="{C7DB8214-02BF-8F7F-41E3-297B5B6AF672}"/>
                  </a:ext>
                </a:extLst>
              </p:cNvPr>
              <p:cNvSpPr/>
              <p:nvPr userDrawn="1"/>
            </p:nvSpPr>
            <p:spPr>
              <a:xfrm>
                <a:off x="-3786165" y="3410167"/>
                <a:ext cx="3593091" cy="264138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table</a:t>
                </a:r>
              </a:p>
            </p:txBody>
          </p:sp>
          <p:sp>
            <p:nvSpPr>
              <p:cNvPr id="22" name="Ovaal 21">
                <a:extLst>
                  <a:ext uri="{FF2B5EF4-FFF2-40B4-BE49-F238E27FC236}">
                    <a16:creationId xmlns:a16="http://schemas.microsoft.com/office/drawing/2014/main" id="{59A3C665-98E6-FFB4-FBF4-13F4A8DB81CC}"/>
                  </a:ext>
                </a:extLst>
              </p:cNvPr>
              <p:cNvSpPr/>
              <p:nvPr userDrawn="1"/>
            </p:nvSpPr>
            <p:spPr>
              <a:xfrm>
                <a:off x="-3603587" y="38747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3" name="Rechthoek 22">
                <a:extLst>
                  <a:ext uri="{FF2B5EF4-FFF2-40B4-BE49-F238E27FC236}">
                    <a16:creationId xmlns:a16="http://schemas.microsoft.com/office/drawing/2014/main" id="{4B3E5D77-6A81-812F-65BE-696F3D62C616}"/>
                  </a:ext>
                </a:extLst>
              </p:cNvPr>
              <p:cNvSpPr/>
              <p:nvPr userDrawn="1"/>
            </p:nvSpPr>
            <p:spPr>
              <a:xfrm>
                <a:off x="-3319416" y="3874767"/>
                <a:ext cx="3008779"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 and/or columns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ayou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98ED42B6-0348-C32A-DBA2-4E3A7D605478}"/>
                  </a:ext>
                </a:extLst>
              </p:cNvPr>
              <p:cNvSpPr/>
              <p:nvPr userDrawn="1"/>
            </p:nvSpPr>
            <p:spPr>
              <a:xfrm>
                <a:off x="-3786437" y="586535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5" name="ICOON_info">
                <a:extLst>
                  <a:ext uri="{FF2B5EF4-FFF2-40B4-BE49-F238E27FC236}">
                    <a16:creationId xmlns:a16="http://schemas.microsoft.com/office/drawing/2014/main" id="{E7550D77-8D59-55E6-6C2B-AB1F1F783330}"/>
                  </a:ext>
                </a:extLst>
              </p:cNvPr>
              <p:cNvGrpSpPr/>
              <p:nvPr userDrawn="1"/>
            </p:nvGrpSpPr>
            <p:grpSpPr>
              <a:xfrm>
                <a:off x="-376736" y="5729337"/>
                <a:ext cx="283685" cy="283685"/>
                <a:chOff x="-510741" y="5913713"/>
                <a:chExt cx="267555" cy="267555"/>
              </a:xfrm>
            </p:grpSpPr>
            <p:sp>
              <p:nvSpPr>
                <p:cNvPr id="89" name="Ovaal 88">
                  <a:extLst>
                    <a:ext uri="{FF2B5EF4-FFF2-40B4-BE49-F238E27FC236}">
                      <a16:creationId xmlns:a16="http://schemas.microsoft.com/office/drawing/2014/main" id="{F16D0272-39C5-987C-5F7D-8795FD868A1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FBAB13FD-6294-B164-5247-5EF5412B516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6" name="Groep 25">
                <a:extLst>
                  <a:ext uri="{FF2B5EF4-FFF2-40B4-BE49-F238E27FC236}">
                    <a16:creationId xmlns:a16="http://schemas.microsoft.com/office/drawing/2014/main" id="{DE77C69B-65EF-D902-1D17-34AB8507DDCA}"/>
                  </a:ext>
                </a:extLst>
              </p:cNvPr>
              <p:cNvGrpSpPr/>
              <p:nvPr userDrawn="1"/>
            </p:nvGrpSpPr>
            <p:grpSpPr>
              <a:xfrm>
                <a:off x="-938434" y="6002732"/>
                <a:ext cx="627798" cy="576693"/>
                <a:chOff x="-938434" y="4570310"/>
                <a:chExt cx="627798" cy="576693"/>
              </a:xfrm>
            </p:grpSpPr>
            <p:grpSp>
              <p:nvGrpSpPr>
                <p:cNvPr id="84" name="Inspireren">
                  <a:extLst>
                    <a:ext uri="{FF2B5EF4-FFF2-40B4-BE49-F238E27FC236}">
                      <a16:creationId xmlns:a16="http://schemas.microsoft.com/office/drawing/2014/main" id="{557DC17A-8D77-C59F-3AA5-B3A9E205DF0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6" name="Freeform 12">
                    <a:extLst>
                      <a:ext uri="{FF2B5EF4-FFF2-40B4-BE49-F238E27FC236}">
                        <a16:creationId xmlns:a16="http://schemas.microsoft.com/office/drawing/2014/main" id="{C1AB5840-0A64-A6D0-B704-53E0ACBBCE4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87" name="Freeform 13">
                    <a:extLst>
                      <a:ext uri="{FF2B5EF4-FFF2-40B4-BE49-F238E27FC236}">
                        <a16:creationId xmlns:a16="http://schemas.microsoft.com/office/drawing/2014/main" id="{F95C6239-CC2A-C135-9E9D-0B2F40A2CC6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88" name="Freeform 14">
                    <a:extLst>
                      <a:ext uri="{FF2B5EF4-FFF2-40B4-BE49-F238E27FC236}">
                        <a16:creationId xmlns:a16="http://schemas.microsoft.com/office/drawing/2014/main" id="{C8E3A784-CB95-DD57-ED83-092FE9036A5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85" name="Tekstvak 84">
                  <a:extLst>
                    <a:ext uri="{FF2B5EF4-FFF2-40B4-BE49-F238E27FC236}">
                      <a16:creationId xmlns:a16="http://schemas.microsoft.com/office/drawing/2014/main" id="{A77EC7C8-4682-6C4B-575D-F615638A48E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sp>
            <p:nvSpPr>
              <p:cNvPr id="27" name="Ovaal 26">
                <a:extLst>
                  <a:ext uri="{FF2B5EF4-FFF2-40B4-BE49-F238E27FC236}">
                    <a16:creationId xmlns:a16="http://schemas.microsoft.com/office/drawing/2014/main" id="{0534A350-9021-2D44-2273-38DCCBD684FA}"/>
                  </a:ext>
                </a:extLst>
              </p:cNvPr>
              <p:cNvSpPr/>
              <p:nvPr userDrawn="1"/>
            </p:nvSpPr>
            <p:spPr>
              <a:xfrm>
                <a:off x="-3603587" y="4396122"/>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8" name="Rechthoek 27">
                <a:extLst>
                  <a:ext uri="{FF2B5EF4-FFF2-40B4-BE49-F238E27FC236}">
                    <a16:creationId xmlns:a16="http://schemas.microsoft.com/office/drawing/2014/main" id="{132BEDEE-AEDE-ABED-CB95-0666D34D6F02}"/>
                  </a:ext>
                </a:extLst>
              </p:cNvPr>
              <p:cNvSpPr/>
              <p:nvPr userDrawn="1"/>
            </p:nvSpPr>
            <p:spPr>
              <a:xfrm>
                <a:off x="-3319415" y="4396123"/>
                <a:ext cx="2944682" cy="495917"/>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ows and colum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delete or add rows and columns. Choose from the variety of options:</a:t>
                </a:r>
              </a:p>
            </p:txBody>
          </p:sp>
          <p:grpSp>
            <p:nvGrpSpPr>
              <p:cNvPr id="29" name="Groep 28">
                <a:extLst>
                  <a:ext uri="{FF2B5EF4-FFF2-40B4-BE49-F238E27FC236}">
                    <a16:creationId xmlns:a16="http://schemas.microsoft.com/office/drawing/2014/main" id="{8A20B41D-5F98-2F3E-614C-FDBF363F59BB}"/>
                  </a:ext>
                </a:extLst>
              </p:cNvPr>
              <p:cNvGrpSpPr/>
              <p:nvPr userDrawn="1"/>
            </p:nvGrpSpPr>
            <p:grpSpPr>
              <a:xfrm>
                <a:off x="-3415313" y="4996916"/>
                <a:ext cx="3013682" cy="673634"/>
                <a:chOff x="-3415313" y="4996916"/>
                <a:chExt cx="3013682" cy="673634"/>
              </a:xfrm>
            </p:grpSpPr>
            <p:grpSp>
              <p:nvGrpSpPr>
                <p:cNvPr id="30" name="Groep 29">
                  <a:extLst>
                    <a:ext uri="{FF2B5EF4-FFF2-40B4-BE49-F238E27FC236}">
                      <a16:creationId xmlns:a16="http://schemas.microsoft.com/office/drawing/2014/main" id="{03682C82-F67E-697D-B01D-F18CD946AAB6}"/>
                    </a:ext>
                  </a:extLst>
                </p:cNvPr>
                <p:cNvGrpSpPr/>
                <p:nvPr userDrawn="1"/>
              </p:nvGrpSpPr>
              <p:grpSpPr>
                <a:xfrm>
                  <a:off x="-3415313" y="5041534"/>
                  <a:ext cx="761481" cy="529523"/>
                  <a:chOff x="-3492543" y="5041534"/>
                  <a:chExt cx="761481" cy="529523"/>
                </a:xfrm>
              </p:grpSpPr>
              <p:grpSp>
                <p:nvGrpSpPr>
                  <p:cNvPr id="75" name="Groep 74">
                    <a:extLst>
                      <a:ext uri="{FF2B5EF4-FFF2-40B4-BE49-F238E27FC236}">
                        <a16:creationId xmlns:a16="http://schemas.microsoft.com/office/drawing/2014/main" id="{A4123C2A-7635-8B37-FE63-5AB48ADFC4E4}"/>
                      </a:ext>
                    </a:extLst>
                  </p:cNvPr>
                  <p:cNvGrpSpPr/>
                  <p:nvPr userDrawn="1"/>
                </p:nvGrpSpPr>
                <p:grpSpPr>
                  <a:xfrm>
                    <a:off x="-3307743" y="5041534"/>
                    <a:ext cx="485596" cy="437045"/>
                    <a:chOff x="-3307743" y="4999319"/>
                    <a:chExt cx="644991" cy="580504"/>
                  </a:xfrm>
                </p:grpSpPr>
                <p:grpSp>
                  <p:nvGrpSpPr>
                    <p:cNvPr id="77" name="Groep 76">
                      <a:extLst>
                        <a:ext uri="{FF2B5EF4-FFF2-40B4-BE49-F238E27FC236}">
                          <a16:creationId xmlns:a16="http://schemas.microsoft.com/office/drawing/2014/main" id="{656666D8-08B3-682F-4491-4F4F59868750}"/>
                        </a:ext>
                      </a:extLst>
                    </p:cNvPr>
                    <p:cNvGrpSpPr/>
                    <p:nvPr userDrawn="1"/>
                  </p:nvGrpSpPr>
                  <p:grpSpPr>
                    <a:xfrm>
                      <a:off x="-3307743" y="4999319"/>
                      <a:ext cx="516835" cy="439373"/>
                      <a:chOff x="-3307743" y="4999319"/>
                      <a:chExt cx="516835" cy="439373"/>
                    </a:xfrm>
                  </p:grpSpPr>
                  <p:cxnSp>
                    <p:nvCxnSpPr>
                      <p:cNvPr id="79" name="Rechte verbindingslijn 78">
                        <a:extLst>
                          <a:ext uri="{FF2B5EF4-FFF2-40B4-BE49-F238E27FC236}">
                            <a16:creationId xmlns:a16="http://schemas.microsoft.com/office/drawing/2014/main" id="{182B5E2B-1C23-3003-0533-351F3F1AD1F5}"/>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0" name="Rechte verbindingslijn 79">
                        <a:extLst>
                          <a:ext uri="{FF2B5EF4-FFF2-40B4-BE49-F238E27FC236}">
                            <a16:creationId xmlns:a16="http://schemas.microsoft.com/office/drawing/2014/main" id="{E8E62A91-C0B0-3CEA-AC35-038552B7AE76}"/>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1" name="Rechte verbindingslijn 80">
                        <a:extLst>
                          <a:ext uri="{FF2B5EF4-FFF2-40B4-BE49-F238E27FC236}">
                            <a16:creationId xmlns:a16="http://schemas.microsoft.com/office/drawing/2014/main" id="{B16AD12D-0DB3-4F3D-3A70-88398F43E652}"/>
                          </a:ext>
                        </a:extLst>
                      </p:cNvPr>
                      <p:cNvCxnSpPr>
                        <a:cxnSpLocks/>
                      </p:cNvCxnSpPr>
                      <p:nvPr userDrawn="1"/>
                    </p:nvCxnSpPr>
                    <p:spPr>
                      <a:xfrm flipH="1">
                        <a:off x="-2969743"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2" name="Rechte verbindingslijn 81">
                        <a:extLst>
                          <a:ext uri="{FF2B5EF4-FFF2-40B4-BE49-F238E27FC236}">
                            <a16:creationId xmlns:a16="http://schemas.microsoft.com/office/drawing/2014/main" id="{7BD7C9FC-9B05-F99C-4829-FD5F69D51117}"/>
                          </a:ext>
                        </a:extLst>
                      </p:cNvPr>
                      <p:cNvCxnSpPr>
                        <a:cxnSpLocks/>
                      </p:cNvCxnSpPr>
                      <p:nvPr userDrawn="1"/>
                    </p:nvCxnSpPr>
                    <p:spPr>
                      <a:xfrm flipH="1">
                        <a:off x="-3142021"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83" name="Rechthoek 82">
                        <a:extLst>
                          <a:ext uri="{FF2B5EF4-FFF2-40B4-BE49-F238E27FC236}">
                            <a16:creationId xmlns:a16="http://schemas.microsoft.com/office/drawing/2014/main" id="{B3BA2F5A-4E18-4382-942E-EC4E3AF802ED}"/>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78" name="Vrije vorm: vorm 77">
                      <a:extLst>
                        <a:ext uri="{FF2B5EF4-FFF2-40B4-BE49-F238E27FC236}">
                          <a16:creationId xmlns:a16="http://schemas.microsoft.com/office/drawing/2014/main" id="{8874B19A-28DF-BB07-393B-1C178D61ABFF}"/>
                        </a:ext>
                      </a:extLst>
                    </p:cNvPr>
                    <p:cNvSpPr/>
                    <p:nvPr userDrawn="1"/>
                  </p:nvSpPr>
                  <p:spPr>
                    <a:xfrm rot="2700000">
                      <a:off x="-3022752" y="5219823"/>
                      <a:ext cx="360000" cy="360000"/>
                    </a:xfrm>
                    <a:custGeom>
                      <a:avLst/>
                      <a:gdLst>
                        <a:gd name="connsiteX0" fmla="*/ 7908 w 360000"/>
                        <a:gd name="connsiteY0" fmla="*/ 160908 h 360000"/>
                        <a:gd name="connsiteX1" fmla="*/ 27000 w 360000"/>
                        <a:gd name="connsiteY1" fmla="*/ 153000 h 360000"/>
                        <a:gd name="connsiteX2" fmla="*/ 153000 w 360000"/>
                        <a:gd name="connsiteY2" fmla="*/ 153000 h 360000"/>
                        <a:gd name="connsiteX3" fmla="*/ 153000 w 360000"/>
                        <a:gd name="connsiteY3" fmla="*/ 27000 h 360000"/>
                        <a:gd name="connsiteX4" fmla="*/ 180000 w 360000"/>
                        <a:gd name="connsiteY4" fmla="*/ 0 h 360000"/>
                        <a:gd name="connsiteX5" fmla="*/ 207000 w 360000"/>
                        <a:gd name="connsiteY5" fmla="*/ 27000 h 360000"/>
                        <a:gd name="connsiteX6" fmla="*/ 207000 w 360000"/>
                        <a:gd name="connsiteY6" fmla="*/ 153000 h 360000"/>
                        <a:gd name="connsiteX7" fmla="*/ 333000 w 360000"/>
                        <a:gd name="connsiteY7" fmla="*/ 153000 h 360000"/>
                        <a:gd name="connsiteX8" fmla="*/ 360000 w 360000"/>
                        <a:gd name="connsiteY8" fmla="*/ 180000 h 360000"/>
                        <a:gd name="connsiteX9" fmla="*/ 333000 w 360000"/>
                        <a:gd name="connsiteY9" fmla="*/ 207000 h 360000"/>
                        <a:gd name="connsiteX10" fmla="*/ 207000 w 360000"/>
                        <a:gd name="connsiteY10" fmla="*/ 207000 h 360000"/>
                        <a:gd name="connsiteX11" fmla="*/ 207000 w 360000"/>
                        <a:gd name="connsiteY11" fmla="*/ 333000 h 360000"/>
                        <a:gd name="connsiteX12" fmla="*/ 180000 w 360000"/>
                        <a:gd name="connsiteY12" fmla="*/ 360000 h 360000"/>
                        <a:gd name="connsiteX13" fmla="*/ 153000 w 360000"/>
                        <a:gd name="connsiteY13" fmla="*/ 333000 h 360000"/>
                        <a:gd name="connsiteX14" fmla="*/ 153000 w 360000"/>
                        <a:gd name="connsiteY14" fmla="*/ 207000 h 360000"/>
                        <a:gd name="connsiteX15" fmla="*/ 27000 w 360000"/>
                        <a:gd name="connsiteY15" fmla="*/ 207000 h 360000"/>
                        <a:gd name="connsiteX16" fmla="*/ 0 w 360000"/>
                        <a:gd name="connsiteY16" fmla="*/ 180000 h 360000"/>
                        <a:gd name="connsiteX17" fmla="*/ 7908 w 360000"/>
                        <a:gd name="connsiteY17" fmla="*/ 160908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000" h="360000">
                          <a:moveTo>
                            <a:pt x="7908" y="160908"/>
                          </a:moveTo>
                          <a:cubicBezTo>
                            <a:pt x="12794" y="156022"/>
                            <a:pt x="19544" y="153000"/>
                            <a:pt x="27000" y="153000"/>
                          </a:cubicBezTo>
                          <a:lnTo>
                            <a:pt x="153000" y="153000"/>
                          </a:lnTo>
                          <a:lnTo>
                            <a:pt x="153000" y="27000"/>
                          </a:lnTo>
                          <a:cubicBezTo>
                            <a:pt x="153000" y="12088"/>
                            <a:pt x="165088" y="0"/>
                            <a:pt x="180000" y="0"/>
                          </a:cubicBezTo>
                          <a:cubicBezTo>
                            <a:pt x="194912" y="0"/>
                            <a:pt x="207000" y="12088"/>
                            <a:pt x="207000" y="27000"/>
                          </a:cubicBezTo>
                          <a:lnTo>
                            <a:pt x="207000" y="153000"/>
                          </a:lnTo>
                          <a:lnTo>
                            <a:pt x="333000" y="153000"/>
                          </a:lnTo>
                          <a:cubicBezTo>
                            <a:pt x="347912" y="153000"/>
                            <a:pt x="360000" y="165088"/>
                            <a:pt x="360000" y="180000"/>
                          </a:cubicBezTo>
                          <a:cubicBezTo>
                            <a:pt x="360000" y="194912"/>
                            <a:pt x="347912" y="207000"/>
                            <a:pt x="333000" y="207000"/>
                          </a:cubicBezTo>
                          <a:lnTo>
                            <a:pt x="207000" y="207000"/>
                          </a:lnTo>
                          <a:lnTo>
                            <a:pt x="207000" y="333000"/>
                          </a:lnTo>
                          <a:cubicBezTo>
                            <a:pt x="207000" y="347912"/>
                            <a:pt x="194912" y="360000"/>
                            <a:pt x="180000" y="360000"/>
                          </a:cubicBezTo>
                          <a:cubicBezTo>
                            <a:pt x="165088" y="360000"/>
                            <a:pt x="153000" y="347912"/>
                            <a:pt x="153000" y="333000"/>
                          </a:cubicBezTo>
                          <a:lnTo>
                            <a:pt x="153000" y="207000"/>
                          </a:lnTo>
                          <a:lnTo>
                            <a:pt x="27000" y="207000"/>
                          </a:lnTo>
                          <a:cubicBezTo>
                            <a:pt x="12088" y="207000"/>
                            <a:pt x="0" y="194912"/>
                            <a:pt x="0" y="180000"/>
                          </a:cubicBezTo>
                          <a:cubicBezTo>
                            <a:pt x="0" y="172544"/>
                            <a:pt x="3022" y="165794"/>
                            <a:pt x="7908" y="160908"/>
                          </a:cubicBezTo>
                          <a:close/>
                        </a:path>
                      </a:pathLst>
                    </a:custGeom>
                    <a:solidFill>
                      <a:srgbClr val="F0615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dirty="0" err="1"/>
                    </a:p>
                  </p:txBody>
                </p:sp>
              </p:grpSp>
              <p:sp>
                <p:nvSpPr>
                  <p:cNvPr id="76" name="Tekstvak 75">
                    <a:extLst>
                      <a:ext uri="{FF2B5EF4-FFF2-40B4-BE49-F238E27FC236}">
                        <a16:creationId xmlns:a16="http://schemas.microsoft.com/office/drawing/2014/main" id="{E2BD3C5D-B99E-C98B-0305-7E6FBACED332}"/>
                      </a:ext>
                    </a:extLst>
                  </p:cNvPr>
                  <p:cNvSpPr txBox="1"/>
                  <p:nvPr userDrawn="1"/>
                </p:nvSpPr>
                <p:spPr>
                  <a:xfrm>
                    <a:off x="-3492543" y="5440654"/>
                    <a:ext cx="761481" cy="130403"/>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Delete</a:t>
                    </a:r>
                  </a:p>
                </p:txBody>
              </p:sp>
            </p:grpSp>
            <p:grpSp>
              <p:nvGrpSpPr>
                <p:cNvPr id="31" name="Groep 30">
                  <a:extLst>
                    <a:ext uri="{FF2B5EF4-FFF2-40B4-BE49-F238E27FC236}">
                      <a16:creationId xmlns:a16="http://schemas.microsoft.com/office/drawing/2014/main" id="{0DD9C213-644C-A64B-CF17-93B32F0D83FD}"/>
                    </a:ext>
                  </a:extLst>
                </p:cNvPr>
                <p:cNvGrpSpPr/>
                <p:nvPr userDrawn="1"/>
              </p:nvGrpSpPr>
              <p:grpSpPr>
                <a:xfrm>
                  <a:off x="-2582156" y="4996916"/>
                  <a:ext cx="572112" cy="673634"/>
                  <a:chOff x="-2709168" y="4996916"/>
                  <a:chExt cx="572112" cy="673634"/>
                </a:xfrm>
              </p:grpSpPr>
              <p:grpSp>
                <p:nvGrpSpPr>
                  <p:cNvPr id="65" name="Groep 64">
                    <a:extLst>
                      <a:ext uri="{FF2B5EF4-FFF2-40B4-BE49-F238E27FC236}">
                        <a16:creationId xmlns:a16="http://schemas.microsoft.com/office/drawing/2014/main" id="{CBD0C07B-3A85-2426-C7D6-6C873B988877}"/>
                      </a:ext>
                    </a:extLst>
                  </p:cNvPr>
                  <p:cNvGrpSpPr/>
                  <p:nvPr userDrawn="1"/>
                </p:nvGrpSpPr>
                <p:grpSpPr>
                  <a:xfrm>
                    <a:off x="-2609993" y="4996916"/>
                    <a:ext cx="389111" cy="375410"/>
                    <a:chOff x="-2542178" y="4940055"/>
                    <a:chExt cx="516835" cy="498637"/>
                  </a:xfrm>
                </p:grpSpPr>
                <p:sp>
                  <p:nvSpPr>
                    <p:cNvPr id="67" name="Rechthoek 66">
                      <a:extLst>
                        <a:ext uri="{FF2B5EF4-FFF2-40B4-BE49-F238E27FC236}">
                          <a16:creationId xmlns:a16="http://schemas.microsoft.com/office/drawing/2014/main" id="{875BCB4B-92E3-6156-F991-EEB4381B1941}"/>
                        </a:ext>
                      </a:extLst>
                    </p:cNvPr>
                    <p:cNvSpPr/>
                    <p:nvPr userDrawn="1"/>
                  </p:nvSpPr>
                  <p:spPr>
                    <a:xfrm>
                      <a:off x="-2538526" y="5145278"/>
                      <a:ext cx="510738" cy="15038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68" name="Groep 67">
                      <a:extLst>
                        <a:ext uri="{FF2B5EF4-FFF2-40B4-BE49-F238E27FC236}">
                          <a16:creationId xmlns:a16="http://schemas.microsoft.com/office/drawing/2014/main" id="{0ABC6CE8-15A4-49C9-BE67-11AC9EC8C4E7}"/>
                        </a:ext>
                      </a:extLst>
                    </p:cNvPr>
                    <p:cNvGrpSpPr/>
                    <p:nvPr userDrawn="1"/>
                  </p:nvGrpSpPr>
                  <p:grpSpPr>
                    <a:xfrm>
                      <a:off x="-2542178" y="4999319"/>
                      <a:ext cx="516835" cy="439373"/>
                      <a:chOff x="-3307743" y="4999319"/>
                      <a:chExt cx="516835" cy="439373"/>
                    </a:xfrm>
                  </p:grpSpPr>
                  <p:cxnSp>
                    <p:nvCxnSpPr>
                      <p:cNvPr id="70" name="Rechte verbindingslijn 69">
                        <a:extLst>
                          <a:ext uri="{FF2B5EF4-FFF2-40B4-BE49-F238E27FC236}">
                            <a16:creationId xmlns:a16="http://schemas.microsoft.com/office/drawing/2014/main" id="{0FD4DE9A-5FA2-1513-90A0-27C3FBB079C7}"/>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1" name="Rechte verbindingslijn 70">
                        <a:extLst>
                          <a:ext uri="{FF2B5EF4-FFF2-40B4-BE49-F238E27FC236}">
                            <a16:creationId xmlns:a16="http://schemas.microsoft.com/office/drawing/2014/main" id="{6C5665A8-4F94-087A-59C5-A50E1921C6F0}"/>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2" name="Rechte verbindingslijn 71">
                        <a:extLst>
                          <a:ext uri="{FF2B5EF4-FFF2-40B4-BE49-F238E27FC236}">
                            <a16:creationId xmlns:a16="http://schemas.microsoft.com/office/drawing/2014/main" id="{7FA7F3E9-CA4B-DCA8-AF73-E9A3E106A845}"/>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3" name="Rechte verbindingslijn 72">
                        <a:extLst>
                          <a:ext uri="{FF2B5EF4-FFF2-40B4-BE49-F238E27FC236}">
                            <a16:creationId xmlns:a16="http://schemas.microsoft.com/office/drawing/2014/main" id="{3C5C11A7-7447-5D8F-B213-8D2CBDBE8FE4}"/>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74" name="Rechthoek 73">
                        <a:extLst>
                          <a:ext uri="{FF2B5EF4-FFF2-40B4-BE49-F238E27FC236}">
                            <a16:creationId xmlns:a16="http://schemas.microsoft.com/office/drawing/2014/main" id="{2346ECBD-61CC-A2FB-61D5-2CA20EFBF8AD}"/>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69" name="Pijl: rechts 68">
                      <a:extLst>
                        <a:ext uri="{FF2B5EF4-FFF2-40B4-BE49-F238E27FC236}">
                          <a16:creationId xmlns:a16="http://schemas.microsoft.com/office/drawing/2014/main" id="{7A5F0176-A603-5DDD-032B-7E176900FA29}"/>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6" name="Tekstvak 65">
                    <a:extLst>
                      <a:ext uri="{FF2B5EF4-FFF2-40B4-BE49-F238E27FC236}">
                        <a16:creationId xmlns:a16="http://schemas.microsoft.com/office/drawing/2014/main" id="{B8AB62B1-9016-4235-7A20-87AF4AC11FD1}"/>
                      </a:ext>
                    </a:extLst>
                  </p:cNvPr>
                  <p:cNvSpPr txBox="1"/>
                  <p:nvPr userDrawn="1"/>
                </p:nvSpPr>
                <p:spPr>
                  <a:xfrm>
                    <a:off x="-27091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bove</a:t>
                    </a:r>
                  </a:p>
                </p:txBody>
              </p:sp>
            </p:grpSp>
            <p:grpSp>
              <p:nvGrpSpPr>
                <p:cNvPr id="32" name="Groep 31">
                  <a:extLst>
                    <a:ext uri="{FF2B5EF4-FFF2-40B4-BE49-F238E27FC236}">
                      <a16:creationId xmlns:a16="http://schemas.microsoft.com/office/drawing/2014/main" id="{E0CAFF6A-D2E8-CFEA-D7D2-D8A55B041D1A}"/>
                    </a:ext>
                  </a:extLst>
                </p:cNvPr>
                <p:cNvGrpSpPr/>
                <p:nvPr userDrawn="1"/>
              </p:nvGrpSpPr>
              <p:grpSpPr>
                <a:xfrm>
                  <a:off x="-2036147" y="5039725"/>
                  <a:ext cx="572112" cy="630825"/>
                  <a:chOff x="-2099568" y="5039725"/>
                  <a:chExt cx="572112" cy="630825"/>
                </a:xfrm>
              </p:grpSpPr>
              <p:grpSp>
                <p:nvGrpSpPr>
                  <p:cNvPr id="55" name="Groep 54">
                    <a:extLst>
                      <a:ext uri="{FF2B5EF4-FFF2-40B4-BE49-F238E27FC236}">
                        <a16:creationId xmlns:a16="http://schemas.microsoft.com/office/drawing/2014/main" id="{5680D99A-ECC0-B7A3-B7E7-A2FBFA49A614}"/>
                      </a:ext>
                    </a:extLst>
                  </p:cNvPr>
                  <p:cNvGrpSpPr/>
                  <p:nvPr userDrawn="1"/>
                </p:nvGrpSpPr>
                <p:grpSpPr>
                  <a:xfrm rot="10800000">
                    <a:off x="-2004261" y="5039725"/>
                    <a:ext cx="389111" cy="375410"/>
                    <a:chOff x="-2542178" y="4940055"/>
                    <a:chExt cx="516835" cy="498637"/>
                  </a:xfrm>
                </p:grpSpPr>
                <p:sp>
                  <p:nvSpPr>
                    <p:cNvPr id="57" name="Rechthoek 56">
                      <a:extLst>
                        <a:ext uri="{FF2B5EF4-FFF2-40B4-BE49-F238E27FC236}">
                          <a16:creationId xmlns:a16="http://schemas.microsoft.com/office/drawing/2014/main" id="{C09C6BB9-FCEA-6371-3B08-6B38EA71E9D6}"/>
                        </a:ext>
                      </a:extLst>
                    </p:cNvPr>
                    <p:cNvSpPr/>
                    <p:nvPr userDrawn="1"/>
                  </p:nvSpPr>
                  <p:spPr>
                    <a:xfrm>
                      <a:off x="-2538526" y="5145278"/>
                      <a:ext cx="510738" cy="13557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58" name="Groep 57">
                      <a:extLst>
                        <a:ext uri="{FF2B5EF4-FFF2-40B4-BE49-F238E27FC236}">
                          <a16:creationId xmlns:a16="http://schemas.microsoft.com/office/drawing/2014/main" id="{AD68F797-C324-C54B-3757-49F2B1BB6E52}"/>
                        </a:ext>
                      </a:extLst>
                    </p:cNvPr>
                    <p:cNvGrpSpPr/>
                    <p:nvPr userDrawn="1"/>
                  </p:nvGrpSpPr>
                  <p:grpSpPr>
                    <a:xfrm>
                      <a:off x="-2542178" y="4999319"/>
                      <a:ext cx="516835" cy="439373"/>
                      <a:chOff x="-3307743" y="4999319"/>
                      <a:chExt cx="516835" cy="439373"/>
                    </a:xfrm>
                  </p:grpSpPr>
                  <p:cxnSp>
                    <p:nvCxnSpPr>
                      <p:cNvPr id="60" name="Rechte verbindingslijn 59">
                        <a:extLst>
                          <a:ext uri="{FF2B5EF4-FFF2-40B4-BE49-F238E27FC236}">
                            <a16:creationId xmlns:a16="http://schemas.microsoft.com/office/drawing/2014/main" id="{493B2EAA-CC3D-2B28-97ED-40105CCEB968}"/>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0A4DA941-459A-8259-DD49-C9EC2ED8BB22}"/>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618CDAA8-6F87-3B2C-2A9B-478B5164B4E4}"/>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3" name="Rechte verbindingslijn 62">
                        <a:extLst>
                          <a:ext uri="{FF2B5EF4-FFF2-40B4-BE49-F238E27FC236}">
                            <a16:creationId xmlns:a16="http://schemas.microsoft.com/office/drawing/2014/main" id="{58B73F84-90C6-2FD9-FA4D-4353EEC560AA}"/>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64" name="Rechthoek 63">
                        <a:extLst>
                          <a:ext uri="{FF2B5EF4-FFF2-40B4-BE49-F238E27FC236}">
                            <a16:creationId xmlns:a16="http://schemas.microsoft.com/office/drawing/2014/main" id="{5779413C-9B4C-F836-4EE0-08899C7BDB9A}"/>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59" name="Pijl: rechts 58">
                      <a:extLst>
                        <a:ext uri="{FF2B5EF4-FFF2-40B4-BE49-F238E27FC236}">
                          <a16:creationId xmlns:a16="http://schemas.microsoft.com/office/drawing/2014/main" id="{CF3740C1-1197-5B94-676B-B8F89E4F885C}"/>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6" name="Tekstvak 55">
                    <a:extLst>
                      <a:ext uri="{FF2B5EF4-FFF2-40B4-BE49-F238E27FC236}">
                        <a16:creationId xmlns:a16="http://schemas.microsoft.com/office/drawing/2014/main" id="{C7357D96-4871-7660-5797-A208941C2B96}"/>
                      </a:ext>
                    </a:extLst>
                  </p:cNvPr>
                  <p:cNvSpPr txBox="1"/>
                  <p:nvPr userDrawn="1"/>
                </p:nvSpPr>
                <p:spPr>
                  <a:xfrm>
                    <a:off x="-20995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Below</a:t>
                    </a:r>
                  </a:p>
                </p:txBody>
              </p:sp>
            </p:grpSp>
            <p:grpSp>
              <p:nvGrpSpPr>
                <p:cNvPr id="33" name="Groep 32">
                  <a:extLst>
                    <a:ext uri="{FF2B5EF4-FFF2-40B4-BE49-F238E27FC236}">
                      <a16:creationId xmlns:a16="http://schemas.microsoft.com/office/drawing/2014/main" id="{7ED134D7-1995-7973-E36B-DB94AF4C1C6A}"/>
                    </a:ext>
                  </a:extLst>
                </p:cNvPr>
                <p:cNvGrpSpPr/>
                <p:nvPr userDrawn="1"/>
              </p:nvGrpSpPr>
              <p:grpSpPr>
                <a:xfrm>
                  <a:off x="-1497156" y="5039725"/>
                  <a:ext cx="572112" cy="630825"/>
                  <a:chOff x="-1501387" y="5039725"/>
                  <a:chExt cx="572112" cy="630825"/>
                </a:xfrm>
              </p:grpSpPr>
              <p:grpSp>
                <p:nvGrpSpPr>
                  <p:cNvPr id="45" name="Groep 44">
                    <a:extLst>
                      <a:ext uri="{FF2B5EF4-FFF2-40B4-BE49-F238E27FC236}">
                        <a16:creationId xmlns:a16="http://schemas.microsoft.com/office/drawing/2014/main" id="{DDD51958-5A86-6C52-A2D2-D4518DCD5AF8}"/>
                      </a:ext>
                    </a:extLst>
                  </p:cNvPr>
                  <p:cNvGrpSpPr/>
                  <p:nvPr userDrawn="1"/>
                </p:nvGrpSpPr>
                <p:grpSpPr>
                  <a:xfrm rot="10800000">
                    <a:off x="-1453772" y="5039725"/>
                    <a:ext cx="426738" cy="332849"/>
                    <a:chOff x="-2542179" y="4996586"/>
                    <a:chExt cx="566814" cy="442106"/>
                  </a:xfrm>
                </p:grpSpPr>
                <p:sp>
                  <p:nvSpPr>
                    <p:cNvPr id="47" name="Rechthoek 46">
                      <a:extLst>
                        <a:ext uri="{FF2B5EF4-FFF2-40B4-BE49-F238E27FC236}">
                          <a16:creationId xmlns:a16="http://schemas.microsoft.com/office/drawing/2014/main" id="{EE72868E-D584-81AF-4063-5A0097AFF4AE}"/>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48" name="Groep 47">
                      <a:extLst>
                        <a:ext uri="{FF2B5EF4-FFF2-40B4-BE49-F238E27FC236}">
                          <a16:creationId xmlns:a16="http://schemas.microsoft.com/office/drawing/2014/main" id="{2CDE409D-2F05-45A7-39E8-76568772D0B7}"/>
                        </a:ext>
                      </a:extLst>
                    </p:cNvPr>
                    <p:cNvGrpSpPr/>
                    <p:nvPr userDrawn="1"/>
                  </p:nvGrpSpPr>
                  <p:grpSpPr>
                    <a:xfrm>
                      <a:off x="-2542179" y="4996586"/>
                      <a:ext cx="516836" cy="442106"/>
                      <a:chOff x="-3307744" y="4996586"/>
                      <a:chExt cx="516836" cy="442106"/>
                    </a:xfrm>
                  </p:grpSpPr>
                  <p:cxnSp>
                    <p:nvCxnSpPr>
                      <p:cNvPr id="50" name="Rechte verbindingslijn 49">
                        <a:extLst>
                          <a:ext uri="{FF2B5EF4-FFF2-40B4-BE49-F238E27FC236}">
                            <a16:creationId xmlns:a16="http://schemas.microsoft.com/office/drawing/2014/main" id="{65EDBE9A-2EEE-6CBA-FC00-6FF7F728FBF5}"/>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EC6C942E-7BDE-C4EB-D8E8-C4E0B5F25981}"/>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C46A9036-651E-1325-BA71-DF80123054BE}"/>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3" name="Rechte verbindingslijn 52">
                        <a:extLst>
                          <a:ext uri="{FF2B5EF4-FFF2-40B4-BE49-F238E27FC236}">
                            <a16:creationId xmlns:a16="http://schemas.microsoft.com/office/drawing/2014/main" id="{EB9F8847-EABF-F15C-0490-C4CA7826626B}"/>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54" name="Rechthoek 53">
                        <a:extLst>
                          <a:ext uri="{FF2B5EF4-FFF2-40B4-BE49-F238E27FC236}">
                            <a16:creationId xmlns:a16="http://schemas.microsoft.com/office/drawing/2014/main" id="{405305E7-4660-105F-D972-023756F7B434}"/>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49" name="Pijl: rechts 48">
                      <a:extLst>
                        <a:ext uri="{FF2B5EF4-FFF2-40B4-BE49-F238E27FC236}">
                          <a16:creationId xmlns:a16="http://schemas.microsoft.com/office/drawing/2014/main" id="{3AE719E2-36E7-19AA-0C6E-B3FC2859D11B}"/>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6" name="Tekstvak 45">
                    <a:extLst>
                      <a:ext uri="{FF2B5EF4-FFF2-40B4-BE49-F238E27FC236}">
                        <a16:creationId xmlns:a16="http://schemas.microsoft.com/office/drawing/2014/main" id="{8B3578EB-20C1-5D48-C53C-7A2A1AF9CB6D}"/>
                      </a:ext>
                    </a:extLst>
                  </p:cNvPr>
                  <p:cNvSpPr txBox="1"/>
                  <p:nvPr userDrawn="1"/>
                </p:nvSpPr>
                <p:spPr>
                  <a:xfrm>
                    <a:off x="-1501387"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Left</a:t>
                    </a:r>
                  </a:p>
                </p:txBody>
              </p:sp>
            </p:grpSp>
            <p:grpSp>
              <p:nvGrpSpPr>
                <p:cNvPr id="34" name="Groep 33">
                  <a:extLst>
                    <a:ext uri="{FF2B5EF4-FFF2-40B4-BE49-F238E27FC236}">
                      <a16:creationId xmlns:a16="http://schemas.microsoft.com/office/drawing/2014/main" id="{198CBBF4-74C3-E0C7-C12C-350C0DE598A7}"/>
                    </a:ext>
                  </a:extLst>
                </p:cNvPr>
                <p:cNvGrpSpPr/>
                <p:nvPr userDrawn="1"/>
              </p:nvGrpSpPr>
              <p:grpSpPr>
                <a:xfrm>
                  <a:off x="-973743" y="5039725"/>
                  <a:ext cx="572112" cy="630825"/>
                  <a:chOff x="-961551" y="5039725"/>
                  <a:chExt cx="572112" cy="630825"/>
                </a:xfrm>
              </p:grpSpPr>
              <p:grpSp>
                <p:nvGrpSpPr>
                  <p:cNvPr id="35" name="Groep 34">
                    <a:extLst>
                      <a:ext uri="{FF2B5EF4-FFF2-40B4-BE49-F238E27FC236}">
                        <a16:creationId xmlns:a16="http://schemas.microsoft.com/office/drawing/2014/main" id="{75786429-9716-A02C-092E-4EB37BF1414B}"/>
                      </a:ext>
                    </a:extLst>
                  </p:cNvPr>
                  <p:cNvGrpSpPr/>
                  <p:nvPr userDrawn="1"/>
                </p:nvGrpSpPr>
                <p:grpSpPr>
                  <a:xfrm rot="10800000" flipH="1">
                    <a:off x="-868825" y="5039725"/>
                    <a:ext cx="426738" cy="332849"/>
                    <a:chOff x="-2542179" y="4996586"/>
                    <a:chExt cx="566814" cy="442106"/>
                  </a:xfrm>
                </p:grpSpPr>
                <p:sp>
                  <p:nvSpPr>
                    <p:cNvPr id="37" name="Rechthoek 36">
                      <a:extLst>
                        <a:ext uri="{FF2B5EF4-FFF2-40B4-BE49-F238E27FC236}">
                          <a16:creationId xmlns:a16="http://schemas.microsoft.com/office/drawing/2014/main" id="{DC35D875-B8DE-3E38-3CDA-D81D4DE86A18}"/>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38" name="Groep 37">
                      <a:extLst>
                        <a:ext uri="{FF2B5EF4-FFF2-40B4-BE49-F238E27FC236}">
                          <a16:creationId xmlns:a16="http://schemas.microsoft.com/office/drawing/2014/main" id="{78DE21A0-79C8-0795-8E27-C8EF36DE7C96}"/>
                        </a:ext>
                      </a:extLst>
                    </p:cNvPr>
                    <p:cNvGrpSpPr/>
                    <p:nvPr userDrawn="1"/>
                  </p:nvGrpSpPr>
                  <p:grpSpPr>
                    <a:xfrm>
                      <a:off x="-2542179" y="4996586"/>
                      <a:ext cx="516836" cy="442106"/>
                      <a:chOff x="-3307744" y="4996586"/>
                      <a:chExt cx="516836" cy="442106"/>
                    </a:xfrm>
                  </p:grpSpPr>
                  <p:cxnSp>
                    <p:nvCxnSpPr>
                      <p:cNvPr id="40" name="Rechte verbindingslijn 39">
                        <a:extLst>
                          <a:ext uri="{FF2B5EF4-FFF2-40B4-BE49-F238E27FC236}">
                            <a16:creationId xmlns:a16="http://schemas.microsoft.com/office/drawing/2014/main" id="{FEB7EE60-D964-277C-954C-AFF9FD816D76}"/>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987360EB-143D-1877-A3F1-C3150F6C5BED}"/>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3221FD42-EBC7-677E-9DF0-1B3D7E2586F6}"/>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ECC29FDF-4918-557B-AE7E-8CC1C355AAFB}"/>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44" name="Rechthoek 43">
                        <a:extLst>
                          <a:ext uri="{FF2B5EF4-FFF2-40B4-BE49-F238E27FC236}">
                            <a16:creationId xmlns:a16="http://schemas.microsoft.com/office/drawing/2014/main" id="{63BD9B3D-5671-DC3C-51B3-83A1F17951D4}"/>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39" name="Pijl: rechts 38">
                      <a:extLst>
                        <a:ext uri="{FF2B5EF4-FFF2-40B4-BE49-F238E27FC236}">
                          <a16:creationId xmlns:a16="http://schemas.microsoft.com/office/drawing/2014/main" id="{68B78420-2D82-4125-282E-73A8EF3C6F24}"/>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36" name="Tekstvak 35">
                    <a:extLst>
                      <a:ext uri="{FF2B5EF4-FFF2-40B4-BE49-F238E27FC236}">
                        <a16:creationId xmlns:a16="http://schemas.microsoft.com/office/drawing/2014/main" id="{2EA808CE-8C8F-CC62-7D55-19019EE28610}"/>
                      </a:ext>
                    </a:extLst>
                  </p:cNvPr>
                  <p:cNvSpPr txBox="1"/>
                  <p:nvPr userDrawn="1"/>
                </p:nvSpPr>
                <p:spPr>
                  <a:xfrm>
                    <a:off x="-961551"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Right</a:t>
                    </a:r>
                  </a:p>
                </p:txBody>
              </p:sp>
            </p:grpSp>
          </p:grpSp>
        </p:grpSp>
      </p:grpSp>
      <p:grpSp>
        <p:nvGrpSpPr>
          <p:cNvPr id="115" name="INSTRUCTION">
            <a:extLst>
              <a:ext uri="{FF2B5EF4-FFF2-40B4-BE49-F238E27FC236}">
                <a16:creationId xmlns:a16="http://schemas.microsoft.com/office/drawing/2014/main" id="{8075D8AE-E1CE-0EA8-EC10-399B95925FCE}"/>
              </a:ext>
            </a:extLst>
          </p:cNvPr>
          <p:cNvGrpSpPr/>
          <p:nvPr userDrawn="1"/>
        </p:nvGrpSpPr>
        <p:grpSpPr>
          <a:xfrm>
            <a:off x="-3786437" y="0"/>
            <a:ext cx="3693386" cy="5359349"/>
            <a:chOff x="-3786437" y="0"/>
            <a:chExt cx="3693386" cy="5359349"/>
          </a:xfrm>
        </p:grpSpPr>
        <p:sp>
          <p:nvSpPr>
            <p:cNvPr id="116" name="Rechthoek 115">
              <a:extLst>
                <a:ext uri="{FF2B5EF4-FFF2-40B4-BE49-F238E27FC236}">
                  <a16:creationId xmlns:a16="http://schemas.microsoft.com/office/drawing/2014/main" id="{DE5E32A1-9F55-81D2-15D2-ECE03905467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7" name="Rechthoek 116">
              <a:extLst>
                <a:ext uri="{FF2B5EF4-FFF2-40B4-BE49-F238E27FC236}">
                  <a16:creationId xmlns:a16="http://schemas.microsoft.com/office/drawing/2014/main" id="{07CE2493-BA90-690A-8D03-CFFD483B490A}"/>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8" name="Ovaal 117">
              <a:extLst>
                <a:ext uri="{FF2B5EF4-FFF2-40B4-BE49-F238E27FC236}">
                  <a16:creationId xmlns:a16="http://schemas.microsoft.com/office/drawing/2014/main" id="{FD441370-8CCE-F58A-4377-58B4D10B4E03}"/>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19" name="Rechthoek 118">
              <a:extLst>
                <a:ext uri="{FF2B5EF4-FFF2-40B4-BE49-F238E27FC236}">
                  <a16:creationId xmlns:a16="http://schemas.microsoft.com/office/drawing/2014/main" id="{BE2BFC48-A7B5-A204-4BE1-DADBC86D6F8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20" name="Ovaal 119">
              <a:extLst>
                <a:ext uri="{FF2B5EF4-FFF2-40B4-BE49-F238E27FC236}">
                  <a16:creationId xmlns:a16="http://schemas.microsoft.com/office/drawing/2014/main" id="{451959FC-AC4F-35DE-8D42-AC6557DCAF77}"/>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21" name="Rechthoek 120">
              <a:extLst>
                <a:ext uri="{FF2B5EF4-FFF2-40B4-BE49-F238E27FC236}">
                  <a16:creationId xmlns:a16="http://schemas.microsoft.com/office/drawing/2014/main" id="{1253EF31-0C16-15D4-BB3C-FBE11BB76DF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22" name="Rechthoek 121">
              <a:extLst>
                <a:ext uri="{FF2B5EF4-FFF2-40B4-BE49-F238E27FC236}">
                  <a16:creationId xmlns:a16="http://schemas.microsoft.com/office/drawing/2014/main" id="{7CA47634-8CE5-F1AF-5BC6-9F8A534FC48E}"/>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23" name="Ovaal 122">
              <a:extLst>
                <a:ext uri="{FF2B5EF4-FFF2-40B4-BE49-F238E27FC236}">
                  <a16:creationId xmlns:a16="http://schemas.microsoft.com/office/drawing/2014/main" id="{DEF29037-2406-3929-4CC4-6F4518668556}"/>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24" name="Rechthoek 123">
              <a:extLst>
                <a:ext uri="{FF2B5EF4-FFF2-40B4-BE49-F238E27FC236}">
                  <a16:creationId xmlns:a16="http://schemas.microsoft.com/office/drawing/2014/main" id="{20998DBF-A697-6815-50DA-A4B12A06A6B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25" name="Ovaal 124">
              <a:extLst>
                <a:ext uri="{FF2B5EF4-FFF2-40B4-BE49-F238E27FC236}">
                  <a16:creationId xmlns:a16="http://schemas.microsoft.com/office/drawing/2014/main" id="{7DAD990B-2AC3-CEA5-18A2-44F57A05CF17}"/>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126" name="Rechthoek 125">
              <a:extLst>
                <a:ext uri="{FF2B5EF4-FFF2-40B4-BE49-F238E27FC236}">
                  <a16:creationId xmlns:a16="http://schemas.microsoft.com/office/drawing/2014/main" id="{C167BC10-CE51-0E88-3316-0BF1216840FF}"/>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127" name="Ovaal 126">
              <a:extLst>
                <a:ext uri="{FF2B5EF4-FFF2-40B4-BE49-F238E27FC236}">
                  <a16:creationId xmlns:a16="http://schemas.microsoft.com/office/drawing/2014/main" id="{6969D551-22F6-9F4B-1065-A21C0619D07E}"/>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128" name="Rechthoek 127">
              <a:extLst>
                <a:ext uri="{FF2B5EF4-FFF2-40B4-BE49-F238E27FC236}">
                  <a16:creationId xmlns:a16="http://schemas.microsoft.com/office/drawing/2014/main" id="{64BEF27B-E999-4DD8-C34B-68556EDBA13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129" name="Ovaal 128">
              <a:extLst>
                <a:ext uri="{FF2B5EF4-FFF2-40B4-BE49-F238E27FC236}">
                  <a16:creationId xmlns:a16="http://schemas.microsoft.com/office/drawing/2014/main" id="{C358C836-7DCD-6DF1-D02E-71774C342064}"/>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130" name="Rechthoek 129">
              <a:extLst>
                <a:ext uri="{FF2B5EF4-FFF2-40B4-BE49-F238E27FC236}">
                  <a16:creationId xmlns:a16="http://schemas.microsoft.com/office/drawing/2014/main" id="{45DA4A6A-F4B5-130F-5749-CAAE8014D548}"/>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131" name="Ovaal 130">
              <a:extLst>
                <a:ext uri="{FF2B5EF4-FFF2-40B4-BE49-F238E27FC236}">
                  <a16:creationId xmlns:a16="http://schemas.microsoft.com/office/drawing/2014/main" id="{6D34AA5D-02FD-C534-7FF6-8A98FECBC297}"/>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132" name="Rechthoek 131">
              <a:extLst>
                <a:ext uri="{FF2B5EF4-FFF2-40B4-BE49-F238E27FC236}">
                  <a16:creationId xmlns:a16="http://schemas.microsoft.com/office/drawing/2014/main" id="{D441B5F1-5047-BA44-57A5-0D410184806A}"/>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133" name="Ovaal 132">
              <a:extLst>
                <a:ext uri="{FF2B5EF4-FFF2-40B4-BE49-F238E27FC236}">
                  <a16:creationId xmlns:a16="http://schemas.microsoft.com/office/drawing/2014/main" id="{B02595CB-9EA4-563B-91E1-E8E1A6B675A5}"/>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134" name="Rechthoek 133">
              <a:extLst>
                <a:ext uri="{FF2B5EF4-FFF2-40B4-BE49-F238E27FC236}">
                  <a16:creationId xmlns:a16="http://schemas.microsoft.com/office/drawing/2014/main" id="{D84EB465-A78A-5AD1-8106-948DC361993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135" name="Ovaal 134">
              <a:extLst>
                <a:ext uri="{FF2B5EF4-FFF2-40B4-BE49-F238E27FC236}">
                  <a16:creationId xmlns:a16="http://schemas.microsoft.com/office/drawing/2014/main" id="{BE5DB2BC-A372-D902-E9D7-BAEED3908581}"/>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136" name="Rechthoek 135">
              <a:extLst>
                <a:ext uri="{FF2B5EF4-FFF2-40B4-BE49-F238E27FC236}">
                  <a16:creationId xmlns:a16="http://schemas.microsoft.com/office/drawing/2014/main" id="{CEABF029-4214-781D-46B0-400F7F4A41D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37" name="Rechthoek 136">
              <a:extLst>
                <a:ext uri="{FF2B5EF4-FFF2-40B4-BE49-F238E27FC236}">
                  <a16:creationId xmlns:a16="http://schemas.microsoft.com/office/drawing/2014/main" id="{E4D50E83-7F5E-FCFE-F303-36655B3F23D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38" name="ICOON_info">
              <a:extLst>
                <a:ext uri="{FF2B5EF4-FFF2-40B4-BE49-F238E27FC236}">
                  <a16:creationId xmlns:a16="http://schemas.microsoft.com/office/drawing/2014/main" id="{A451B32E-5BEF-E9B5-2835-9415D11D981A}"/>
                </a:ext>
              </a:extLst>
            </p:cNvPr>
            <p:cNvGrpSpPr/>
            <p:nvPr userDrawn="1"/>
          </p:nvGrpSpPr>
          <p:grpSpPr>
            <a:xfrm>
              <a:off x="-376736" y="4400186"/>
              <a:ext cx="283685" cy="283685"/>
              <a:chOff x="-510741" y="5913713"/>
              <a:chExt cx="267555" cy="267555"/>
            </a:xfrm>
          </p:grpSpPr>
          <p:sp>
            <p:nvSpPr>
              <p:cNvPr id="186" name="Ovaal 185">
                <a:extLst>
                  <a:ext uri="{FF2B5EF4-FFF2-40B4-BE49-F238E27FC236}">
                    <a16:creationId xmlns:a16="http://schemas.microsoft.com/office/drawing/2014/main" id="{85768918-D586-2958-FBFD-2E9CDDB7320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7" name="Graphic 163" descr="Informatie">
                <a:extLst>
                  <a:ext uri="{FF2B5EF4-FFF2-40B4-BE49-F238E27FC236}">
                    <a16:creationId xmlns:a16="http://schemas.microsoft.com/office/drawing/2014/main" id="{25F4B202-A167-CCF5-600C-8C6341B8EC1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9" name="VOORBEELD">
              <a:extLst>
                <a:ext uri="{FF2B5EF4-FFF2-40B4-BE49-F238E27FC236}">
                  <a16:creationId xmlns:a16="http://schemas.microsoft.com/office/drawing/2014/main" id="{361AA494-B8F0-FBF2-0992-933005D2E687}"/>
                </a:ext>
              </a:extLst>
            </p:cNvPr>
            <p:cNvGrpSpPr/>
            <p:nvPr userDrawn="1"/>
          </p:nvGrpSpPr>
          <p:grpSpPr>
            <a:xfrm>
              <a:off x="-3605171" y="458674"/>
              <a:ext cx="3234311" cy="558875"/>
              <a:chOff x="-3605171" y="458674"/>
              <a:chExt cx="3234311" cy="558875"/>
            </a:xfrm>
          </p:grpSpPr>
          <p:sp>
            <p:nvSpPr>
              <p:cNvPr id="146" name="Rechthoek 145">
                <a:extLst>
                  <a:ext uri="{FF2B5EF4-FFF2-40B4-BE49-F238E27FC236}">
                    <a16:creationId xmlns:a16="http://schemas.microsoft.com/office/drawing/2014/main" id="{9A0AE75B-761C-70DD-7C9F-9F2F6A0D198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7" name="Rechthoek 146">
                <a:extLst>
                  <a:ext uri="{FF2B5EF4-FFF2-40B4-BE49-F238E27FC236}">
                    <a16:creationId xmlns:a16="http://schemas.microsoft.com/office/drawing/2014/main" id="{E74F8B55-CB99-8D97-5727-7F1B98AC740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8" name="Groep 147">
                <a:extLst>
                  <a:ext uri="{FF2B5EF4-FFF2-40B4-BE49-F238E27FC236}">
                    <a16:creationId xmlns:a16="http://schemas.microsoft.com/office/drawing/2014/main" id="{92EFA40C-86EB-A27F-63C7-E4C498760E1D}"/>
                  </a:ext>
                </a:extLst>
              </p:cNvPr>
              <p:cNvGrpSpPr/>
              <p:nvPr userDrawn="1"/>
            </p:nvGrpSpPr>
            <p:grpSpPr>
              <a:xfrm>
                <a:off x="-3386247" y="830871"/>
                <a:ext cx="139423" cy="109566"/>
                <a:chOff x="-2866744" y="827071"/>
                <a:chExt cx="168701" cy="132575"/>
              </a:xfrm>
            </p:grpSpPr>
            <p:grpSp>
              <p:nvGrpSpPr>
                <p:cNvPr id="179" name="Groep 178">
                  <a:extLst>
                    <a:ext uri="{FF2B5EF4-FFF2-40B4-BE49-F238E27FC236}">
                      <a16:creationId xmlns:a16="http://schemas.microsoft.com/office/drawing/2014/main" id="{DF8C096C-B5E4-FAEA-A366-84BBD25D7C9E}"/>
                    </a:ext>
                  </a:extLst>
                </p:cNvPr>
                <p:cNvGrpSpPr/>
                <p:nvPr userDrawn="1"/>
              </p:nvGrpSpPr>
              <p:grpSpPr>
                <a:xfrm>
                  <a:off x="-2866744" y="827071"/>
                  <a:ext cx="168701" cy="132575"/>
                  <a:chOff x="-2866744" y="827071"/>
                  <a:chExt cx="168701" cy="132575"/>
                </a:xfrm>
              </p:grpSpPr>
              <p:cxnSp>
                <p:nvCxnSpPr>
                  <p:cNvPr id="181" name="Rechte verbindingslijn 180">
                    <a:extLst>
                      <a:ext uri="{FF2B5EF4-FFF2-40B4-BE49-F238E27FC236}">
                        <a16:creationId xmlns:a16="http://schemas.microsoft.com/office/drawing/2014/main" id="{707ECCFC-B5B3-195E-5A9A-6A2CBB8B749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53138971-5F2F-FFFC-CE5A-A3C4B5BB869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C4707EF0-7F69-ED56-6ED6-10927F3664A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84" name="Rechte verbindingslijn 183">
                    <a:extLst>
                      <a:ext uri="{FF2B5EF4-FFF2-40B4-BE49-F238E27FC236}">
                        <a16:creationId xmlns:a16="http://schemas.microsoft.com/office/drawing/2014/main" id="{23CEF893-1062-886D-1969-1EFC3E6B250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85" name="Rechte verbindingslijn 184">
                    <a:extLst>
                      <a:ext uri="{FF2B5EF4-FFF2-40B4-BE49-F238E27FC236}">
                        <a16:creationId xmlns:a16="http://schemas.microsoft.com/office/drawing/2014/main" id="{F7872834-FE6E-F6B6-20C5-225CEBFB52C7}"/>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80" name="Pijl: rechts 179">
                  <a:extLst>
                    <a:ext uri="{FF2B5EF4-FFF2-40B4-BE49-F238E27FC236}">
                      <a16:creationId xmlns:a16="http://schemas.microsoft.com/office/drawing/2014/main" id="{2D47A1A3-06AB-5C8D-E470-C4D3F2FA8EA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E0DAECA5-C71B-ABF4-9DC0-9028C6AD6E22}"/>
                  </a:ext>
                </a:extLst>
              </p:cNvPr>
              <p:cNvGrpSpPr/>
              <p:nvPr userDrawn="1"/>
            </p:nvGrpSpPr>
            <p:grpSpPr>
              <a:xfrm>
                <a:off x="-3605171" y="830871"/>
                <a:ext cx="139423" cy="109566"/>
                <a:chOff x="-2866744" y="518074"/>
                <a:chExt cx="168701" cy="132575"/>
              </a:xfrm>
            </p:grpSpPr>
            <p:grpSp>
              <p:nvGrpSpPr>
                <p:cNvPr id="172" name="Groep 171">
                  <a:extLst>
                    <a:ext uri="{FF2B5EF4-FFF2-40B4-BE49-F238E27FC236}">
                      <a16:creationId xmlns:a16="http://schemas.microsoft.com/office/drawing/2014/main" id="{965452BA-CB98-7881-337B-F2D976241E54}"/>
                    </a:ext>
                  </a:extLst>
                </p:cNvPr>
                <p:cNvGrpSpPr/>
                <p:nvPr userDrawn="1"/>
              </p:nvGrpSpPr>
              <p:grpSpPr>
                <a:xfrm>
                  <a:off x="-2866744" y="518074"/>
                  <a:ext cx="168701" cy="132575"/>
                  <a:chOff x="-2866744" y="518074"/>
                  <a:chExt cx="168701" cy="132575"/>
                </a:xfrm>
              </p:grpSpPr>
              <p:cxnSp>
                <p:nvCxnSpPr>
                  <p:cNvPr id="174" name="Rechte verbindingslijn 173">
                    <a:extLst>
                      <a:ext uri="{FF2B5EF4-FFF2-40B4-BE49-F238E27FC236}">
                        <a16:creationId xmlns:a16="http://schemas.microsoft.com/office/drawing/2014/main" id="{9CE15301-5208-751B-BCAD-B9318D370C1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75" name="Rechte verbindingslijn 174">
                    <a:extLst>
                      <a:ext uri="{FF2B5EF4-FFF2-40B4-BE49-F238E27FC236}">
                        <a16:creationId xmlns:a16="http://schemas.microsoft.com/office/drawing/2014/main" id="{1947177B-DA6D-EBEA-9F74-4241C54D07C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03517B11-774F-E2FD-4A88-4FAABA0B6D7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CA2C953D-4127-2E51-6576-3DFE4721112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0EFEC21B-F2F7-81C7-994F-C0D02F446180}"/>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3" name="Pijl: rechts 172">
                  <a:extLst>
                    <a:ext uri="{FF2B5EF4-FFF2-40B4-BE49-F238E27FC236}">
                      <a16:creationId xmlns:a16="http://schemas.microsoft.com/office/drawing/2014/main" id="{D37831A9-FFE2-EB72-630B-E2EBACEC273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50" name="Rechte verbindingslijn 149">
                <a:extLst>
                  <a:ext uri="{FF2B5EF4-FFF2-40B4-BE49-F238E27FC236}">
                    <a16:creationId xmlns:a16="http://schemas.microsoft.com/office/drawing/2014/main" id="{E8F54E9F-4F9B-1FF3-D6B4-ABD1C13EBD1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51" name="Rechte verbindingslijn 150">
                <a:extLst>
                  <a:ext uri="{FF2B5EF4-FFF2-40B4-BE49-F238E27FC236}">
                    <a16:creationId xmlns:a16="http://schemas.microsoft.com/office/drawing/2014/main" id="{A1BFAFBC-DD5F-04F8-8EDA-4EF8BC38007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52" name="Rechthoek 151">
                <a:extLst>
                  <a:ext uri="{FF2B5EF4-FFF2-40B4-BE49-F238E27FC236}">
                    <a16:creationId xmlns:a16="http://schemas.microsoft.com/office/drawing/2014/main" id="{50B1C2A5-A2EF-7477-BCE2-BCAC2E044AB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153" name="Rechthoek 152">
                <a:extLst>
                  <a:ext uri="{FF2B5EF4-FFF2-40B4-BE49-F238E27FC236}">
                    <a16:creationId xmlns:a16="http://schemas.microsoft.com/office/drawing/2014/main" id="{1738D115-52F1-F307-BEAF-77C6A114A74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154" name="Groep 153">
                <a:extLst>
                  <a:ext uri="{FF2B5EF4-FFF2-40B4-BE49-F238E27FC236}">
                    <a16:creationId xmlns:a16="http://schemas.microsoft.com/office/drawing/2014/main" id="{F2201E8B-59F1-51E8-D5B0-91E1B0863560}"/>
                  </a:ext>
                </a:extLst>
              </p:cNvPr>
              <p:cNvGrpSpPr/>
              <p:nvPr userDrawn="1"/>
            </p:nvGrpSpPr>
            <p:grpSpPr>
              <a:xfrm>
                <a:off x="-2916763" y="769168"/>
                <a:ext cx="268738" cy="248381"/>
                <a:chOff x="-2916763" y="769168"/>
                <a:chExt cx="268738" cy="248381"/>
              </a:xfrm>
            </p:grpSpPr>
            <p:sp>
              <p:nvSpPr>
                <p:cNvPr id="164" name="Rechthoek 163">
                  <a:extLst>
                    <a:ext uri="{FF2B5EF4-FFF2-40B4-BE49-F238E27FC236}">
                      <a16:creationId xmlns:a16="http://schemas.microsoft.com/office/drawing/2014/main" id="{64377694-64F0-9136-1071-1A8A8314218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65" name="Groep 164">
                  <a:extLst>
                    <a:ext uri="{FF2B5EF4-FFF2-40B4-BE49-F238E27FC236}">
                      <a16:creationId xmlns:a16="http://schemas.microsoft.com/office/drawing/2014/main" id="{268C5F6B-201B-C1B9-8931-8711BDE46A25}"/>
                    </a:ext>
                  </a:extLst>
                </p:cNvPr>
                <p:cNvGrpSpPr/>
                <p:nvPr userDrawn="1"/>
              </p:nvGrpSpPr>
              <p:grpSpPr>
                <a:xfrm>
                  <a:off x="-2866744" y="827071"/>
                  <a:ext cx="168701" cy="132575"/>
                  <a:chOff x="-2866744" y="827071"/>
                  <a:chExt cx="168701" cy="132575"/>
                </a:xfrm>
              </p:grpSpPr>
              <p:cxnSp>
                <p:nvCxnSpPr>
                  <p:cNvPr id="167" name="Rechte verbindingslijn 166">
                    <a:extLst>
                      <a:ext uri="{FF2B5EF4-FFF2-40B4-BE49-F238E27FC236}">
                        <a16:creationId xmlns:a16="http://schemas.microsoft.com/office/drawing/2014/main" id="{23403F9E-829A-4FC6-577C-D8C2B0C3365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8" name="Rechte verbindingslijn 167">
                    <a:extLst>
                      <a:ext uri="{FF2B5EF4-FFF2-40B4-BE49-F238E27FC236}">
                        <a16:creationId xmlns:a16="http://schemas.microsoft.com/office/drawing/2014/main" id="{93EF19B7-BD93-0D9E-BF94-FD08A7B2D02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DBF4E1AE-819A-E3DA-D0A4-55F35D9E169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33481E89-CDC9-D2B4-70CD-1DEC99C8A5E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76945D74-835E-7E12-AAC6-5798B68452E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6" name="Pijl: rechts 165">
                  <a:extLst>
                    <a:ext uri="{FF2B5EF4-FFF2-40B4-BE49-F238E27FC236}">
                      <a16:creationId xmlns:a16="http://schemas.microsoft.com/office/drawing/2014/main" id="{C478D46A-5133-1FD1-BBD5-81E32A7AFC7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55" name="Groep 154">
                <a:extLst>
                  <a:ext uri="{FF2B5EF4-FFF2-40B4-BE49-F238E27FC236}">
                    <a16:creationId xmlns:a16="http://schemas.microsoft.com/office/drawing/2014/main" id="{17BD9A0B-18C8-173C-24A1-7675104DC660}"/>
                  </a:ext>
                </a:extLst>
              </p:cNvPr>
              <p:cNvGrpSpPr/>
              <p:nvPr userDrawn="1"/>
            </p:nvGrpSpPr>
            <p:grpSpPr>
              <a:xfrm>
                <a:off x="-2916763" y="460171"/>
                <a:ext cx="268738" cy="248381"/>
                <a:chOff x="-2916763" y="460171"/>
                <a:chExt cx="268738" cy="248381"/>
              </a:xfrm>
            </p:grpSpPr>
            <p:sp>
              <p:nvSpPr>
                <p:cNvPr id="156" name="Rechthoek 155">
                  <a:extLst>
                    <a:ext uri="{FF2B5EF4-FFF2-40B4-BE49-F238E27FC236}">
                      <a16:creationId xmlns:a16="http://schemas.microsoft.com/office/drawing/2014/main" id="{F07C8147-C603-438A-D032-68C5469EA386}"/>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7" name="Groep 156">
                  <a:extLst>
                    <a:ext uri="{FF2B5EF4-FFF2-40B4-BE49-F238E27FC236}">
                      <a16:creationId xmlns:a16="http://schemas.microsoft.com/office/drawing/2014/main" id="{568D6B0C-F200-D011-E21B-FD981F5121C6}"/>
                    </a:ext>
                  </a:extLst>
                </p:cNvPr>
                <p:cNvGrpSpPr/>
                <p:nvPr userDrawn="1"/>
              </p:nvGrpSpPr>
              <p:grpSpPr>
                <a:xfrm>
                  <a:off x="-2866744" y="518074"/>
                  <a:ext cx="168701" cy="132575"/>
                  <a:chOff x="-2866744" y="518074"/>
                  <a:chExt cx="168701" cy="132575"/>
                </a:xfrm>
              </p:grpSpPr>
              <p:cxnSp>
                <p:nvCxnSpPr>
                  <p:cNvPr id="159" name="Rechte verbindingslijn 158">
                    <a:extLst>
                      <a:ext uri="{FF2B5EF4-FFF2-40B4-BE49-F238E27FC236}">
                        <a16:creationId xmlns:a16="http://schemas.microsoft.com/office/drawing/2014/main" id="{3FBFE736-F1EE-57D9-E26E-9C2B37070DE9}"/>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0" name="Rechte verbindingslijn 159">
                    <a:extLst>
                      <a:ext uri="{FF2B5EF4-FFF2-40B4-BE49-F238E27FC236}">
                        <a16:creationId xmlns:a16="http://schemas.microsoft.com/office/drawing/2014/main" id="{F0232287-13EB-4C65-6AB6-2A77465F8F8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61" name="Rechte verbindingslijn 160">
                    <a:extLst>
                      <a:ext uri="{FF2B5EF4-FFF2-40B4-BE49-F238E27FC236}">
                        <a16:creationId xmlns:a16="http://schemas.microsoft.com/office/drawing/2014/main" id="{BB2C1709-3C6A-4A88-B7C3-3C671F0ECB8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C6E429EF-6BD0-2BC1-C138-F1E5F1C5928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C8F5ABE5-1AD2-C3DC-45EA-BCB4BC13E20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8" name="Pijl: rechts 157">
                  <a:extLst>
                    <a:ext uri="{FF2B5EF4-FFF2-40B4-BE49-F238E27FC236}">
                      <a16:creationId xmlns:a16="http://schemas.microsoft.com/office/drawing/2014/main" id="{6BE4381B-361D-84EE-6F40-DEBAC43F96A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40" name="Groep 139">
              <a:extLst>
                <a:ext uri="{FF2B5EF4-FFF2-40B4-BE49-F238E27FC236}">
                  <a16:creationId xmlns:a16="http://schemas.microsoft.com/office/drawing/2014/main" id="{6D821942-D9D2-37CC-B2C4-1641D37AD792}"/>
                </a:ext>
              </a:extLst>
            </p:cNvPr>
            <p:cNvGrpSpPr/>
            <p:nvPr userDrawn="1"/>
          </p:nvGrpSpPr>
          <p:grpSpPr>
            <a:xfrm>
              <a:off x="-938434" y="4663037"/>
              <a:ext cx="627798" cy="576693"/>
              <a:chOff x="-1753862" y="6112775"/>
              <a:chExt cx="759635" cy="697798"/>
            </a:xfrm>
          </p:grpSpPr>
          <p:grpSp>
            <p:nvGrpSpPr>
              <p:cNvPr id="141" name="Inspireren">
                <a:extLst>
                  <a:ext uri="{FF2B5EF4-FFF2-40B4-BE49-F238E27FC236}">
                    <a16:creationId xmlns:a16="http://schemas.microsoft.com/office/drawing/2014/main" id="{5EAF2DEF-445A-66B3-9B29-531C1430809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43" name="Freeform 12">
                  <a:extLst>
                    <a:ext uri="{FF2B5EF4-FFF2-40B4-BE49-F238E27FC236}">
                      <a16:creationId xmlns:a16="http://schemas.microsoft.com/office/drawing/2014/main" id="{065B69A0-5F61-891D-D35C-833B4A11C1D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44" name="Freeform 13">
                  <a:extLst>
                    <a:ext uri="{FF2B5EF4-FFF2-40B4-BE49-F238E27FC236}">
                      <a16:creationId xmlns:a16="http://schemas.microsoft.com/office/drawing/2014/main" id="{9A0D9823-A76C-D654-F4EB-C1C769F46C8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45" name="Freeform 14">
                  <a:extLst>
                    <a:ext uri="{FF2B5EF4-FFF2-40B4-BE49-F238E27FC236}">
                      <a16:creationId xmlns:a16="http://schemas.microsoft.com/office/drawing/2014/main" id="{9A163A19-49E2-D201-A9E5-704E578353DE}"/>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42" name="Tekstvak 141">
                <a:extLst>
                  <a:ext uri="{FF2B5EF4-FFF2-40B4-BE49-F238E27FC236}">
                    <a16:creationId xmlns:a16="http://schemas.microsoft.com/office/drawing/2014/main" id="{5B71E043-96A4-1713-1B53-2C7DDEDD7794}"/>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104119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p:txBody>
          <a:bodyPr/>
          <a:lstStyle/>
          <a:p>
            <a:r>
              <a:rPr lang="en-GB" noProof="0" dirty="0"/>
              <a:t>Title goes here</a:t>
            </a:r>
          </a:p>
        </p:txBody>
      </p:sp>
      <p:sp>
        <p:nvSpPr>
          <p:cNvPr id="17" name="Tijdelijke aanduiding voor tabel 16">
            <a:extLst>
              <a:ext uri="{FF2B5EF4-FFF2-40B4-BE49-F238E27FC236}">
                <a16:creationId xmlns:a16="http://schemas.microsoft.com/office/drawing/2014/main" id="{AC3E0255-315C-47D9-A8A2-220D1CB08F50}"/>
              </a:ext>
            </a:extLst>
          </p:cNvPr>
          <p:cNvSpPr>
            <a:spLocks noGrp="1"/>
          </p:cNvSpPr>
          <p:nvPr>
            <p:ph type="tbl" sz="quarter" idx="13" hasCustomPrompt="1"/>
          </p:nvPr>
        </p:nvSpPr>
        <p:spPr>
          <a:xfrm>
            <a:off x="723000" y="1565275"/>
            <a:ext cx="10746000" cy="443547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table</a:t>
            </a:r>
          </a:p>
        </p:txBody>
      </p:sp>
      <p:sp>
        <p:nvSpPr>
          <p:cNvPr id="8" name="Rechthoek 7">
            <a:extLst>
              <a:ext uri="{FF2B5EF4-FFF2-40B4-BE49-F238E27FC236}">
                <a16:creationId xmlns:a16="http://schemas.microsoft.com/office/drawing/2014/main" id="{02FC7157-BDBD-4338-9C83-079E45D53067}"/>
              </a:ext>
            </a:extLst>
          </p:cNvPr>
          <p:cNvSpPr/>
          <p:nvPr userDrawn="1"/>
        </p:nvSpPr>
        <p:spPr>
          <a:xfrm>
            <a:off x="0" y="-441330"/>
            <a:ext cx="5856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able</a:t>
            </a:r>
          </a:p>
        </p:txBody>
      </p:sp>
      <p:sp>
        <p:nvSpPr>
          <p:cNvPr id="3" name="Tijdelijke aanduiding voor datum 2">
            <a:extLst>
              <a:ext uri="{FF2B5EF4-FFF2-40B4-BE49-F238E27FC236}">
                <a16:creationId xmlns:a16="http://schemas.microsoft.com/office/drawing/2014/main" id="{939B92A0-6A1A-48FD-9DE6-B4526A0F6820}"/>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439C9CDC-BA47-4EE3-AB72-1B052FAD6FB1}"/>
              </a:ext>
            </a:extLst>
          </p:cNvPr>
          <p:cNvSpPr>
            <a:spLocks noGrp="1"/>
          </p:cNvSpPr>
          <p:nvPr>
            <p:ph type="sldNum" sz="quarter" idx="16"/>
          </p:nvPr>
        </p:nvSpPr>
        <p:spPr/>
        <p:txBody>
          <a:bodyPr/>
          <a:lstStyle/>
          <a:p>
            <a:fld id="{9E843DB9-9987-4157-AB9C-CEA8D7D910BB}" type="slidenum">
              <a:rPr lang="en-GB" smtClean="0"/>
              <a:pPr/>
              <a:t>‹#›</a:t>
            </a:fld>
            <a:endParaRPr lang="en-GB" dirty="0"/>
          </a:p>
        </p:txBody>
      </p:sp>
      <p:grpSp>
        <p:nvGrpSpPr>
          <p:cNvPr id="4" name="INSTRUCTION">
            <a:extLst>
              <a:ext uri="{FF2B5EF4-FFF2-40B4-BE49-F238E27FC236}">
                <a16:creationId xmlns:a16="http://schemas.microsoft.com/office/drawing/2014/main" id="{EC699F33-2E3A-FFCF-4DD5-9921CA75F019}"/>
              </a:ext>
            </a:extLst>
          </p:cNvPr>
          <p:cNvGrpSpPr/>
          <p:nvPr userDrawn="1"/>
        </p:nvGrpSpPr>
        <p:grpSpPr>
          <a:xfrm>
            <a:off x="-3786437" y="-12068"/>
            <a:ext cx="3693386" cy="6705423"/>
            <a:chOff x="-3786437" y="-12068"/>
            <a:chExt cx="3693386" cy="6705423"/>
          </a:xfrm>
        </p:grpSpPr>
        <p:grpSp>
          <p:nvGrpSpPr>
            <p:cNvPr id="6" name="Groep 5">
              <a:extLst>
                <a:ext uri="{FF2B5EF4-FFF2-40B4-BE49-F238E27FC236}">
                  <a16:creationId xmlns:a16="http://schemas.microsoft.com/office/drawing/2014/main" id="{0FBDA47F-B83A-18DA-F700-13A5BBB09046}"/>
                </a:ext>
              </a:extLst>
            </p:cNvPr>
            <p:cNvGrpSpPr/>
            <p:nvPr userDrawn="1"/>
          </p:nvGrpSpPr>
          <p:grpSpPr>
            <a:xfrm>
              <a:off x="-3784148" y="-12068"/>
              <a:ext cx="3592800" cy="3238700"/>
              <a:chOff x="-3784148" y="-12068"/>
              <a:chExt cx="3592800" cy="3238700"/>
            </a:xfrm>
          </p:grpSpPr>
          <p:sp>
            <p:nvSpPr>
              <p:cNvPr id="80" name="Rechthoek 79">
                <a:extLst>
                  <a:ext uri="{FF2B5EF4-FFF2-40B4-BE49-F238E27FC236}">
                    <a16:creationId xmlns:a16="http://schemas.microsoft.com/office/drawing/2014/main" id="{7A52D25F-2C5A-7F04-0A84-DBDCC730D2EB}"/>
                  </a:ext>
                </a:extLst>
              </p:cNvPr>
              <p:cNvSpPr/>
              <p:nvPr userDrawn="1"/>
            </p:nvSpPr>
            <p:spPr>
              <a:xfrm>
                <a:off x="-3784148" y="-12068"/>
                <a:ext cx="3592800" cy="32387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Table</a:t>
                </a:r>
              </a:p>
            </p:txBody>
          </p:sp>
          <p:sp>
            <p:nvSpPr>
              <p:cNvPr id="81" name="Ovaal 80">
                <a:extLst>
                  <a:ext uri="{FF2B5EF4-FFF2-40B4-BE49-F238E27FC236}">
                    <a16:creationId xmlns:a16="http://schemas.microsoft.com/office/drawing/2014/main" id="{4C0D95F2-46B5-9570-352D-D03EE13FDFF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2" name="Rechthoek 81">
                <a:extLst>
                  <a:ext uri="{FF2B5EF4-FFF2-40B4-BE49-F238E27FC236}">
                    <a16:creationId xmlns:a16="http://schemas.microsoft.com/office/drawing/2014/main" id="{123771F7-65DB-21C8-F669-CBDD2137E36B}"/>
                  </a:ext>
                </a:extLst>
              </p:cNvPr>
              <p:cNvSpPr/>
              <p:nvPr userDrawn="1"/>
            </p:nvSpPr>
            <p:spPr>
              <a:xfrm>
                <a:off x="-3319415" y="465324"/>
                <a:ext cx="2944682" cy="49950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table, select the preferred part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83" name="Groep 82">
                <a:extLst>
                  <a:ext uri="{FF2B5EF4-FFF2-40B4-BE49-F238E27FC236}">
                    <a16:creationId xmlns:a16="http://schemas.microsoft.com/office/drawing/2014/main" id="{2BE55E1A-DA73-1985-BD57-EBE0EC8A75A9}"/>
                  </a:ext>
                </a:extLst>
              </p:cNvPr>
              <p:cNvGrpSpPr/>
              <p:nvPr userDrawn="1"/>
            </p:nvGrpSpPr>
            <p:grpSpPr>
              <a:xfrm>
                <a:off x="-3312582" y="1060763"/>
                <a:ext cx="576000" cy="246597"/>
                <a:chOff x="-3312582" y="1060763"/>
                <a:chExt cx="576000" cy="246597"/>
              </a:xfrm>
            </p:grpSpPr>
            <p:sp>
              <p:nvSpPr>
                <p:cNvPr id="102" name="Rechthoek 101">
                  <a:extLst>
                    <a:ext uri="{FF2B5EF4-FFF2-40B4-BE49-F238E27FC236}">
                      <a16:creationId xmlns:a16="http://schemas.microsoft.com/office/drawing/2014/main" id="{B9303409-EC86-717A-50C3-F0F44EB3C73A}"/>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103" name="Rechthoek 102">
                  <a:extLst>
                    <a:ext uri="{FF2B5EF4-FFF2-40B4-BE49-F238E27FC236}">
                      <a16:creationId xmlns:a16="http://schemas.microsoft.com/office/drawing/2014/main" id="{AFB386F7-6D8D-79A9-FDA5-E654612A4BE6}"/>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84" name="Ovaal 83">
                <a:extLst>
                  <a:ext uri="{FF2B5EF4-FFF2-40B4-BE49-F238E27FC236}">
                    <a16:creationId xmlns:a16="http://schemas.microsoft.com/office/drawing/2014/main" id="{ABC12566-DBD7-E2E4-8110-1FAF3D4C52DB}"/>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A9BFA1F6-BF79-1F6C-2BE8-34A9A62DBB1F}"/>
                  </a:ext>
                </a:extLst>
              </p:cNvPr>
              <p:cNvSpPr/>
              <p:nvPr userDrawn="1"/>
            </p:nvSpPr>
            <p:spPr>
              <a:xfrm>
                <a:off x="-3319415" y="1493636"/>
                <a:ext cx="2944682" cy="81348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is tab you can choose a different fill colou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ding’</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choose a border format as well. Find and edit this 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aw borders’ </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apply this to the table by clicking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orders’.</a:t>
                </a:r>
              </a:p>
            </p:txBody>
          </p:sp>
          <p:grpSp>
            <p:nvGrpSpPr>
              <p:cNvPr id="86" name="Groep 85">
                <a:extLst>
                  <a:ext uri="{FF2B5EF4-FFF2-40B4-BE49-F238E27FC236}">
                    <a16:creationId xmlns:a16="http://schemas.microsoft.com/office/drawing/2014/main" id="{235303F0-D3C3-0E56-B360-73BF7C473E44}"/>
                  </a:ext>
                </a:extLst>
              </p:cNvPr>
              <p:cNvGrpSpPr/>
              <p:nvPr userDrawn="1"/>
            </p:nvGrpSpPr>
            <p:grpSpPr>
              <a:xfrm>
                <a:off x="-3314820" y="2412753"/>
                <a:ext cx="1026864" cy="628849"/>
                <a:chOff x="-3314820" y="2412753"/>
                <a:chExt cx="1026864" cy="628849"/>
              </a:xfrm>
            </p:grpSpPr>
            <p:sp>
              <p:nvSpPr>
                <p:cNvPr id="87" name="Rechthoek 86">
                  <a:extLst>
                    <a:ext uri="{FF2B5EF4-FFF2-40B4-BE49-F238E27FC236}">
                      <a16:creationId xmlns:a16="http://schemas.microsoft.com/office/drawing/2014/main" id="{DAB1E85E-33EE-8C13-C933-D01196320F6D}"/>
                    </a:ext>
                  </a:extLst>
                </p:cNvPr>
                <p:cNvSpPr/>
                <p:nvPr userDrawn="1"/>
              </p:nvSpPr>
              <p:spPr>
                <a:xfrm>
                  <a:off x="-3314820" y="2412753"/>
                  <a:ext cx="998435" cy="531042"/>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44424B1E-2793-90F3-FFFC-76EA5A962249}"/>
                    </a:ext>
                  </a:extLst>
                </p:cNvPr>
                <p:cNvSpPr/>
                <p:nvPr userDrawn="1"/>
              </p:nvSpPr>
              <p:spPr>
                <a:xfrm>
                  <a:off x="-3304719" y="2684815"/>
                  <a:ext cx="982999" cy="254009"/>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9" name="Tekstvak 88">
                  <a:extLst>
                    <a:ext uri="{FF2B5EF4-FFF2-40B4-BE49-F238E27FC236}">
                      <a16:creationId xmlns:a16="http://schemas.microsoft.com/office/drawing/2014/main" id="{4D27574E-93DE-9D80-645A-D097A590FBDF}"/>
                    </a:ext>
                  </a:extLst>
                </p:cNvPr>
                <p:cNvSpPr txBox="1"/>
                <p:nvPr userDrawn="1"/>
              </p:nvSpPr>
              <p:spPr>
                <a:xfrm>
                  <a:off x="-3083201" y="2494002"/>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hading</a:t>
                  </a:r>
                </a:p>
              </p:txBody>
            </p:sp>
            <p:sp>
              <p:nvSpPr>
                <p:cNvPr id="90" name="Vrije vorm: vorm 89">
                  <a:extLst>
                    <a:ext uri="{FF2B5EF4-FFF2-40B4-BE49-F238E27FC236}">
                      <a16:creationId xmlns:a16="http://schemas.microsoft.com/office/drawing/2014/main" id="{3411EA96-9F30-9F76-527A-AC9D44291E21}"/>
                    </a:ext>
                  </a:extLst>
                </p:cNvPr>
                <p:cNvSpPr/>
                <p:nvPr userDrawn="1"/>
              </p:nvSpPr>
              <p:spPr>
                <a:xfrm>
                  <a:off x="-2385518" y="286160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3265334F-A093-5DED-14A6-4AC6BB6ED3B4}"/>
                    </a:ext>
                  </a:extLst>
                </p:cNvPr>
                <p:cNvGrpSpPr/>
                <p:nvPr userDrawn="1"/>
              </p:nvGrpSpPr>
              <p:grpSpPr>
                <a:xfrm>
                  <a:off x="-3243855" y="2463212"/>
                  <a:ext cx="157453" cy="147831"/>
                  <a:chOff x="-899320" y="3037554"/>
                  <a:chExt cx="175977" cy="165227"/>
                </a:xfrm>
              </p:grpSpPr>
              <p:sp>
                <p:nvSpPr>
                  <p:cNvPr id="99" name="Vrije vorm: vorm 98">
                    <a:extLst>
                      <a:ext uri="{FF2B5EF4-FFF2-40B4-BE49-F238E27FC236}">
                        <a16:creationId xmlns:a16="http://schemas.microsoft.com/office/drawing/2014/main" id="{303FD4ED-7AB7-31D1-F0BC-4C82865493A4}"/>
                      </a:ext>
                    </a:extLst>
                  </p:cNvPr>
                  <p:cNvSpPr/>
                  <p:nvPr userDrawn="1"/>
                </p:nvSpPr>
                <p:spPr>
                  <a:xfrm>
                    <a:off x="-804124" y="3081338"/>
                    <a:ext cx="80781" cy="121443"/>
                  </a:xfrm>
                  <a:custGeom>
                    <a:avLst/>
                    <a:gdLst>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61912"/>
                      <a:gd name="connsiteY0" fmla="*/ 4763 h 76200"/>
                      <a:gd name="connsiteX1" fmla="*/ 4762 w 61912"/>
                      <a:gd name="connsiteY1" fmla="*/ 76200 h 76200"/>
                      <a:gd name="connsiteX2" fmla="*/ 61912 w 61912"/>
                      <a:gd name="connsiteY2" fmla="*/ 0 h 76200"/>
                      <a:gd name="connsiteX3" fmla="*/ 0 w 61912"/>
                      <a:gd name="connsiteY3" fmla="*/ 4763 h 76200"/>
                      <a:gd name="connsiteX0" fmla="*/ 0 w 61912"/>
                      <a:gd name="connsiteY0" fmla="*/ 50015 h 121452"/>
                      <a:gd name="connsiteX1" fmla="*/ 4762 w 61912"/>
                      <a:gd name="connsiteY1" fmla="*/ 121452 h 121452"/>
                      <a:gd name="connsiteX2" fmla="*/ 61912 w 61912"/>
                      <a:gd name="connsiteY2" fmla="*/ 45252 h 121452"/>
                      <a:gd name="connsiteX3" fmla="*/ 7143 w 61912"/>
                      <a:gd name="connsiteY3" fmla="*/ 9 h 121452"/>
                      <a:gd name="connsiteX4" fmla="*/ 0 w 61912"/>
                      <a:gd name="connsiteY4" fmla="*/ 50015 h 121452"/>
                      <a:gd name="connsiteX0" fmla="*/ 30217 w 92129"/>
                      <a:gd name="connsiteY0" fmla="*/ 50015 h 121452"/>
                      <a:gd name="connsiteX1" fmla="*/ 34979 w 92129"/>
                      <a:gd name="connsiteY1" fmla="*/ 121452 h 121452"/>
                      <a:gd name="connsiteX2" fmla="*/ 92129 w 92129"/>
                      <a:gd name="connsiteY2" fmla="*/ 45252 h 121452"/>
                      <a:gd name="connsiteX3" fmla="*/ 37360 w 92129"/>
                      <a:gd name="connsiteY3" fmla="*/ 9 h 121452"/>
                      <a:gd name="connsiteX4" fmla="*/ 30217 w 92129"/>
                      <a:gd name="connsiteY4" fmla="*/ 50015 h 121452"/>
                      <a:gd name="connsiteX0" fmla="*/ 30217 w 92129"/>
                      <a:gd name="connsiteY0" fmla="*/ 50006 h 121443"/>
                      <a:gd name="connsiteX1" fmla="*/ 34979 w 92129"/>
                      <a:gd name="connsiteY1" fmla="*/ 121443 h 121443"/>
                      <a:gd name="connsiteX2" fmla="*/ 92129 w 92129"/>
                      <a:gd name="connsiteY2" fmla="*/ 45243 h 121443"/>
                      <a:gd name="connsiteX3" fmla="*/ 37360 w 92129"/>
                      <a:gd name="connsiteY3" fmla="*/ 0 h 121443"/>
                      <a:gd name="connsiteX4" fmla="*/ 30217 w 92129"/>
                      <a:gd name="connsiteY4" fmla="*/ 50006 h 121443"/>
                      <a:gd name="connsiteX0" fmla="*/ 30217 w 92490"/>
                      <a:gd name="connsiteY0" fmla="*/ 50006 h 121443"/>
                      <a:gd name="connsiteX1" fmla="*/ 34979 w 92490"/>
                      <a:gd name="connsiteY1" fmla="*/ 121443 h 121443"/>
                      <a:gd name="connsiteX2" fmla="*/ 92129 w 92490"/>
                      <a:gd name="connsiteY2" fmla="*/ 45243 h 121443"/>
                      <a:gd name="connsiteX3" fmla="*/ 37360 w 92490"/>
                      <a:gd name="connsiteY3" fmla="*/ 0 h 121443"/>
                      <a:gd name="connsiteX4" fmla="*/ 30217 w 92490"/>
                      <a:gd name="connsiteY4" fmla="*/ 50006 h 121443"/>
                      <a:gd name="connsiteX0" fmla="*/ 30217 w 80781"/>
                      <a:gd name="connsiteY0" fmla="*/ 50006 h 121443"/>
                      <a:gd name="connsiteX1" fmla="*/ 34979 w 80781"/>
                      <a:gd name="connsiteY1" fmla="*/ 121443 h 121443"/>
                      <a:gd name="connsiteX2" fmla="*/ 80222 w 80781"/>
                      <a:gd name="connsiteY2" fmla="*/ 52387 h 121443"/>
                      <a:gd name="connsiteX3" fmla="*/ 37360 w 80781"/>
                      <a:gd name="connsiteY3" fmla="*/ 0 h 121443"/>
                      <a:gd name="connsiteX4" fmla="*/ 30217 w 80781"/>
                      <a:gd name="connsiteY4" fmla="*/ 50006 h 12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81" h="121443">
                        <a:moveTo>
                          <a:pt x="30217" y="50006"/>
                        </a:moveTo>
                        <a:lnTo>
                          <a:pt x="34979" y="121443"/>
                        </a:lnTo>
                        <a:lnTo>
                          <a:pt x="80222" y="52387"/>
                        </a:lnTo>
                        <a:cubicBezTo>
                          <a:pt x="84191" y="29368"/>
                          <a:pt x="66729" y="1588"/>
                          <a:pt x="37360" y="0"/>
                        </a:cubicBezTo>
                        <a:cubicBezTo>
                          <a:pt x="-43602" y="21431"/>
                          <a:pt x="32598" y="33337"/>
                          <a:pt x="30217" y="50006"/>
                        </a:cubicBezTo>
                        <a:close/>
                      </a:path>
                    </a:pathLst>
                  </a:custGeom>
                  <a:solidFill>
                    <a:srgbClr val="366FA8"/>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prstClr val="black"/>
                      </a:solidFill>
                      <a:effectLst/>
                      <a:uLnTx/>
                      <a:uFillTx/>
                      <a:latin typeface="+mn-lt"/>
                      <a:ea typeface="+mn-ea"/>
                      <a:cs typeface="+mn-cs"/>
                    </a:endParaRPr>
                  </a:p>
                </p:txBody>
              </p:sp>
              <p:sp>
                <p:nvSpPr>
                  <p:cNvPr id="100" name="Rechthoek: afgeronde hoeken 99">
                    <a:extLst>
                      <a:ext uri="{FF2B5EF4-FFF2-40B4-BE49-F238E27FC236}">
                        <a16:creationId xmlns:a16="http://schemas.microsoft.com/office/drawing/2014/main" id="{106238B4-B8E2-D4DB-423F-1E960FA5DC38}"/>
                      </a:ext>
                    </a:extLst>
                  </p:cNvPr>
                  <p:cNvSpPr/>
                  <p:nvPr userDrawn="1"/>
                </p:nvSpPr>
                <p:spPr>
                  <a:xfrm rot="2903873">
                    <a:off x="-887744" y="3085651"/>
                    <a:ext cx="99751" cy="122903"/>
                  </a:xfrm>
                  <a:prstGeom prst="roundRect">
                    <a:avLst>
                      <a:gd name="adj" fmla="val 2911"/>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1" name="Vrije vorm: vorm 100">
                    <a:extLst>
                      <a:ext uri="{FF2B5EF4-FFF2-40B4-BE49-F238E27FC236}">
                        <a16:creationId xmlns:a16="http://schemas.microsoft.com/office/drawing/2014/main" id="{70FEE9CE-221F-A1A8-9CAC-3EC7A67B36EA}"/>
                      </a:ext>
                    </a:extLst>
                  </p:cNvPr>
                  <p:cNvSpPr/>
                  <p:nvPr userDrawn="1"/>
                </p:nvSpPr>
                <p:spPr>
                  <a:xfrm>
                    <a:off x="-894646" y="3037554"/>
                    <a:ext cx="64753" cy="85767"/>
                  </a:xfrm>
                  <a:custGeom>
                    <a:avLst/>
                    <a:gdLst>
                      <a:gd name="connsiteX0" fmla="*/ 0 w 52388"/>
                      <a:gd name="connsiteY0" fmla="*/ 76203 h 76203"/>
                      <a:gd name="connsiteX1" fmla="*/ 26194 w 52388"/>
                      <a:gd name="connsiteY1" fmla="*/ 3 h 76203"/>
                      <a:gd name="connsiteX2" fmla="*/ 52388 w 52388"/>
                      <a:gd name="connsiteY2" fmla="*/ 73822 h 76203"/>
                      <a:gd name="connsiteX0" fmla="*/ 0 w 52388"/>
                      <a:gd name="connsiteY0" fmla="*/ 76203 h 76203"/>
                      <a:gd name="connsiteX1" fmla="*/ 26194 w 52388"/>
                      <a:gd name="connsiteY1" fmla="*/ 3 h 76203"/>
                      <a:gd name="connsiteX2" fmla="*/ 52388 w 52388"/>
                      <a:gd name="connsiteY2" fmla="*/ 73822 h 76203"/>
                      <a:gd name="connsiteX0" fmla="*/ 0 w 46443"/>
                      <a:gd name="connsiteY0" fmla="*/ 78387 h 78387"/>
                      <a:gd name="connsiteX1" fmla="*/ 20249 w 46443"/>
                      <a:gd name="connsiteY1" fmla="*/ 11 h 78387"/>
                      <a:gd name="connsiteX2" fmla="*/ 46443 w 46443"/>
                      <a:gd name="connsiteY2" fmla="*/ 73830 h 78387"/>
                      <a:gd name="connsiteX0" fmla="*/ 135 w 46578"/>
                      <a:gd name="connsiteY0" fmla="*/ 78387 h 78387"/>
                      <a:gd name="connsiteX1" fmla="*/ 20384 w 46578"/>
                      <a:gd name="connsiteY1" fmla="*/ 11 h 78387"/>
                      <a:gd name="connsiteX2" fmla="*/ 46578 w 46578"/>
                      <a:gd name="connsiteY2" fmla="*/ 73830 h 78387"/>
                      <a:gd name="connsiteX0" fmla="*/ 295 w 46738"/>
                      <a:gd name="connsiteY0" fmla="*/ 78387 h 78387"/>
                      <a:gd name="connsiteX1" fmla="*/ 20544 w 46738"/>
                      <a:gd name="connsiteY1" fmla="*/ 11 h 78387"/>
                      <a:gd name="connsiteX2" fmla="*/ 46738 w 46738"/>
                      <a:gd name="connsiteY2" fmla="*/ 73830 h 78387"/>
                      <a:gd name="connsiteX0" fmla="*/ 127 w 39137"/>
                      <a:gd name="connsiteY0" fmla="*/ 78452 h 78452"/>
                      <a:gd name="connsiteX1" fmla="*/ 20376 w 39137"/>
                      <a:gd name="connsiteY1" fmla="*/ 76 h 78452"/>
                      <a:gd name="connsiteX2" fmla="*/ 39137 w 39137"/>
                      <a:gd name="connsiteY2" fmla="*/ 67366 h 78452"/>
                      <a:gd name="connsiteX0" fmla="*/ 127 w 39933"/>
                      <a:gd name="connsiteY0" fmla="*/ 78470 h 78470"/>
                      <a:gd name="connsiteX1" fmla="*/ 20376 w 39933"/>
                      <a:gd name="connsiteY1" fmla="*/ 94 h 78470"/>
                      <a:gd name="connsiteX2" fmla="*/ 39137 w 39933"/>
                      <a:gd name="connsiteY2" fmla="*/ 67384 h 78470"/>
                      <a:gd name="connsiteX0" fmla="*/ 219 w 40422"/>
                      <a:gd name="connsiteY0" fmla="*/ 78381 h 78381"/>
                      <a:gd name="connsiteX1" fmla="*/ 20468 w 40422"/>
                      <a:gd name="connsiteY1" fmla="*/ 5 h 78381"/>
                      <a:gd name="connsiteX2" fmla="*/ 39229 w 40422"/>
                      <a:gd name="connsiteY2" fmla="*/ 67295 h 78381"/>
                    </a:gdLst>
                    <a:ahLst/>
                    <a:cxnLst>
                      <a:cxn ang="0">
                        <a:pos x="connsiteX0" y="connsiteY0"/>
                      </a:cxn>
                      <a:cxn ang="0">
                        <a:pos x="connsiteX1" y="connsiteY1"/>
                      </a:cxn>
                      <a:cxn ang="0">
                        <a:pos x="connsiteX2" y="connsiteY2"/>
                      </a:cxn>
                    </a:cxnLst>
                    <a:rect l="l" t="t" r="r" b="b"/>
                    <a:pathLst>
                      <a:path w="40422" h="78381">
                        <a:moveTo>
                          <a:pt x="219" y="78381"/>
                        </a:moveTo>
                        <a:cubicBezTo>
                          <a:pt x="-1454" y="18717"/>
                          <a:pt x="6534" y="-324"/>
                          <a:pt x="20468" y="5"/>
                        </a:cubicBezTo>
                        <a:cubicBezTo>
                          <a:pt x="34402" y="334"/>
                          <a:pt x="43874" y="23658"/>
                          <a:pt x="39229" y="67295"/>
                        </a:cubicBezTo>
                      </a:path>
                    </a:pathLst>
                  </a:custGeom>
                  <a:no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92" name="Gelijkbenige driehoek 91">
                  <a:extLst>
                    <a:ext uri="{FF2B5EF4-FFF2-40B4-BE49-F238E27FC236}">
                      <a16:creationId xmlns:a16="http://schemas.microsoft.com/office/drawing/2014/main" id="{647C3715-7D45-8EBB-3F18-F39FF96AEEA9}"/>
                    </a:ext>
                  </a:extLst>
                </p:cNvPr>
                <p:cNvSpPr/>
                <p:nvPr userDrawn="1"/>
              </p:nvSpPr>
              <p:spPr>
                <a:xfrm rot="10800000">
                  <a:off x="-2528907" y="2540201"/>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sp>
              <p:nvSpPr>
                <p:cNvPr id="93" name="Tekstvak 92">
                  <a:extLst>
                    <a:ext uri="{FF2B5EF4-FFF2-40B4-BE49-F238E27FC236}">
                      <a16:creationId xmlns:a16="http://schemas.microsoft.com/office/drawing/2014/main" id="{F8EB8F22-7AC3-22A0-41C7-813E65B9F412}"/>
                    </a:ext>
                  </a:extLst>
                </p:cNvPr>
                <p:cNvSpPr txBox="1"/>
                <p:nvPr userDrawn="1"/>
              </p:nvSpPr>
              <p:spPr>
                <a:xfrm>
                  <a:off x="-3083201" y="2750275"/>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Borders</a:t>
                  </a:r>
                </a:p>
              </p:txBody>
            </p:sp>
            <p:sp>
              <p:nvSpPr>
                <p:cNvPr id="94" name="Gelijkbenige driehoek 93">
                  <a:extLst>
                    <a:ext uri="{FF2B5EF4-FFF2-40B4-BE49-F238E27FC236}">
                      <a16:creationId xmlns:a16="http://schemas.microsoft.com/office/drawing/2014/main" id="{E4A208CD-C946-2DF8-AE36-A81861AC6A28}"/>
                    </a:ext>
                  </a:extLst>
                </p:cNvPr>
                <p:cNvSpPr/>
                <p:nvPr userDrawn="1"/>
              </p:nvSpPr>
              <p:spPr>
                <a:xfrm rot="10800000">
                  <a:off x="-2528907" y="2796474"/>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grpSp>
              <p:nvGrpSpPr>
                <p:cNvPr id="95" name="Groep 94">
                  <a:extLst>
                    <a:ext uri="{FF2B5EF4-FFF2-40B4-BE49-F238E27FC236}">
                      <a16:creationId xmlns:a16="http://schemas.microsoft.com/office/drawing/2014/main" id="{CEE09383-9C21-133D-EAF4-77A58861CF93}"/>
                    </a:ext>
                  </a:extLst>
                </p:cNvPr>
                <p:cNvGrpSpPr/>
                <p:nvPr userDrawn="1"/>
              </p:nvGrpSpPr>
              <p:grpSpPr>
                <a:xfrm>
                  <a:off x="-3250409" y="2732592"/>
                  <a:ext cx="164055" cy="164055"/>
                  <a:chOff x="-3258612" y="2724389"/>
                  <a:chExt cx="180460" cy="180460"/>
                </a:xfrm>
              </p:grpSpPr>
              <p:sp>
                <p:nvSpPr>
                  <p:cNvPr id="96" name="Rechthoek 95">
                    <a:extLst>
                      <a:ext uri="{FF2B5EF4-FFF2-40B4-BE49-F238E27FC236}">
                        <a16:creationId xmlns:a16="http://schemas.microsoft.com/office/drawing/2014/main" id="{B95C9AD0-68AD-FAC9-84AF-C8BC6323D3D4}"/>
                      </a:ext>
                    </a:extLst>
                  </p:cNvPr>
                  <p:cNvSpPr/>
                  <p:nvPr userDrawn="1"/>
                </p:nvSpPr>
                <p:spPr>
                  <a:xfrm>
                    <a:off x="-3258612" y="2724389"/>
                    <a:ext cx="180460" cy="180460"/>
                  </a:xfrm>
                  <a:prstGeom prst="rect">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cxnSp>
                <p:nvCxnSpPr>
                  <p:cNvPr id="97" name="Rechte verbindingslijn 96">
                    <a:extLst>
                      <a:ext uri="{FF2B5EF4-FFF2-40B4-BE49-F238E27FC236}">
                        <a16:creationId xmlns:a16="http://schemas.microsoft.com/office/drawing/2014/main" id="{6B53352D-B283-C332-F775-78D3F2E41D9E}"/>
                      </a:ext>
                    </a:extLst>
                  </p:cNvPr>
                  <p:cNvCxnSpPr>
                    <a:stCxn id="96" idx="0"/>
                    <a:endCxn id="96" idx="2"/>
                  </p:cNvCxnSpPr>
                  <p:nvPr userDrawn="1"/>
                </p:nvCxnSpPr>
                <p:spPr>
                  <a:xfrm>
                    <a:off x="-3168382" y="2724389"/>
                    <a:ext cx="0" cy="18046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98" name="Rechte verbindingslijn 97">
                    <a:extLst>
                      <a:ext uri="{FF2B5EF4-FFF2-40B4-BE49-F238E27FC236}">
                        <a16:creationId xmlns:a16="http://schemas.microsoft.com/office/drawing/2014/main" id="{32ECE30D-E5A4-290B-1607-8DDC89EEABC7}"/>
                      </a:ext>
                    </a:extLst>
                  </p:cNvPr>
                  <p:cNvCxnSpPr>
                    <a:stCxn id="96" idx="1"/>
                    <a:endCxn id="96" idx="3"/>
                  </p:cNvCxnSpPr>
                  <p:nvPr userDrawn="1"/>
                </p:nvCxnSpPr>
                <p:spPr>
                  <a:xfrm>
                    <a:off x="-3258612" y="2814619"/>
                    <a:ext cx="180460" cy="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7" name="Groep 6">
              <a:extLst>
                <a:ext uri="{FF2B5EF4-FFF2-40B4-BE49-F238E27FC236}">
                  <a16:creationId xmlns:a16="http://schemas.microsoft.com/office/drawing/2014/main" id="{9E89C9A6-4102-35B0-5A4B-C106C3055D6E}"/>
                </a:ext>
              </a:extLst>
            </p:cNvPr>
            <p:cNvGrpSpPr/>
            <p:nvPr userDrawn="1"/>
          </p:nvGrpSpPr>
          <p:grpSpPr>
            <a:xfrm>
              <a:off x="-3786437" y="3410167"/>
              <a:ext cx="3693386" cy="3283188"/>
              <a:chOff x="-3786437" y="3410167"/>
              <a:chExt cx="3693386" cy="3283188"/>
            </a:xfrm>
          </p:grpSpPr>
          <p:sp>
            <p:nvSpPr>
              <p:cNvPr id="9" name="Rechthoek 8">
                <a:extLst>
                  <a:ext uri="{FF2B5EF4-FFF2-40B4-BE49-F238E27FC236}">
                    <a16:creationId xmlns:a16="http://schemas.microsoft.com/office/drawing/2014/main" id="{F8DB8531-6397-1B5E-96D4-EB6EF02D0288}"/>
                  </a:ext>
                </a:extLst>
              </p:cNvPr>
              <p:cNvSpPr/>
              <p:nvPr userDrawn="1"/>
            </p:nvSpPr>
            <p:spPr>
              <a:xfrm>
                <a:off x="-3786165" y="3410167"/>
                <a:ext cx="3593091" cy="264138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table</a:t>
                </a:r>
              </a:p>
            </p:txBody>
          </p:sp>
          <p:sp>
            <p:nvSpPr>
              <p:cNvPr id="10" name="Ovaal 9">
                <a:extLst>
                  <a:ext uri="{FF2B5EF4-FFF2-40B4-BE49-F238E27FC236}">
                    <a16:creationId xmlns:a16="http://schemas.microsoft.com/office/drawing/2014/main" id="{D1A27543-FC65-5389-0F97-D4B9FE87578C}"/>
                  </a:ext>
                </a:extLst>
              </p:cNvPr>
              <p:cNvSpPr/>
              <p:nvPr userDrawn="1"/>
            </p:nvSpPr>
            <p:spPr>
              <a:xfrm>
                <a:off x="-3603587" y="38747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91C538C4-7BF9-F13A-B9EF-99AE351A5D22}"/>
                  </a:ext>
                </a:extLst>
              </p:cNvPr>
              <p:cNvSpPr/>
              <p:nvPr userDrawn="1"/>
            </p:nvSpPr>
            <p:spPr>
              <a:xfrm>
                <a:off x="-3319416" y="3874767"/>
                <a:ext cx="3008779"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 and/or columns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ayou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Rechthoek 11">
                <a:extLst>
                  <a:ext uri="{FF2B5EF4-FFF2-40B4-BE49-F238E27FC236}">
                    <a16:creationId xmlns:a16="http://schemas.microsoft.com/office/drawing/2014/main" id="{5C1BD243-C532-E839-367F-07BF2F4C9DA4}"/>
                  </a:ext>
                </a:extLst>
              </p:cNvPr>
              <p:cNvSpPr/>
              <p:nvPr userDrawn="1"/>
            </p:nvSpPr>
            <p:spPr>
              <a:xfrm>
                <a:off x="-3786437" y="586535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3" name="ICOON_info">
                <a:extLst>
                  <a:ext uri="{FF2B5EF4-FFF2-40B4-BE49-F238E27FC236}">
                    <a16:creationId xmlns:a16="http://schemas.microsoft.com/office/drawing/2014/main" id="{1621E2C3-9457-A456-DFF8-D011DE0D0E82}"/>
                  </a:ext>
                </a:extLst>
              </p:cNvPr>
              <p:cNvGrpSpPr/>
              <p:nvPr userDrawn="1"/>
            </p:nvGrpSpPr>
            <p:grpSpPr>
              <a:xfrm>
                <a:off x="-376736" y="5729337"/>
                <a:ext cx="283685" cy="283685"/>
                <a:chOff x="-510741" y="5913713"/>
                <a:chExt cx="267555" cy="267555"/>
              </a:xfrm>
            </p:grpSpPr>
            <p:sp>
              <p:nvSpPr>
                <p:cNvPr id="78" name="Ovaal 77">
                  <a:extLst>
                    <a:ext uri="{FF2B5EF4-FFF2-40B4-BE49-F238E27FC236}">
                      <a16:creationId xmlns:a16="http://schemas.microsoft.com/office/drawing/2014/main" id="{15959421-9C7B-EA94-F251-1497C820E6D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9" name="Graphic 163" descr="Informatie">
                  <a:extLst>
                    <a:ext uri="{FF2B5EF4-FFF2-40B4-BE49-F238E27FC236}">
                      <a16:creationId xmlns:a16="http://schemas.microsoft.com/office/drawing/2014/main" id="{FE4C9F22-3361-FD54-C28F-8BAA14DDF2B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19B710EB-DF0E-64BA-982C-487ADE5EF11A}"/>
                  </a:ext>
                </a:extLst>
              </p:cNvPr>
              <p:cNvGrpSpPr/>
              <p:nvPr userDrawn="1"/>
            </p:nvGrpSpPr>
            <p:grpSpPr>
              <a:xfrm>
                <a:off x="-938434" y="6002732"/>
                <a:ext cx="627798" cy="576693"/>
                <a:chOff x="-938434" y="4570310"/>
                <a:chExt cx="627798" cy="576693"/>
              </a:xfrm>
            </p:grpSpPr>
            <p:grpSp>
              <p:nvGrpSpPr>
                <p:cNvPr id="73" name="Inspireren">
                  <a:extLst>
                    <a:ext uri="{FF2B5EF4-FFF2-40B4-BE49-F238E27FC236}">
                      <a16:creationId xmlns:a16="http://schemas.microsoft.com/office/drawing/2014/main" id="{18419FD9-A2CE-36F3-1022-A1F896A9AC3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5" name="Freeform 12">
                    <a:extLst>
                      <a:ext uri="{FF2B5EF4-FFF2-40B4-BE49-F238E27FC236}">
                        <a16:creationId xmlns:a16="http://schemas.microsoft.com/office/drawing/2014/main" id="{907346AB-ED60-F287-7763-A41D524A2D6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76" name="Freeform 13">
                    <a:extLst>
                      <a:ext uri="{FF2B5EF4-FFF2-40B4-BE49-F238E27FC236}">
                        <a16:creationId xmlns:a16="http://schemas.microsoft.com/office/drawing/2014/main" id="{4BD1026C-0074-FEEA-8A80-EBB6D3AD2B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77" name="Freeform 14">
                    <a:extLst>
                      <a:ext uri="{FF2B5EF4-FFF2-40B4-BE49-F238E27FC236}">
                        <a16:creationId xmlns:a16="http://schemas.microsoft.com/office/drawing/2014/main" id="{7439C099-7204-283A-7293-0FA2986AAD2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74" name="Tekstvak 73">
                  <a:extLst>
                    <a:ext uri="{FF2B5EF4-FFF2-40B4-BE49-F238E27FC236}">
                      <a16:creationId xmlns:a16="http://schemas.microsoft.com/office/drawing/2014/main" id="{0E99271A-436A-94E3-4B72-491429563F7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sp>
            <p:nvSpPr>
              <p:cNvPr id="15" name="Ovaal 14">
                <a:extLst>
                  <a:ext uri="{FF2B5EF4-FFF2-40B4-BE49-F238E27FC236}">
                    <a16:creationId xmlns:a16="http://schemas.microsoft.com/office/drawing/2014/main" id="{8B62C13F-F03C-4CC2-171E-F271A906D013}"/>
                  </a:ext>
                </a:extLst>
              </p:cNvPr>
              <p:cNvSpPr/>
              <p:nvPr userDrawn="1"/>
            </p:nvSpPr>
            <p:spPr>
              <a:xfrm>
                <a:off x="-3603587" y="4396122"/>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48598422-7B01-30EE-BFC3-D8C732F745A3}"/>
                  </a:ext>
                </a:extLst>
              </p:cNvPr>
              <p:cNvSpPr/>
              <p:nvPr userDrawn="1"/>
            </p:nvSpPr>
            <p:spPr>
              <a:xfrm>
                <a:off x="-3319415" y="4396123"/>
                <a:ext cx="2944682" cy="495917"/>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ows and colum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delete or add rows and columns. Choose from the variety of options:</a:t>
                </a:r>
              </a:p>
            </p:txBody>
          </p:sp>
          <p:grpSp>
            <p:nvGrpSpPr>
              <p:cNvPr id="18" name="Groep 17">
                <a:extLst>
                  <a:ext uri="{FF2B5EF4-FFF2-40B4-BE49-F238E27FC236}">
                    <a16:creationId xmlns:a16="http://schemas.microsoft.com/office/drawing/2014/main" id="{FB80292E-F5FE-5D06-2789-0A69DF85EC49}"/>
                  </a:ext>
                </a:extLst>
              </p:cNvPr>
              <p:cNvGrpSpPr/>
              <p:nvPr userDrawn="1"/>
            </p:nvGrpSpPr>
            <p:grpSpPr>
              <a:xfrm>
                <a:off x="-3415313" y="4996916"/>
                <a:ext cx="3013682" cy="673634"/>
                <a:chOff x="-3415313" y="4996916"/>
                <a:chExt cx="3013682" cy="673634"/>
              </a:xfrm>
            </p:grpSpPr>
            <p:grpSp>
              <p:nvGrpSpPr>
                <p:cNvPr id="19" name="Groep 18">
                  <a:extLst>
                    <a:ext uri="{FF2B5EF4-FFF2-40B4-BE49-F238E27FC236}">
                      <a16:creationId xmlns:a16="http://schemas.microsoft.com/office/drawing/2014/main" id="{F2F956B0-82A4-872F-30FA-CB3D17F60646}"/>
                    </a:ext>
                  </a:extLst>
                </p:cNvPr>
                <p:cNvGrpSpPr/>
                <p:nvPr userDrawn="1"/>
              </p:nvGrpSpPr>
              <p:grpSpPr>
                <a:xfrm>
                  <a:off x="-3415313" y="5041534"/>
                  <a:ext cx="761481" cy="529523"/>
                  <a:chOff x="-3492543" y="5041534"/>
                  <a:chExt cx="761481" cy="529523"/>
                </a:xfrm>
              </p:grpSpPr>
              <p:grpSp>
                <p:nvGrpSpPr>
                  <p:cNvPr id="64" name="Groep 63">
                    <a:extLst>
                      <a:ext uri="{FF2B5EF4-FFF2-40B4-BE49-F238E27FC236}">
                        <a16:creationId xmlns:a16="http://schemas.microsoft.com/office/drawing/2014/main" id="{59CAB723-C27B-C6BA-C4CA-5EB100BECCB9}"/>
                      </a:ext>
                    </a:extLst>
                  </p:cNvPr>
                  <p:cNvGrpSpPr/>
                  <p:nvPr userDrawn="1"/>
                </p:nvGrpSpPr>
                <p:grpSpPr>
                  <a:xfrm>
                    <a:off x="-3307743" y="5041534"/>
                    <a:ext cx="485596" cy="437045"/>
                    <a:chOff x="-3307743" y="4999319"/>
                    <a:chExt cx="644991" cy="580504"/>
                  </a:xfrm>
                </p:grpSpPr>
                <p:grpSp>
                  <p:nvGrpSpPr>
                    <p:cNvPr id="66" name="Groep 65">
                      <a:extLst>
                        <a:ext uri="{FF2B5EF4-FFF2-40B4-BE49-F238E27FC236}">
                          <a16:creationId xmlns:a16="http://schemas.microsoft.com/office/drawing/2014/main" id="{38316A15-2FFD-C58D-303D-6BA966ED40D3}"/>
                        </a:ext>
                      </a:extLst>
                    </p:cNvPr>
                    <p:cNvGrpSpPr/>
                    <p:nvPr userDrawn="1"/>
                  </p:nvGrpSpPr>
                  <p:grpSpPr>
                    <a:xfrm>
                      <a:off x="-3307743" y="4999319"/>
                      <a:ext cx="516835" cy="439373"/>
                      <a:chOff x="-3307743" y="4999319"/>
                      <a:chExt cx="516835" cy="439373"/>
                    </a:xfrm>
                  </p:grpSpPr>
                  <p:cxnSp>
                    <p:nvCxnSpPr>
                      <p:cNvPr id="68" name="Rechte verbindingslijn 67">
                        <a:extLst>
                          <a:ext uri="{FF2B5EF4-FFF2-40B4-BE49-F238E27FC236}">
                            <a16:creationId xmlns:a16="http://schemas.microsoft.com/office/drawing/2014/main" id="{C681DFCB-EB34-9D6B-F92B-2C6C17A85D37}"/>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3E59BB29-57A7-3661-C9C3-01C021453FA2}"/>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7D58EBCC-EDBF-3EB6-D5A1-BDE0A7E46BBF}"/>
                          </a:ext>
                        </a:extLst>
                      </p:cNvPr>
                      <p:cNvCxnSpPr>
                        <a:cxnSpLocks/>
                      </p:cNvCxnSpPr>
                      <p:nvPr userDrawn="1"/>
                    </p:nvCxnSpPr>
                    <p:spPr>
                      <a:xfrm flipH="1">
                        <a:off x="-2969743"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1" name="Rechte verbindingslijn 70">
                        <a:extLst>
                          <a:ext uri="{FF2B5EF4-FFF2-40B4-BE49-F238E27FC236}">
                            <a16:creationId xmlns:a16="http://schemas.microsoft.com/office/drawing/2014/main" id="{2F2F9795-F5A1-ED56-8C45-5769D255C498}"/>
                          </a:ext>
                        </a:extLst>
                      </p:cNvPr>
                      <p:cNvCxnSpPr>
                        <a:cxnSpLocks/>
                      </p:cNvCxnSpPr>
                      <p:nvPr userDrawn="1"/>
                    </p:nvCxnSpPr>
                    <p:spPr>
                      <a:xfrm flipH="1">
                        <a:off x="-3142021"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72" name="Rechthoek 71">
                        <a:extLst>
                          <a:ext uri="{FF2B5EF4-FFF2-40B4-BE49-F238E27FC236}">
                            <a16:creationId xmlns:a16="http://schemas.microsoft.com/office/drawing/2014/main" id="{C849D03C-6BB4-2584-226D-215A47F989C1}"/>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67" name="Vrije vorm: vorm 66">
                      <a:extLst>
                        <a:ext uri="{FF2B5EF4-FFF2-40B4-BE49-F238E27FC236}">
                          <a16:creationId xmlns:a16="http://schemas.microsoft.com/office/drawing/2014/main" id="{815CC136-4C16-C028-80CE-D040A91B36AF}"/>
                        </a:ext>
                      </a:extLst>
                    </p:cNvPr>
                    <p:cNvSpPr/>
                    <p:nvPr userDrawn="1"/>
                  </p:nvSpPr>
                  <p:spPr>
                    <a:xfrm rot="2700000">
                      <a:off x="-3022752" y="5219823"/>
                      <a:ext cx="360000" cy="360000"/>
                    </a:xfrm>
                    <a:custGeom>
                      <a:avLst/>
                      <a:gdLst>
                        <a:gd name="connsiteX0" fmla="*/ 7908 w 360000"/>
                        <a:gd name="connsiteY0" fmla="*/ 160908 h 360000"/>
                        <a:gd name="connsiteX1" fmla="*/ 27000 w 360000"/>
                        <a:gd name="connsiteY1" fmla="*/ 153000 h 360000"/>
                        <a:gd name="connsiteX2" fmla="*/ 153000 w 360000"/>
                        <a:gd name="connsiteY2" fmla="*/ 153000 h 360000"/>
                        <a:gd name="connsiteX3" fmla="*/ 153000 w 360000"/>
                        <a:gd name="connsiteY3" fmla="*/ 27000 h 360000"/>
                        <a:gd name="connsiteX4" fmla="*/ 180000 w 360000"/>
                        <a:gd name="connsiteY4" fmla="*/ 0 h 360000"/>
                        <a:gd name="connsiteX5" fmla="*/ 207000 w 360000"/>
                        <a:gd name="connsiteY5" fmla="*/ 27000 h 360000"/>
                        <a:gd name="connsiteX6" fmla="*/ 207000 w 360000"/>
                        <a:gd name="connsiteY6" fmla="*/ 153000 h 360000"/>
                        <a:gd name="connsiteX7" fmla="*/ 333000 w 360000"/>
                        <a:gd name="connsiteY7" fmla="*/ 153000 h 360000"/>
                        <a:gd name="connsiteX8" fmla="*/ 360000 w 360000"/>
                        <a:gd name="connsiteY8" fmla="*/ 180000 h 360000"/>
                        <a:gd name="connsiteX9" fmla="*/ 333000 w 360000"/>
                        <a:gd name="connsiteY9" fmla="*/ 207000 h 360000"/>
                        <a:gd name="connsiteX10" fmla="*/ 207000 w 360000"/>
                        <a:gd name="connsiteY10" fmla="*/ 207000 h 360000"/>
                        <a:gd name="connsiteX11" fmla="*/ 207000 w 360000"/>
                        <a:gd name="connsiteY11" fmla="*/ 333000 h 360000"/>
                        <a:gd name="connsiteX12" fmla="*/ 180000 w 360000"/>
                        <a:gd name="connsiteY12" fmla="*/ 360000 h 360000"/>
                        <a:gd name="connsiteX13" fmla="*/ 153000 w 360000"/>
                        <a:gd name="connsiteY13" fmla="*/ 333000 h 360000"/>
                        <a:gd name="connsiteX14" fmla="*/ 153000 w 360000"/>
                        <a:gd name="connsiteY14" fmla="*/ 207000 h 360000"/>
                        <a:gd name="connsiteX15" fmla="*/ 27000 w 360000"/>
                        <a:gd name="connsiteY15" fmla="*/ 207000 h 360000"/>
                        <a:gd name="connsiteX16" fmla="*/ 0 w 360000"/>
                        <a:gd name="connsiteY16" fmla="*/ 180000 h 360000"/>
                        <a:gd name="connsiteX17" fmla="*/ 7908 w 360000"/>
                        <a:gd name="connsiteY17" fmla="*/ 160908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000" h="360000">
                          <a:moveTo>
                            <a:pt x="7908" y="160908"/>
                          </a:moveTo>
                          <a:cubicBezTo>
                            <a:pt x="12794" y="156022"/>
                            <a:pt x="19544" y="153000"/>
                            <a:pt x="27000" y="153000"/>
                          </a:cubicBezTo>
                          <a:lnTo>
                            <a:pt x="153000" y="153000"/>
                          </a:lnTo>
                          <a:lnTo>
                            <a:pt x="153000" y="27000"/>
                          </a:lnTo>
                          <a:cubicBezTo>
                            <a:pt x="153000" y="12088"/>
                            <a:pt x="165088" y="0"/>
                            <a:pt x="180000" y="0"/>
                          </a:cubicBezTo>
                          <a:cubicBezTo>
                            <a:pt x="194912" y="0"/>
                            <a:pt x="207000" y="12088"/>
                            <a:pt x="207000" y="27000"/>
                          </a:cubicBezTo>
                          <a:lnTo>
                            <a:pt x="207000" y="153000"/>
                          </a:lnTo>
                          <a:lnTo>
                            <a:pt x="333000" y="153000"/>
                          </a:lnTo>
                          <a:cubicBezTo>
                            <a:pt x="347912" y="153000"/>
                            <a:pt x="360000" y="165088"/>
                            <a:pt x="360000" y="180000"/>
                          </a:cubicBezTo>
                          <a:cubicBezTo>
                            <a:pt x="360000" y="194912"/>
                            <a:pt x="347912" y="207000"/>
                            <a:pt x="333000" y="207000"/>
                          </a:cubicBezTo>
                          <a:lnTo>
                            <a:pt x="207000" y="207000"/>
                          </a:lnTo>
                          <a:lnTo>
                            <a:pt x="207000" y="333000"/>
                          </a:lnTo>
                          <a:cubicBezTo>
                            <a:pt x="207000" y="347912"/>
                            <a:pt x="194912" y="360000"/>
                            <a:pt x="180000" y="360000"/>
                          </a:cubicBezTo>
                          <a:cubicBezTo>
                            <a:pt x="165088" y="360000"/>
                            <a:pt x="153000" y="347912"/>
                            <a:pt x="153000" y="333000"/>
                          </a:cubicBezTo>
                          <a:lnTo>
                            <a:pt x="153000" y="207000"/>
                          </a:lnTo>
                          <a:lnTo>
                            <a:pt x="27000" y="207000"/>
                          </a:lnTo>
                          <a:cubicBezTo>
                            <a:pt x="12088" y="207000"/>
                            <a:pt x="0" y="194912"/>
                            <a:pt x="0" y="180000"/>
                          </a:cubicBezTo>
                          <a:cubicBezTo>
                            <a:pt x="0" y="172544"/>
                            <a:pt x="3022" y="165794"/>
                            <a:pt x="7908" y="160908"/>
                          </a:cubicBezTo>
                          <a:close/>
                        </a:path>
                      </a:pathLst>
                    </a:custGeom>
                    <a:solidFill>
                      <a:srgbClr val="F0615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dirty="0" err="1"/>
                    </a:p>
                  </p:txBody>
                </p:sp>
              </p:grpSp>
              <p:sp>
                <p:nvSpPr>
                  <p:cNvPr id="65" name="Tekstvak 64">
                    <a:extLst>
                      <a:ext uri="{FF2B5EF4-FFF2-40B4-BE49-F238E27FC236}">
                        <a16:creationId xmlns:a16="http://schemas.microsoft.com/office/drawing/2014/main" id="{AA4F318A-97CE-4893-DEBF-B20709137AB5}"/>
                      </a:ext>
                    </a:extLst>
                  </p:cNvPr>
                  <p:cNvSpPr txBox="1"/>
                  <p:nvPr userDrawn="1"/>
                </p:nvSpPr>
                <p:spPr>
                  <a:xfrm>
                    <a:off x="-3492543" y="5440654"/>
                    <a:ext cx="761481" cy="130403"/>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Delete</a:t>
                    </a:r>
                  </a:p>
                </p:txBody>
              </p:sp>
            </p:grpSp>
            <p:grpSp>
              <p:nvGrpSpPr>
                <p:cNvPr id="20" name="Groep 19">
                  <a:extLst>
                    <a:ext uri="{FF2B5EF4-FFF2-40B4-BE49-F238E27FC236}">
                      <a16:creationId xmlns:a16="http://schemas.microsoft.com/office/drawing/2014/main" id="{0C2CB508-25DD-B5E3-FB22-9E01B882D1BC}"/>
                    </a:ext>
                  </a:extLst>
                </p:cNvPr>
                <p:cNvGrpSpPr/>
                <p:nvPr userDrawn="1"/>
              </p:nvGrpSpPr>
              <p:grpSpPr>
                <a:xfrm>
                  <a:off x="-2582156" y="4996916"/>
                  <a:ext cx="572112" cy="673634"/>
                  <a:chOff x="-2709168" y="4996916"/>
                  <a:chExt cx="572112" cy="673634"/>
                </a:xfrm>
              </p:grpSpPr>
              <p:grpSp>
                <p:nvGrpSpPr>
                  <p:cNvPr id="54" name="Groep 53">
                    <a:extLst>
                      <a:ext uri="{FF2B5EF4-FFF2-40B4-BE49-F238E27FC236}">
                        <a16:creationId xmlns:a16="http://schemas.microsoft.com/office/drawing/2014/main" id="{19B3CE5D-669F-B92E-9FB4-979F235BE6CB}"/>
                      </a:ext>
                    </a:extLst>
                  </p:cNvPr>
                  <p:cNvGrpSpPr/>
                  <p:nvPr userDrawn="1"/>
                </p:nvGrpSpPr>
                <p:grpSpPr>
                  <a:xfrm>
                    <a:off x="-2609993" y="4996916"/>
                    <a:ext cx="389111" cy="375410"/>
                    <a:chOff x="-2542178" y="4940055"/>
                    <a:chExt cx="516835" cy="498637"/>
                  </a:xfrm>
                </p:grpSpPr>
                <p:sp>
                  <p:nvSpPr>
                    <p:cNvPr id="56" name="Rechthoek 55">
                      <a:extLst>
                        <a:ext uri="{FF2B5EF4-FFF2-40B4-BE49-F238E27FC236}">
                          <a16:creationId xmlns:a16="http://schemas.microsoft.com/office/drawing/2014/main" id="{8BBD94EC-6AF4-BDC9-932D-0BCF02FAE1C0}"/>
                        </a:ext>
                      </a:extLst>
                    </p:cNvPr>
                    <p:cNvSpPr/>
                    <p:nvPr userDrawn="1"/>
                  </p:nvSpPr>
                  <p:spPr>
                    <a:xfrm>
                      <a:off x="-2538526" y="5145278"/>
                      <a:ext cx="510738" cy="15038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57" name="Groep 56">
                      <a:extLst>
                        <a:ext uri="{FF2B5EF4-FFF2-40B4-BE49-F238E27FC236}">
                          <a16:creationId xmlns:a16="http://schemas.microsoft.com/office/drawing/2014/main" id="{6A6F4D01-8948-136B-0188-AAAB3577ED7E}"/>
                        </a:ext>
                      </a:extLst>
                    </p:cNvPr>
                    <p:cNvGrpSpPr/>
                    <p:nvPr userDrawn="1"/>
                  </p:nvGrpSpPr>
                  <p:grpSpPr>
                    <a:xfrm>
                      <a:off x="-2542178" y="4999319"/>
                      <a:ext cx="516835" cy="439373"/>
                      <a:chOff x="-3307743" y="4999319"/>
                      <a:chExt cx="516835" cy="439373"/>
                    </a:xfrm>
                  </p:grpSpPr>
                  <p:cxnSp>
                    <p:nvCxnSpPr>
                      <p:cNvPr id="59" name="Rechte verbindingslijn 58">
                        <a:extLst>
                          <a:ext uri="{FF2B5EF4-FFF2-40B4-BE49-F238E27FC236}">
                            <a16:creationId xmlns:a16="http://schemas.microsoft.com/office/drawing/2014/main" id="{37975A34-8BB1-E35A-4B44-2FB0E21D3A30}"/>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0" name="Rechte verbindingslijn 59">
                        <a:extLst>
                          <a:ext uri="{FF2B5EF4-FFF2-40B4-BE49-F238E27FC236}">
                            <a16:creationId xmlns:a16="http://schemas.microsoft.com/office/drawing/2014/main" id="{99D2D8DC-7D37-D9DA-4A23-627A41EC3C1B}"/>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F811E4E0-B0C2-FE86-2200-DECE46113BC1}"/>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962B11D4-07BD-FAEB-46C5-83AA9E56C898}"/>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2F82EF93-60C8-AAA4-F8BB-433F139FEF17}"/>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58" name="Pijl: rechts 57">
                      <a:extLst>
                        <a:ext uri="{FF2B5EF4-FFF2-40B4-BE49-F238E27FC236}">
                          <a16:creationId xmlns:a16="http://schemas.microsoft.com/office/drawing/2014/main" id="{7A32FC36-4C74-758F-A26F-DC5DED1219C5}"/>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5" name="Tekstvak 54">
                    <a:extLst>
                      <a:ext uri="{FF2B5EF4-FFF2-40B4-BE49-F238E27FC236}">
                        <a16:creationId xmlns:a16="http://schemas.microsoft.com/office/drawing/2014/main" id="{09B0DE43-000E-0931-DFD5-B792A80C1237}"/>
                      </a:ext>
                    </a:extLst>
                  </p:cNvPr>
                  <p:cNvSpPr txBox="1"/>
                  <p:nvPr userDrawn="1"/>
                </p:nvSpPr>
                <p:spPr>
                  <a:xfrm>
                    <a:off x="-27091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bove</a:t>
                    </a:r>
                  </a:p>
                </p:txBody>
              </p:sp>
            </p:grpSp>
            <p:grpSp>
              <p:nvGrpSpPr>
                <p:cNvPr id="21" name="Groep 20">
                  <a:extLst>
                    <a:ext uri="{FF2B5EF4-FFF2-40B4-BE49-F238E27FC236}">
                      <a16:creationId xmlns:a16="http://schemas.microsoft.com/office/drawing/2014/main" id="{DC929CD9-FE2B-244A-748A-9FF9127289AA}"/>
                    </a:ext>
                  </a:extLst>
                </p:cNvPr>
                <p:cNvGrpSpPr/>
                <p:nvPr userDrawn="1"/>
              </p:nvGrpSpPr>
              <p:grpSpPr>
                <a:xfrm>
                  <a:off x="-2036147" y="5039725"/>
                  <a:ext cx="572112" cy="630825"/>
                  <a:chOff x="-2099568" y="5039725"/>
                  <a:chExt cx="572112" cy="630825"/>
                </a:xfrm>
              </p:grpSpPr>
              <p:grpSp>
                <p:nvGrpSpPr>
                  <p:cNvPr id="44" name="Groep 43">
                    <a:extLst>
                      <a:ext uri="{FF2B5EF4-FFF2-40B4-BE49-F238E27FC236}">
                        <a16:creationId xmlns:a16="http://schemas.microsoft.com/office/drawing/2014/main" id="{54A35BCE-FDB7-0DE8-C1A8-836133FDAA75}"/>
                      </a:ext>
                    </a:extLst>
                  </p:cNvPr>
                  <p:cNvGrpSpPr/>
                  <p:nvPr userDrawn="1"/>
                </p:nvGrpSpPr>
                <p:grpSpPr>
                  <a:xfrm rot="10800000">
                    <a:off x="-2004261" y="5039725"/>
                    <a:ext cx="389111" cy="375410"/>
                    <a:chOff x="-2542178" y="4940055"/>
                    <a:chExt cx="516835" cy="498637"/>
                  </a:xfrm>
                </p:grpSpPr>
                <p:sp>
                  <p:nvSpPr>
                    <p:cNvPr id="46" name="Rechthoek 45">
                      <a:extLst>
                        <a:ext uri="{FF2B5EF4-FFF2-40B4-BE49-F238E27FC236}">
                          <a16:creationId xmlns:a16="http://schemas.microsoft.com/office/drawing/2014/main" id="{22941AE2-EBAD-D87C-DE43-5575DD0362CC}"/>
                        </a:ext>
                      </a:extLst>
                    </p:cNvPr>
                    <p:cNvSpPr/>
                    <p:nvPr userDrawn="1"/>
                  </p:nvSpPr>
                  <p:spPr>
                    <a:xfrm>
                      <a:off x="-2538526" y="5145278"/>
                      <a:ext cx="510738" cy="13557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47" name="Groep 46">
                      <a:extLst>
                        <a:ext uri="{FF2B5EF4-FFF2-40B4-BE49-F238E27FC236}">
                          <a16:creationId xmlns:a16="http://schemas.microsoft.com/office/drawing/2014/main" id="{23CAA626-9552-39B0-AEFD-9827C2DB1D61}"/>
                        </a:ext>
                      </a:extLst>
                    </p:cNvPr>
                    <p:cNvGrpSpPr/>
                    <p:nvPr userDrawn="1"/>
                  </p:nvGrpSpPr>
                  <p:grpSpPr>
                    <a:xfrm>
                      <a:off x="-2542178" y="4999319"/>
                      <a:ext cx="516835" cy="439373"/>
                      <a:chOff x="-3307743" y="4999319"/>
                      <a:chExt cx="516835" cy="439373"/>
                    </a:xfrm>
                  </p:grpSpPr>
                  <p:cxnSp>
                    <p:nvCxnSpPr>
                      <p:cNvPr id="49" name="Rechte verbindingslijn 48">
                        <a:extLst>
                          <a:ext uri="{FF2B5EF4-FFF2-40B4-BE49-F238E27FC236}">
                            <a16:creationId xmlns:a16="http://schemas.microsoft.com/office/drawing/2014/main" id="{DB9CACB3-2088-7641-A314-C3E59B57A115}"/>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9E5BEF79-9340-B9EB-E934-F5DC048690AE}"/>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C783E361-60A6-4036-D76A-DB38EF315D05}"/>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AEF6577B-F91F-3742-BCB4-8F668A75EA0A}"/>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53" name="Rechthoek 52">
                        <a:extLst>
                          <a:ext uri="{FF2B5EF4-FFF2-40B4-BE49-F238E27FC236}">
                            <a16:creationId xmlns:a16="http://schemas.microsoft.com/office/drawing/2014/main" id="{2D1C11F5-2510-AAD9-DF56-995356860E79}"/>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48" name="Pijl: rechts 47">
                      <a:extLst>
                        <a:ext uri="{FF2B5EF4-FFF2-40B4-BE49-F238E27FC236}">
                          <a16:creationId xmlns:a16="http://schemas.microsoft.com/office/drawing/2014/main" id="{DD286531-C5E6-F941-0735-DF1828D38F78}"/>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5" name="Tekstvak 44">
                    <a:extLst>
                      <a:ext uri="{FF2B5EF4-FFF2-40B4-BE49-F238E27FC236}">
                        <a16:creationId xmlns:a16="http://schemas.microsoft.com/office/drawing/2014/main" id="{C0C23E79-F0F4-A0ED-183B-81AAC3AEFF1C}"/>
                      </a:ext>
                    </a:extLst>
                  </p:cNvPr>
                  <p:cNvSpPr txBox="1"/>
                  <p:nvPr userDrawn="1"/>
                </p:nvSpPr>
                <p:spPr>
                  <a:xfrm>
                    <a:off x="-20995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Below</a:t>
                    </a:r>
                  </a:p>
                </p:txBody>
              </p:sp>
            </p:grpSp>
            <p:grpSp>
              <p:nvGrpSpPr>
                <p:cNvPr id="22" name="Groep 21">
                  <a:extLst>
                    <a:ext uri="{FF2B5EF4-FFF2-40B4-BE49-F238E27FC236}">
                      <a16:creationId xmlns:a16="http://schemas.microsoft.com/office/drawing/2014/main" id="{8EB40964-2FDB-A0DE-87F5-C60DF94ACB8B}"/>
                    </a:ext>
                  </a:extLst>
                </p:cNvPr>
                <p:cNvGrpSpPr/>
                <p:nvPr userDrawn="1"/>
              </p:nvGrpSpPr>
              <p:grpSpPr>
                <a:xfrm>
                  <a:off x="-1497156" y="5039725"/>
                  <a:ext cx="572112" cy="630825"/>
                  <a:chOff x="-1501387" y="5039725"/>
                  <a:chExt cx="572112" cy="630825"/>
                </a:xfrm>
              </p:grpSpPr>
              <p:grpSp>
                <p:nvGrpSpPr>
                  <p:cNvPr id="34" name="Groep 33">
                    <a:extLst>
                      <a:ext uri="{FF2B5EF4-FFF2-40B4-BE49-F238E27FC236}">
                        <a16:creationId xmlns:a16="http://schemas.microsoft.com/office/drawing/2014/main" id="{52971A07-83F1-9463-EB0B-4DF8641018F0}"/>
                      </a:ext>
                    </a:extLst>
                  </p:cNvPr>
                  <p:cNvGrpSpPr/>
                  <p:nvPr userDrawn="1"/>
                </p:nvGrpSpPr>
                <p:grpSpPr>
                  <a:xfrm rot="10800000">
                    <a:off x="-1453772" y="5039725"/>
                    <a:ext cx="426738" cy="332849"/>
                    <a:chOff x="-2542179" y="4996586"/>
                    <a:chExt cx="566814" cy="442106"/>
                  </a:xfrm>
                </p:grpSpPr>
                <p:sp>
                  <p:nvSpPr>
                    <p:cNvPr id="36" name="Rechthoek 35">
                      <a:extLst>
                        <a:ext uri="{FF2B5EF4-FFF2-40B4-BE49-F238E27FC236}">
                          <a16:creationId xmlns:a16="http://schemas.microsoft.com/office/drawing/2014/main" id="{C67CCEDC-FBEA-EA4E-2F36-8DF375E9A3E0}"/>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37" name="Groep 36">
                      <a:extLst>
                        <a:ext uri="{FF2B5EF4-FFF2-40B4-BE49-F238E27FC236}">
                          <a16:creationId xmlns:a16="http://schemas.microsoft.com/office/drawing/2014/main" id="{F26260B8-0D67-E75B-175F-D801BAF4970C}"/>
                        </a:ext>
                      </a:extLst>
                    </p:cNvPr>
                    <p:cNvGrpSpPr/>
                    <p:nvPr userDrawn="1"/>
                  </p:nvGrpSpPr>
                  <p:grpSpPr>
                    <a:xfrm>
                      <a:off x="-2542179" y="4996586"/>
                      <a:ext cx="516836" cy="442106"/>
                      <a:chOff x="-3307744" y="4996586"/>
                      <a:chExt cx="516836" cy="442106"/>
                    </a:xfrm>
                  </p:grpSpPr>
                  <p:cxnSp>
                    <p:nvCxnSpPr>
                      <p:cNvPr id="39" name="Rechte verbindingslijn 38">
                        <a:extLst>
                          <a:ext uri="{FF2B5EF4-FFF2-40B4-BE49-F238E27FC236}">
                            <a16:creationId xmlns:a16="http://schemas.microsoft.com/office/drawing/2014/main" id="{A91973A4-648E-A6CE-A3F4-4381BA802ED0}"/>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A5000602-B04A-A374-3ED4-EA3B5CF1F1CF}"/>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FE2016B5-E007-79E5-C0A1-D7892EDE854F}"/>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0CC25C4-5F20-8BFA-9D39-289DA05F6F6C}"/>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43" name="Rechthoek 42">
                        <a:extLst>
                          <a:ext uri="{FF2B5EF4-FFF2-40B4-BE49-F238E27FC236}">
                            <a16:creationId xmlns:a16="http://schemas.microsoft.com/office/drawing/2014/main" id="{AD21D286-0DE9-53BD-8624-2A52D6A8E725}"/>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38" name="Pijl: rechts 37">
                      <a:extLst>
                        <a:ext uri="{FF2B5EF4-FFF2-40B4-BE49-F238E27FC236}">
                          <a16:creationId xmlns:a16="http://schemas.microsoft.com/office/drawing/2014/main" id="{120E6B45-4D07-0824-F7B5-786F9AABE14A}"/>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35" name="Tekstvak 34">
                    <a:extLst>
                      <a:ext uri="{FF2B5EF4-FFF2-40B4-BE49-F238E27FC236}">
                        <a16:creationId xmlns:a16="http://schemas.microsoft.com/office/drawing/2014/main" id="{76C0F46E-3870-7377-A6FF-44B2225F86EE}"/>
                      </a:ext>
                    </a:extLst>
                  </p:cNvPr>
                  <p:cNvSpPr txBox="1"/>
                  <p:nvPr userDrawn="1"/>
                </p:nvSpPr>
                <p:spPr>
                  <a:xfrm>
                    <a:off x="-1501387"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Left</a:t>
                    </a:r>
                  </a:p>
                </p:txBody>
              </p:sp>
            </p:grpSp>
            <p:grpSp>
              <p:nvGrpSpPr>
                <p:cNvPr id="23" name="Groep 22">
                  <a:extLst>
                    <a:ext uri="{FF2B5EF4-FFF2-40B4-BE49-F238E27FC236}">
                      <a16:creationId xmlns:a16="http://schemas.microsoft.com/office/drawing/2014/main" id="{949E29E9-FC16-EABF-33DD-9AA6D42D6BD4}"/>
                    </a:ext>
                  </a:extLst>
                </p:cNvPr>
                <p:cNvGrpSpPr/>
                <p:nvPr userDrawn="1"/>
              </p:nvGrpSpPr>
              <p:grpSpPr>
                <a:xfrm>
                  <a:off x="-973743" y="5039725"/>
                  <a:ext cx="572112" cy="630825"/>
                  <a:chOff x="-961551" y="5039725"/>
                  <a:chExt cx="572112" cy="630825"/>
                </a:xfrm>
              </p:grpSpPr>
              <p:grpSp>
                <p:nvGrpSpPr>
                  <p:cNvPr id="24" name="Groep 23">
                    <a:extLst>
                      <a:ext uri="{FF2B5EF4-FFF2-40B4-BE49-F238E27FC236}">
                        <a16:creationId xmlns:a16="http://schemas.microsoft.com/office/drawing/2014/main" id="{67312B13-315A-E22D-BFA9-A019E1034644}"/>
                      </a:ext>
                    </a:extLst>
                  </p:cNvPr>
                  <p:cNvGrpSpPr/>
                  <p:nvPr userDrawn="1"/>
                </p:nvGrpSpPr>
                <p:grpSpPr>
                  <a:xfrm rot="10800000" flipH="1">
                    <a:off x="-868825" y="5039725"/>
                    <a:ext cx="426738" cy="332849"/>
                    <a:chOff x="-2542179" y="4996586"/>
                    <a:chExt cx="566814" cy="442106"/>
                  </a:xfrm>
                </p:grpSpPr>
                <p:sp>
                  <p:nvSpPr>
                    <p:cNvPr id="26" name="Rechthoek 25">
                      <a:extLst>
                        <a:ext uri="{FF2B5EF4-FFF2-40B4-BE49-F238E27FC236}">
                          <a16:creationId xmlns:a16="http://schemas.microsoft.com/office/drawing/2014/main" id="{8A2BCBF7-55CC-1EDF-7457-0B97870283F6}"/>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27" name="Groep 26">
                      <a:extLst>
                        <a:ext uri="{FF2B5EF4-FFF2-40B4-BE49-F238E27FC236}">
                          <a16:creationId xmlns:a16="http://schemas.microsoft.com/office/drawing/2014/main" id="{E795F7E0-AAFE-D756-8AD2-E2100AC2C3AF}"/>
                        </a:ext>
                      </a:extLst>
                    </p:cNvPr>
                    <p:cNvGrpSpPr/>
                    <p:nvPr userDrawn="1"/>
                  </p:nvGrpSpPr>
                  <p:grpSpPr>
                    <a:xfrm>
                      <a:off x="-2542179" y="4996586"/>
                      <a:ext cx="516836" cy="442106"/>
                      <a:chOff x="-3307744" y="4996586"/>
                      <a:chExt cx="516836" cy="442106"/>
                    </a:xfrm>
                  </p:grpSpPr>
                  <p:cxnSp>
                    <p:nvCxnSpPr>
                      <p:cNvPr id="29" name="Rechte verbindingslijn 28">
                        <a:extLst>
                          <a:ext uri="{FF2B5EF4-FFF2-40B4-BE49-F238E27FC236}">
                            <a16:creationId xmlns:a16="http://schemas.microsoft.com/office/drawing/2014/main" id="{A6796DAD-5849-354E-F4C3-099030E52844}"/>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6548CAAB-DDA5-95F1-9223-2C49D531DD81}"/>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a:extLst>
                          <a:ext uri="{FF2B5EF4-FFF2-40B4-BE49-F238E27FC236}">
                            <a16:creationId xmlns:a16="http://schemas.microsoft.com/office/drawing/2014/main" id="{D928BCC7-6DF9-646A-2577-AF945D9020D1}"/>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2030004F-EBA0-CA76-1B8D-DE75D94ACCE2}"/>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33" name="Rechthoek 32">
                        <a:extLst>
                          <a:ext uri="{FF2B5EF4-FFF2-40B4-BE49-F238E27FC236}">
                            <a16:creationId xmlns:a16="http://schemas.microsoft.com/office/drawing/2014/main" id="{A9575FE8-F72B-FD01-6B84-73F5F79CDCB0}"/>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28" name="Pijl: rechts 27">
                      <a:extLst>
                        <a:ext uri="{FF2B5EF4-FFF2-40B4-BE49-F238E27FC236}">
                          <a16:creationId xmlns:a16="http://schemas.microsoft.com/office/drawing/2014/main" id="{DF63E224-EF2C-F334-940E-12685CCC0A44}"/>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5" name="Tekstvak 24">
                    <a:extLst>
                      <a:ext uri="{FF2B5EF4-FFF2-40B4-BE49-F238E27FC236}">
                        <a16:creationId xmlns:a16="http://schemas.microsoft.com/office/drawing/2014/main" id="{DD2C580B-6CDF-8D18-E391-8009F121C8B5}"/>
                      </a:ext>
                    </a:extLst>
                  </p:cNvPr>
                  <p:cNvSpPr txBox="1"/>
                  <p:nvPr userDrawn="1"/>
                </p:nvSpPr>
                <p:spPr>
                  <a:xfrm>
                    <a:off x="-961551"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Right</a:t>
                    </a:r>
                  </a:p>
                </p:txBody>
              </p:sp>
            </p:grpSp>
          </p:grpSp>
        </p:grpSp>
      </p:grpSp>
    </p:spTree>
    <p:extLst>
      <p:ext uri="{BB962C8B-B14F-4D97-AF65-F5344CB8AC3E}">
        <p14:creationId xmlns:p14="http://schemas.microsoft.com/office/powerpoint/2010/main" val="187665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symbol #2">
    <p:bg>
      <p:bgPr>
        <a:solidFill>
          <a:schemeClr val="accent1"/>
        </a:solidFill>
        <a:effectLst/>
      </p:bgPr>
    </p:bg>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483A2B6B-2B11-2FA2-68D3-FCD02076529C}"/>
              </a:ext>
            </a:extLst>
          </p:cNvPr>
          <p:cNvSpPr>
            <a:spLocks noGrp="1" noRot="1" noMove="1" noResize="1" noEditPoints="1" noAdjustHandles="1" noChangeArrowheads="1" noChangeShapeType="1"/>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2451633"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Title slide + symbol #2</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10705040" y="5813671"/>
            <a:ext cx="766235" cy="184666"/>
          </a:xfrm>
        </p:spPr>
        <p:txBody>
          <a:bodyPr/>
          <a:lstStyle>
            <a:lvl1pPr>
              <a:defRPr sz="1200">
                <a:solidFill>
                  <a:schemeClr val="tx2"/>
                </a:solidFill>
              </a:defRPr>
            </a:lvl1pPr>
          </a:lstStyle>
          <a:p>
            <a:r>
              <a:rPr lang="nl-NL"/>
              <a:t>11/08/2023</a:t>
            </a:r>
            <a:endParaRPr lang="en-GB" dirty="0"/>
          </a:p>
        </p:txBody>
      </p:sp>
      <p:grpSp>
        <p:nvGrpSpPr>
          <p:cNvPr id="21" name="Graphic 4">
            <a:extLst>
              <a:ext uri="{FF2B5EF4-FFF2-40B4-BE49-F238E27FC236}">
                <a16:creationId xmlns:a16="http://schemas.microsoft.com/office/drawing/2014/main" id="{C93E164C-298E-F36F-9136-0AC365C778F8}"/>
              </a:ext>
            </a:extLst>
          </p:cNvPr>
          <p:cNvGrpSpPr/>
          <p:nvPr userDrawn="1"/>
        </p:nvGrpSpPr>
        <p:grpSpPr>
          <a:xfrm>
            <a:off x="721114" y="437497"/>
            <a:ext cx="1530269" cy="594428"/>
            <a:chOff x="717019" y="5865846"/>
            <a:chExt cx="1413341" cy="549008"/>
          </a:xfrm>
          <a:solidFill>
            <a:srgbClr val="FFFFFF"/>
          </a:solidFill>
        </p:grpSpPr>
        <p:sp>
          <p:nvSpPr>
            <p:cNvPr id="22" name="Vrije vorm: vorm 21">
              <a:extLst>
                <a:ext uri="{FF2B5EF4-FFF2-40B4-BE49-F238E27FC236}">
                  <a16:creationId xmlns:a16="http://schemas.microsoft.com/office/drawing/2014/main" id="{C4DE928F-9819-F729-1A30-E5A07740CC27}"/>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dirty="0"/>
            </a:p>
          </p:txBody>
        </p:sp>
        <p:sp>
          <p:nvSpPr>
            <p:cNvPr id="23" name="Vrije vorm: vorm 22">
              <a:extLst>
                <a:ext uri="{FF2B5EF4-FFF2-40B4-BE49-F238E27FC236}">
                  <a16:creationId xmlns:a16="http://schemas.microsoft.com/office/drawing/2014/main" id="{79323DCE-D484-B94A-C1EC-D2F2B931366F}"/>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dirty="0"/>
            </a:p>
          </p:txBody>
        </p:sp>
        <p:sp>
          <p:nvSpPr>
            <p:cNvPr id="24" name="Vrije vorm: vorm 23">
              <a:extLst>
                <a:ext uri="{FF2B5EF4-FFF2-40B4-BE49-F238E27FC236}">
                  <a16:creationId xmlns:a16="http://schemas.microsoft.com/office/drawing/2014/main" id="{3539D6EA-85DB-9F50-4773-B93829862258}"/>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dirty="0"/>
            </a:p>
          </p:txBody>
        </p:sp>
        <p:sp>
          <p:nvSpPr>
            <p:cNvPr id="25" name="Vrije vorm: vorm 24">
              <a:extLst>
                <a:ext uri="{FF2B5EF4-FFF2-40B4-BE49-F238E27FC236}">
                  <a16:creationId xmlns:a16="http://schemas.microsoft.com/office/drawing/2014/main" id="{A996BACF-1310-A75D-F3D9-23D926B05697}"/>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dirty="0"/>
            </a:p>
          </p:txBody>
        </p:sp>
        <p:sp>
          <p:nvSpPr>
            <p:cNvPr id="26" name="Vrije vorm: vorm 25">
              <a:extLst>
                <a:ext uri="{FF2B5EF4-FFF2-40B4-BE49-F238E27FC236}">
                  <a16:creationId xmlns:a16="http://schemas.microsoft.com/office/drawing/2014/main" id="{B50ABAA7-4D3A-64F2-2886-73E38F672A13}"/>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dirty="0"/>
            </a:p>
          </p:txBody>
        </p:sp>
        <p:sp>
          <p:nvSpPr>
            <p:cNvPr id="27" name="Vrije vorm: vorm 26">
              <a:extLst>
                <a:ext uri="{FF2B5EF4-FFF2-40B4-BE49-F238E27FC236}">
                  <a16:creationId xmlns:a16="http://schemas.microsoft.com/office/drawing/2014/main" id="{94E5B70C-D6DE-08E7-481C-59E036E42088}"/>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dirty="0"/>
            </a:p>
          </p:txBody>
        </p:sp>
        <p:sp>
          <p:nvSpPr>
            <p:cNvPr id="28" name="Vrije vorm: vorm 27">
              <a:extLst>
                <a:ext uri="{FF2B5EF4-FFF2-40B4-BE49-F238E27FC236}">
                  <a16:creationId xmlns:a16="http://schemas.microsoft.com/office/drawing/2014/main" id="{8D3E4DAB-6265-0F83-A847-5B7F063D48EC}"/>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dirty="0"/>
            </a:p>
          </p:txBody>
        </p:sp>
        <p:sp>
          <p:nvSpPr>
            <p:cNvPr id="29" name="Vrije vorm: vorm 28">
              <a:extLst>
                <a:ext uri="{FF2B5EF4-FFF2-40B4-BE49-F238E27FC236}">
                  <a16:creationId xmlns:a16="http://schemas.microsoft.com/office/drawing/2014/main" id="{6F52DDD2-B124-1FEF-0F68-3980EB3898A2}"/>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382029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6242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Video</a:t>
            </a:r>
          </a:p>
        </p:txBody>
      </p:sp>
      <p:sp>
        <p:nvSpPr>
          <p:cNvPr id="7" name="Tijdelijke aanduiding voor media 10">
            <a:extLst>
              <a:ext uri="{FF2B5EF4-FFF2-40B4-BE49-F238E27FC236}">
                <a16:creationId xmlns:a16="http://schemas.microsoft.com/office/drawing/2014/main" id="{7DDD4864-CB90-764A-4B2C-3E1728B3D53D}"/>
              </a:ext>
            </a:extLst>
          </p:cNvPr>
          <p:cNvSpPr>
            <a:spLocks noGrp="1"/>
          </p:cNvSpPr>
          <p:nvPr>
            <p:ph type="media" sz="quarter" idx="13" hasCustomPrompt="1"/>
          </p:nvPr>
        </p:nvSpPr>
        <p:spPr>
          <a:xfrm>
            <a:off x="-1" y="0"/>
            <a:ext cx="12192000" cy="6858000"/>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video</a:t>
            </a:r>
          </a:p>
        </p:txBody>
      </p:sp>
      <p:sp>
        <p:nvSpPr>
          <p:cNvPr id="8" name="Tijdelijke aanduiding voor tekst 18">
            <a:extLst>
              <a:ext uri="{FF2B5EF4-FFF2-40B4-BE49-F238E27FC236}">
                <a16:creationId xmlns:a16="http://schemas.microsoft.com/office/drawing/2014/main" id="{DCC41C52-09AD-8C37-7129-E1F74D2838EA}"/>
              </a:ext>
            </a:extLst>
          </p:cNvPr>
          <p:cNvSpPr>
            <a:spLocks noGrp="1"/>
          </p:cNvSpPr>
          <p:nvPr>
            <p:ph type="body" sz="quarter" idx="18" hasCustomPrompt="1"/>
          </p:nvPr>
        </p:nvSpPr>
        <p:spPr>
          <a:xfrm>
            <a:off x="0" y="4094329"/>
            <a:ext cx="12192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9" name="Tijdelijke aanduiding voor tekst 18">
            <a:extLst>
              <a:ext uri="{FF2B5EF4-FFF2-40B4-BE49-F238E27FC236}">
                <a16:creationId xmlns:a16="http://schemas.microsoft.com/office/drawing/2014/main" id="{FD7D2F15-FE5B-8E70-BB4B-E8B2F7A92DE7}"/>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sp>
        <p:nvSpPr>
          <p:cNvPr id="10" name="Tijdelijke aanduiding voor datum 9">
            <a:extLst>
              <a:ext uri="{FF2B5EF4-FFF2-40B4-BE49-F238E27FC236}">
                <a16:creationId xmlns:a16="http://schemas.microsoft.com/office/drawing/2014/main" id="{3DBC758A-2322-69E4-8E00-381E08D7D24E}"/>
              </a:ext>
            </a:extLst>
          </p:cNvPr>
          <p:cNvSpPr>
            <a:spLocks noGrp="1"/>
          </p:cNvSpPr>
          <p:nvPr>
            <p:ph type="dt" sz="half" idx="19"/>
          </p:nvPr>
        </p:nvSpPr>
        <p:spPr/>
        <p:txBody>
          <a:bodyPr/>
          <a:lstStyle>
            <a:lvl1pPr>
              <a:defRPr>
                <a:solidFill>
                  <a:schemeClr val="bg1"/>
                </a:solidFill>
              </a:defRPr>
            </a:lvl1pPr>
          </a:lstStyle>
          <a:p>
            <a:r>
              <a:rPr lang="nl-NL"/>
              <a:t>11/08/2023</a:t>
            </a:r>
            <a:endParaRPr lang="en-GB" dirty="0"/>
          </a:p>
        </p:txBody>
      </p:sp>
      <p:sp>
        <p:nvSpPr>
          <p:cNvPr id="11" name="Tijdelijke aanduiding voor dianummer 10">
            <a:extLst>
              <a:ext uri="{FF2B5EF4-FFF2-40B4-BE49-F238E27FC236}">
                <a16:creationId xmlns:a16="http://schemas.microsoft.com/office/drawing/2014/main" id="{7941E3A5-6098-FB47-9413-E53D56761951}"/>
              </a:ext>
            </a:extLst>
          </p:cNvPr>
          <p:cNvSpPr>
            <a:spLocks noGrp="1"/>
          </p:cNvSpPr>
          <p:nvPr>
            <p:ph type="sldNum" sz="quarter" idx="20"/>
          </p:nvPr>
        </p:nvSpPr>
        <p:spPr/>
        <p:txBody>
          <a:bodyPr/>
          <a:lstStyle>
            <a:lvl1pPr>
              <a:defRPr>
                <a:solidFill>
                  <a:schemeClr val="bg1"/>
                </a:solidFill>
              </a:defRPr>
            </a:lvl1pPr>
          </a:lstStyle>
          <a:p>
            <a:fld id="{9E843DB9-9987-4157-AB9C-CEA8D7D910BB}" type="slidenum">
              <a:rPr lang="en-GB" smtClean="0"/>
              <a:pPr/>
              <a:t>‹#›</a:t>
            </a:fld>
            <a:endParaRPr lang="en-GB" dirty="0"/>
          </a:p>
        </p:txBody>
      </p:sp>
      <p:grpSp>
        <p:nvGrpSpPr>
          <p:cNvPr id="3" name="INSTRUCTION">
            <a:extLst>
              <a:ext uri="{FF2B5EF4-FFF2-40B4-BE49-F238E27FC236}">
                <a16:creationId xmlns:a16="http://schemas.microsoft.com/office/drawing/2014/main" id="{CFA0555D-1DF1-0D94-8903-4ED365A3C892}"/>
              </a:ext>
            </a:extLst>
          </p:cNvPr>
          <p:cNvGrpSpPr/>
          <p:nvPr userDrawn="1"/>
        </p:nvGrpSpPr>
        <p:grpSpPr>
          <a:xfrm>
            <a:off x="-3786165" y="0"/>
            <a:ext cx="3693114" cy="6680351"/>
            <a:chOff x="-3786165" y="0"/>
            <a:chExt cx="3693114" cy="6680351"/>
          </a:xfrm>
        </p:grpSpPr>
        <p:sp>
          <p:nvSpPr>
            <p:cNvPr id="4" name="Rechthoek 3">
              <a:extLst>
                <a:ext uri="{FF2B5EF4-FFF2-40B4-BE49-F238E27FC236}">
                  <a16:creationId xmlns:a16="http://schemas.microsoft.com/office/drawing/2014/main" id="{8DD6C12B-1E85-81FA-FCC4-7DE548216BD2}"/>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video</a:t>
              </a:r>
            </a:p>
          </p:txBody>
        </p:sp>
        <p:sp>
          <p:nvSpPr>
            <p:cNvPr id="5" name="Ovaal 4">
              <a:extLst>
                <a:ext uri="{FF2B5EF4-FFF2-40B4-BE49-F238E27FC236}">
                  <a16:creationId xmlns:a16="http://schemas.microsoft.com/office/drawing/2014/main" id="{99ECF4FE-EEF4-710B-BE1A-975B1D2D1D6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58431D0A-AC60-A283-D27A-87B6B89D283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C5C27640-79A1-7F9F-37AC-92BE6E0D932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A022DED-BE6D-B4A1-9981-7C85386AA5CF}"/>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 name="Groep 13">
              <a:extLst>
                <a:ext uri="{FF2B5EF4-FFF2-40B4-BE49-F238E27FC236}">
                  <a16:creationId xmlns:a16="http://schemas.microsoft.com/office/drawing/2014/main" id="{DDFE004D-F43C-DF79-2531-07F8DEE8DEC7}"/>
                </a:ext>
              </a:extLst>
            </p:cNvPr>
            <p:cNvGrpSpPr/>
            <p:nvPr userDrawn="1"/>
          </p:nvGrpSpPr>
          <p:grpSpPr>
            <a:xfrm>
              <a:off x="-3311319" y="2164285"/>
              <a:ext cx="825500" cy="209550"/>
              <a:chOff x="13504624" y="2482850"/>
              <a:chExt cx="825500" cy="209550"/>
            </a:xfrm>
          </p:grpSpPr>
          <p:sp>
            <p:nvSpPr>
              <p:cNvPr id="73" name="Rechthoek 72">
                <a:extLst>
                  <a:ext uri="{FF2B5EF4-FFF2-40B4-BE49-F238E27FC236}">
                    <a16:creationId xmlns:a16="http://schemas.microsoft.com/office/drawing/2014/main" id="{9F4EDB36-A197-4D27-01C1-46E96929032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74" name="Rechte verbindingslijn 73">
                <a:extLst>
                  <a:ext uri="{FF2B5EF4-FFF2-40B4-BE49-F238E27FC236}">
                    <a16:creationId xmlns:a16="http://schemas.microsoft.com/office/drawing/2014/main" id="{09C80B13-7CCC-C2A5-974E-0D58591F4C8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75" name="Gelijkbenige driehoek 74">
                <a:extLst>
                  <a:ext uri="{FF2B5EF4-FFF2-40B4-BE49-F238E27FC236}">
                    <a16:creationId xmlns:a16="http://schemas.microsoft.com/office/drawing/2014/main" id="{2990336B-BE75-A2FD-52B2-4C24C640C67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2757AEC1-CC52-4432-FA27-AB281573523A}"/>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5BAF4BB6-C097-96FB-3F4C-CC975616AA41}"/>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 name="Ovaal 16">
              <a:extLst>
                <a:ext uri="{FF2B5EF4-FFF2-40B4-BE49-F238E27FC236}">
                  <a16:creationId xmlns:a16="http://schemas.microsoft.com/office/drawing/2014/main" id="{58443AD7-A793-102A-A2C5-199951C61DE3}"/>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50DDA0AE-3CD5-7B99-87D7-98BEFCA12903}"/>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video, go to the tab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ideo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video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video frame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rackets.</a:t>
              </a:r>
            </a:p>
          </p:txBody>
        </p:sp>
        <p:grpSp>
          <p:nvGrpSpPr>
            <p:cNvPr id="19" name="Groep 18">
              <a:extLst>
                <a:ext uri="{FF2B5EF4-FFF2-40B4-BE49-F238E27FC236}">
                  <a16:creationId xmlns:a16="http://schemas.microsoft.com/office/drawing/2014/main" id="{5D27F78C-0D8F-4833-C1D5-53AFE77078C3}"/>
                </a:ext>
              </a:extLst>
            </p:cNvPr>
            <p:cNvGrpSpPr/>
            <p:nvPr userDrawn="1"/>
          </p:nvGrpSpPr>
          <p:grpSpPr>
            <a:xfrm>
              <a:off x="-3449237" y="5047414"/>
              <a:ext cx="622283" cy="612919"/>
              <a:chOff x="12617641" y="3403239"/>
              <a:chExt cx="752963" cy="741634"/>
            </a:xfrm>
          </p:grpSpPr>
          <p:grpSp>
            <p:nvGrpSpPr>
              <p:cNvPr id="57" name="Groep 56">
                <a:extLst>
                  <a:ext uri="{FF2B5EF4-FFF2-40B4-BE49-F238E27FC236}">
                    <a16:creationId xmlns:a16="http://schemas.microsoft.com/office/drawing/2014/main" id="{E0DFB08A-58E0-2CF9-3789-4CCB64D810A1}"/>
                  </a:ext>
                </a:extLst>
              </p:cNvPr>
              <p:cNvGrpSpPr/>
              <p:nvPr userDrawn="1"/>
            </p:nvGrpSpPr>
            <p:grpSpPr>
              <a:xfrm>
                <a:off x="12771550" y="3403239"/>
                <a:ext cx="467156" cy="448491"/>
                <a:chOff x="12782177" y="3403239"/>
                <a:chExt cx="467156" cy="448491"/>
              </a:xfrm>
            </p:grpSpPr>
            <p:grpSp>
              <p:nvGrpSpPr>
                <p:cNvPr id="60" name="Groep 59">
                  <a:extLst>
                    <a:ext uri="{FF2B5EF4-FFF2-40B4-BE49-F238E27FC236}">
                      <a16:creationId xmlns:a16="http://schemas.microsoft.com/office/drawing/2014/main" id="{155D73A4-4786-D2D2-CF14-9B951794464E}"/>
                    </a:ext>
                  </a:extLst>
                </p:cNvPr>
                <p:cNvGrpSpPr/>
                <p:nvPr userDrawn="1"/>
              </p:nvGrpSpPr>
              <p:grpSpPr>
                <a:xfrm>
                  <a:off x="12782177" y="3403239"/>
                  <a:ext cx="412972" cy="396132"/>
                  <a:chOff x="13554906" y="3320109"/>
                  <a:chExt cx="443912" cy="425811"/>
                </a:xfrm>
              </p:grpSpPr>
              <p:grpSp>
                <p:nvGrpSpPr>
                  <p:cNvPr id="67" name="Groep 66">
                    <a:extLst>
                      <a:ext uri="{FF2B5EF4-FFF2-40B4-BE49-F238E27FC236}">
                        <a16:creationId xmlns:a16="http://schemas.microsoft.com/office/drawing/2014/main" id="{0E2C3846-1CB2-19DC-18BC-D9200466163F}"/>
                      </a:ext>
                    </a:extLst>
                  </p:cNvPr>
                  <p:cNvGrpSpPr/>
                  <p:nvPr userDrawn="1"/>
                </p:nvGrpSpPr>
                <p:grpSpPr>
                  <a:xfrm>
                    <a:off x="13554906" y="3320109"/>
                    <a:ext cx="443912" cy="425811"/>
                    <a:chOff x="12909684" y="1276143"/>
                    <a:chExt cx="443912" cy="425811"/>
                  </a:xfrm>
                </p:grpSpPr>
                <p:sp>
                  <p:nvSpPr>
                    <p:cNvPr id="70" name="Rechthoek 69">
                      <a:extLst>
                        <a:ext uri="{FF2B5EF4-FFF2-40B4-BE49-F238E27FC236}">
                          <a16:creationId xmlns:a16="http://schemas.microsoft.com/office/drawing/2014/main" id="{E2BBA122-C3CA-8ECB-79F7-BBE3035835A5}"/>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B1C55032-DF2A-1993-0E3A-67EC12039FA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Ovaal 71">
                      <a:extLst>
                        <a:ext uri="{FF2B5EF4-FFF2-40B4-BE49-F238E27FC236}">
                          <a16:creationId xmlns:a16="http://schemas.microsoft.com/office/drawing/2014/main" id="{E690BF51-E406-84A0-DED1-5596CDC7B6D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68" name="Afbeelding 67">
                    <a:extLst>
                      <a:ext uri="{FF2B5EF4-FFF2-40B4-BE49-F238E27FC236}">
                        <a16:creationId xmlns:a16="http://schemas.microsoft.com/office/drawing/2014/main" id="{3DAC0F55-4EE5-FFEB-1A8F-C4C010DB09F4}"/>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2"/>
                    <a:ext cx="173367" cy="140220"/>
                  </a:xfrm>
                  <a:prstGeom prst="rect">
                    <a:avLst/>
                  </a:prstGeom>
                </p:spPr>
              </p:pic>
              <p:pic>
                <p:nvPicPr>
                  <p:cNvPr id="69" name="Afbeelding 68">
                    <a:extLst>
                      <a:ext uri="{FF2B5EF4-FFF2-40B4-BE49-F238E27FC236}">
                        <a16:creationId xmlns:a16="http://schemas.microsoft.com/office/drawing/2014/main" id="{7A6780BF-4891-7853-9658-2C55D99FF142}"/>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61" name="Groep 60">
                  <a:extLst>
                    <a:ext uri="{FF2B5EF4-FFF2-40B4-BE49-F238E27FC236}">
                      <a16:creationId xmlns:a16="http://schemas.microsoft.com/office/drawing/2014/main" id="{99B7F098-47AB-CC56-A732-2B2F7517F1FC}"/>
                    </a:ext>
                  </a:extLst>
                </p:cNvPr>
                <p:cNvGrpSpPr/>
                <p:nvPr userDrawn="1"/>
              </p:nvGrpSpPr>
              <p:grpSpPr>
                <a:xfrm>
                  <a:off x="13103513" y="3705268"/>
                  <a:ext cx="145820" cy="146462"/>
                  <a:chOff x="13096169" y="3602278"/>
                  <a:chExt cx="145820" cy="146462"/>
                </a:xfrm>
              </p:grpSpPr>
              <p:sp>
                <p:nvSpPr>
                  <p:cNvPr id="65" name="Rechthoek 64">
                    <a:extLst>
                      <a:ext uri="{FF2B5EF4-FFF2-40B4-BE49-F238E27FC236}">
                        <a16:creationId xmlns:a16="http://schemas.microsoft.com/office/drawing/2014/main" id="{A96781D6-E166-5261-0CC6-538F1BDC941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4AD204E0-A6D6-BBEB-4F9D-C9D510D8399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2" name="Groep 61">
                  <a:extLst>
                    <a:ext uri="{FF2B5EF4-FFF2-40B4-BE49-F238E27FC236}">
                      <a16:creationId xmlns:a16="http://schemas.microsoft.com/office/drawing/2014/main" id="{B2BC088C-E097-08AE-1DBB-581E3A925FDA}"/>
                    </a:ext>
                  </a:extLst>
                </p:cNvPr>
                <p:cNvGrpSpPr/>
                <p:nvPr userDrawn="1"/>
              </p:nvGrpSpPr>
              <p:grpSpPr>
                <a:xfrm rot="10800000">
                  <a:off x="13061402" y="3665637"/>
                  <a:ext cx="145820" cy="146462"/>
                  <a:chOff x="13096169" y="3602278"/>
                  <a:chExt cx="145820" cy="146462"/>
                </a:xfrm>
              </p:grpSpPr>
              <p:sp>
                <p:nvSpPr>
                  <p:cNvPr id="63" name="Rechthoek 62">
                    <a:extLst>
                      <a:ext uri="{FF2B5EF4-FFF2-40B4-BE49-F238E27FC236}">
                        <a16:creationId xmlns:a16="http://schemas.microsoft.com/office/drawing/2014/main" id="{1A96A21A-96EC-07E6-3327-7C1A548BCDC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9611BE82-5FD0-6DD7-7562-DC90DAE5C25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58" name="Rechthoek 57">
                <a:extLst>
                  <a:ext uri="{FF2B5EF4-FFF2-40B4-BE49-F238E27FC236}">
                    <a16:creationId xmlns:a16="http://schemas.microsoft.com/office/drawing/2014/main" id="{A51FE880-D240-2834-2C08-93CC58B13AE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59" name="Gelijkbenige driehoek 58">
                <a:extLst>
                  <a:ext uri="{FF2B5EF4-FFF2-40B4-BE49-F238E27FC236}">
                    <a16:creationId xmlns:a16="http://schemas.microsoft.com/office/drawing/2014/main" id="{1CD639C0-3E4D-F65C-3DDE-289EA822864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 name="Rechthoek 19">
              <a:extLst>
                <a:ext uri="{FF2B5EF4-FFF2-40B4-BE49-F238E27FC236}">
                  <a16:creationId xmlns:a16="http://schemas.microsoft.com/office/drawing/2014/main" id="{6B9F67C6-EC4F-AECC-89BD-A2A60995296A}"/>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21" name="Groep 20">
              <a:extLst>
                <a:ext uri="{FF2B5EF4-FFF2-40B4-BE49-F238E27FC236}">
                  <a16:creationId xmlns:a16="http://schemas.microsoft.com/office/drawing/2014/main" id="{8FC7F3F1-44ED-CD5E-5AF1-67D6F6C5F09B}"/>
                </a:ext>
              </a:extLst>
            </p:cNvPr>
            <p:cNvGrpSpPr/>
            <p:nvPr userDrawn="1"/>
          </p:nvGrpSpPr>
          <p:grpSpPr>
            <a:xfrm>
              <a:off x="-2485819" y="3399207"/>
              <a:ext cx="1222990" cy="563933"/>
              <a:chOff x="-2485819" y="3399207"/>
              <a:chExt cx="1222990" cy="563933"/>
            </a:xfrm>
          </p:grpSpPr>
          <p:sp>
            <p:nvSpPr>
              <p:cNvPr id="36" name="Rechthoek 35">
                <a:extLst>
                  <a:ext uri="{FF2B5EF4-FFF2-40B4-BE49-F238E27FC236}">
                    <a16:creationId xmlns:a16="http://schemas.microsoft.com/office/drawing/2014/main" id="{D439BC78-1145-BBF4-8D1B-6C22D7637760}"/>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ACD8F4C5-45BC-515C-9CF8-69D95BEE396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5C1301FD-3C0B-C371-B663-AFBAA1DA1759}"/>
                  </a:ext>
                </a:extLst>
              </p:cNvPr>
              <p:cNvGrpSpPr/>
              <p:nvPr userDrawn="1"/>
            </p:nvGrpSpPr>
            <p:grpSpPr>
              <a:xfrm>
                <a:off x="-2403869" y="3460544"/>
                <a:ext cx="155951" cy="131922"/>
                <a:chOff x="12968836" y="3354170"/>
                <a:chExt cx="404806" cy="342433"/>
              </a:xfrm>
            </p:grpSpPr>
            <p:sp>
              <p:nvSpPr>
                <p:cNvPr id="51" name="Rechthoek: afgeronde hoeken 50">
                  <a:extLst>
                    <a:ext uri="{FF2B5EF4-FFF2-40B4-BE49-F238E27FC236}">
                      <a16:creationId xmlns:a16="http://schemas.microsoft.com/office/drawing/2014/main" id="{9E42938C-EC03-0033-A99C-6630D2E601A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DD09F832-0E6E-6BFD-4337-7DC77D38EC2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D0C5701E-0443-BAD6-7545-8065BDF4F03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4" name="Rechthoek 53">
                  <a:extLst>
                    <a:ext uri="{FF2B5EF4-FFF2-40B4-BE49-F238E27FC236}">
                      <a16:creationId xmlns:a16="http://schemas.microsoft.com/office/drawing/2014/main" id="{ED33F021-3445-D50C-8356-CE7062AB795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79FE30E5-E93F-0409-F125-E5876222225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3037BE2A-6CFF-38AC-60B1-5779D8F6AA2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EDAAE662-CE77-BD27-CC9C-CF22D29A0345}"/>
                  </a:ext>
                </a:extLst>
              </p:cNvPr>
              <p:cNvGrpSpPr/>
              <p:nvPr userDrawn="1"/>
            </p:nvGrpSpPr>
            <p:grpSpPr>
              <a:xfrm>
                <a:off x="-2423424" y="3690208"/>
                <a:ext cx="166739" cy="218963"/>
                <a:chOff x="12940828" y="3950597"/>
                <a:chExt cx="432813" cy="568367"/>
              </a:xfrm>
            </p:grpSpPr>
            <p:grpSp>
              <p:nvGrpSpPr>
                <p:cNvPr id="43" name="Groep 42">
                  <a:extLst>
                    <a:ext uri="{FF2B5EF4-FFF2-40B4-BE49-F238E27FC236}">
                      <a16:creationId xmlns:a16="http://schemas.microsoft.com/office/drawing/2014/main" id="{692B851D-D0A3-E233-A2E7-CE33F3307E55}"/>
                    </a:ext>
                  </a:extLst>
                </p:cNvPr>
                <p:cNvGrpSpPr/>
                <p:nvPr userDrawn="1"/>
              </p:nvGrpSpPr>
              <p:grpSpPr>
                <a:xfrm>
                  <a:off x="13000382" y="4006891"/>
                  <a:ext cx="373259" cy="315747"/>
                  <a:chOff x="12968836" y="3354170"/>
                  <a:chExt cx="404806" cy="342433"/>
                </a:xfrm>
              </p:grpSpPr>
              <p:sp>
                <p:nvSpPr>
                  <p:cNvPr id="45" name="Rechthoek: afgeronde hoeken 44">
                    <a:extLst>
                      <a:ext uri="{FF2B5EF4-FFF2-40B4-BE49-F238E27FC236}">
                        <a16:creationId xmlns:a16="http://schemas.microsoft.com/office/drawing/2014/main" id="{B324F6EA-3C03-1D68-A163-5E2D06BF0D2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8D6701B0-D374-F51B-289B-662AD9654AA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46A19455-59AA-B6BF-514D-AA9D2FD148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07BE9A18-CBB6-554D-9B0A-320B820D6E9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6DB53143-04CC-DE75-2FB4-AF40356165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9A03A67F-4AE6-2C40-2294-27E2395046E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4" name="Boog 43">
                  <a:extLst>
                    <a:ext uri="{FF2B5EF4-FFF2-40B4-BE49-F238E27FC236}">
                      <a16:creationId xmlns:a16="http://schemas.microsoft.com/office/drawing/2014/main" id="{427801BC-D5FB-A8E8-E1EC-9D65F30BC977}"/>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40" name="Tekstvak 39">
                <a:extLst>
                  <a:ext uri="{FF2B5EF4-FFF2-40B4-BE49-F238E27FC236}">
                    <a16:creationId xmlns:a16="http://schemas.microsoft.com/office/drawing/2014/main" id="{66E4ADC1-E7DD-EF56-8AAC-8BFCC4AB1593}"/>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41" name="Tekstvak 40">
                <a:extLst>
                  <a:ext uri="{FF2B5EF4-FFF2-40B4-BE49-F238E27FC236}">
                    <a16:creationId xmlns:a16="http://schemas.microsoft.com/office/drawing/2014/main" id="{D61899B9-3ACA-FD06-B956-0332F3D67DE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42" name="Vrije vorm: vorm 41">
                <a:extLst>
                  <a:ext uri="{FF2B5EF4-FFF2-40B4-BE49-F238E27FC236}">
                    <a16:creationId xmlns:a16="http://schemas.microsoft.com/office/drawing/2014/main" id="{DCE78B20-2935-63F6-6121-B69E32DDB7C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2" name="Groep 21">
              <a:extLst>
                <a:ext uri="{FF2B5EF4-FFF2-40B4-BE49-F238E27FC236}">
                  <a16:creationId xmlns:a16="http://schemas.microsoft.com/office/drawing/2014/main" id="{274B5915-AF4E-B81B-B223-97C993671F42}"/>
                </a:ext>
              </a:extLst>
            </p:cNvPr>
            <p:cNvGrpSpPr/>
            <p:nvPr userDrawn="1"/>
          </p:nvGrpSpPr>
          <p:grpSpPr>
            <a:xfrm>
              <a:off x="-3310781" y="1231352"/>
              <a:ext cx="311450" cy="313414"/>
              <a:chOff x="-3310781" y="1231352"/>
              <a:chExt cx="311450" cy="313414"/>
            </a:xfrm>
          </p:grpSpPr>
          <p:sp>
            <p:nvSpPr>
              <p:cNvPr id="33" name="Rechthoek 32">
                <a:extLst>
                  <a:ext uri="{FF2B5EF4-FFF2-40B4-BE49-F238E27FC236}">
                    <a16:creationId xmlns:a16="http://schemas.microsoft.com/office/drawing/2014/main" id="{7477AEFD-119B-7C23-6782-4CCA8CB51905}"/>
                  </a:ext>
                </a:extLst>
              </p:cNvPr>
              <p:cNvSpPr/>
              <p:nvPr userDrawn="1"/>
            </p:nvSpPr>
            <p:spPr>
              <a:xfrm>
                <a:off x="-3310781" y="1231352"/>
                <a:ext cx="308978" cy="308977"/>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34" name="Vrije vorm 112">
                <a:extLst>
                  <a:ext uri="{FF2B5EF4-FFF2-40B4-BE49-F238E27FC236}">
                    <a16:creationId xmlns:a16="http://schemas.microsoft.com/office/drawing/2014/main" id="{91DAF994-3527-44C3-FE91-C61AE5143631}"/>
                  </a:ext>
                </a:extLst>
              </p:cNvPr>
              <p:cNvSpPr/>
              <p:nvPr userDrawn="1"/>
            </p:nvSpPr>
            <p:spPr>
              <a:xfrm>
                <a:off x="-3308309" y="1231352"/>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35" name="Vrije vorm 113">
                <a:extLst>
                  <a:ext uri="{FF2B5EF4-FFF2-40B4-BE49-F238E27FC236}">
                    <a16:creationId xmlns:a16="http://schemas.microsoft.com/office/drawing/2014/main" id="{05794D1D-D19D-F999-5DC5-770CE284CFB0}"/>
                  </a:ext>
                </a:extLst>
              </p:cNvPr>
              <p:cNvSpPr/>
              <p:nvPr userDrawn="1"/>
            </p:nvSpPr>
            <p:spPr>
              <a:xfrm>
                <a:off x="-3309640" y="1497801"/>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3" name="Rechthoek 22">
              <a:extLst>
                <a:ext uri="{FF2B5EF4-FFF2-40B4-BE49-F238E27FC236}">
                  <a16:creationId xmlns:a16="http://schemas.microsoft.com/office/drawing/2014/main" id="{6AFDC8D8-BEB6-2372-283D-4A20BD7D4585}"/>
                </a:ext>
              </a:extLst>
            </p:cNvPr>
            <p:cNvSpPr/>
            <p:nvPr userDrawn="1"/>
          </p:nvSpPr>
          <p:spPr>
            <a:xfrm>
              <a:off x="-3786164" y="58523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CF442570-6AC2-7A17-F027-9A27B64C715E}"/>
                </a:ext>
              </a:extLst>
            </p:cNvPr>
            <p:cNvGrpSpPr/>
            <p:nvPr userDrawn="1"/>
          </p:nvGrpSpPr>
          <p:grpSpPr>
            <a:xfrm>
              <a:off x="-376736" y="5681302"/>
              <a:ext cx="283685" cy="283685"/>
              <a:chOff x="-510741" y="5913713"/>
              <a:chExt cx="267555" cy="267555"/>
            </a:xfrm>
          </p:grpSpPr>
          <p:sp>
            <p:nvSpPr>
              <p:cNvPr id="31" name="Ovaal 30">
                <a:extLst>
                  <a:ext uri="{FF2B5EF4-FFF2-40B4-BE49-F238E27FC236}">
                    <a16:creationId xmlns:a16="http://schemas.microsoft.com/office/drawing/2014/main" id="{22579EC6-E185-CC07-6815-F5202153A02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 name="Graphic 163" descr="Informatie">
                <a:extLst>
                  <a:ext uri="{FF2B5EF4-FFF2-40B4-BE49-F238E27FC236}">
                    <a16:creationId xmlns:a16="http://schemas.microsoft.com/office/drawing/2014/main" id="{5818274B-A374-8838-E2D9-66556B4094F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5" name="Groep 24">
              <a:extLst>
                <a:ext uri="{FF2B5EF4-FFF2-40B4-BE49-F238E27FC236}">
                  <a16:creationId xmlns:a16="http://schemas.microsoft.com/office/drawing/2014/main" id="{FB121E7C-2BD9-2F3E-9A2B-0E359C6A3A27}"/>
                </a:ext>
              </a:extLst>
            </p:cNvPr>
            <p:cNvGrpSpPr/>
            <p:nvPr userDrawn="1"/>
          </p:nvGrpSpPr>
          <p:grpSpPr>
            <a:xfrm>
              <a:off x="-938434" y="5989728"/>
              <a:ext cx="627798" cy="576693"/>
              <a:chOff x="-938434" y="4570310"/>
              <a:chExt cx="627798" cy="576693"/>
            </a:xfrm>
          </p:grpSpPr>
          <p:grpSp>
            <p:nvGrpSpPr>
              <p:cNvPr id="26" name="Inspireren">
                <a:extLst>
                  <a:ext uri="{FF2B5EF4-FFF2-40B4-BE49-F238E27FC236}">
                    <a16:creationId xmlns:a16="http://schemas.microsoft.com/office/drawing/2014/main" id="{D67A2A51-F935-653F-6455-8EBFD899E4E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8" name="Freeform 12">
                  <a:extLst>
                    <a:ext uri="{FF2B5EF4-FFF2-40B4-BE49-F238E27FC236}">
                      <a16:creationId xmlns:a16="http://schemas.microsoft.com/office/drawing/2014/main" id="{55D08CE6-941B-D053-506F-CEF7AA2A608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9" name="Freeform 13">
                  <a:extLst>
                    <a:ext uri="{FF2B5EF4-FFF2-40B4-BE49-F238E27FC236}">
                      <a16:creationId xmlns:a16="http://schemas.microsoft.com/office/drawing/2014/main" id="{083A7B54-AB9A-B102-2601-659463BD6C47}"/>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4">
                  <a:extLst>
                    <a:ext uri="{FF2B5EF4-FFF2-40B4-BE49-F238E27FC236}">
                      <a16:creationId xmlns:a16="http://schemas.microsoft.com/office/drawing/2014/main" id="{41866F4C-91D1-E609-1214-9EE3C326C1B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7" name="Tekstvak 26">
                <a:extLst>
                  <a:ext uri="{FF2B5EF4-FFF2-40B4-BE49-F238E27FC236}">
                    <a16:creationId xmlns:a16="http://schemas.microsoft.com/office/drawing/2014/main" id="{AF14C19D-DA27-7A84-2E20-22CA4FFDF2CB}"/>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424155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00893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itle only</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Tree>
    <p:extLst>
      <p:ext uri="{BB962C8B-B14F-4D97-AF65-F5344CB8AC3E}">
        <p14:creationId xmlns:p14="http://schemas.microsoft.com/office/powerpoint/2010/main" val="54367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rganogram + photos">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247285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Organogram + photos</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37" name="Tijdelijke aanduiding voor afbeelding 16">
            <a:extLst>
              <a:ext uri="{FF2B5EF4-FFF2-40B4-BE49-F238E27FC236}">
                <a16:creationId xmlns:a16="http://schemas.microsoft.com/office/drawing/2014/main" id="{B140CBB5-C926-A14E-6E11-208F6ED33C32}"/>
              </a:ext>
            </a:extLst>
          </p:cNvPr>
          <p:cNvSpPr>
            <a:spLocks noGrp="1"/>
          </p:cNvSpPr>
          <p:nvPr>
            <p:ph type="pic" sz="quarter" idx="13" hasCustomPrompt="1"/>
          </p:nvPr>
        </p:nvSpPr>
        <p:spPr>
          <a:xfrm>
            <a:off x="5227021" y="1577038"/>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38" name="Tijdelijke aanduiding voor afbeelding 16">
            <a:extLst>
              <a:ext uri="{FF2B5EF4-FFF2-40B4-BE49-F238E27FC236}">
                <a16:creationId xmlns:a16="http://schemas.microsoft.com/office/drawing/2014/main" id="{14C7CF9E-5B91-2065-2FC4-D304EAA5034F}"/>
              </a:ext>
            </a:extLst>
          </p:cNvPr>
          <p:cNvSpPr>
            <a:spLocks noGrp="1"/>
          </p:cNvSpPr>
          <p:nvPr>
            <p:ph type="pic" sz="quarter" idx="21" hasCustomPrompt="1"/>
          </p:nvPr>
        </p:nvSpPr>
        <p:spPr>
          <a:xfrm>
            <a:off x="9758621" y="2778044"/>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39" name="Tijdelijke aanduiding voor afbeelding 16">
            <a:extLst>
              <a:ext uri="{FF2B5EF4-FFF2-40B4-BE49-F238E27FC236}">
                <a16:creationId xmlns:a16="http://schemas.microsoft.com/office/drawing/2014/main" id="{A7DDA151-3F4F-B593-A394-CB6DEF046EF0}"/>
              </a:ext>
            </a:extLst>
          </p:cNvPr>
          <p:cNvSpPr>
            <a:spLocks noGrp="1"/>
          </p:cNvSpPr>
          <p:nvPr>
            <p:ph type="pic" sz="quarter" idx="22" hasCustomPrompt="1"/>
          </p:nvPr>
        </p:nvSpPr>
        <p:spPr>
          <a:xfrm>
            <a:off x="9758621" y="3979046"/>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0" name="Tijdelijke aanduiding voor afbeelding 16">
            <a:extLst>
              <a:ext uri="{FF2B5EF4-FFF2-40B4-BE49-F238E27FC236}">
                <a16:creationId xmlns:a16="http://schemas.microsoft.com/office/drawing/2014/main" id="{768E1753-0ED0-3026-5633-C12E3E707C24}"/>
              </a:ext>
            </a:extLst>
          </p:cNvPr>
          <p:cNvSpPr>
            <a:spLocks noGrp="1"/>
          </p:cNvSpPr>
          <p:nvPr>
            <p:ph type="pic" sz="quarter" idx="23" hasCustomPrompt="1"/>
          </p:nvPr>
        </p:nvSpPr>
        <p:spPr>
          <a:xfrm>
            <a:off x="9758621" y="5180052"/>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5" name="Tijdelijke aanduiding voor afbeelding 16">
            <a:extLst>
              <a:ext uri="{FF2B5EF4-FFF2-40B4-BE49-F238E27FC236}">
                <a16:creationId xmlns:a16="http://schemas.microsoft.com/office/drawing/2014/main" id="{E2697F3E-6841-A4B0-7D89-083A1391421D}"/>
              </a:ext>
            </a:extLst>
          </p:cNvPr>
          <p:cNvSpPr>
            <a:spLocks noGrp="1"/>
          </p:cNvSpPr>
          <p:nvPr>
            <p:ph type="pic" sz="quarter" idx="24" hasCustomPrompt="1"/>
          </p:nvPr>
        </p:nvSpPr>
        <p:spPr>
          <a:xfrm>
            <a:off x="7498630"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6" name="Tijdelijke aanduiding voor afbeelding 16">
            <a:extLst>
              <a:ext uri="{FF2B5EF4-FFF2-40B4-BE49-F238E27FC236}">
                <a16:creationId xmlns:a16="http://schemas.microsoft.com/office/drawing/2014/main" id="{9EAD0D3C-AAEF-8C3F-00BE-D32F4785DE15}"/>
              </a:ext>
            </a:extLst>
          </p:cNvPr>
          <p:cNvSpPr>
            <a:spLocks noGrp="1"/>
          </p:cNvSpPr>
          <p:nvPr>
            <p:ph type="pic" sz="quarter" idx="25" hasCustomPrompt="1"/>
          </p:nvPr>
        </p:nvSpPr>
        <p:spPr>
          <a:xfrm>
            <a:off x="7498630"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7" name="Tijdelijke aanduiding voor afbeelding 16">
            <a:extLst>
              <a:ext uri="{FF2B5EF4-FFF2-40B4-BE49-F238E27FC236}">
                <a16:creationId xmlns:a16="http://schemas.microsoft.com/office/drawing/2014/main" id="{30EF81D2-4540-3249-1A86-651424A00147}"/>
              </a:ext>
            </a:extLst>
          </p:cNvPr>
          <p:cNvSpPr>
            <a:spLocks noGrp="1"/>
          </p:cNvSpPr>
          <p:nvPr>
            <p:ph type="pic" sz="quarter" idx="26" hasCustomPrompt="1"/>
          </p:nvPr>
        </p:nvSpPr>
        <p:spPr>
          <a:xfrm>
            <a:off x="7498630"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8" name="Tijdelijke aanduiding voor afbeelding 16">
            <a:extLst>
              <a:ext uri="{FF2B5EF4-FFF2-40B4-BE49-F238E27FC236}">
                <a16:creationId xmlns:a16="http://schemas.microsoft.com/office/drawing/2014/main" id="{492B8ECF-32CF-BD96-874F-CBEF83CC1EF8}"/>
              </a:ext>
            </a:extLst>
          </p:cNvPr>
          <p:cNvSpPr>
            <a:spLocks noGrp="1"/>
          </p:cNvSpPr>
          <p:nvPr>
            <p:ph type="pic" sz="quarter" idx="27" hasCustomPrompt="1"/>
          </p:nvPr>
        </p:nvSpPr>
        <p:spPr>
          <a:xfrm>
            <a:off x="5227016" y="2778044"/>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9" name="Tijdelijke aanduiding voor afbeelding 16">
            <a:extLst>
              <a:ext uri="{FF2B5EF4-FFF2-40B4-BE49-F238E27FC236}">
                <a16:creationId xmlns:a16="http://schemas.microsoft.com/office/drawing/2014/main" id="{3BC855F2-DC3F-E344-1BDE-FBF91152634D}"/>
              </a:ext>
            </a:extLst>
          </p:cNvPr>
          <p:cNvSpPr>
            <a:spLocks noGrp="1"/>
          </p:cNvSpPr>
          <p:nvPr>
            <p:ph type="pic" sz="quarter" idx="28" hasCustomPrompt="1"/>
          </p:nvPr>
        </p:nvSpPr>
        <p:spPr>
          <a:xfrm>
            <a:off x="5227016" y="3979046"/>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0" name="Tijdelijke aanduiding voor afbeelding 16">
            <a:extLst>
              <a:ext uri="{FF2B5EF4-FFF2-40B4-BE49-F238E27FC236}">
                <a16:creationId xmlns:a16="http://schemas.microsoft.com/office/drawing/2014/main" id="{863202A7-B6B5-D7B9-B9CA-F6F0ACA141A3}"/>
              </a:ext>
            </a:extLst>
          </p:cNvPr>
          <p:cNvSpPr>
            <a:spLocks noGrp="1"/>
          </p:cNvSpPr>
          <p:nvPr>
            <p:ph type="pic" sz="quarter" idx="29" hasCustomPrompt="1"/>
          </p:nvPr>
        </p:nvSpPr>
        <p:spPr>
          <a:xfrm>
            <a:off x="5227016" y="5180052"/>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1" name="Tijdelijke aanduiding voor afbeelding 16">
            <a:extLst>
              <a:ext uri="{FF2B5EF4-FFF2-40B4-BE49-F238E27FC236}">
                <a16:creationId xmlns:a16="http://schemas.microsoft.com/office/drawing/2014/main" id="{CB3B811E-5B01-AD47-1D0C-50D68CDB2352}"/>
              </a:ext>
            </a:extLst>
          </p:cNvPr>
          <p:cNvSpPr>
            <a:spLocks noGrp="1"/>
          </p:cNvSpPr>
          <p:nvPr>
            <p:ph type="pic" sz="quarter" idx="30" hasCustomPrompt="1"/>
          </p:nvPr>
        </p:nvSpPr>
        <p:spPr>
          <a:xfrm>
            <a:off x="2978653"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2" name="Tijdelijke aanduiding voor afbeelding 16">
            <a:extLst>
              <a:ext uri="{FF2B5EF4-FFF2-40B4-BE49-F238E27FC236}">
                <a16:creationId xmlns:a16="http://schemas.microsoft.com/office/drawing/2014/main" id="{8A08A704-C443-FFC1-34E0-97B44A82EED7}"/>
              </a:ext>
            </a:extLst>
          </p:cNvPr>
          <p:cNvSpPr>
            <a:spLocks noGrp="1"/>
          </p:cNvSpPr>
          <p:nvPr>
            <p:ph type="pic" sz="quarter" idx="31" hasCustomPrompt="1"/>
          </p:nvPr>
        </p:nvSpPr>
        <p:spPr>
          <a:xfrm>
            <a:off x="2978653"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3" name="Tijdelijke aanduiding voor afbeelding 16">
            <a:extLst>
              <a:ext uri="{FF2B5EF4-FFF2-40B4-BE49-F238E27FC236}">
                <a16:creationId xmlns:a16="http://schemas.microsoft.com/office/drawing/2014/main" id="{64C76DC2-803D-5A19-8417-3F6CDF05241E}"/>
              </a:ext>
            </a:extLst>
          </p:cNvPr>
          <p:cNvSpPr>
            <a:spLocks noGrp="1"/>
          </p:cNvSpPr>
          <p:nvPr>
            <p:ph type="pic" sz="quarter" idx="32" hasCustomPrompt="1"/>
          </p:nvPr>
        </p:nvSpPr>
        <p:spPr>
          <a:xfrm>
            <a:off x="2978653"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4" name="Tijdelijke aanduiding voor afbeelding 16">
            <a:extLst>
              <a:ext uri="{FF2B5EF4-FFF2-40B4-BE49-F238E27FC236}">
                <a16:creationId xmlns:a16="http://schemas.microsoft.com/office/drawing/2014/main" id="{4977DEBF-6C15-FC79-52AD-3FB9F4386884}"/>
              </a:ext>
            </a:extLst>
          </p:cNvPr>
          <p:cNvSpPr>
            <a:spLocks noGrp="1"/>
          </p:cNvSpPr>
          <p:nvPr>
            <p:ph type="pic" sz="quarter" idx="33" hasCustomPrompt="1"/>
          </p:nvPr>
        </p:nvSpPr>
        <p:spPr>
          <a:xfrm>
            <a:off x="718664"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5" name="Tijdelijke aanduiding voor afbeelding 16">
            <a:extLst>
              <a:ext uri="{FF2B5EF4-FFF2-40B4-BE49-F238E27FC236}">
                <a16:creationId xmlns:a16="http://schemas.microsoft.com/office/drawing/2014/main" id="{604536E4-BE6F-9ABE-A1F4-2399DC1FD139}"/>
              </a:ext>
            </a:extLst>
          </p:cNvPr>
          <p:cNvSpPr>
            <a:spLocks noGrp="1"/>
          </p:cNvSpPr>
          <p:nvPr>
            <p:ph type="pic" sz="quarter" idx="34" hasCustomPrompt="1"/>
          </p:nvPr>
        </p:nvSpPr>
        <p:spPr>
          <a:xfrm>
            <a:off x="718664"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6" name="Tijdelijke aanduiding voor afbeelding 16">
            <a:extLst>
              <a:ext uri="{FF2B5EF4-FFF2-40B4-BE49-F238E27FC236}">
                <a16:creationId xmlns:a16="http://schemas.microsoft.com/office/drawing/2014/main" id="{325E19DD-1BB5-3397-143B-4B1782CC987A}"/>
              </a:ext>
            </a:extLst>
          </p:cNvPr>
          <p:cNvSpPr>
            <a:spLocks noGrp="1"/>
          </p:cNvSpPr>
          <p:nvPr>
            <p:ph type="pic" sz="quarter" idx="35" hasCustomPrompt="1"/>
          </p:nvPr>
        </p:nvSpPr>
        <p:spPr>
          <a:xfrm>
            <a:off x="718664"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Tree>
    <p:extLst>
      <p:ext uri="{BB962C8B-B14F-4D97-AF65-F5344CB8AC3E}">
        <p14:creationId xmlns:p14="http://schemas.microsoft.com/office/powerpoint/2010/main" val="428717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ure">
    <p:bg>
      <p:bgPr>
        <a:solidFill>
          <a:schemeClr val="accent1"/>
        </a:solidFill>
        <a:effectLst/>
      </p:bgPr>
    </p:bg>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9C2FF999-F008-1331-E6E0-38EDC8FDB419}"/>
              </a:ext>
            </a:extLst>
          </p:cNvPr>
          <p:cNvSpPr/>
          <p:nvPr userDrawn="1"/>
        </p:nvSpPr>
        <p:spPr>
          <a:xfrm>
            <a:off x="-10750" y="0"/>
            <a:ext cx="122027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Vrije vorm: vorm 41">
            <a:extLst>
              <a:ext uri="{FF2B5EF4-FFF2-40B4-BE49-F238E27FC236}">
                <a16:creationId xmlns:a16="http://schemas.microsoft.com/office/drawing/2014/main" id="{C60BEEE3-6FC2-1913-7D0E-D2FF66473DA8}"/>
              </a:ext>
            </a:extLst>
          </p:cNvPr>
          <p:cNvSpPr/>
          <p:nvPr/>
        </p:nvSpPr>
        <p:spPr>
          <a:xfrm>
            <a:off x="-10750" y="1"/>
            <a:ext cx="12202750" cy="6857999"/>
          </a:xfrm>
          <a:custGeom>
            <a:avLst/>
            <a:gdLst>
              <a:gd name="connsiteX0" fmla="*/ 12202750 w 12202750"/>
              <a:gd name="connsiteY0" fmla="*/ 3750218 h 6857999"/>
              <a:gd name="connsiteX1" fmla="*/ 12202750 w 12202750"/>
              <a:gd name="connsiteY1" fmla="*/ 6857999 h 6857999"/>
              <a:gd name="connsiteX2" fmla="*/ 11114530 w 12202750"/>
              <a:gd name="connsiteY2" fmla="*/ 6857999 h 6857999"/>
              <a:gd name="connsiteX3" fmla="*/ 11256844 w 12202750"/>
              <a:gd name="connsiteY3" fmla="*/ 6595461 h 6857999"/>
              <a:gd name="connsiteX4" fmla="*/ 12121807 w 12202750"/>
              <a:gd name="connsiteY4" fmla="*/ 4108853 h 6857999"/>
              <a:gd name="connsiteX5" fmla="*/ 7260002 w 12202750"/>
              <a:gd name="connsiteY5" fmla="*/ 0 h 6857999"/>
              <a:gd name="connsiteX6" fmla="*/ 12202750 w 12202750"/>
              <a:gd name="connsiteY6" fmla="*/ 0 h 6857999"/>
              <a:gd name="connsiteX7" fmla="*/ 12202750 w 12202750"/>
              <a:gd name="connsiteY7" fmla="*/ 1540137 h 6857999"/>
              <a:gd name="connsiteX8" fmla="*/ 12200549 w 12202750"/>
              <a:gd name="connsiteY8" fmla="*/ 1543414 h 6857999"/>
              <a:gd name="connsiteX9" fmla="*/ 11867141 w 12202750"/>
              <a:gd name="connsiteY9" fmla="*/ 2106148 h 6857999"/>
              <a:gd name="connsiteX10" fmla="*/ 6343721 w 12202750"/>
              <a:gd name="connsiteY10" fmla="*/ 3249151 h 6857999"/>
              <a:gd name="connsiteX11" fmla="*/ 7248419 w 12202750"/>
              <a:gd name="connsiteY11" fmla="*/ 17042 h 6857999"/>
              <a:gd name="connsiteX12" fmla="*/ 0 w 12202750"/>
              <a:gd name="connsiteY12" fmla="*/ 0 h 6857999"/>
              <a:gd name="connsiteX13" fmla="*/ 4336814 w 12202750"/>
              <a:gd name="connsiteY13" fmla="*/ 0 h 6857999"/>
              <a:gd name="connsiteX14" fmla="*/ 3953814 w 12202750"/>
              <a:gd name="connsiteY14" fmla="*/ 290459 h 6857999"/>
              <a:gd name="connsiteX15" fmla="*/ 34757 w 12202750"/>
              <a:gd name="connsiteY15" fmla="*/ 4907294 h 6857999"/>
              <a:gd name="connsiteX16" fmla="*/ 0 w 12202750"/>
              <a:gd name="connsiteY16" fmla="*/ 5022063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2750" h="6857999">
                <a:moveTo>
                  <a:pt x="12202750" y="3750218"/>
                </a:moveTo>
                <a:lnTo>
                  <a:pt x="12202750" y="6857999"/>
                </a:lnTo>
                <a:lnTo>
                  <a:pt x="11114530" y="6857999"/>
                </a:lnTo>
                <a:lnTo>
                  <a:pt x="11256844" y="6595461"/>
                </a:lnTo>
                <a:cubicBezTo>
                  <a:pt x="11629965" y="5862402"/>
                  <a:pt x="11898764" y="5050891"/>
                  <a:pt x="12121807" y="4108853"/>
                </a:cubicBezTo>
                <a:close/>
                <a:moveTo>
                  <a:pt x="7260002" y="0"/>
                </a:moveTo>
                <a:lnTo>
                  <a:pt x="12202750" y="0"/>
                </a:lnTo>
                <a:lnTo>
                  <a:pt x="12202750" y="1540137"/>
                </a:lnTo>
                <a:lnTo>
                  <a:pt x="12200549" y="1543414"/>
                </a:lnTo>
                <a:cubicBezTo>
                  <a:pt x="12110526" y="1684115"/>
                  <a:pt x="12003525" y="1893029"/>
                  <a:pt x="11867141" y="2106148"/>
                </a:cubicBezTo>
                <a:cubicBezTo>
                  <a:pt x="10880238" y="3959252"/>
                  <a:pt x="7486531" y="6089453"/>
                  <a:pt x="6343721" y="3249151"/>
                </a:cubicBezTo>
                <a:cubicBezTo>
                  <a:pt x="5919494" y="2184051"/>
                  <a:pt x="6486561" y="1153587"/>
                  <a:pt x="7248419" y="17042"/>
                </a:cubicBezTo>
                <a:close/>
                <a:moveTo>
                  <a:pt x="0" y="0"/>
                </a:moveTo>
                <a:lnTo>
                  <a:pt x="4336814" y="0"/>
                </a:lnTo>
                <a:lnTo>
                  <a:pt x="3953814" y="290459"/>
                </a:lnTo>
                <a:cubicBezTo>
                  <a:pt x="2295623" y="1565228"/>
                  <a:pt x="719287" y="2947698"/>
                  <a:pt x="34757" y="4907294"/>
                </a:cubicBezTo>
                <a:lnTo>
                  <a:pt x="0" y="5022063"/>
                </a:lnTo>
                <a:close/>
              </a:path>
            </a:pathLst>
          </a:custGeom>
          <a:solidFill>
            <a:srgbClr val="00B8C8"/>
          </a:solidFill>
          <a:ln w="1731" cap="flat">
            <a:noFill/>
            <a:prstDash val="solid"/>
            <a:miter/>
          </a:ln>
        </p:spPr>
        <p:txBody>
          <a:bodyPr wrap="square" rtlCol="0" anchor="ctr">
            <a:noAutofit/>
          </a:bodyPr>
          <a:lstStyle/>
          <a:p>
            <a:endParaRPr lang="en-GB"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8592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Closure</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10705040" y="5813671"/>
            <a:ext cx="766235" cy="184666"/>
          </a:xfrm>
        </p:spPr>
        <p:txBody>
          <a:bodyPr/>
          <a:lstStyle>
            <a:lvl1pPr>
              <a:defRPr sz="1200">
                <a:solidFill>
                  <a:schemeClr val="tx2"/>
                </a:solidFill>
              </a:defRPr>
            </a:lvl1pPr>
          </a:lstStyle>
          <a:p>
            <a:r>
              <a:rPr lang="nl-NL"/>
              <a:t>11/08/2023</a:t>
            </a:r>
            <a:endParaRPr lang="en-GB" dirty="0"/>
          </a:p>
        </p:txBody>
      </p:sp>
      <p:grpSp>
        <p:nvGrpSpPr>
          <p:cNvPr id="21" name="Graphic 4">
            <a:extLst>
              <a:ext uri="{FF2B5EF4-FFF2-40B4-BE49-F238E27FC236}">
                <a16:creationId xmlns:a16="http://schemas.microsoft.com/office/drawing/2014/main" id="{C93E164C-298E-F36F-9136-0AC365C778F8}"/>
              </a:ext>
            </a:extLst>
          </p:cNvPr>
          <p:cNvGrpSpPr/>
          <p:nvPr userDrawn="1"/>
        </p:nvGrpSpPr>
        <p:grpSpPr>
          <a:xfrm>
            <a:off x="721114" y="437497"/>
            <a:ext cx="1530269" cy="594428"/>
            <a:chOff x="717019" y="5865846"/>
            <a:chExt cx="1413341" cy="549008"/>
          </a:xfrm>
          <a:solidFill>
            <a:srgbClr val="FFFFFF"/>
          </a:solidFill>
        </p:grpSpPr>
        <p:sp>
          <p:nvSpPr>
            <p:cNvPr id="22" name="Vrije vorm: vorm 21">
              <a:extLst>
                <a:ext uri="{FF2B5EF4-FFF2-40B4-BE49-F238E27FC236}">
                  <a16:creationId xmlns:a16="http://schemas.microsoft.com/office/drawing/2014/main" id="{C4DE928F-9819-F729-1A30-E5A07740CC27}"/>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dirty="0"/>
            </a:p>
          </p:txBody>
        </p:sp>
        <p:sp>
          <p:nvSpPr>
            <p:cNvPr id="23" name="Vrije vorm: vorm 22">
              <a:extLst>
                <a:ext uri="{FF2B5EF4-FFF2-40B4-BE49-F238E27FC236}">
                  <a16:creationId xmlns:a16="http://schemas.microsoft.com/office/drawing/2014/main" id="{79323DCE-D484-B94A-C1EC-D2F2B931366F}"/>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dirty="0"/>
            </a:p>
          </p:txBody>
        </p:sp>
        <p:sp>
          <p:nvSpPr>
            <p:cNvPr id="24" name="Vrije vorm: vorm 23">
              <a:extLst>
                <a:ext uri="{FF2B5EF4-FFF2-40B4-BE49-F238E27FC236}">
                  <a16:creationId xmlns:a16="http://schemas.microsoft.com/office/drawing/2014/main" id="{3539D6EA-85DB-9F50-4773-B93829862258}"/>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dirty="0"/>
            </a:p>
          </p:txBody>
        </p:sp>
        <p:sp>
          <p:nvSpPr>
            <p:cNvPr id="25" name="Vrije vorm: vorm 24">
              <a:extLst>
                <a:ext uri="{FF2B5EF4-FFF2-40B4-BE49-F238E27FC236}">
                  <a16:creationId xmlns:a16="http://schemas.microsoft.com/office/drawing/2014/main" id="{A996BACF-1310-A75D-F3D9-23D926B05697}"/>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dirty="0"/>
            </a:p>
          </p:txBody>
        </p:sp>
        <p:sp>
          <p:nvSpPr>
            <p:cNvPr id="26" name="Vrije vorm: vorm 25">
              <a:extLst>
                <a:ext uri="{FF2B5EF4-FFF2-40B4-BE49-F238E27FC236}">
                  <a16:creationId xmlns:a16="http://schemas.microsoft.com/office/drawing/2014/main" id="{B50ABAA7-4D3A-64F2-2886-73E38F672A13}"/>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dirty="0"/>
            </a:p>
          </p:txBody>
        </p:sp>
        <p:sp>
          <p:nvSpPr>
            <p:cNvPr id="27" name="Vrije vorm: vorm 26">
              <a:extLst>
                <a:ext uri="{FF2B5EF4-FFF2-40B4-BE49-F238E27FC236}">
                  <a16:creationId xmlns:a16="http://schemas.microsoft.com/office/drawing/2014/main" id="{94E5B70C-D6DE-08E7-481C-59E036E42088}"/>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dirty="0"/>
            </a:p>
          </p:txBody>
        </p:sp>
        <p:sp>
          <p:nvSpPr>
            <p:cNvPr id="28" name="Vrije vorm: vorm 27">
              <a:extLst>
                <a:ext uri="{FF2B5EF4-FFF2-40B4-BE49-F238E27FC236}">
                  <a16:creationId xmlns:a16="http://schemas.microsoft.com/office/drawing/2014/main" id="{8D3E4DAB-6265-0F83-A847-5B7F063D48EC}"/>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dirty="0"/>
            </a:p>
          </p:txBody>
        </p:sp>
        <p:sp>
          <p:nvSpPr>
            <p:cNvPr id="29" name="Vrije vorm: vorm 28">
              <a:extLst>
                <a:ext uri="{FF2B5EF4-FFF2-40B4-BE49-F238E27FC236}">
                  <a16:creationId xmlns:a16="http://schemas.microsoft.com/office/drawing/2014/main" id="{6F52DDD2-B124-1FEF-0F68-3980EB3898A2}"/>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92673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Tree>
    <p:extLst>
      <p:ext uri="{BB962C8B-B14F-4D97-AF65-F5344CB8AC3E}">
        <p14:creationId xmlns:p14="http://schemas.microsoft.com/office/powerpoint/2010/main" val="2017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duction | 12x">
    <p:bg>
      <p:bgPr>
        <a:solidFill>
          <a:schemeClr val="bg1"/>
        </a:solidFill>
        <a:effectLst/>
      </p:bgPr>
    </p:b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25" name="Tijdelijke aanduiding voor afbeelding 16">
            <a:extLst>
              <a:ext uri="{FF2B5EF4-FFF2-40B4-BE49-F238E27FC236}">
                <a16:creationId xmlns:a16="http://schemas.microsoft.com/office/drawing/2014/main" id="{2BDB1DBC-B9F0-84CD-43BD-7C1A120AAC41}"/>
              </a:ext>
            </a:extLst>
          </p:cNvPr>
          <p:cNvSpPr>
            <a:spLocks noGrp="1"/>
          </p:cNvSpPr>
          <p:nvPr>
            <p:ph type="pic" sz="quarter" idx="13" hasCustomPrompt="1"/>
          </p:nvPr>
        </p:nvSpPr>
        <p:spPr>
          <a:xfrm>
            <a:off x="721079"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 name="Titel 2">
            <a:extLst>
              <a:ext uri="{FF2B5EF4-FFF2-40B4-BE49-F238E27FC236}">
                <a16:creationId xmlns:a16="http://schemas.microsoft.com/office/drawing/2014/main" id="{E364AD10-5C90-D368-3C49-DF03503EF23D}"/>
              </a:ext>
            </a:extLst>
          </p:cNvPr>
          <p:cNvSpPr>
            <a:spLocks noGrp="1"/>
          </p:cNvSpPr>
          <p:nvPr>
            <p:ph type="title" hasCustomPrompt="1"/>
          </p:nvPr>
        </p:nvSpPr>
        <p:spPr/>
        <p:txBody>
          <a:bodyPr/>
          <a:lstStyle/>
          <a:p>
            <a:r>
              <a:rPr lang="en-GB" noProof="0" dirty="0"/>
              <a:t>Title goes here</a:t>
            </a:r>
            <a:endParaRPr lang="en-GB" dirty="0"/>
          </a:p>
        </p:txBody>
      </p:sp>
      <p:sp>
        <p:nvSpPr>
          <p:cNvPr id="16" name="Tijdelijke aanduiding voor tekst 5">
            <a:extLst>
              <a:ext uri="{FF2B5EF4-FFF2-40B4-BE49-F238E27FC236}">
                <a16:creationId xmlns:a16="http://schemas.microsoft.com/office/drawing/2014/main" id="{1980A31E-F30A-763D-3DFF-0138D2292480}"/>
              </a:ext>
            </a:extLst>
          </p:cNvPr>
          <p:cNvSpPr>
            <a:spLocks noGrp="1"/>
          </p:cNvSpPr>
          <p:nvPr>
            <p:ph type="body" sz="quarter" idx="11" hasCustomPrompt="1"/>
          </p:nvPr>
        </p:nvSpPr>
        <p:spPr>
          <a:xfrm>
            <a:off x="719137"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17" name="Tijdelijke aanduiding voor tekst 5">
            <a:extLst>
              <a:ext uri="{FF2B5EF4-FFF2-40B4-BE49-F238E27FC236}">
                <a16:creationId xmlns:a16="http://schemas.microsoft.com/office/drawing/2014/main" id="{6E953232-F208-797C-5930-5120F6B4FDAE}"/>
              </a:ext>
            </a:extLst>
          </p:cNvPr>
          <p:cNvSpPr>
            <a:spLocks noGrp="1"/>
          </p:cNvSpPr>
          <p:nvPr>
            <p:ph type="body" sz="quarter" idx="14" hasCustomPrompt="1"/>
          </p:nvPr>
        </p:nvSpPr>
        <p:spPr>
          <a:xfrm>
            <a:off x="718666"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18" name="Tijdelijke aanduiding voor afbeelding 16">
            <a:extLst>
              <a:ext uri="{FF2B5EF4-FFF2-40B4-BE49-F238E27FC236}">
                <a16:creationId xmlns:a16="http://schemas.microsoft.com/office/drawing/2014/main" id="{EA153BDC-8F93-5C07-C432-1AD4BAE5E975}"/>
              </a:ext>
            </a:extLst>
          </p:cNvPr>
          <p:cNvSpPr>
            <a:spLocks noGrp="1"/>
          </p:cNvSpPr>
          <p:nvPr>
            <p:ph type="pic" sz="quarter" idx="15" hasCustomPrompt="1"/>
          </p:nvPr>
        </p:nvSpPr>
        <p:spPr>
          <a:xfrm>
            <a:off x="2540885"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19" name="Tijdelijke aanduiding voor tekst 5">
            <a:extLst>
              <a:ext uri="{FF2B5EF4-FFF2-40B4-BE49-F238E27FC236}">
                <a16:creationId xmlns:a16="http://schemas.microsoft.com/office/drawing/2014/main" id="{C36A79C6-0893-50B8-0905-479BA88713A8}"/>
              </a:ext>
            </a:extLst>
          </p:cNvPr>
          <p:cNvSpPr>
            <a:spLocks noGrp="1"/>
          </p:cNvSpPr>
          <p:nvPr>
            <p:ph type="body" sz="quarter" idx="16" hasCustomPrompt="1"/>
          </p:nvPr>
        </p:nvSpPr>
        <p:spPr>
          <a:xfrm>
            <a:off x="2538943"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20" name="Tijdelijke aanduiding voor tekst 5">
            <a:extLst>
              <a:ext uri="{FF2B5EF4-FFF2-40B4-BE49-F238E27FC236}">
                <a16:creationId xmlns:a16="http://schemas.microsoft.com/office/drawing/2014/main" id="{44D9FE8F-F243-3D3F-0DE9-4AA5E6F25A81}"/>
              </a:ext>
            </a:extLst>
          </p:cNvPr>
          <p:cNvSpPr>
            <a:spLocks noGrp="1"/>
          </p:cNvSpPr>
          <p:nvPr>
            <p:ph type="body" sz="quarter" idx="17" hasCustomPrompt="1"/>
          </p:nvPr>
        </p:nvSpPr>
        <p:spPr>
          <a:xfrm>
            <a:off x="2538472"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21" name="Tijdelijke aanduiding voor afbeelding 16">
            <a:extLst>
              <a:ext uri="{FF2B5EF4-FFF2-40B4-BE49-F238E27FC236}">
                <a16:creationId xmlns:a16="http://schemas.microsoft.com/office/drawing/2014/main" id="{9C5AB2FD-A168-9EB1-6F5A-F5818CC0BF1C}"/>
              </a:ext>
            </a:extLst>
          </p:cNvPr>
          <p:cNvSpPr>
            <a:spLocks noGrp="1"/>
          </p:cNvSpPr>
          <p:nvPr>
            <p:ph type="pic" sz="quarter" idx="18" hasCustomPrompt="1"/>
          </p:nvPr>
        </p:nvSpPr>
        <p:spPr>
          <a:xfrm>
            <a:off x="4360691"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22" name="Tijdelijke aanduiding voor tekst 5">
            <a:extLst>
              <a:ext uri="{FF2B5EF4-FFF2-40B4-BE49-F238E27FC236}">
                <a16:creationId xmlns:a16="http://schemas.microsoft.com/office/drawing/2014/main" id="{515E75E4-D251-917F-2522-DB417794686A}"/>
              </a:ext>
            </a:extLst>
          </p:cNvPr>
          <p:cNvSpPr>
            <a:spLocks noGrp="1"/>
          </p:cNvSpPr>
          <p:nvPr>
            <p:ph type="body" sz="quarter" idx="19" hasCustomPrompt="1"/>
          </p:nvPr>
        </p:nvSpPr>
        <p:spPr>
          <a:xfrm>
            <a:off x="4358749"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23" name="Tijdelijke aanduiding voor tekst 5">
            <a:extLst>
              <a:ext uri="{FF2B5EF4-FFF2-40B4-BE49-F238E27FC236}">
                <a16:creationId xmlns:a16="http://schemas.microsoft.com/office/drawing/2014/main" id="{2B5A2D9A-837E-74CC-9F50-7B1836C6FA5D}"/>
              </a:ext>
            </a:extLst>
          </p:cNvPr>
          <p:cNvSpPr>
            <a:spLocks noGrp="1"/>
          </p:cNvSpPr>
          <p:nvPr>
            <p:ph type="body" sz="quarter" idx="20" hasCustomPrompt="1"/>
          </p:nvPr>
        </p:nvSpPr>
        <p:spPr>
          <a:xfrm>
            <a:off x="4358278"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24" name="Tijdelijke aanduiding voor afbeelding 16">
            <a:extLst>
              <a:ext uri="{FF2B5EF4-FFF2-40B4-BE49-F238E27FC236}">
                <a16:creationId xmlns:a16="http://schemas.microsoft.com/office/drawing/2014/main" id="{E9C8EF3A-3BBF-CF5F-7440-AEE3FD8C7FA4}"/>
              </a:ext>
            </a:extLst>
          </p:cNvPr>
          <p:cNvSpPr>
            <a:spLocks noGrp="1"/>
          </p:cNvSpPr>
          <p:nvPr>
            <p:ph type="pic" sz="quarter" idx="21" hasCustomPrompt="1"/>
          </p:nvPr>
        </p:nvSpPr>
        <p:spPr>
          <a:xfrm>
            <a:off x="6180497"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26" name="Tijdelijke aanduiding voor tekst 5">
            <a:extLst>
              <a:ext uri="{FF2B5EF4-FFF2-40B4-BE49-F238E27FC236}">
                <a16:creationId xmlns:a16="http://schemas.microsoft.com/office/drawing/2014/main" id="{9A161DF5-ECCF-9F8E-D7EB-0A3D7DBAAEB0}"/>
              </a:ext>
            </a:extLst>
          </p:cNvPr>
          <p:cNvSpPr>
            <a:spLocks noGrp="1"/>
          </p:cNvSpPr>
          <p:nvPr>
            <p:ph type="body" sz="quarter" idx="22" hasCustomPrompt="1"/>
          </p:nvPr>
        </p:nvSpPr>
        <p:spPr>
          <a:xfrm>
            <a:off x="6178555"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27" name="Tijdelijke aanduiding voor tekst 5">
            <a:extLst>
              <a:ext uri="{FF2B5EF4-FFF2-40B4-BE49-F238E27FC236}">
                <a16:creationId xmlns:a16="http://schemas.microsoft.com/office/drawing/2014/main" id="{A1489018-5DDF-11B4-0140-D6C25A3F5DBD}"/>
              </a:ext>
            </a:extLst>
          </p:cNvPr>
          <p:cNvSpPr>
            <a:spLocks noGrp="1"/>
          </p:cNvSpPr>
          <p:nvPr>
            <p:ph type="body" sz="quarter" idx="23" hasCustomPrompt="1"/>
          </p:nvPr>
        </p:nvSpPr>
        <p:spPr>
          <a:xfrm>
            <a:off x="6178084"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28" name="Tijdelijke aanduiding voor afbeelding 16">
            <a:extLst>
              <a:ext uri="{FF2B5EF4-FFF2-40B4-BE49-F238E27FC236}">
                <a16:creationId xmlns:a16="http://schemas.microsoft.com/office/drawing/2014/main" id="{6F406607-4D1C-D35C-3C34-9A7E5953B87B}"/>
              </a:ext>
            </a:extLst>
          </p:cNvPr>
          <p:cNvSpPr>
            <a:spLocks noGrp="1"/>
          </p:cNvSpPr>
          <p:nvPr>
            <p:ph type="pic" sz="quarter" idx="24" hasCustomPrompt="1"/>
          </p:nvPr>
        </p:nvSpPr>
        <p:spPr>
          <a:xfrm>
            <a:off x="8000303"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29" name="Tijdelijke aanduiding voor tekst 5">
            <a:extLst>
              <a:ext uri="{FF2B5EF4-FFF2-40B4-BE49-F238E27FC236}">
                <a16:creationId xmlns:a16="http://schemas.microsoft.com/office/drawing/2014/main" id="{4AC378EA-6795-3FCC-96F7-18C3428576E9}"/>
              </a:ext>
            </a:extLst>
          </p:cNvPr>
          <p:cNvSpPr>
            <a:spLocks noGrp="1"/>
          </p:cNvSpPr>
          <p:nvPr>
            <p:ph type="body" sz="quarter" idx="25" hasCustomPrompt="1"/>
          </p:nvPr>
        </p:nvSpPr>
        <p:spPr>
          <a:xfrm>
            <a:off x="7998361"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0" name="Tijdelijke aanduiding voor tekst 5">
            <a:extLst>
              <a:ext uri="{FF2B5EF4-FFF2-40B4-BE49-F238E27FC236}">
                <a16:creationId xmlns:a16="http://schemas.microsoft.com/office/drawing/2014/main" id="{FE1D297D-39D5-78ED-EBB5-CCB867E33417}"/>
              </a:ext>
            </a:extLst>
          </p:cNvPr>
          <p:cNvSpPr>
            <a:spLocks noGrp="1"/>
          </p:cNvSpPr>
          <p:nvPr>
            <p:ph type="body" sz="quarter" idx="26" hasCustomPrompt="1"/>
          </p:nvPr>
        </p:nvSpPr>
        <p:spPr>
          <a:xfrm>
            <a:off x="7997890"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31" name="Tijdelijke aanduiding voor afbeelding 16">
            <a:extLst>
              <a:ext uri="{FF2B5EF4-FFF2-40B4-BE49-F238E27FC236}">
                <a16:creationId xmlns:a16="http://schemas.microsoft.com/office/drawing/2014/main" id="{7A0357DE-D66B-0586-147C-37E6AE239EEC}"/>
              </a:ext>
            </a:extLst>
          </p:cNvPr>
          <p:cNvSpPr>
            <a:spLocks noGrp="1"/>
          </p:cNvSpPr>
          <p:nvPr>
            <p:ph type="pic" sz="quarter" idx="27" hasCustomPrompt="1"/>
          </p:nvPr>
        </p:nvSpPr>
        <p:spPr>
          <a:xfrm>
            <a:off x="9820109"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2" name="Tijdelijke aanduiding voor tekst 5">
            <a:extLst>
              <a:ext uri="{FF2B5EF4-FFF2-40B4-BE49-F238E27FC236}">
                <a16:creationId xmlns:a16="http://schemas.microsoft.com/office/drawing/2014/main" id="{F7FA5D4E-5C58-736C-2190-C0D5C49B743E}"/>
              </a:ext>
            </a:extLst>
          </p:cNvPr>
          <p:cNvSpPr>
            <a:spLocks noGrp="1"/>
          </p:cNvSpPr>
          <p:nvPr>
            <p:ph type="body" sz="quarter" idx="28" hasCustomPrompt="1"/>
          </p:nvPr>
        </p:nvSpPr>
        <p:spPr>
          <a:xfrm>
            <a:off x="9818167"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3" name="Tijdelijke aanduiding voor tekst 5">
            <a:extLst>
              <a:ext uri="{FF2B5EF4-FFF2-40B4-BE49-F238E27FC236}">
                <a16:creationId xmlns:a16="http://schemas.microsoft.com/office/drawing/2014/main" id="{DC347A12-7D9D-2FDE-9916-31C31FAAF7F3}"/>
              </a:ext>
            </a:extLst>
          </p:cNvPr>
          <p:cNvSpPr>
            <a:spLocks noGrp="1"/>
          </p:cNvSpPr>
          <p:nvPr>
            <p:ph type="body" sz="quarter" idx="29" hasCustomPrompt="1"/>
          </p:nvPr>
        </p:nvSpPr>
        <p:spPr>
          <a:xfrm>
            <a:off x="9817696"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34" name="Tijdelijke aanduiding voor afbeelding 16">
            <a:extLst>
              <a:ext uri="{FF2B5EF4-FFF2-40B4-BE49-F238E27FC236}">
                <a16:creationId xmlns:a16="http://schemas.microsoft.com/office/drawing/2014/main" id="{1F654954-AB60-16EA-685C-9146F34179E2}"/>
              </a:ext>
            </a:extLst>
          </p:cNvPr>
          <p:cNvSpPr>
            <a:spLocks noGrp="1"/>
          </p:cNvSpPr>
          <p:nvPr>
            <p:ph type="pic" sz="quarter" idx="30" hasCustomPrompt="1"/>
          </p:nvPr>
        </p:nvSpPr>
        <p:spPr>
          <a:xfrm>
            <a:off x="721079"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5" name="Tijdelijke aanduiding voor tekst 5">
            <a:extLst>
              <a:ext uri="{FF2B5EF4-FFF2-40B4-BE49-F238E27FC236}">
                <a16:creationId xmlns:a16="http://schemas.microsoft.com/office/drawing/2014/main" id="{9CD5912F-34CD-F560-D5DE-E1DD585B2F04}"/>
              </a:ext>
            </a:extLst>
          </p:cNvPr>
          <p:cNvSpPr>
            <a:spLocks noGrp="1"/>
          </p:cNvSpPr>
          <p:nvPr>
            <p:ph type="body" sz="quarter" idx="31" hasCustomPrompt="1"/>
          </p:nvPr>
        </p:nvSpPr>
        <p:spPr>
          <a:xfrm>
            <a:off x="719137"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6" name="Tijdelijke aanduiding voor tekst 5">
            <a:extLst>
              <a:ext uri="{FF2B5EF4-FFF2-40B4-BE49-F238E27FC236}">
                <a16:creationId xmlns:a16="http://schemas.microsoft.com/office/drawing/2014/main" id="{DE7DE2BA-CBA0-7004-0A0E-8EDFCC969E74}"/>
              </a:ext>
            </a:extLst>
          </p:cNvPr>
          <p:cNvSpPr>
            <a:spLocks noGrp="1"/>
          </p:cNvSpPr>
          <p:nvPr>
            <p:ph type="body" sz="quarter" idx="32" hasCustomPrompt="1"/>
          </p:nvPr>
        </p:nvSpPr>
        <p:spPr>
          <a:xfrm>
            <a:off x="718666"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37" name="Tijdelijke aanduiding voor afbeelding 16">
            <a:extLst>
              <a:ext uri="{FF2B5EF4-FFF2-40B4-BE49-F238E27FC236}">
                <a16:creationId xmlns:a16="http://schemas.microsoft.com/office/drawing/2014/main" id="{AE305481-E465-A8C3-D03C-418FB91E4245}"/>
              </a:ext>
            </a:extLst>
          </p:cNvPr>
          <p:cNvSpPr>
            <a:spLocks noGrp="1"/>
          </p:cNvSpPr>
          <p:nvPr>
            <p:ph type="pic" sz="quarter" idx="33" hasCustomPrompt="1"/>
          </p:nvPr>
        </p:nvSpPr>
        <p:spPr>
          <a:xfrm>
            <a:off x="2540885"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8" name="Tijdelijke aanduiding voor tekst 5">
            <a:extLst>
              <a:ext uri="{FF2B5EF4-FFF2-40B4-BE49-F238E27FC236}">
                <a16:creationId xmlns:a16="http://schemas.microsoft.com/office/drawing/2014/main" id="{91FB7B3D-7186-8739-6C9D-64DDB2ED5C11}"/>
              </a:ext>
            </a:extLst>
          </p:cNvPr>
          <p:cNvSpPr>
            <a:spLocks noGrp="1"/>
          </p:cNvSpPr>
          <p:nvPr>
            <p:ph type="body" sz="quarter" idx="34" hasCustomPrompt="1"/>
          </p:nvPr>
        </p:nvSpPr>
        <p:spPr>
          <a:xfrm>
            <a:off x="2538943"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9" name="Tijdelijke aanduiding voor tekst 5">
            <a:extLst>
              <a:ext uri="{FF2B5EF4-FFF2-40B4-BE49-F238E27FC236}">
                <a16:creationId xmlns:a16="http://schemas.microsoft.com/office/drawing/2014/main" id="{2EB90A8F-9EC7-6F6D-E74A-62517124886A}"/>
              </a:ext>
            </a:extLst>
          </p:cNvPr>
          <p:cNvSpPr>
            <a:spLocks noGrp="1"/>
          </p:cNvSpPr>
          <p:nvPr>
            <p:ph type="body" sz="quarter" idx="35" hasCustomPrompt="1"/>
          </p:nvPr>
        </p:nvSpPr>
        <p:spPr>
          <a:xfrm>
            <a:off x="2538472"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0" name="Tijdelijke aanduiding voor afbeelding 16">
            <a:extLst>
              <a:ext uri="{FF2B5EF4-FFF2-40B4-BE49-F238E27FC236}">
                <a16:creationId xmlns:a16="http://schemas.microsoft.com/office/drawing/2014/main" id="{283F3F1F-10EE-8394-B57B-CEF8B5B3DD83}"/>
              </a:ext>
            </a:extLst>
          </p:cNvPr>
          <p:cNvSpPr>
            <a:spLocks noGrp="1"/>
          </p:cNvSpPr>
          <p:nvPr>
            <p:ph type="pic" sz="quarter" idx="36" hasCustomPrompt="1"/>
          </p:nvPr>
        </p:nvSpPr>
        <p:spPr>
          <a:xfrm>
            <a:off x="4360691"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41" name="Tijdelijke aanduiding voor tekst 5">
            <a:extLst>
              <a:ext uri="{FF2B5EF4-FFF2-40B4-BE49-F238E27FC236}">
                <a16:creationId xmlns:a16="http://schemas.microsoft.com/office/drawing/2014/main" id="{6C4CAEDC-1ECC-E009-922A-4D08EAD13D37}"/>
              </a:ext>
            </a:extLst>
          </p:cNvPr>
          <p:cNvSpPr>
            <a:spLocks noGrp="1"/>
          </p:cNvSpPr>
          <p:nvPr>
            <p:ph type="body" sz="quarter" idx="37" hasCustomPrompt="1"/>
          </p:nvPr>
        </p:nvSpPr>
        <p:spPr>
          <a:xfrm>
            <a:off x="4358749"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42" name="Tijdelijke aanduiding voor tekst 5">
            <a:extLst>
              <a:ext uri="{FF2B5EF4-FFF2-40B4-BE49-F238E27FC236}">
                <a16:creationId xmlns:a16="http://schemas.microsoft.com/office/drawing/2014/main" id="{58FA89DB-78FF-3583-31AB-6736C65882AE}"/>
              </a:ext>
            </a:extLst>
          </p:cNvPr>
          <p:cNvSpPr>
            <a:spLocks noGrp="1"/>
          </p:cNvSpPr>
          <p:nvPr>
            <p:ph type="body" sz="quarter" idx="38" hasCustomPrompt="1"/>
          </p:nvPr>
        </p:nvSpPr>
        <p:spPr>
          <a:xfrm>
            <a:off x="4358278"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3" name="Tijdelijke aanduiding voor afbeelding 16">
            <a:extLst>
              <a:ext uri="{FF2B5EF4-FFF2-40B4-BE49-F238E27FC236}">
                <a16:creationId xmlns:a16="http://schemas.microsoft.com/office/drawing/2014/main" id="{F8432D38-8A29-175D-17FD-F2C692432274}"/>
              </a:ext>
            </a:extLst>
          </p:cNvPr>
          <p:cNvSpPr>
            <a:spLocks noGrp="1"/>
          </p:cNvSpPr>
          <p:nvPr>
            <p:ph type="pic" sz="quarter" idx="39" hasCustomPrompt="1"/>
          </p:nvPr>
        </p:nvSpPr>
        <p:spPr>
          <a:xfrm>
            <a:off x="6180497"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44" name="Tijdelijke aanduiding voor tekst 5">
            <a:extLst>
              <a:ext uri="{FF2B5EF4-FFF2-40B4-BE49-F238E27FC236}">
                <a16:creationId xmlns:a16="http://schemas.microsoft.com/office/drawing/2014/main" id="{3A3AAFB4-7BEE-FAAF-A78E-0905095F220C}"/>
              </a:ext>
            </a:extLst>
          </p:cNvPr>
          <p:cNvSpPr>
            <a:spLocks noGrp="1"/>
          </p:cNvSpPr>
          <p:nvPr>
            <p:ph type="body" sz="quarter" idx="40" hasCustomPrompt="1"/>
          </p:nvPr>
        </p:nvSpPr>
        <p:spPr>
          <a:xfrm>
            <a:off x="6178555"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45" name="Tijdelijke aanduiding voor tekst 5">
            <a:extLst>
              <a:ext uri="{FF2B5EF4-FFF2-40B4-BE49-F238E27FC236}">
                <a16:creationId xmlns:a16="http://schemas.microsoft.com/office/drawing/2014/main" id="{4A5A85AC-8A5F-BC99-8225-0C5FF5DBB92F}"/>
              </a:ext>
            </a:extLst>
          </p:cNvPr>
          <p:cNvSpPr>
            <a:spLocks noGrp="1"/>
          </p:cNvSpPr>
          <p:nvPr>
            <p:ph type="body" sz="quarter" idx="41" hasCustomPrompt="1"/>
          </p:nvPr>
        </p:nvSpPr>
        <p:spPr>
          <a:xfrm>
            <a:off x="6178084"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6" name="Tijdelijke aanduiding voor afbeelding 16">
            <a:extLst>
              <a:ext uri="{FF2B5EF4-FFF2-40B4-BE49-F238E27FC236}">
                <a16:creationId xmlns:a16="http://schemas.microsoft.com/office/drawing/2014/main" id="{F0E8F12D-2BC6-2A47-7043-0D28EE7F530F}"/>
              </a:ext>
            </a:extLst>
          </p:cNvPr>
          <p:cNvSpPr>
            <a:spLocks noGrp="1"/>
          </p:cNvSpPr>
          <p:nvPr>
            <p:ph type="pic" sz="quarter" idx="42" hasCustomPrompt="1"/>
          </p:nvPr>
        </p:nvSpPr>
        <p:spPr>
          <a:xfrm>
            <a:off x="8000303"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47" name="Tijdelijke aanduiding voor tekst 5">
            <a:extLst>
              <a:ext uri="{FF2B5EF4-FFF2-40B4-BE49-F238E27FC236}">
                <a16:creationId xmlns:a16="http://schemas.microsoft.com/office/drawing/2014/main" id="{15D5B773-861B-CB88-3BAF-23126ED210AD}"/>
              </a:ext>
            </a:extLst>
          </p:cNvPr>
          <p:cNvSpPr>
            <a:spLocks noGrp="1"/>
          </p:cNvSpPr>
          <p:nvPr>
            <p:ph type="body" sz="quarter" idx="43" hasCustomPrompt="1"/>
          </p:nvPr>
        </p:nvSpPr>
        <p:spPr>
          <a:xfrm>
            <a:off x="7998361"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48" name="Tijdelijke aanduiding voor tekst 5">
            <a:extLst>
              <a:ext uri="{FF2B5EF4-FFF2-40B4-BE49-F238E27FC236}">
                <a16:creationId xmlns:a16="http://schemas.microsoft.com/office/drawing/2014/main" id="{29DC7896-E48D-706F-12F0-557630F99E83}"/>
              </a:ext>
            </a:extLst>
          </p:cNvPr>
          <p:cNvSpPr>
            <a:spLocks noGrp="1"/>
          </p:cNvSpPr>
          <p:nvPr>
            <p:ph type="body" sz="quarter" idx="44" hasCustomPrompt="1"/>
          </p:nvPr>
        </p:nvSpPr>
        <p:spPr>
          <a:xfrm>
            <a:off x="7997890"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9" name="Tijdelijke aanduiding voor afbeelding 16">
            <a:extLst>
              <a:ext uri="{FF2B5EF4-FFF2-40B4-BE49-F238E27FC236}">
                <a16:creationId xmlns:a16="http://schemas.microsoft.com/office/drawing/2014/main" id="{9DB5A94F-4630-E058-0265-9FA53E0E60B7}"/>
              </a:ext>
            </a:extLst>
          </p:cNvPr>
          <p:cNvSpPr>
            <a:spLocks noGrp="1"/>
          </p:cNvSpPr>
          <p:nvPr>
            <p:ph type="pic" sz="quarter" idx="45" hasCustomPrompt="1"/>
          </p:nvPr>
        </p:nvSpPr>
        <p:spPr>
          <a:xfrm>
            <a:off x="9820109"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50" name="Tijdelijke aanduiding voor tekst 5">
            <a:extLst>
              <a:ext uri="{FF2B5EF4-FFF2-40B4-BE49-F238E27FC236}">
                <a16:creationId xmlns:a16="http://schemas.microsoft.com/office/drawing/2014/main" id="{28D4A244-395A-6086-B66C-7DE62EF4355D}"/>
              </a:ext>
            </a:extLst>
          </p:cNvPr>
          <p:cNvSpPr>
            <a:spLocks noGrp="1"/>
          </p:cNvSpPr>
          <p:nvPr>
            <p:ph type="body" sz="quarter" idx="46" hasCustomPrompt="1"/>
          </p:nvPr>
        </p:nvSpPr>
        <p:spPr>
          <a:xfrm>
            <a:off x="9818167"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51" name="Tijdelijke aanduiding voor tekst 5">
            <a:extLst>
              <a:ext uri="{FF2B5EF4-FFF2-40B4-BE49-F238E27FC236}">
                <a16:creationId xmlns:a16="http://schemas.microsoft.com/office/drawing/2014/main" id="{47469A3C-2754-210E-3FF5-D532250190CE}"/>
              </a:ext>
            </a:extLst>
          </p:cNvPr>
          <p:cNvSpPr>
            <a:spLocks noGrp="1"/>
          </p:cNvSpPr>
          <p:nvPr>
            <p:ph type="body" sz="quarter" idx="47" hasCustomPrompt="1"/>
          </p:nvPr>
        </p:nvSpPr>
        <p:spPr>
          <a:xfrm>
            <a:off x="9817696"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52" name="Rechthoek 51">
            <a:extLst>
              <a:ext uri="{FF2B5EF4-FFF2-40B4-BE49-F238E27FC236}">
                <a16:creationId xmlns:a16="http://schemas.microsoft.com/office/drawing/2014/main" id="{6226CD6D-8EAD-A985-C799-BFB10B4D41C5}"/>
              </a:ext>
            </a:extLst>
          </p:cNvPr>
          <p:cNvSpPr/>
          <p:nvPr userDrawn="1"/>
        </p:nvSpPr>
        <p:spPr>
          <a:xfrm>
            <a:off x="0" y="-441330"/>
            <a:ext cx="192360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ntroduction | 12x</a:t>
            </a:r>
          </a:p>
        </p:txBody>
      </p:sp>
      <p:grpSp>
        <p:nvGrpSpPr>
          <p:cNvPr id="5" name="INSTRUCTION">
            <a:extLst>
              <a:ext uri="{FF2B5EF4-FFF2-40B4-BE49-F238E27FC236}">
                <a16:creationId xmlns:a16="http://schemas.microsoft.com/office/drawing/2014/main" id="{40225562-8C9F-C926-9FD4-12228E6F5B28}"/>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BF103148-33D4-1D80-311C-80CC3343D8F2}"/>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2B66DCC6-BF1A-B2E9-DCB9-8A8B29DC67B7}"/>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A38B8266-FFFF-0F68-166C-59B8732DA258}"/>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B4C90665-7A35-CF11-78E4-D9BBB21743EC}"/>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7CAAEC92-091A-6F7C-ADDE-5FDBEDD1198A}"/>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 name="Rechthoek 10">
              <a:extLst>
                <a:ext uri="{FF2B5EF4-FFF2-40B4-BE49-F238E27FC236}">
                  <a16:creationId xmlns:a16="http://schemas.microsoft.com/office/drawing/2014/main" id="{5981747D-BCBE-DD0D-00FD-16F2F56E940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Rechthoek 11">
              <a:extLst>
                <a:ext uri="{FF2B5EF4-FFF2-40B4-BE49-F238E27FC236}">
                  <a16:creationId xmlns:a16="http://schemas.microsoft.com/office/drawing/2014/main" id="{28BA27E0-C80A-D311-CCE9-FCB8435FA6D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3" name="Ovaal 12">
              <a:extLst>
                <a:ext uri="{FF2B5EF4-FFF2-40B4-BE49-F238E27FC236}">
                  <a16:creationId xmlns:a16="http://schemas.microsoft.com/office/drawing/2014/main" id="{5B3CA2DC-601D-0006-15AA-54B56F1D751C}"/>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 name="Rechthoek 13">
              <a:extLst>
                <a:ext uri="{FF2B5EF4-FFF2-40B4-BE49-F238E27FC236}">
                  <a16:creationId xmlns:a16="http://schemas.microsoft.com/office/drawing/2014/main" id="{4557D420-57C5-868F-A779-BF44CFC09E85}"/>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5" name="Groep 14">
              <a:extLst>
                <a:ext uri="{FF2B5EF4-FFF2-40B4-BE49-F238E27FC236}">
                  <a16:creationId xmlns:a16="http://schemas.microsoft.com/office/drawing/2014/main" id="{D5C3CCAD-C555-D7F4-23F4-2244B1201801}"/>
                </a:ext>
              </a:extLst>
            </p:cNvPr>
            <p:cNvGrpSpPr/>
            <p:nvPr userDrawn="1"/>
          </p:nvGrpSpPr>
          <p:grpSpPr>
            <a:xfrm>
              <a:off x="-3414453" y="3534339"/>
              <a:ext cx="514284" cy="506545"/>
              <a:chOff x="12617641" y="3403239"/>
              <a:chExt cx="752963" cy="741634"/>
            </a:xfrm>
          </p:grpSpPr>
          <p:grpSp>
            <p:nvGrpSpPr>
              <p:cNvPr id="69" name="Groep 68">
                <a:extLst>
                  <a:ext uri="{FF2B5EF4-FFF2-40B4-BE49-F238E27FC236}">
                    <a16:creationId xmlns:a16="http://schemas.microsoft.com/office/drawing/2014/main" id="{884FFE22-3D7D-2A2F-0CB1-5A9734DC4C4C}"/>
                  </a:ext>
                </a:extLst>
              </p:cNvPr>
              <p:cNvGrpSpPr/>
              <p:nvPr userDrawn="1"/>
            </p:nvGrpSpPr>
            <p:grpSpPr>
              <a:xfrm>
                <a:off x="12771530" y="3403239"/>
                <a:ext cx="467176" cy="448491"/>
                <a:chOff x="12782157" y="3403239"/>
                <a:chExt cx="467176" cy="448491"/>
              </a:xfrm>
            </p:grpSpPr>
            <p:grpSp>
              <p:nvGrpSpPr>
                <p:cNvPr id="72" name="Groep 71">
                  <a:extLst>
                    <a:ext uri="{FF2B5EF4-FFF2-40B4-BE49-F238E27FC236}">
                      <a16:creationId xmlns:a16="http://schemas.microsoft.com/office/drawing/2014/main" id="{F2F3268B-1DFB-074D-49B7-2BDEB3E4C946}"/>
                    </a:ext>
                  </a:extLst>
                </p:cNvPr>
                <p:cNvGrpSpPr/>
                <p:nvPr userDrawn="1"/>
              </p:nvGrpSpPr>
              <p:grpSpPr>
                <a:xfrm>
                  <a:off x="12782157" y="3403239"/>
                  <a:ext cx="412976" cy="396132"/>
                  <a:chOff x="13554906" y="3320109"/>
                  <a:chExt cx="443917" cy="425811"/>
                </a:xfrm>
              </p:grpSpPr>
              <p:grpSp>
                <p:nvGrpSpPr>
                  <p:cNvPr id="79" name="Groep 78">
                    <a:extLst>
                      <a:ext uri="{FF2B5EF4-FFF2-40B4-BE49-F238E27FC236}">
                        <a16:creationId xmlns:a16="http://schemas.microsoft.com/office/drawing/2014/main" id="{42F389F5-0C41-A6D5-4FA1-171A8ED6BEED}"/>
                      </a:ext>
                    </a:extLst>
                  </p:cNvPr>
                  <p:cNvGrpSpPr/>
                  <p:nvPr userDrawn="1"/>
                </p:nvGrpSpPr>
                <p:grpSpPr>
                  <a:xfrm>
                    <a:off x="13554906" y="3320109"/>
                    <a:ext cx="443917" cy="425811"/>
                    <a:chOff x="12909684" y="1276143"/>
                    <a:chExt cx="443917" cy="425811"/>
                  </a:xfrm>
                </p:grpSpPr>
                <p:sp>
                  <p:nvSpPr>
                    <p:cNvPr id="82" name="Rechthoek 81">
                      <a:extLst>
                        <a:ext uri="{FF2B5EF4-FFF2-40B4-BE49-F238E27FC236}">
                          <a16:creationId xmlns:a16="http://schemas.microsoft.com/office/drawing/2014/main" id="{928A756D-44BB-9FC0-8C9B-C1ED268AEAF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FCEB55FC-D86E-6D69-3187-CB8EDD86267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4" name="Ovaal 83">
                      <a:extLst>
                        <a:ext uri="{FF2B5EF4-FFF2-40B4-BE49-F238E27FC236}">
                          <a16:creationId xmlns:a16="http://schemas.microsoft.com/office/drawing/2014/main" id="{5E917375-55B8-7010-91CC-0FE8C9A89B4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80" name="Afbeelding 79">
                    <a:extLst>
                      <a:ext uri="{FF2B5EF4-FFF2-40B4-BE49-F238E27FC236}">
                        <a16:creationId xmlns:a16="http://schemas.microsoft.com/office/drawing/2014/main" id="{637A90C8-F2EA-873B-90D5-8A8BA764A16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81" name="Afbeelding 80">
                    <a:extLst>
                      <a:ext uri="{FF2B5EF4-FFF2-40B4-BE49-F238E27FC236}">
                        <a16:creationId xmlns:a16="http://schemas.microsoft.com/office/drawing/2014/main" id="{535A9468-AFA5-EC58-EFEC-A571F8B31D0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73" name="Groep 72">
                  <a:extLst>
                    <a:ext uri="{FF2B5EF4-FFF2-40B4-BE49-F238E27FC236}">
                      <a16:creationId xmlns:a16="http://schemas.microsoft.com/office/drawing/2014/main" id="{08ECD9CF-B6DE-00CC-EE2D-49B77C92E026}"/>
                    </a:ext>
                  </a:extLst>
                </p:cNvPr>
                <p:cNvGrpSpPr/>
                <p:nvPr userDrawn="1"/>
              </p:nvGrpSpPr>
              <p:grpSpPr>
                <a:xfrm>
                  <a:off x="13103513" y="3705268"/>
                  <a:ext cx="145820" cy="146462"/>
                  <a:chOff x="13096169" y="3602278"/>
                  <a:chExt cx="145820" cy="146462"/>
                </a:xfrm>
              </p:grpSpPr>
              <p:sp>
                <p:nvSpPr>
                  <p:cNvPr id="77" name="Rechthoek 76">
                    <a:extLst>
                      <a:ext uri="{FF2B5EF4-FFF2-40B4-BE49-F238E27FC236}">
                        <a16:creationId xmlns:a16="http://schemas.microsoft.com/office/drawing/2014/main" id="{7868EFD9-37FA-9068-C0B9-ADE6933C347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8F034925-D42D-5D16-16A8-D5AC0F2EE8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4" name="Groep 73">
                  <a:extLst>
                    <a:ext uri="{FF2B5EF4-FFF2-40B4-BE49-F238E27FC236}">
                      <a16:creationId xmlns:a16="http://schemas.microsoft.com/office/drawing/2014/main" id="{5847DCD3-C76F-3E89-F437-C5754028A3DC}"/>
                    </a:ext>
                  </a:extLst>
                </p:cNvPr>
                <p:cNvGrpSpPr/>
                <p:nvPr userDrawn="1"/>
              </p:nvGrpSpPr>
              <p:grpSpPr>
                <a:xfrm rot="10800000">
                  <a:off x="13061402" y="3665637"/>
                  <a:ext cx="145820" cy="146462"/>
                  <a:chOff x="13096169" y="3602278"/>
                  <a:chExt cx="145820" cy="146462"/>
                </a:xfrm>
              </p:grpSpPr>
              <p:sp>
                <p:nvSpPr>
                  <p:cNvPr id="75" name="Rechthoek 74">
                    <a:extLst>
                      <a:ext uri="{FF2B5EF4-FFF2-40B4-BE49-F238E27FC236}">
                        <a16:creationId xmlns:a16="http://schemas.microsoft.com/office/drawing/2014/main" id="{7E3D2265-B6ED-F356-7223-CF4A7B47574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C0CDF9B4-75C2-82A5-9369-D46ADC65EBF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70" name="Rechthoek 69">
                <a:extLst>
                  <a:ext uri="{FF2B5EF4-FFF2-40B4-BE49-F238E27FC236}">
                    <a16:creationId xmlns:a16="http://schemas.microsoft.com/office/drawing/2014/main" id="{4DF1CE7C-E9E6-8B9C-1E32-907AC001439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71" name="Gelijkbenige driehoek 70">
                <a:extLst>
                  <a:ext uri="{FF2B5EF4-FFF2-40B4-BE49-F238E27FC236}">
                    <a16:creationId xmlns:a16="http://schemas.microsoft.com/office/drawing/2014/main" id="{84FB8A36-50FE-4AFD-BF7A-10E2B0EF97B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3" name="ICOON_info">
              <a:extLst>
                <a:ext uri="{FF2B5EF4-FFF2-40B4-BE49-F238E27FC236}">
                  <a16:creationId xmlns:a16="http://schemas.microsoft.com/office/drawing/2014/main" id="{48ACEE1B-242B-B5F0-194F-667EAA66EB0D}"/>
                </a:ext>
              </a:extLst>
            </p:cNvPr>
            <p:cNvGrpSpPr/>
            <p:nvPr userDrawn="1"/>
          </p:nvGrpSpPr>
          <p:grpSpPr>
            <a:xfrm>
              <a:off x="-376736" y="4055594"/>
              <a:ext cx="283685" cy="283685"/>
              <a:chOff x="-510741" y="5913713"/>
              <a:chExt cx="267555" cy="267555"/>
            </a:xfrm>
          </p:grpSpPr>
          <p:sp>
            <p:nvSpPr>
              <p:cNvPr id="67" name="Ovaal 66">
                <a:extLst>
                  <a:ext uri="{FF2B5EF4-FFF2-40B4-BE49-F238E27FC236}">
                    <a16:creationId xmlns:a16="http://schemas.microsoft.com/office/drawing/2014/main" id="{8F340F90-9197-5EF9-7D93-141F1C5999D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8" name="Graphic 163" descr="Informatie">
                <a:extLst>
                  <a:ext uri="{FF2B5EF4-FFF2-40B4-BE49-F238E27FC236}">
                    <a16:creationId xmlns:a16="http://schemas.microsoft.com/office/drawing/2014/main" id="{50D41316-8DA3-A36E-7B44-324DD2A72A0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4" name="Groep 53">
              <a:extLst>
                <a:ext uri="{FF2B5EF4-FFF2-40B4-BE49-F238E27FC236}">
                  <a16:creationId xmlns:a16="http://schemas.microsoft.com/office/drawing/2014/main" id="{9ED540E0-7070-DB13-59AB-ABF04EC65687}"/>
                </a:ext>
              </a:extLst>
            </p:cNvPr>
            <p:cNvGrpSpPr/>
            <p:nvPr userDrawn="1"/>
          </p:nvGrpSpPr>
          <p:grpSpPr>
            <a:xfrm>
              <a:off x="-938434" y="4364020"/>
              <a:ext cx="627798" cy="576693"/>
              <a:chOff x="-938434" y="4570310"/>
              <a:chExt cx="627798" cy="576693"/>
            </a:xfrm>
          </p:grpSpPr>
          <p:grpSp>
            <p:nvGrpSpPr>
              <p:cNvPr id="62" name="Inspireren">
                <a:extLst>
                  <a:ext uri="{FF2B5EF4-FFF2-40B4-BE49-F238E27FC236}">
                    <a16:creationId xmlns:a16="http://schemas.microsoft.com/office/drawing/2014/main" id="{62A04428-6E83-32B4-9FAB-DCB1667D037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4" name="Freeform 12">
                  <a:extLst>
                    <a:ext uri="{FF2B5EF4-FFF2-40B4-BE49-F238E27FC236}">
                      <a16:creationId xmlns:a16="http://schemas.microsoft.com/office/drawing/2014/main" id="{BC8457D2-173B-3BAB-5615-0AE5B82F2B9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5" name="Freeform 13">
                  <a:extLst>
                    <a:ext uri="{FF2B5EF4-FFF2-40B4-BE49-F238E27FC236}">
                      <a16:creationId xmlns:a16="http://schemas.microsoft.com/office/drawing/2014/main" id="{E13BEEA4-A04E-AE3C-53CD-59348AA1D7C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6" name="Freeform 14">
                  <a:extLst>
                    <a:ext uri="{FF2B5EF4-FFF2-40B4-BE49-F238E27FC236}">
                      <a16:creationId xmlns:a16="http://schemas.microsoft.com/office/drawing/2014/main" id="{A5835AE3-E5C3-0B7C-B492-564AC14076B5}"/>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63" name="Tekstvak 62">
                <a:extLst>
                  <a:ext uri="{FF2B5EF4-FFF2-40B4-BE49-F238E27FC236}">
                    <a16:creationId xmlns:a16="http://schemas.microsoft.com/office/drawing/2014/main" id="{27FB5D2B-493D-E964-17BF-D365F4AB027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55" name="Groep 54">
              <a:extLst>
                <a:ext uri="{FF2B5EF4-FFF2-40B4-BE49-F238E27FC236}">
                  <a16:creationId xmlns:a16="http://schemas.microsoft.com/office/drawing/2014/main" id="{55274F88-BD65-7EC3-24B0-0C2420703DD1}"/>
                </a:ext>
              </a:extLst>
            </p:cNvPr>
            <p:cNvGrpSpPr/>
            <p:nvPr userDrawn="1"/>
          </p:nvGrpSpPr>
          <p:grpSpPr>
            <a:xfrm>
              <a:off x="-3365484" y="1226982"/>
              <a:ext cx="446937" cy="406485"/>
              <a:chOff x="-3563526" y="1409294"/>
              <a:chExt cx="354190" cy="322133"/>
            </a:xfrm>
          </p:grpSpPr>
          <p:grpSp>
            <p:nvGrpSpPr>
              <p:cNvPr id="56" name="Groep 55">
                <a:extLst>
                  <a:ext uri="{FF2B5EF4-FFF2-40B4-BE49-F238E27FC236}">
                    <a16:creationId xmlns:a16="http://schemas.microsoft.com/office/drawing/2014/main" id="{7A6085FC-A172-67B5-BB8D-17001DC0A45E}"/>
                  </a:ext>
                </a:extLst>
              </p:cNvPr>
              <p:cNvGrpSpPr/>
              <p:nvPr userDrawn="1"/>
            </p:nvGrpSpPr>
            <p:grpSpPr>
              <a:xfrm>
                <a:off x="-3499992" y="1409294"/>
                <a:ext cx="225195" cy="195499"/>
                <a:chOff x="8987389" y="1361199"/>
                <a:chExt cx="2200275" cy="1914525"/>
              </a:xfrm>
            </p:grpSpPr>
            <p:sp>
              <p:nvSpPr>
                <p:cNvPr id="58" name="Vrije vorm: vorm 57">
                  <a:extLst>
                    <a:ext uri="{FF2B5EF4-FFF2-40B4-BE49-F238E27FC236}">
                      <a16:creationId xmlns:a16="http://schemas.microsoft.com/office/drawing/2014/main" id="{8C460B96-126F-1EEE-8106-D2C3CE2BE58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59" name="Groep 58">
                  <a:extLst>
                    <a:ext uri="{FF2B5EF4-FFF2-40B4-BE49-F238E27FC236}">
                      <a16:creationId xmlns:a16="http://schemas.microsoft.com/office/drawing/2014/main" id="{1A6CC070-0550-5850-74BE-1EB18A25D2C3}"/>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0" name="Vrije vorm: vorm 59">
                    <a:extLst>
                      <a:ext uri="{FF2B5EF4-FFF2-40B4-BE49-F238E27FC236}">
                        <a16:creationId xmlns:a16="http://schemas.microsoft.com/office/drawing/2014/main" id="{1202B739-C50C-952F-22A9-A2DBEE381B7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61" name="Vrije vorm: vorm 60">
                    <a:extLst>
                      <a:ext uri="{FF2B5EF4-FFF2-40B4-BE49-F238E27FC236}">
                        <a16:creationId xmlns:a16="http://schemas.microsoft.com/office/drawing/2014/main" id="{0F0FA3AA-1DED-70D1-F41C-9531BACAECC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57" name="Tekstvak 56">
                <a:extLst>
                  <a:ext uri="{FF2B5EF4-FFF2-40B4-BE49-F238E27FC236}">
                    <a16:creationId xmlns:a16="http://schemas.microsoft.com/office/drawing/2014/main" id="{2EE8E4D7-969D-CD7D-74C3-E18162B8F8E4}"/>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8466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image | 3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image | 3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4363196"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8007254"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Images’,</a:t>
            </a:r>
            <a:br>
              <a:rPr lang="en-GB" noProof="0" dirty="0"/>
            </a:br>
            <a:r>
              <a:rPr lang="en-GB" noProof="0" dirty="0"/>
              <a:t>select the preferred image and click on ‘Insert’.</a:t>
            </a:r>
          </a:p>
        </p:txBody>
      </p:sp>
      <p:grpSp>
        <p:nvGrpSpPr>
          <p:cNvPr id="3" name="INSTRUCTION">
            <a:extLst>
              <a:ext uri="{FF2B5EF4-FFF2-40B4-BE49-F238E27FC236}">
                <a16:creationId xmlns:a16="http://schemas.microsoft.com/office/drawing/2014/main" id="{C1BEDD91-7E11-7F78-0EB1-7A61AEAA1FC3}"/>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92820339-A155-C2DA-5D85-1A8A70891837}"/>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6961C930-793D-30B1-AC1E-F37D153838DF}"/>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E6CA0822-5A7D-01B7-67B7-72AE344145D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F8FFBBD8-5578-28EF-FA1B-A0B704E1BCA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7FC817E7-5A61-D634-3703-AAB1BBE944E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AA8BFC37-3D23-7F23-92C4-E60F9DE2C6C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012F2198-FA74-4AEB-030B-4F62E89C93E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6" name="Ovaal 15">
              <a:extLst>
                <a:ext uri="{FF2B5EF4-FFF2-40B4-BE49-F238E27FC236}">
                  <a16:creationId xmlns:a16="http://schemas.microsoft.com/office/drawing/2014/main" id="{6FFCC9BA-0FE5-6DE6-B88C-0EAF11CF4CD7}"/>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16F1F168-F1B6-04AA-70A1-81E6CF7F5B08}"/>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8" name="Groep 17">
              <a:extLst>
                <a:ext uri="{FF2B5EF4-FFF2-40B4-BE49-F238E27FC236}">
                  <a16:creationId xmlns:a16="http://schemas.microsoft.com/office/drawing/2014/main" id="{D9EAC79E-1839-7C85-0B55-8C84A0ECB027}"/>
                </a:ext>
              </a:extLst>
            </p:cNvPr>
            <p:cNvGrpSpPr/>
            <p:nvPr userDrawn="1"/>
          </p:nvGrpSpPr>
          <p:grpSpPr>
            <a:xfrm>
              <a:off x="-3414453" y="3534339"/>
              <a:ext cx="514284" cy="506545"/>
              <a:chOff x="12617641" y="3403239"/>
              <a:chExt cx="752963" cy="741634"/>
            </a:xfrm>
          </p:grpSpPr>
          <p:grpSp>
            <p:nvGrpSpPr>
              <p:cNvPr id="36" name="Groep 35">
                <a:extLst>
                  <a:ext uri="{FF2B5EF4-FFF2-40B4-BE49-F238E27FC236}">
                    <a16:creationId xmlns:a16="http://schemas.microsoft.com/office/drawing/2014/main" id="{52550A1A-3BDD-E55D-669F-0BB27F2F91C5}"/>
                  </a:ext>
                </a:extLst>
              </p:cNvPr>
              <p:cNvGrpSpPr/>
              <p:nvPr userDrawn="1"/>
            </p:nvGrpSpPr>
            <p:grpSpPr>
              <a:xfrm>
                <a:off x="12771530" y="3403239"/>
                <a:ext cx="467176" cy="448491"/>
                <a:chOff x="12782157" y="3403239"/>
                <a:chExt cx="467176" cy="448491"/>
              </a:xfrm>
            </p:grpSpPr>
            <p:grpSp>
              <p:nvGrpSpPr>
                <p:cNvPr id="39" name="Groep 38">
                  <a:extLst>
                    <a:ext uri="{FF2B5EF4-FFF2-40B4-BE49-F238E27FC236}">
                      <a16:creationId xmlns:a16="http://schemas.microsoft.com/office/drawing/2014/main" id="{9CF74A4B-BB77-E9C9-08E8-7C7BD9A78E6B}"/>
                    </a:ext>
                  </a:extLst>
                </p:cNvPr>
                <p:cNvGrpSpPr/>
                <p:nvPr userDrawn="1"/>
              </p:nvGrpSpPr>
              <p:grpSpPr>
                <a:xfrm>
                  <a:off x="12782157" y="3403239"/>
                  <a:ext cx="412976" cy="396132"/>
                  <a:chOff x="13554906" y="3320109"/>
                  <a:chExt cx="443917" cy="425811"/>
                </a:xfrm>
              </p:grpSpPr>
              <p:grpSp>
                <p:nvGrpSpPr>
                  <p:cNvPr id="46" name="Groep 45">
                    <a:extLst>
                      <a:ext uri="{FF2B5EF4-FFF2-40B4-BE49-F238E27FC236}">
                        <a16:creationId xmlns:a16="http://schemas.microsoft.com/office/drawing/2014/main" id="{4486B5C9-3E8A-2C5B-A620-EC874628EB37}"/>
                      </a:ext>
                    </a:extLst>
                  </p:cNvPr>
                  <p:cNvGrpSpPr/>
                  <p:nvPr userDrawn="1"/>
                </p:nvGrpSpPr>
                <p:grpSpPr>
                  <a:xfrm>
                    <a:off x="13554906" y="3320109"/>
                    <a:ext cx="443917" cy="425811"/>
                    <a:chOff x="12909684" y="1276143"/>
                    <a:chExt cx="443917" cy="425811"/>
                  </a:xfrm>
                </p:grpSpPr>
                <p:sp>
                  <p:nvSpPr>
                    <p:cNvPr id="49" name="Rechthoek 48">
                      <a:extLst>
                        <a:ext uri="{FF2B5EF4-FFF2-40B4-BE49-F238E27FC236}">
                          <a16:creationId xmlns:a16="http://schemas.microsoft.com/office/drawing/2014/main" id="{1C0767B3-757F-89D7-F1B4-E990D1627565}"/>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01FE88A9-1F9E-DE8F-8122-A542240BDE9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1" name="Ovaal 50">
                      <a:extLst>
                        <a:ext uri="{FF2B5EF4-FFF2-40B4-BE49-F238E27FC236}">
                          <a16:creationId xmlns:a16="http://schemas.microsoft.com/office/drawing/2014/main" id="{5C5972BC-6B4B-8135-3095-DDB33A0AC04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7" name="Afbeelding 46">
                    <a:extLst>
                      <a:ext uri="{FF2B5EF4-FFF2-40B4-BE49-F238E27FC236}">
                        <a16:creationId xmlns:a16="http://schemas.microsoft.com/office/drawing/2014/main" id="{5B62A33F-4BCF-D95A-63D2-C2D31ECA03C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8" name="Afbeelding 47">
                    <a:extLst>
                      <a:ext uri="{FF2B5EF4-FFF2-40B4-BE49-F238E27FC236}">
                        <a16:creationId xmlns:a16="http://schemas.microsoft.com/office/drawing/2014/main" id="{CF326FF7-A89B-A394-24D9-34D0801F197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0" name="Groep 39">
                  <a:extLst>
                    <a:ext uri="{FF2B5EF4-FFF2-40B4-BE49-F238E27FC236}">
                      <a16:creationId xmlns:a16="http://schemas.microsoft.com/office/drawing/2014/main" id="{E9F9AFC9-F44B-0EEA-AE3D-7E090A28A757}"/>
                    </a:ext>
                  </a:extLst>
                </p:cNvPr>
                <p:cNvGrpSpPr/>
                <p:nvPr userDrawn="1"/>
              </p:nvGrpSpPr>
              <p:grpSpPr>
                <a:xfrm>
                  <a:off x="13103513" y="3705268"/>
                  <a:ext cx="145820" cy="146462"/>
                  <a:chOff x="13096169" y="3602278"/>
                  <a:chExt cx="145820" cy="146462"/>
                </a:xfrm>
              </p:grpSpPr>
              <p:sp>
                <p:nvSpPr>
                  <p:cNvPr id="44" name="Rechthoek 43">
                    <a:extLst>
                      <a:ext uri="{FF2B5EF4-FFF2-40B4-BE49-F238E27FC236}">
                        <a16:creationId xmlns:a16="http://schemas.microsoft.com/office/drawing/2014/main" id="{C25A64C3-0F2E-346A-181C-A2FA9D28C88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B2BE2B41-F6F0-AB25-7D38-E170ED6821A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1" name="Groep 40">
                  <a:extLst>
                    <a:ext uri="{FF2B5EF4-FFF2-40B4-BE49-F238E27FC236}">
                      <a16:creationId xmlns:a16="http://schemas.microsoft.com/office/drawing/2014/main" id="{35F0D4D3-BFCD-B452-4F65-96DF194749C4}"/>
                    </a:ext>
                  </a:extLst>
                </p:cNvPr>
                <p:cNvGrpSpPr/>
                <p:nvPr userDrawn="1"/>
              </p:nvGrpSpPr>
              <p:grpSpPr>
                <a:xfrm rot="10800000">
                  <a:off x="13061402" y="3665637"/>
                  <a:ext cx="145820" cy="146462"/>
                  <a:chOff x="13096169" y="3602278"/>
                  <a:chExt cx="145820" cy="146462"/>
                </a:xfrm>
              </p:grpSpPr>
              <p:sp>
                <p:nvSpPr>
                  <p:cNvPr id="42" name="Rechthoek 41">
                    <a:extLst>
                      <a:ext uri="{FF2B5EF4-FFF2-40B4-BE49-F238E27FC236}">
                        <a16:creationId xmlns:a16="http://schemas.microsoft.com/office/drawing/2014/main" id="{9960AEAD-8CB3-84FA-B65D-0EB643A332B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DF1021CD-36D0-EF67-730B-36367E1B08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7" name="Rechthoek 36">
                <a:extLst>
                  <a:ext uri="{FF2B5EF4-FFF2-40B4-BE49-F238E27FC236}">
                    <a16:creationId xmlns:a16="http://schemas.microsoft.com/office/drawing/2014/main" id="{A11B84C2-DCA7-50A0-7574-C562CA55F26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8" name="Gelijkbenige driehoek 37">
                <a:extLst>
                  <a:ext uri="{FF2B5EF4-FFF2-40B4-BE49-F238E27FC236}">
                    <a16:creationId xmlns:a16="http://schemas.microsoft.com/office/drawing/2014/main" id="{01F4FC81-A7BE-A3DF-305C-5252593B9F7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9" name="ICOON_info">
              <a:extLst>
                <a:ext uri="{FF2B5EF4-FFF2-40B4-BE49-F238E27FC236}">
                  <a16:creationId xmlns:a16="http://schemas.microsoft.com/office/drawing/2014/main" id="{659DC2D3-96F0-8050-694C-44A67A579679}"/>
                </a:ext>
              </a:extLst>
            </p:cNvPr>
            <p:cNvGrpSpPr/>
            <p:nvPr userDrawn="1"/>
          </p:nvGrpSpPr>
          <p:grpSpPr>
            <a:xfrm>
              <a:off x="-376736" y="4055594"/>
              <a:ext cx="283685" cy="283685"/>
              <a:chOff x="-510741" y="5913713"/>
              <a:chExt cx="267555" cy="267555"/>
            </a:xfrm>
          </p:grpSpPr>
          <p:sp>
            <p:nvSpPr>
              <p:cNvPr id="34" name="Ovaal 33">
                <a:extLst>
                  <a:ext uri="{FF2B5EF4-FFF2-40B4-BE49-F238E27FC236}">
                    <a16:creationId xmlns:a16="http://schemas.microsoft.com/office/drawing/2014/main" id="{64EE95DD-EF7A-7797-9D56-47E5E7EF55A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5" name="Graphic 163" descr="Informatie">
                <a:extLst>
                  <a:ext uri="{FF2B5EF4-FFF2-40B4-BE49-F238E27FC236}">
                    <a16:creationId xmlns:a16="http://schemas.microsoft.com/office/drawing/2014/main" id="{866667A0-93C8-1B83-28A5-F68E5D3DD90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 name="Groep 19">
              <a:extLst>
                <a:ext uri="{FF2B5EF4-FFF2-40B4-BE49-F238E27FC236}">
                  <a16:creationId xmlns:a16="http://schemas.microsoft.com/office/drawing/2014/main" id="{16C13EA5-FB01-E446-D20C-CE31F2D2ED67}"/>
                </a:ext>
              </a:extLst>
            </p:cNvPr>
            <p:cNvGrpSpPr/>
            <p:nvPr userDrawn="1"/>
          </p:nvGrpSpPr>
          <p:grpSpPr>
            <a:xfrm>
              <a:off x="-938434" y="4364020"/>
              <a:ext cx="627798" cy="576693"/>
              <a:chOff x="-938434" y="4570310"/>
              <a:chExt cx="627798" cy="576693"/>
            </a:xfrm>
          </p:grpSpPr>
          <p:grpSp>
            <p:nvGrpSpPr>
              <p:cNvPr id="29" name="Inspireren">
                <a:extLst>
                  <a:ext uri="{FF2B5EF4-FFF2-40B4-BE49-F238E27FC236}">
                    <a16:creationId xmlns:a16="http://schemas.microsoft.com/office/drawing/2014/main" id="{D854E2D5-E630-6E4D-2C9C-E43E5809F34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1" name="Freeform 12">
                  <a:extLst>
                    <a:ext uri="{FF2B5EF4-FFF2-40B4-BE49-F238E27FC236}">
                      <a16:creationId xmlns:a16="http://schemas.microsoft.com/office/drawing/2014/main" id="{C7C23C67-E152-981A-0599-915F68294D4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2" name="Freeform 13">
                  <a:extLst>
                    <a:ext uri="{FF2B5EF4-FFF2-40B4-BE49-F238E27FC236}">
                      <a16:creationId xmlns:a16="http://schemas.microsoft.com/office/drawing/2014/main" id="{CA4712CF-C6C5-F02F-DF6F-B6F3E57A08D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3" name="Freeform 14">
                  <a:extLst>
                    <a:ext uri="{FF2B5EF4-FFF2-40B4-BE49-F238E27FC236}">
                      <a16:creationId xmlns:a16="http://schemas.microsoft.com/office/drawing/2014/main" id="{0EFCC7D7-5360-288B-55CE-D031D66BDC4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0" name="Tekstvak 29">
                <a:extLst>
                  <a:ext uri="{FF2B5EF4-FFF2-40B4-BE49-F238E27FC236}">
                    <a16:creationId xmlns:a16="http://schemas.microsoft.com/office/drawing/2014/main" id="{BB1FA0C5-74E3-6395-EB06-85F2A649ADA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2" name="Groep 21">
              <a:extLst>
                <a:ext uri="{FF2B5EF4-FFF2-40B4-BE49-F238E27FC236}">
                  <a16:creationId xmlns:a16="http://schemas.microsoft.com/office/drawing/2014/main" id="{284CE24E-1A41-6401-51A4-E142A49BE9DC}"/>
                </a:ext>
              </a:extLst>
            </p:cNvPr>
            <p:cNvGrpSpPr/>
            <p:nvPr userDrawn="1"/>
          </p:nvGrpSpPr>
          <p:grpSpPr>
            <a:xfrm>
              <a:off x="-3365484" y="1226982"/>
              <a:ext cx="446937" cy="406485"/>
              <a:chOff x="-3563526" y="1409294"/>
              <a:chExt cx="354190" cy="322133"/>
            </a:xfrm>
          </p:grpSpPr>
          <p:grpSp>
            <p:nvGrpSpPr>
              <p:cNvPr id="23" name="Groep 22">
                <a:extLst>
                  <a:ext uri="{FF2B5EF4-FFF2-40B4-BE49-F238E27FC236}">
                    <a16:creationId xmlns:a16="http://schemas.microsoft.com/office/drawing/2014/main" id="{A4F3D131-9E41-8F32-049B-F8987CF2154A}"/>
                  </a:ext>
                </a:extLst>
              </p:cNvPr>
              <p:cNvGrpSpPr/>
              <p:nvPr userDrawn="1"/>
            </p:nvGrpSpPr>
            <p:grpSpPr>
              <a:xfrm>
                <a:off x="-3499992" y="1409294"/>
                <a:ext cx="225195" cy="195499"/>
                <a:chOff x="8987389" y="1361199"/>
                <a:chExt cx="2200275" cy="1914525"/>
              </a:xfrm>
            </p:grpSpPr>
            <p:sp>
              <p:nvSpPr>
                <p:cNvPr id="25" name="Vrije vorm: vorm 24">
                  <a:extLst>
                    <a:ext uri="{FF2B5EF4-FFF2-40B4-BE49-F238E27FC236}">
                      <a16:creationId xmlns:a16="http://schemas.microsoft.com/office/drawing/2014/main" id="{43398105-4A43-D472-F6F8-6E4F71A90E4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6" name="Groep 25">
                  <a:extLst>
                    <a:ext uri="{FF2B5EF4-FFF2-40B4-BE49-F238E27FC236}">
                      <a16:creationId xmlns:a16="http://schemas.microsoft.com/office/drawing/2014/main" id="{02ABAC87-F648-BAB6-0A09-F85CD3FF3AD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7" name="Vrije vorm: vorm 26">
                    <a:extLst>
                      <a:ext uri="{FF2B5EF4-FFF2-40B4-BE49-F238E27FC236}">
                        <a16:creationId xmlns:a16="http://schemas.microsoft.com/office/drawing/2014/main" id="{77FF17EC-FDAB-C3E5-33DC-82585BEECF84}"/>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8" name="Vrije vorm: vorm 27">
                    <a:extLst>
                      <a:ext uri="{FF2B5EF4-FFF2-40B4-BE49-F238E27FC236}">
                        <a16:creationId xmlns:a16="http://schemas.microsoft.com/office/drawing/2014/main" id="{28C53FCD-B8B8-729F-D8ED-C1414AFC8F0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4" name="Tekstvak 23">
                <a:extLst>
                  <a:ext uri="{FF2B5EF4-FFF2-40B4-BE49-F238E27FC236}">
                    <a16:creationId xmlns:a16="http://schemas.microsoft.com/office/drawing/2014/main" id="{8E442BAC-76B0-CA2C-5ED4-D0F695C293F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11488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image | 5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image | 5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290478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509043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4" name="Tijdelijke aanduiding voor afbeelding 16">
            <a:extLst>
              <a:ext uri="{FF2B5EF4-FFF2-40B4-BE49-F238E27FC236}">
                <a16:creationId xmlns:a16="http://schemas.microsoft.com/office/drawing/2014/main" id="{F3249781-074E-A875-B16D-B50D91448332}"/>
              </a:ext>
            </a:extLst>
          </p:cNvPr>
          <p:cNvSpPr>
            <a:spLocks noGrp="1"/>
          </p:cNvSpPr>
          <p:nvPr>
            <p:ph type="pic" sz="quarter" idx="23" hasCustomPrompt="1"/>
          </p:nvPr>
        </p:nvSpPr>
        <p:spPr>
          <a:xfrm>
            <a:off x="727608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5" name="Tijdelijke aanduiding voor afbeelding 16">
            <a:extLst>
              <a:ext uri="{FF2B5EF4-FFF2-40B4-BE49-F238E27FC236}">
                <a16:creationId xmlns:a16="http://schemas.microsoft.com/office/drawing/2014/main" id="{F0A1C48D-CC16-E6F4-8EB6-4ED779A22739}"/>
              </a:ext>
            </a:extLst>
          </p:cNvPr>
          <p:cNvSpPr>
            <a:spLocks noGrp="1"/>
          </p:cNvSpPr>
          <p:nvPr>
            <p:ph type="pic" sz="quarter" idx="24" hasCustomPrompt="1"/>
          </p:nvPr>
        </p:nvSpPr>
        <p:spPr>
          <a:xfrm>
            <a:off x="9461739"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grpSp>
        <p:nvGrpSpPr>
          <p:cNvPr id="3" name="INSTRUCTION">
            <a:extLst>
              <a:ext uri="{FF2B5EF4-FFF2-40B4-BE49-F238E27FC236}">
                <a16:creationId xmlns:a16="http://schemas.microsoft.com/office/drawing/2014/main" id="{A0E3E43A-7F53-A1B6-9718-E03EB7CACED5}"/>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098200CA-17D3-37BE-D275-4E510B099910}"/>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C52B005B-DFE8-D219-ED34-4A925CD33748}"/>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7547CCA6-FF94-E275-2C59-08F01F6333C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0FCDBAD4-61BC-E5B8-2689-52FBF923FFBD}"/>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36CEA1BB-6A1A-7A2B-52BC-2A654FCD53BA}"/>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D435A2C1-288D-FD3D-C18D-B1C829ECA50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 name="Rechthoek 16">
              <a:extLst>
                <a:ext uri="{FF2B5EF4-FFF2-40B4-BE49-F238E27FC236}">
                  <a16:creationId xmlns:a16="http://schemas.microsoft.com/office/drawing/2014/main" id="{EF52C089-2E3E-52D9-1437-114FC559397B}"/>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8" name="Ovaal 17">
              <a:extLst>
                <a:ext uri="{FF2B5EF4-FFF2-40B4-BE49-F238E27FC236}">
                  <a16:creationId xmlns:a16="http://schemas.microsoft.com/office/drawing/2014/main" id="{810B2407-0469-814E-88E3-304AA60EDF5C}"/>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 name="Rechthoek 18">
              <a:extLst>
                <a:ext uri="{FF2B5EF4-FFF2-40B4-BE49-F238E27FC236}">
                  <a16:creationId xmlns:a16="http://schemas.microsoft.com/office/drawing/2014/main" id="{4DF8C078-39F0-2187-08F3-73CEE7194351}"/>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20" name="Groep 19">
              <a:extLst>
                <a:ext uri="{FF2B5EF4-FFF2-40B4-BE49-F238E27FC236}">
                  <a16:creationId xmlns:a16="http://schemas.microsoft.com/office/drawing/2014/main" id="{A749A02A-9780-3C48-8024-5209C1347169}"/>
                </a:ext>
              </a:extLst>
            </p:cNvPr>
            <p:cNvGrpSpPr/>
            <p:nvPr userDrawn="1"/>
          </p:nvGrpSpPr>
          <p:grpSpPr>
            <a:xfrm>
              <a:off x="-3414453" y="3534339"/>
              <a:ext cx="514284" cy="506545"/>
              <a:chOff x="12617641" y="3403239"/>
              <a:chExt cx="752963" cy="741634"/>
            </a:xfrm>
          </p:grpSpPr>
          <p:grpSp>
            <p:nvGrpSpPr>
              <p:cNvPr id="38" name="Groep 37">
                <a:extLst>
                  <a:ext uri="{FF2B5EF4-FFF2-40B4-BE49-F238E27FC236}">
                    <a16:creationId xmlns:a16="http://schemas.microsoft.com/office/drawing/2014/main" id="{32E06948-C237-0DAF-527C-B61A8C191549}"/>
                  </a:ext>
                </a:extLst>
              </p:cNvPr>
              <p:cNvGrpSpPr/>
              <p:nvPr userDrawn="1"/>
            </p:nvGrpSpPr>
            <p:grpSpPr>
              <a:xfrm>
                <a:off x="12771530" y="3403239"/>
                <a:ext cx="467176" cy="448491"/>
                <a:chOff x="12782157" y="3403239"/>
                <a:chExt cx="467176" cy="448491"/>
              </a:xfrm>
            </p:grpSpPr>
            <p:grpSp>
              <p:nvGrpSpPr>
                <p:cNvPr id="41" name="Groep 40">
                  <a:extLst>
                    <a:ext uri="{FF2B5EF4-FFF2-40B4-BE49-F238E27FC236}">
                      <a16:creationId xmlns:a16="http://schemas.microsoft.com/office/drawing/2014/main" id="{EF4C4060-F043-8A29-9F21-8C3F1046A1C2}"/>
                    </a:ext>
                  </a:extLst>
                </p:cNvPr>
                <p:cNvGrpSpPr/>
                <p:nvPr userDrawn="1"/>
              </p:nvGrpSpPr>
              <p:grpSpPr>
                <a:xfrm>
                  <a:off x="12782157" y="3403239"/>
                  <a:ext cx="412976" cy="396132"/>
                  <a:chOff x="13554906" y="3320109"/>
                  <a:chExt cx="443917" cy="425811"/>
                </a:xfrm>
              </p:grpSpPr>
              <p:grpSp>
                <p:nvGrpSpPr>
                  <p:cNvPr id="48" name="Groep 47">
                    <a:extLst>
                      <a:ext uri="{FF2B5EF4-FFF2-40B4-BE49-F238E27FC236}">
                        <a16:creationId xmlns:a16="http://schemas.microsoft.com/office/drawing/2014/main" id="{FFF34B06-FF44-AFD0-1680-853AD66FDD92}"/>
                      </a:ext>
                    </a:extLst>
                  </p:cNvPr>
                  <p:cNvGrpSpPr/>
                  <p:nvPr userDrawn="1"/>
                </p:nvGrpSpPr>
                <p:grpSpPr>
                  <a:xfrm>
                    <a:off x="13554906" y="3320109"/>
                    <a:ext cx="443917" cy="425811"/>
                    <a:chOff x="12909684" y="1276143"/>
                    <a:chExt cx="443917" cy="425811"/>
                  </a:xfrm>
                </p:grpSpPr>
                <p:sp>
                  <p:nvSpPr>
                    <p:cNvPr id="51" name="Rechthoek 50">
                      <a:extLst>
                        <a:ext uri="{FF2B5EF4-FFF2-40B4-BE49-F238E27FC236}">
                          <a16:creationId xmlns:a16="http://schemas.microsoft.com/office/drawing/2014/main" id="{8D0763BA-D2E9-B036-6E36-C6A99F75D40C}"/>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3C9319DF-5232-122B-07DF-D9F76D801C9A}"/>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3" name="Ovaal 52">
                      <a:extLst>
                        <a:ext uri="{FF2B5EF4-FFF2-40B4-BE49-F238E27FC236}">
                          <a16:creationId xmlns:a16="http://schemas.microsoft.com/office/drawing/2014/main" id="{B0FB3FFE-7322-E2DD-8E8A-7750CC6FC30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9" name="Afbeelding 48">
                    <a:extLst>
                      <a:ext uri="{FF2B5EF4-FFF2-40B4-BE49-F238E27FC236}">
                        <a16:creationId xmlns:a16="http://schemas.microsoft.com/office/drawing/2014/main" id="{23A6B195-D9EF-0E32-CA0B-2D221ADDA89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0" name="Afbeelding 49">
                    <a:extLst>
                      <a:ext uri="{FF2B5EF4-FFF2-40B4-BE49-F238E27FC236}">
                        <a16:creationId xmlns:a16="http://schemas.microsoft.com/office/drawing/2014/main" id="{0EBED73B-124F-1B99-0424-ADF575CD106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2" name="Groep 41">
                  <a:extLst>
                    <a:ext uri="{FF2B5EF4-FFF2-40B4-BE49-F238E27FC236}">
                      <a16:creationId xmlns:a16="http://schemas.microsoft.com/office/drawing/2014/main" id="{ED7DA034-74EF-C7C2-B8AA-93316AF25AF8}"/>
                    </a:ext>
                  </a:extLst>
                </p:cNvPr>
                <p:cNvGrpSpPr/>
                <p:nvPr userDrawn="1"/>
              </p:nvGrpSpPr>
              <p:grpSpPr>
                <a:xfrm>
                  <a:off x="13103513" y="3705268"/>
                  <a:ext cx="145820" cy="146462"/>
                  <a:chOff x="13096169" y="3602278"/>
                  <a:chExt cx="145820" cy="146462"/>
                </a:xfrm>
              </p:grpSpPr>
              <p:sp>
                <p:nvSpPr>
                  <p:cNvPr id="46" name="Rechthoek 45">
                    <a:extLst>
                      <a:ext uri="{FF2B5EF4-FFF2-40B4-BE49-F238E27FC236}">
                        <a16:creationId xmlns:a16="http://schemas.microsoft.com/office/drawing/2014/main" id="{C0EF78E2-6267-E152-6147-8A5125E9E58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1884C5A3-B370-7711-EEB2-537CA359B03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BFE67339-F951-CE41-9F1F-03039B0FA1C2}"/>
                    </a:ext>
                  </a:extLst>
                </p:cNvPr>
                <p:cNvGrpSpPr/>
                <p:nvPr userDrawn="1"/>
              </p:nvGrpSpPr>
              <p:grpSpPr>
                <a:xfrm rot="10800000">
                  <a:off x="13061402" y="3665637"/>
                  <a:ext cx="145820" cy="146462"/>
                  <a:chOff x="13096169" y="3602278"/>
                  <a:chExt cx="145820" cy="146462"/>
                </a:xfrm>
              </p:grpSpPr>
              <p:sp>
                <p:nvSpPr>
                  <p:cNvPr id="44" name="Rechthoek 43">
                    <a:extLst>
                      <a:ext uri="{FF2B5EF4-FFF2-40B4-BE49-F238E27FC236}">
                        <a16:creationId xmlns:a16="http://schemas.microsoft.com/office/drawing/2014/main" id="{70AD5692-032A-B084-E224-332AE1DACB4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EBAD3D83-D98D-425D-2E15-41B03427784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9" name="Rechthoek 38">
                <a:extLst>
                  <a:ext uri="{FF2B5EF4-FFF2-40B4-BE49-F238E27FC236}">
                    <a16:creationId xmlns:a16="http://schemas.microsoft.com/office/drawing/2014/main" id="{9F62CA87-1483-B839-895C-0B4CE565A8F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0" name="Gelijkbenige driehoek 39">
                <a:extLst>
                  <a:ext uri="{FF2B5EF4-FFF2-40B4-BE49-F238E27FC236}">
                    <a16:creationId xmlns:a16="http://schemas.microsoft.com/office/drawing/2014/main" id="{A583FB57-8434-EBE9-1790-5262A730636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 name="ICOON_info">
              <a:extLst>
                <a:ext uri="{FF2B5EF4-FFF2-40B4-BE49-F238E27FC236}">
                  <a16:creationId xmlns:a16="http://schemas.microsoft.com/office/drawing/2014/main" id="{AFEE2C5A-6B0A-E7FE-F573-B31CA047FA3E}"/>
                </a:ext>
              </a:extLst>
            </p:cNvPr>
            <p:cNvGrpSpPr/>
            <p:nvPr userDrawn="1"/>
          </p:nvGrpSpPr>
          <p:grpSpPr>
            <a:xfrm>
              <a:off x="-376736" y="4055594"/>
              <a:ext cx="283685" cy="283685"/>
              <a:chOff x="-510741" y="5913713"/>
              <a:chExt cx="267555" cy="267555"/>
            </a:xfrm>
          </p:grpSpPr>
          <p:sp>
            <p:nvSpPr>
              <p:cNvPr id="36" name="Ovaal 35">
                <a:extLst>
                  <a:ext uri="{FF2B5EF4-FFF2-40B4-BE49-F238E27FC236}">
                    <a16:creationId xmlns:a16="http://schemas.microsoft.com/office/drawing/2014/main" id="{85A16AD0-2DBD-A2EB-D958-6BA821B1971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7" name="Graphic 163" descr="Informatie">
                <a:extLst>
                  <a:ext uri="{FF2B5EF4-FFF2-40B4-BE49-F238E27FC236}">
                    <a16:creationId xmlns:a16="http://schemas.microsoft.com/office/drawing/2014/main" id="{5DAF385E-2D5E-87DE-FE7E-9BB028A73E0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 name="Groep 22">
              <a:extLst>
                <a:ext uri="{FF2B5EF4-FFF2-40B4-BE49-F238E27FC236}">
                  <a16:creationId xmlns:a16="http://schemas.microsoft.com/office/drawing/2014/main" id="{E1CA5E7D-2515-2552-D47E-01C94BDF9E31}"/>
                </a:ext>
              </a:extLst>
            </p:cNvPr>
            <p:cNvGrpSpPr/>
            <p:nvPr userDrawn="1"/>
          </p:nvGrpSpPr>
          <p:grpSpPr>
            <a:xfrm>
              <a:off x="-938434" y="4364020"/>
              <a:ext cx="627798" cy="576693"/>
              <a:chOff x="-938434" y="4570310"/>
              <a:chExt cx="627798" cy="576693"/>
            </a:xfrm>
          </p:grpSpPr>
          <p:grpSp>
            <p:nvGrpSpPr>
              <p:cNvPr id="31" name="Inspireren">
                <a:extLst>
                  <a:ext uri="{FF2B5EF4-FFF2-40B4-BE49-F238E27FC236}">
                    <a16:creationId xmlns:a16="http://schemas.microsoft.com/office/drawing/2014/main" id="{A6FFB968-B2E5-FDAD-4424-F5911DC0149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3" name="Freeform 12">
                  <a:extLst>
                    <a:ext uri="{FF2B5EF4-FFF2-40B4-BE49-F238E27FC236}">
                      <a16:creationId xmlns:a16="http://schemas.microsoft.com/office/drawing/2014/main" id="{60750295-01BF-49A3-0E88-76C8CD6CBDE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4" name="Freeform 13">
                  <a:extLst>
                    <a:ext uri="{FF2B5EF4-FFF2-40B4-BE49-F238E27FC236}">
                      <a16:creationId xmlns:a16="http://schemas.microsoft.com/office/drawing/2014/main" id="{76B5E774-8A39-9479-5698-A2AD37518E9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5" name="Freeform 14">
                  <a:extLst>
                    <a:ext uri="{FF2B5EF4-FFF2-40B4-BE49-F238E27FC236}">
                      <a16:creationId xmlns:a16="http://schemas.microsoft.com/office/drawing/2014/main" id="{843BD78B-6440-32E7-5230-5F86091EC9E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2" name="Tekstvak 31">
                <a:extLst>
                  <a:ext uri="{FF2B5EF4-FFF2-40B4-BE49-F238E27FC236}">
                    <a16:creationId xmlns:a16="http://schemas.microsoft.com/office/drawing/2014/main" id="{1BE2473F-CBEA-2BAE-AB58-22F9CCBA9AF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4" name="Groep 23">
              <a:extLst>
                <a:ext uri="{FF2B5EF4-FFF2-40B4-BE49-F238E27FC236}">
                  <a16:creationId xmlns:a16="http://schemas.microsoft.com/office/drawing/2014/main" id="{6D974928-309B-8EE2-9125-1E515AB01D33}"/>
                </a:ext>
              </a:extLst>
            </p:cNvPr>
            <p:cNvGrpSpPr/>
            <p:nvPr userDrawn="1"/>
          </p:nvGrpSpPr>
          <p:grpSpPr>
            <a:xfrm>
              <a:off x="-3365484" y="1226982"/>
              <a:ext cx="446937" cy="406485"/>
              <a:chOff x="-3563526" y="1409294"/>
              <a:chExt cx="354190" cy="322133"/>
            </a:xfrm>
          </p:grpSpPr>
          <p:grpSp>
            <p:nvGrpSpPr>
              <p:cNvPr id="25" name="Groep 24">
                <a:extLst>
                  <a:ext uri="{FF2B5EF4-FFF2-40B4-BE49-F238E27FC236}">
                    <a16:creationId xmlns:a16="http://schemas.microsoft.com/office/drawing/2014/main" id="{49C5526B-71F9-B8DD-557E-B6E417F9E706}"/>
                  </a:ext>
                </a:extLst>
              </p:cNvPr>
              <p:cNvGrpSpPr/>
              <p:nvPr userDrawn="1"/>
            </p:nvGrpSpPr>
            <p:grpSpPr>
              <a:xfrm>
                <a:off x="-3499992" y="1409294"/>
                <a:ext cx="225195" cy="195499"/>
                <a:chOff x="8987389" y="1361199"/>
                <a:chExt cx="2200275" cy="1914525"/>
              </a:xfrm>
            </p:grpSpPr>
            <p:sp>
              <p:nvSpPr>
                <p:cNvPr id="27" name="Vrije vorm: vorm 26">
                  <a:extLst>
                    <a:ext uri="{FF2B5EF4-FFF2-40B4-BE49-F238E27FC236}">
                      <a16:creationId xmlns:a16="http://schemas.microsoft.com/office/drawing/2014/main" id="{CC9CF50E-686E-9602-D618-9A4E4CE65C49}"/>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8" name="Groep 27">
                  <a:extLst>
                    <a:ext uri="{FF2B5EF4-FFF2-40B4-BE49-F238E27FC236}">
                      <a16:creationId xmlns:a16="http://schemas.microsoft.com/office/drawing/2014/main" id="{1BA39192-088B-2668-9BDA-5A08B47F8F4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9" name="Vrije vorm: vorm 28">
                    <a:extLst>
                      <a:ext uri="{FF2B5EF4-FFF2-40B4-BE49-F238E27FC236}">
                        <a16:creationId xmlns:a16="http://schemas.microsoft.com/office/drawing/2014/main" id="{BF49DE5B-DC59-607C-F2AE-5E7E0909AE51}"/>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0" name="Vrije vorm: vorm 29">
                    <a:extLst>
                      <a:ext uri="{FF2B5EF4-FFF2-40B4-BE49-F238E27FC236}">
                        <a16:creationId xmlns:a16="http://schemas.microsoft.com/office/drawing/2014/main" id="{83E1E69C-61A8-769E-82D2-E36E930D304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6" name="Tekstvak 25">
                <a:extLst>
                  <a:ext uri="{FF2B5EF4-FFF2-40B4-BE49-F238E27FC236}">
                    <a16:creationId xmlns:a16="http://schemas.microsoft.com/office/drawing/2014/main" id="{6969B41F-B5FF-F469-B023-3644137AC52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28167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image | 8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image | 8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3452029"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6184920"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6" name="Tijdelijke aanduiding voor afbeelding 16">
            <a:extLst>
              <a:ext uri="{FF2B5EF4-FFF2-40B4-BE49-F238E27FC236}">
                <a16:creationId xmlns:a16="http://schemas.microsoft.com/office/drawing/2014/main" id="{52797F0B-0AF1-F7E9-0750-13796D373834}"/>
              </a:ext>
            </a:extLst>
          </p:cNvPr>
          <p:cNvSpPr>
            <a:spLocks noGrp="1"/>
          </p:cNvSpPr>
          <p:nvPr>
            <p:ph type="pic" sz="quarter" idx="23" hasCustomPrompt="1"/>
          </p:nvPr>
        </p:nvSpPr>
        <p:spPr>
          <a:xfrm>
            <a:off x="8917812"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7" name="Tijdelijke aanduiding voor afbeelding 16">
            <a:extLst>
              <a:ext uri="{FF2B5EF4-FFF2-40B4-BE49-F238E27FC236}">
                <a16:creationId xmlns:a16="http://schemas.microsoft.com/office/drawing/2014/main" id="{35F313C6-9854-9ED7-895D-E50D00D3194F}"/>
              </a:ext>
            </a:extLst>
          </p:cNvPr>
          <p:cNvSpPr>
            <a:spLocks noGrp="1"/>
          </p:cNvSpPr>
          <p:nvPr>
            <p:ph type="pic" sz="quarter" idx="24" hasCustomPrompt="1"/>
          </p:nvPr>
        </p:nvSpPr>
        <p:spPr>
          <a:xfrm>
            <a:off x="719138"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8" name="Tijdelijke aanduiding voor afbeelding 16">
            <a:extLst>
              <a:ext uri="{FF2B5EF4-FFF2-40B4-BE49-F238E27FC236}">
                <a16:creationId xmlns:a16="http://schemas.microsoft.com/office/drawing/2014/main" id="{BE5F5E03-4E60-317C-16DE-CC9BFA274009}"/>
              </a:ext>
            </a:extLst>
          </p:cNvPr>
          <p:cNvSpPr>
            <a:spLocks noGrp="1"/>
          </p:cNvSpPr>
          <p:nvPr>
            <p:ph type="pic" sz="quarter" idx="25" hasCustomPrompt="1"/>
          </p:nvPr>
        </p:nvSpPr>
        <p:spPr>
          <a:xfrm>
            <a:off x="3452029"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9" name="Tijdelijke aanduiding voor afbeelding 16">
            <a:extLst>
              <a:ext uri="{FF2B5EF4-FFF2-40B4-BE49-F238E27FC236}">
                <a16:creationId xmlns:a16="http://schemas.microsoft.com/office/drawing/2014/main" id="{6D5AE00A-4952-4650-00D2-088812CF6097}"/>
              </a:ext>
            </a:extLst>
          </p:cNvPr>
          <p:cNvSpPr>
            <a:spLocks noGrp="1"/>
          </p:cNvSpPr>
          <p:nvPr>
            <p:ph type="pic" sz="quarter" idx="26" hasCustomPrompt="1"/>
          </p:nvPr>
        </p:nvSpPr>
        <p:spPr>
          <a:xfrm>
            <a:off x="6184920"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20" name="Tijdelijke aanduiding voor afbeelding 16">
            <a:extLst>
              <a:ext uri="{FF2B5EF4-FFF2-40B4-BE49-F238E27FC236}">
                <a16:creationId xmlns:a16="http://schemas.microsoft.com/office/drawing/2014/main" id="{306A1CD5-9B56-C6CC-4635-1C924F009B02}"/>
              </a:ext>
            </a:extLst>
          </p:cNvPr>
          <p:cNvSpPr>
            <a:spLocks noGrp="1"/>
          </p:cNvSpPr>
          <p:nvPr>
            <p:ph type="pic" sz="quarter" idx="27" hasCustomPrompt="1"/>
          </p:nvPr>
        </p:nvSpPr>
        <p:spPr>
          <a:xfrm>
            <a:off x="8917812"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grpSp>
        <p:nvGrpSpPr>
          <p:cNvPr id="3" name="INSTRUCTION">
            <a:extLst>
              <a:ext uri="{FF2B5EF4-FFF2-40B4-BE49-F238E27FC236}">
                <a16:creationId xmlns:a16="http://schemas.microsoft.com/office/drawing/2014/main" id="{FB5B2E14-BE84-BCEB-9AC3-EEDB2B723C44}"/>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76A04E10-5665-EB80-FAD8-F675B240DC23}"/>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21257885-B6DA-DB4A-8CC7-1328C4A68A7B}"/>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30315B7A-18FD-B178-357A-1F4C5440026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0174BFAC-0F16-F3CD-AB7B-2E11A27AF443}"/>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BF39497E-BA05-10A9-E984-07063809D74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53F2B080-A614-9B47-601D-AEEBF2038EC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3B24963F-C8E3-B24C-8CAD-A30D8B558C25}"/>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22" name="Ovaal 21">
              <a:extLst>
                <a:ext uri="{FF2B5EF4-FFF2-40B4-BE49-F238E27FC236}">
                  <a16:creationId xmlns:a16="http://schemas.microsoft.com/office/drawing/2014/main" id="{6BDAAF35-0FF4-74CD-31C5-D987A2862A2F}"/>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3" name="Rechthoek 22">
              <a:extLst>
                <a:ext uri="{FF2B5EF4-FFF2-40B4-BE49-F238E27FC236}">
                  <a16:creationId xmlns:a16="http://schemas.microsoft.com/office/drawing/2014/main" id="{931265B2-769C-5458-629C-AD17D757943D}"/>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24" name="Groep 23">
              <a:extLst>
                <a:ext uri="{FF2B5EF4-FFF2-40B4-BE49-F238E27FC236}">
                  <a16:creationId xmlns:a16="http://schemas.microsoft.com/office/drawing/2014/main" id="{1E914D9A-BB84-A9B7-D52F-147F5807070D}"/>
                </a:ext>
              </a:extLst>
            </p:cNvPr>
            <p:cNvGrpSpPr/>
            <p:nvPr userDrawn="1"/>
          </p:nvGrpSpPr>
          <p:grpSpPr>
            <a:xfrm>
              <a:off x="-3414453" y="3534339"/>
              <a:ext cx="514284" cy="506545"/>
              <a:chOff x="12617641" y="3403239"/>
              <a:chExt cx="752963" cy="741634"/>
            </a:xfrm>
          </p:grpSpPr>
          <p:grpSp>
            <p:nvGrpSpPr>
              <p:cNvPr id="41" name="Groep 40">
                <a:extLst>
                  <a:ext uri="{FF2B5EF4-FFF2-40B4-BE49-F238E27FC236}">
                    <a16:creationId xmlns:a16="http://schemas.microsoft.com/office/drawing/2014/main" id="{9DDA8086-293C-2A67-6D52-75CC30369B06}"/>
                  </a:ext>
                </a:extLst>
              </p:cNvPr>
              <p:cNvGrpSpPr/>
              <p:nvPr userDrawn="1"/>
            </p:nvGrpSpPr>
            <p:grpSpPr>
              <a:xfrm>
                <a:off x="12771530" y="3403239"/>
                <a:ext cx="467176" cy="448491"/>
                <a:chOff x="12782157" y="3403239"/>
                <a:chExt cx="467176" cy="448491"/>
              </a:xfrm>
            </p:grpSpPr>
            <p:grpSp>
              <p:nvGrpSpPr>
                <p:cNvPr id="44" name="Groep 43">
                  <a:extLst>
                    <a:ext uri="{FF2B5EF4-FFF2-40B4-BE49-F238E27FC236}">
                      <a16:creationId xmlns:a16="http://schemas.microsoft.com/office/drawing/2014/main" id="{34A2D32E-1F3F-4227-1A84-3AEDE2465BB3}"/>
                    </a:ext>
                  </a:extLst>
                </p:cNvPr>
                <p:cNvGrpSpPr/>
                <p:nvPr userDrawn="1"/>
              </p:nvGrpSpPr>
              <p:grpSpPr>
                <a:xfrm>
                  <a:off x="12782157" y="3403239"/>
                  <a:ext cx="412976" cy="396132"/>
                  <a:chOff x="13554906" y="3320109"/>
                  <a:chExt cx="443917" cy="425811"/>
                </a:xfrm>
              </p:grpSpPr>
              <p:grpSp>
                <p:nvGrpSpPr>
                  <p:cNvPr id="51" name="Groep 50">
                    <a:extLst>
                      <a:ext uri="{FF2B5EF4-FFF2-40B4-BE49-F238E27FC236}">
                        <a16:creationId xmlns:a16="http://schemas.microsoft.com/office/drawing/2014/main" id="{01856909-64A5-463F-5163-AD91C76BEE75}"/>
                      </a:ext>
                    </a:extLst>
                  </p:cNvPr>
                  <p:cNvGrpSpPr/>
                  <p:nvPr userDrawn="1"/>
                </p:nvGrpSpPr>
                <p:grpSpPr>
                  <a:xfrm>
                    <a:off x="13554906" y="3320109"/>
                    <a:ext cx="443917" cy="425811"/>
                    <a:chOff x="12909684" y="1276143"/>
                    <a:chExt cx="443917" cy="425811"/>
                  </a:xfrm>
                </p:grpSpPr>
                <p:sp>
                  <p:nvSpPr>
                    <p:cNvPr id="54" name="Rechthoek 53">
                      <a:extLst>
                        <a:ext uri="{FF2B5EF4-FFF2-40B4-BE49-F238E27FC236}">
                          <a16:creationId xmlns:a16="http://schemas.microsoft.com/office/drawing/2014/main" id="{A43CC0AA-532C-1137-5C22-3FDD91E29A4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4CA0B3D9-19A9-33E3-4581-40AB2C4CB82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6" name="Ovaal 55">
                      <a:extLst>
                        <a:ext uri="{FF2B5EF4-FFF2-40B4-BE49-F238E27FC236}">
                          <a16:creationId xmlns:a16="http://schemas.microsoft.com/office/drawing/2014/main" id="{06226EF2-ECAD-CF83-2DBF-0DC9810CCD3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2" name="Afbeelding 51">
                    <a:extLst>
                      <a:ext uri="{FF2B5EF4-FFF2-40B4-BE49-F238E27FC236}">
                        <a16:creationId xmlns:a16="http://schemas.microsoft.com/office/drawing/2014/main" id="{F7E58752-4579-1268-E934-2636C5688C5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3" name="Afbeelding 52">
                    <a:extLst>
                      <a:ext uri="{FF2B5EF4-FFF2-40B4-BE49-F238E27FC236}">
                        <a16:creationId xmlns:a16="http://schemas.microsoft.com/office/drawing/2014/main" id="{8812E136-8448-D3FA-BB8E-F9C78E55303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5" name="Groep 44">
                  <a:extLst>
                    <a:ext uri="{FF2B5EF4-FFF2-40B4-BE49-F238E27FC236}">
                      <a16:creationId xmlns:a16="http://schemas.microsoft.com/office/drawing/2014/main" id="{2C8EF9AE-11C9-B2FF-60C0-38F4F8B1D32E}"/>
                    </a:ext>
                  </a:extLst>
                </p:cNvPr>
                <p:cNvGrpSpPr/>
                <p:nvPr userDrawn="1"/>
              </p:nvGrpSpPr>
              <p:grpSpPr>
                <a:xfrm>
                  <a:off x="13103513" y="3705268"/>
                  <a:ext cx="145820" cy="146462"/>
                  <a:chOff x="13096169" y="3602278"/>
                  <a:chExt cx="145820" cy="146462"/>
                </a:xfrm>
              </p:grpSpPr>
              <p:sp>
                <p:nvSpPr>
                  <p:cNvPr id="49" name="Rechthoek 48">
                    <a:extLst>
                      <a:ext uri="{FF2B5EF4-FFF2-40B4-BE49-F238E27FC236}">
                        <a16:creationId xmlns:a16="http://schemas.microsoft.com/office/drawing/2014/main" id="{0F40C97F-1BDD-3698-D9F6-244DDE629C1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96902304-93AF-9BC8-2EB5-1A4E1B75481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2521AAC5-33A0-F6EF-60C0-9461A95BCF66}"/>
                    </a:ext>
                  </a:extLst>
                </p:cNvPr>
                <p:cNvGrpSpPr/>
                <p:nvPr userDrawn="1"/>
              </p:nvGrpSpPr>
              <p:grpSpPr>
                <a:xfrm rot="10800000">
                  <a:off x="13061402" y="3665637"/>
                  <a:ext cx="145820" cy="146462"/>
                  <a:chOff x="13096169" y="3602278"/>
                  <a:chExt cx="145820" cy="146462"/>
                </a:xfrm>
              </p:grpSpPr>
              <p:sp>
                <p:nvSpPr>
                  <p:cNvPr id="47" name="Rechthoek 46">
                    <a:extLst>
                      <a:ext uri="{FF2B5EF4-FFF2-40B4-BE49-F238E27FC236}">
                        <a16:creationId xmlns:a16="http://schemas.microsoft.com/office/drawing/2014/main" id="{17F38B84-DA9B-40A7-58DC-9DC147FAE96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702DE6E3-6279-76AB-C77D-8768786086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2" name="Rechthoek 41">
                <a:extLst>
                  <a:ext uri="{FF2B5EF4-FFF2-40B4-BE49-F238E27FC236}">
                    <a16:creationId xmlns:a16="http://schemas.microsoft.com/office/drawing/2014/main" id="{6B642DE9-EB8A-F0E3-60A4-D910D5AFDBC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3" name="Gelijkbenige driehoek 42">
                <a:extLst>
                  <a:ext uri="{FF2B5EF4-FFF2-40B4-BE49-F238E27FC236}">
                    <a16:creationId xmlns:a16="http://schemas.microsoft.com/office/drawing/2014/main" id="{6353C08C-FA3D-FB3D-8A97-00D623FCC50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5" name="ICOON_info">
              <a:extLst>
                <a:ext uri="{FF2B5EF4-FFF2-40B4-BE49-F238E27FC236}">
                  <a16:creationId xmlns:a16="http://schemas.microsoft.com/office/drawing/2014/main" id="{030E1DAE-0AF9-0F8B-9FB8-F0243DD24CCB}"/>
                </a:ext>
              </a:extLst>
            </p:cNvPr>
            <p:cNvGrpSpPr/>
            <p:nvPr userDrawn="1"/>
          </p:nvGrpSpPr>
          <p:grpSpPr>
            <a:xfrm>
              <a:off x="-376736" y="4055594"/>
              <a:ext cx="283685" cy="283685"/>
              <a:chOff x="-510741" y="5913713"/>
              <a:chExt cx="267555" cy="267555"/>
            </a:xfrm>
          </p:grpSpPr>
          <p:sp>
            <p:nvSpPr>
              <p:cNvPr id="39" name="Ovaal 38">
                <a:extLst>
                  <a:ext uri="{FF2B5EF4-FFF2-40B4-BE49-F238E27FC236}">
                    <a16:creationId xmlns:a16="http://schemas.microsoft.com/office/drawing/2014/main" id="{66BD7785-19CD-67DE-9656-F6935ED9423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40" name="Graphic 163" descr="Informatie">
                <a:extLst>
                  <a:ext uri="{FF2B5EF4-FFF2-40B4-BE49-F238E27FC236}">
                    <a16:creationId xmlns:a16="http://schemas.microsoft.com/office/drawing/2014/main" id="{9B462E07-E5CE-82E4-843E-6261EE84939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6" name="Groep 25">
              <a:extLst>
                <a:ext uri="{FF2B5EF4-FFF2-40B4-BE49-F238E27FC236}">
                  <a16:creationId xmlns:a16="http://schemas.microsoft.com/office/drawing/2014/main" id="{B9B15E22-9455-C06D-36AF-3631E3E76FEF}"/>
                </a:ext>
              </a:extLst>
            </p:cNvPr>
            <p:cNvGrpSpPr/>
            <p:nvPr userDrawn="1"/>
          </p:nvGrpSpPr>
          <p:grpSpPr>
            <a:xfrm>
              <a:off x="-938434" y="4364020"/>
              <a:ext cx="627798" cy="576693"/>
              <a:chOff x="-938434" y="4570310"/>
              <a:chExt cx="627798" cy="576693"/>
            </a:xfrm>
          </p:grpSpPr>
          <p:grpSp>
            <p:nvGrpSpPr>
              <p:cNvPr id="34" name="Inspireren">
                <a:extLst>
                  <a:ext uri="{FF2B5EF4-FFF2-40B4-BE49-F238E27FC236}">
                    <a16:creationId xmlns:a16="http://schemas.microsoft.com/office/drawing/2014/main" id="{B6CB7955-883F-36A7-AACD-06C1DE7D11E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6" name="Freeform 12">
                  <a:extLst>
                    <a:ext uri="{FF2B5EF4-FFF2-40B4-BE49-F238E27FC236}">
                      <a16:creationId xmlns:a16="http://schemas.microsoft.com/office/drawing/2014/main" id="{B3B3EF27-68C2-61F0-12C3-76DBC71A630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7" name="Freeform 13">
                  <a:extLst>
                    <a:ext uri="{FF2B5EF4-FFF2-40B4-BE49-F238E27FC236}">
                      <a16:creationId xmlns:a16="http://schemas.microsoft.com/office/drawing/2014/main" id="{1B6C3523-3C33-D9B2-8539-AF66D032A3E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4">
                  <a:extLst>
                    <a:ext uri="{FF2B5EF4-FFF2-40B4-BE49-F238E27FC236}">
                      <a16:creationId xmlns:a16="http://schemas.microsoft.com/office/drawing/2014/main" id="{39FDF4F7-04E6-9A05-0D75-978B1B3807A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5" name="Tekstvak 34">
                <a:extLst>
                  <a:ext uri="{FF2B5EF4-FFF2-40B4-BE49-F238E27FC236}">
                    <a16:creationId xmlns:a16="http://schemas.microsoft.com/office/drawing/2014/main" id="{72D21BEA-A69C-16A6-DCC7-CA3006D1232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7" name="Groep 26">
              <a:extLst>
                <a:ext uri="{FF2B5EF4-FFF2-40B4-BE49-F238E27FC236}">
                  <a16:creationId xmlns:a16="http://schemas.microsoft.com/office/drawing/2014/main" id="{80626468-5D29-A9DB-66B7-1E4726E386E4}"/>
                </a:ext>
              </a:extLst>
            </p:cNvPr>
            <p:cNvGrpSpPr/>
            <p:nvPr userDrawn="1"/>
          </p:nvGrpSpPr>
          <p:grpSpPr>
            <a:xfrm>
              <a:off x="-3365484" y="1226982"/>
              <a:ext cx="446937" cy="406485"/>
              <a:chOff x="-3563526" y="1409294"/>
              <a:chExt cx="354190" cy="322133"/>
            </a:xfrm>
          </p:grpSpPr>
          <p:grpSp>
            <p:nvGrpSpPr>
              <p:cNvPr id="28" name="Groep 27">
                <a:extLst>
                  <a:ext uri="{FF2B5EF4-FFF2-40B4-BE49-F238E27FC236}">
                    <a16:creationId xmlns:a16="http://schemas.microsoft.com/office/drawing/2014/main" id="{27992852-BCC4-126C-8321-ACA295BFDA62}"/>
                  </a:ext>
                </a:extLst>
              </p:cNvPr>
              <p:cNvGrpSpPr/>
              <p:nvPr userDrawn="1"/>
            </p:nvGrpSpPr>
            <p:grpSpPr>
              <a:xfrm>
                <a:off x="-3499992" y="1409294"/>
                <a:ext cx="225195" cy="195499"/>
                <a:chOff x="8987389" y="1361199"/>
                <a:chExt cx="2200275" cy="1914525"/>
              </a:xfrm>
            </p:grpSpPr>
            <p:sp>
              <p:nvSpPr>
                <p:cNvPr id="30" name="Vrije vorm: vorm 29">
                  <a:extLst>
                    <a:ext uri="{FF2B5EF4-FFF2-40B4-BE49-F238E27FC236}">
                      <a16:creationId xmlns:a16="http://schemas.microsoft.com/office/drawing/2014/main" id="{1B5825DA-3CAF-4502-1DB0-D5AD050257BD}"/>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31" name="Groep 30">
                  <a:extLst>
                    <a:ext uri="{FF2B5EF4-FFF2-40B4-BE49-F238E27FC236}">
                      <a16:creationId xmlns:a16="http://schemas.microsoft.com/office/drawing/2014/main" id="{E633C8F6-2BB3-F3B2-65B1-EE43B8FC7D3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2" name="Vrije vorm: vorm 31">
                    <a:extLst>
                      <a:ext uri="{FF2B5EF4-FFF2-40B4-BE49-F238E27FC236}">
                        <a16:creationId xmlns:a16="http://schemas.microsoft.com/office/drawing/2014/main" id="{13F1A64B-6C10-11FF-0F9A-315E2F499FD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3" name="Vrije vorm: vorm 32">
                    <a:extLst>
                      <a:ext uri="{FF2B5EF4-FFF2-40B4-BE49-F238E27FC236}">
                        <a16:creationId xmlns:a16="http://schemas.microsoft.com/office/drawing/2014/main" id="{228AE0C0-4720-B79B-2A72-A4C9EAD28A6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9" name="Tekstvak 28">
                <a:extLst>
                  <a:ext uri="{FF2B5EF4-FFF2-40B4-BE49-F238E27FC236}">
                    <a16:creationId xmlns:a16="http://schemas.microsoft.com/office/drawing/2014/main" id="{E95F67C1-91F8-1589-A683-24D5B4E6B39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69337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1">
    <p:bg>
      <p:bgPr>
        <a:solidFill>
          <a:schemeClr val="accent1"/>
        </a:solidFill>
        <a:effectLst/>
      </p:bgPr>
    </p:bg>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17CC9AC3-D9AB-29D8-6FE9-89ABF562749F}"/>
              </a:ext>
            </a:extLst>
          </p:cNvPr>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Custom #1</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lvl1pPr>
              <a:defRPr>
                <a:solidFill>
                  <a:schemeClr val="bg1"/>
                </a:solidFill>
              </a:defRPr>
            </a:lvl1p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3" name="Tijdelijke aanduiding voor afbeelding 16">
            <a:extLst>
              <a:ext uri="{FF2B5EF4-FFF2-40B4-BE49-F238E27FC236}">
                <a16:creationId xmlns:a16="http://schemas.microsoft.com/office/drawing/2014/main" id="{FB7B2255-55E9-265C-8D2D-CD4015864A01}"/>
              </a:ext>
            </a:extLst>
          </p:cNvPr>
          <p:cNvSpPr>
            <a:spLocks noGrp="1"/>
          </p:cNvSpPr>
          <p:nvPr>
            <p:ph type="pic" sz="quarter" idx="13" hasCustomPrompt="1"/>
          </p:nvPr>
        </p:nvSpPr>
        <p:spPr>
          <a:xfrm>
            <a:off x="0" y="0"/>
            <a:ext cx="4883643" cy="6858000"/>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a:t>
            </a:r>
            <a:br>
              <a:rPr lang="en-GB" noProof="0" dirty="0"/>
            </a:br>
            <a:r>
              <a:rPr lang="en-GB" noProof="0" dirty="0"/>
              <a:t>click on ‘Images’, select the preferred image </a:t>
            </a:r>
            <a:br>
              <a:rPr lang="en-GB" noProof="0" dirty="0"/>
            </a:br>
            <a:r>
              <a:rPr lang="en-GB" noProof="0" dirty="0"/>
              <a:t>and click on ‘Insert’.</a:t>
            </a:r>
          </a:p>
        </p:txBody>
      </p:sp>
      <p:sp>
        <p:nvSpPr>
          <p:cNvPr id="6" name="Tijdelijke aanduiding voor tekst 18">
            <a:extLst>
              <a:ext uri="{FF2B5EF4-FFF2-40B4-BE49-F238E27FC236}">
                <a16:creationId xmlns:a16="http://schemas.microsoft.com/office/drawing/2014/main" id="{07A92A2F-B28E-1AA4-B7E6-A22A1775AC6C}"/>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8" name="INSTRUCTION">
            <a:extLst>
              <a:ext uri="{FF2B5EF4-FFF2-40B4-BE49-F238E27FC236}">
                <a16:creationId xmlns:a16="http://schemas.microsoft.com/office/drawing/2014/main" id="{133248AD-A0A6-2D3B-438C-304B5EF815A9}"/>
              </a:ext>
            </a:extLst>
          </p:cNvPr>
          <p:cNvGrpSpPr/>
          <p:nvPr userDrawn="1"/>
        </p:nvGrpSpPr>
        <p:grpSpPr>
          <a:xfrm>
            <a:off x="-3786165" y="-1"/>
            <a:ext cx="3693386" cy="6640349"/>
            <a:chOff x="-3786165" y="-1"/>
            <a:chExt cx="3693386" cy="6640349"/>
          </a:xfrm>
        </p:grpSpPr>
        <p:sp>
          <p:nvSpPr>
            <p:cNvPr id="9" name="Rechthoek 8">
              <a:extLst>
                <a:ext uri="{FF2B5EF4-FFF2-40B4-BE49-F238E27FC236}">
                  <a16:creationId xmlns:a16="http://schemas.microsoft.com/office/drawing/2014/main" id="{84B57176-6381-2658-EAC8-53F5B9AE3AB2}"/>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 name="Ovaal 9">
              <a:extLst>
                <a:ext uri="{FF2B5EF4-FFF2-40B4-BE49-F238E27FC236}">
                  <a16:creationId xmlns:a16="http://schemas.microsoft.com/office/drawing/2014/main" id="{D7A6116A-ED1E-3B64-4A50-CB00B8CBAA6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CC547444-80ED-529A-5F0B-7AB4BAC6AEBB}"/>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554F99AC-DE0A-0C96-3C09-83A1F519C53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 name="Rechthoek 12">
              <a:extLst>
                <a:ext uri="{FF2B5EF4-FFF2-40B4-BE49-F238E27FC236}">
                  <a16:creationId xmlns:a16="http://schemas.microsoft.com/office/drawing/2014/main" id="{EB62EF6E-3E46-BAF1-107C-4B52A9EBA7D1}"/>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63E8D66F-D464-1A68-F87A-623BB632C035}"/>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 name="Rechthoek 14">
              <a:extLst>
                <a:ext uri="{FF2B5EF4-FFF2-40B4-BE49-F238E27FC236}">
                  <a16:creationId xmlns:a16="http://schemas.microsoft.com/office/drawing/2014/main" id="{69481C4E-806D-6479-6F69-E6CD84F2ED1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 name="Rechthoek 15">
              <a:extLst>
                <a:ext uri="{FF2B5EF4-FFF2-40B4-BE49-F238E27FC236}">
                  <a16:creationId xmlns:a16="http://schemas.microsoft.com/office/drawing/2014/main" id="{4EA8BC04-D980-7068-7FE5-DA9973C62957}"/>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7" name="Groep 16">
              <a:extLst>
                <a:ext uri="{FF2B5EF4-FFF2-40B4-BE49-F238E27FC236}">
                  <a16:creationId xmlns:a16="http://schemas.microsoft.com/office/drawing/2014/main" id="{CB8E3829-1E33-57F5-F9BA-8BCF0A2592FD}"/>
                </a:ext>
              </a:extLst>
            </p:cNvPr>
            <p:cNvGrpSpPr/>
            <p:nvPr userDrawn="1"/>
          </p:nvGrpSpPr>
          <p:grpSpPr>
            <a:xfrm>
              <a:off x="-2485819" y="3479783"/>
              <a:ext cx="1222990" cy="563933"/>
              <a:chOff x="-2485819" y="3399207"/>
              <a:chExt cx="1222990" cy="563933"/>
            </a:xfrm>
          </p:grpSpPr>
          <p:sp>
            <p:nvSpPr>
              <p:cNvPr id="56" name="Rechthoek 55">
                <a:extLst>
                  <a:ext uri="{FF2B5EF4-FFF2-40B4-BE49-F238E27FC236}">
                    <a16:creationId xmlns:a16="http://schemas.microsoft.com/office/drawing/2014/main" id="{FB41667F-93A4-24C5-523D-482A73C650E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C0AF4A3F-6B37-88A6-4CC8-22DA55E5DA6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8" name="Groep 57">
                <a:extLst>
                  <a:ext uri="{FF2B5EF4-FFF2-40B4-BE49-F238E27FC236}">
                    <a16:creationId xmlns:a16="http://schemas.microsoft.com/office/drawing/2014/main" id="{3AEF362C-E2AB-29A4-DFF0-CF9BB9AEFA31}"/>
                  </a:ext>
                </a:extLst>
              </p:cNvPr>
              <p:cNvGrpSpPr/>
              <p:nvPr userDrawn="1"/>
            </p:nvGrpSpPr>
            <p:grpSpPr>
              <a:xfrm>
                <a:off x="-2403869" y="3460544"/>
                <a:ext cx="155951" cy="131922"/>
                <a:chOff x="12968836" y="3354170"/>
                <a:chExt cx="404806" cy="342433"/>
              </a:xfrm>
            </p:grpSpPr>
            <p:sp>
              <p:nvSpPr>
                <p:cNvPr id="71" name="Rechthoek: afgeronde hoeken 70">
                  <a:extLst>
                    <a:ext uri="{FF2B5EF4-FFF2-40B4-BE49-F238E27FC236}">
                      <a16:creationId xmlns:a16="http://schemas.microsoft.com/office/drawing/2014/main" id="{7A7569BE-476B-D15D-1F04-6B9A5315F10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C7911B75-8C19-886B-41FC-0AB2981ADF4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34512AB1-2B48-0756-A801-ABF43E269DA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B0383D3D-0F6A-8D49-FE9E-F623C63B482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58B368D1-F727-1163-7316-69040A0C404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23CEDC4C-0285-4631-02E3-E4561F8B26E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64827018-4DEE-07CC-0540-715F04C86007}"/>
                  </a:ext>
                </a:extLst>
              </p:cNvPr>
              <p:cNvGrpSpPr/>
              <p:nvPr userDrawn="1"/>
            </p:nvGrpSpPr>
            <p:grpSpPr>
              <a:xfrm>
                <a:off x="-2423424" y="3690208"/>
                <a:ext cx="166739" cy="218963"/>
                <a:chOff x="12940828" y="3950597"/>
                <a:chExt cx="432813" cy="568367"/>
              </a:xfrm>
            </p:grpSpPr>
            <p:grpSp>
              <p:nvGrpSpPr>
                <p:cNvPr id="63" name="Groep 62">
                  <a:extLst>
                    <a:ext uri="{FF2B5EF4-FFF2-40B4-BE49-F238E27FC236}">
                      <a16:creationId xmlns:a16="http://schemas.microsoft.com/office/drawing/2014/main" id="{276300A3-9ADC-B42D-DEDD-4875A5743A81}"/>
                    </a:ext>
                  </a:extLst>
                </p:cNvPr>
                <p:cNvGrpSpPr/>
                <p:nvPr userDrawn="1"/>
              </p:nvGrpSpPr>
              <p:grpSpPr>
                <a:xfrm>
                  <a:off x="13000382" y="4006891"/>
                  <a:ext cx="373259" cy="315747"/>
                  <a:chOff x="12968836" y="3354170"/>
                  <a:chExt cx="404806" cy="342433"/>
                </a:xfrm>
              </p:grpSpPr>
              <p:sp>
                <p:nvSpPr>
                  <p:cNvPr id="65" name="Rechthoek: afgeronde hoeken 64">
                    <a:extLst>
                      <a:ext uri="{FF2B5EF4-FFF2-40B4-BE49-F238E27FC236}">
                        <a16:creationId xmlns:a16="http://schemas.microsoft.com/office/drawing/2014/main" id="{E570D19C-E531-91C5-90FC-3928FB50A32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AE74BC55-03C3-7B72-4866-367E98D6C83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2630DA57-E337-D891-B33F-8E625E9E76D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F8555A2D-ABB9-D838-A024-040DE3F4E5D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E1E5EE0E-9881-331D-DF7B-2187570B64F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67138DF9-A551-A9D3-68B6-B54FAB78BC8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4" name="Boog 63">
                  <a:extLst>
                    <a:ext uri="{FF2B5EF4-FFF2-40B4-BE49-F238E27FC236}">
                      <a16:creationId xmlns:a16="http://schemas.microsoft.com/office/drawing/2014/main" id="{E81D3D0A-8805-6A16-9BF6-A20E047254D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0" name="Tekstvak 59">
                <a:extLst>
                  <a:ext uri="{FF2B5EF4-FFF2-40B4-BE49-F238E27FC236}">
                    <a16:creationId xmlns:a16="http://schemas.microsoft.com/office/drawing/2014/main" id="{A9E0FAAC-8DD1-3D73-1CA9-5D2F3A00E22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1" name="Tekstvak 60">
                <a:extLst>
                  <a:ext uri="{FF2B5EF4-FFF2-40B4-BE49-F238E27FC236}">
                    <a16:creationId xmlns:a16="http://schemas.microsoft.com/office/drawing/2014/main" id="{0976B0B1-25C0-BFF0-37D5-4EB32C9AC32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2" name="Vrije vorm: vorm 61">
                <a:extLst>
                  <a:ext uri="{FF2B5EF4-FFF2-40B4-BE49-F238E27FC236}">
                    <a16:creationId xmlns:a16="http://schemas.microsoft.com/office/drawing/2014/main" id="{232A06D6-54EE-9ED9-01F3-E91BE9F8E15B}"/>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98E1E616-7B5B-F74D-B980-985B2AA7C426}"/>
                </a:ext>
              </a:extLst>
            </p:cNvPr>
            <p:cNvGrpSpPr/>
            <p:nvPr userDrawn="1"/>
          </p:nvGrpSpPr>
          <p:grpSpPr>
            <a:xfrm>
              <a:off x="-3786165" y="5680652"/>
              <a:ext cx="3693386" cy="959696"/>
              <a:chOff x="-3786437" y="6163468"/>
              <a:chExt cx="3693386" cy="959696"/>
            </a:xfrm>
          </p:grpSpPr>
          <p:sp>
            <p:nvSpPr>
              <p:cNvPr id="46" name="Rechthoek 45">
                <a:extLst>
                  <a:ext uri="{FF2B5EF4-FFF2-40B4-BE49-F238E27FC236}">
                    <a16:creationId xmlns:a16="http://schemas.microsoft.com/office/drawing/2014/main" id="{98D9ED74-1AD5-5014-DF30-3D4842CA966F}"/>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7" name="ICOON_info">
                <a:extLst>
                  <a:ext uri="{FF2B5EF4-FFF2-40B4-BE49-F238E27FC236}">
                    <a16:creationId xmlns:a16="http://schemas.microsoft.com/office/drawing/2014/main" id="{9B88CCA6-5B35-458B-0E8A-63F5A9E1F54E}"/>
                  </a:ext>
                </a:extLst>
              </p:cNvPr>
              <p:cNvGrpSpPr/>
              <p:nvPr userDrawn="1"/>
            </p:nvGrpSpPr>
            <p:grpSpPr>
              <a:xfrm>
                <a:off x="-376736" y="6163468"/>
                <a:ext cx="283685" cy="283685"/>
                <a:chOff x="-510741" y="5913713"/>
                <a:chExt cx="267555" cy="267555"/>
              </a:xfrm>
            </p:grpSpPr>
            <p:sp>
              <p:nvSpPr>
                <p:cNvPr id="54" name="Ovaal 53">
                  <a:extLst>
                    <a:ext uri="{FF2B5EF4-FFF2-40B4-BE49-F238E27FC236}">
                      <a16:creationId xmlns:a16="http://schemas.microsoft.com/office/drawing/2014/main" id="{AD65FAE4-EC0E-A22F-AA95-55B638FAD1A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5" name="Graphic 163" descr="Informatie">
                  <a:extLst>
                    <a:ext uri="{FF2B5EF4-FFF2-40B4-BE49-F238E27FC236}">
                      <a16:creationId xmlns:a16="http://schemas.microsoft.com/office/drawing/2014/main" id="{4233DE8C-3F14-C8DD-635A-9D426BAE81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8" name="Groep 47">
                <a:extLst>
                  <a:ext uri="{FF2B5EF4-FFF2-40B4-BE49-F238E27FC236}">
                    <a16:creationId xmlns:a16="http://schemas.microsoft.com/office/drawing/2014/main" id="{FDA1C175-CECC-604D-3734-99E3964F5268}"/>
                  </a:ext>
                </a:extLst>
              </p:cNvPr>
              <p:cNvGrpSpPr/>
              <p:nvPr userDrawn="1"/>
            </p:nvGrpSpPr>
            <p:grpSpPr>
              <a:xfrm>
                <a:off x="-938434" y="6420818"/>
                <a:ext cx="627798" cy="576693"/>
                <a:chOff x="-938434" y="4570310"/>
                <a:chExt cx="627798" cy="576693"/>
              </a:xfrm>
            </p:grpSpPr>
            <p:grpSp>
              <p:nvGrpSpPr>
                <p:cNvPr id="49" name="Inspireren">
                  <a:extLst>
                    <a:ext uri="{FF2B5EF4-FFF2-40B4-BE49-F238E27FC236}">
                      <a16:creationId xmlns:a16="http://schemas.microsoft.com/office/drawing/2014/main" id="{E7765A71-94D8-CDE8-96C2-1CD685DDE61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1" name="Freeform 12">
                    <a:extLst>
                      <a:ext uri="{FF2B5EF4-FFF2-40B4-BE49-F238E27FC236}">
                        <a16:creationId xmlns:a16="http://schemas.microsoft.com/office/drawing/2014/main" id="{C20174A2-3C20-245C-1E00-6561A39EA2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2" name="Freeform 13">
                    <a:extLst>
                      <a:ext uri="{FF2B5EF4-FFF2-40B4-BE49-F238E27FC236}">
                        <a16:creationId xmlns:a16="http://schemas.microsoft.com/office/drawing/2014/main" id="{FF1CE016-5CF4-C0F0-84BC-5C1A4E327FE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3" name="Freeform 14">
                    <a:extLst>
                      <a:ext uri="{FF2B5EF4-FFF2-40B4-BE49-F238E27FC236}">
                        <a16:creationId xmlns:a16="http://schemas.microsoft.com/office/drawing/2014/main" id="{84345FED-FB36-DB21-33EA-41564C7DF3C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0" name="Tekstvak 49">
                  <a:extLst>
                    <a:ext uri="{FF2B5EF4-FFF2-40B4-BE49-F238E27FC236}">
                      <a16:creationId xmlns:a16="http://schemas.microsoft.com/office/drawing/2014/main" id="{BE1E7670-35A1-6B6B-8583-A84BDD20458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 name="Groep 18">
              <a:extLst>
                <a:ext uri="{FF2B5EF4-FFF2-40B4-BE49-F238E27FC236}">
                  <a16:creationId xmlns:a16="http://schemas.microsoft.com/office/drawing/2014/main" id="{AF765724-9C66-95D7-6070-3B3B15783E9C}"/>
                </a:ext>
              </a:extLst>
            </p:cNvPr>
            <p:cNvGrpSpPr/>
            <p:nvPr userDrawn="1"/>
          </p:nvGrpSpPr>
          <p:grpSpPr>
            <a:xfrm>
              <a:off x="-3426806" y="5129582"/>
              <a:ext cx="514284" cy="506545"/>
              <a:chOff x="12617641" y="3403239"/>
              <a:chExt cx="752963" cy="741634"/>
            </a:xfrm>
          </p:grpSpPr>
          <p:grpSp>
            <p:nvGrpSpPr>
              <p:cNvPr id="30" name="Groep 29">
                <a:extLst>
                  <a:ext uri="{FF2B5EF4-FFF2-40B4-BE49-F238E27FC236}">
                    <a16:creationId xmlns:a16="http://schemas.microsoft.com/office/drawing/2014/main" id="{E93A3E43-818E-6CC3-3F7B-B0F337BB6902}"/>
                  </a:ext>
                </a:extLst>
              </p:cNvPr>
              <p:cNvGrpSpPr/>
              <p:nvPr userDrawn="1"/>
            </p:nvGrpSpPr>
            <p:grpSpPr>
              <a:xfrm>
                <a:off x="12771530" y="3403239"/>
                <a:ext cx="467176" cy="448491"/>
                <a:chOff x="12782157" y="3403239"/>
                <a:chExt cx="467176" cy="448491"/>
              </a:xfrm>
            </p:grpSpPr>
            <p:grpSp>
              <p:nvGrpSpPr>
                <p:cNvPr id="33" name="Groep 32">
                  <a:extLst>
                    <a:ext uri="{FF2B5EF4-FFF2-40B4-BE49-F238E27FC236}">
                      <a16:creationId xmlns:a16="http://schemas.microsoft.com/office/drawing/2014/main" id="{FF37F186-F0B9-EED9-B225-714846200964}"/>
                    </a:ext>
                  </a:extLst>
                </p:cNvPr>
                <p:cNvGrpSpPr/>
                <p:nvPr userDrawn="1"/>
              </p:nvGrpSpPr>
              <p:grpSpPr>
                <a:xfrm>
                  <a:off x="12782157" y="3403239"/>
                  <a:ext cx="412976" cy="396132"/>
                  <a:chOff x="13554906" y="3320109"/>
                  <a:chExt cx="443917" cy="425811"/>
                </a:xfrm>
              </p:grpSpPr>
              <p:grpSp>
                <p:nvGrpSpPr>
                  <p:cNvPr id="40" name="Groep 39">
                    <a:extLst>
                      <a:ext uri="{FF2B5EF4-FFF2-40B4-BE49-F238E27FC236}">
                        <a16:creationId xmlns:a16="http://schemas.microsoft.com/office/drawing/2014/main" id="{6BD11237-19B4-5185-FFF1-8C8A14FF8ECB}"/>
                      </a:ext>
                    </a:extLst>
                  </p:cNvPr>
                  <p:cNvGrpSpPr/>
                  <p:nvPr userDrawn="1"/>
                </p:nvGrpSpPr>
                <p:grpSpPr>
                  <a:xfrm>
                    <a:off x="13554906" y="3320109"/>
                    <a:ext cx="443917" cy="425811"/>
                    <a:chOff x="12909684" y="1276143"/>
                    <a:chExt cx="443917" cy="425811"/>
                  </a:xfrm>
                </p:grpSpPr>
                <p:sp>
                  <p:nvSpPr>
                    <p:cNvPr id="43" name="Rechthoek 42">
                      <a:extLst>
                        <a:ext uri="{FF2B5EF4-FFF2-40B4-BE49-F238E27FC236}">
                          <a16:creationId xmlns:a16="http://schemas.microsoft.com/office/drawing/2014/main" id="{3D83449F-FB8C-AF05-3B2C-42C87126BAB5}"/>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4" name="Rechthoek 43">
                      <a:extLst>
                        <a:ext uri="{FF2B5EF4-FFF2-40B4-BE49-F238E27FC236}">
                          <a16:creationId xmlns:a16="http://schemas.microsoft.com/office/drawing/2014/main" id="{9CDDDB78-4AAD-3638-2ED6-323D651F7FC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5" name="Ovaal 44">
                      <a:extLst>
                        <a:ext uri="{FF2B5EF4-FFF2-40B4-BE49-F238E27FC236}">
                          <a16:creationId xmlns:a16="http://schemas.microsoft.com/office/drawing/2014/main" id="{F2B22B3D-1CBF-3344-FCD7-5518FFECBCA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1" name="Afbeelding 40">
                    <a:extLst>
                      <a:ext uri="{FF2B5EF4-FFF2-40B4-BE49-F238E27FC236}">
                        <a16:creationId xmlns:a16="http://schemas.microsoft.com/office/drawing/2014/main" id="{190B7933-2492-FD86-F2EB-E8A5F51F6E7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2" name="Afbeelding 41">
                    <a:extLst>
                      <a:ext uri="{FF2B5EF4-FFF2-40B4-BE49-F238E27FC236}">
                        <a16:creationId xmlns:a16="http://schemas.microsoft.com/office/drawing/2014/main" id="{DEE37091-CE67-952C-4C95-C1956352AE5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4" name="Groep 33">
                  <a:extLst>
                    <a:ext uri="{FF2B5EF4-FFF2-40B4-BE49-F238E27FC236}">
                      <a16:creationId xmlns:a16="http://schemas.microsoft.com/office/drawing/2014/main" id="{7A54D89E-DBB7-5416-47D7-56CE8C3AC54C}"/>
                    </a:ext>
                  </a:extLst>
                </p:cNvPr>
                <p:cNvGrpSpPr/>
                <p:nvPr userDrawn="1"/>
              </p:nvGrpSpPr>
              <p:grpSpPr>
                <a:xfrm>
                  <a:off x="13103513" y="3705268"/>
                  <a:ext cx="145820" cy="146462"/>
                  <a:chOff x="13096169" y="3602278"/>
                  <a:chExt cx="145820" cy="146462"/>
                </a:xfrm>
              </p:grpSpPr>
              <p:sp>
                <p:nvSpPr>
                  <p:cNvPr id="38" name="Rechthoek 37">
                    <a:extLst>
                      <a:ext uri="{FF2B5EF4-FFF2-40B4-BE49-F238E27FC236}">
                        <a16:creationId xmlns:a16="http://schemas.microsoft.com/office/drawing/2014/main" id="{3231722A-E3C0-BAEA-FD3E-D9671AEBFC4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35DC297C-69E0-021B-0180-64DBBCD5514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5" name="Groep 34">
                  <a:extLst>
                    <a:ext uri="{FF2B5EF4-FFF2-40B4-BE49-F238E27FC236}">
                      <a16:creationId xmlns:a16="http://schemas.microsoft.com/office/drawing/2014/main" id="{4DB9BDF5-BDB5-6ADF-3FC7-B98825E7472C}"/>
                    </a:ext>
                  </a:extLst>
                </p:cNvPr>
                <p:cNvGrpSpPr/>
                <p:nvPr userDrawn="1"/>
              </p:nvGrpSpPr>
              <p:grpSpPr>
                <a:xfrm rot="10800000">
                  <a:off x="13061402" y="3665637"/>
                  <a:ext cx="145820" cy="146462"/>
                  <a:chOff x="13096169" y="3602278"/>
                  <a:chExt cx="145820" cy="146462"/>
                </a:xfrm>
              </p:grpSpPr>
              <p:sp>
                <p:nvSpPr>
                  <p:cNvPr id="36" name="Rechthoek 35">
                    <a:extLst>
                      <a:ext uri="{FF2B5EF4-FFF2-40B4-BE49-F238E27FC236}">
                        <a16:creationId xmlns:a16="http://schemas.microsoft.com/office/drawing/2014/main" id="{51F6AB17-4D72-AADE-4691-561D8FE7CD9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E06707BD-8D58-4B7E-9FBD-873CBA4D9B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1" name="Rechthoek 30">
                <a:extLst>
                  <a:ext uri="{FF2B5EF4-FFF2-40B4-BE49-F238E27FC236}">
                    <a16:creationId xmlns:a16="http://schemas.microsoft.com/office/drawing/2014/main" id="{3FCBDD2E-52D0-C77E-9BC9-322056F973A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2" name="Gelijkbenige driehoek 31">
                <a:extLst>
                  <a:ext uri="{FF2B5EF4-FFF2-40B4-BE49-F238E27FC236}">
                    <a16:creationId xmlns:a16="http://schemas.microsoft.com/office/drawing/2014/main" id="{B5A5A520-81D4-6646-B913-48ABF3062FA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 name="Ovaal 19">
              <a:extLst>
                <a:ext uri="{FF2B5EF4-FFF2-40B4-BE49-F238E27FC236}">
                  <a16:creationId xmlns:a16="http://schemas.microsoft.com/office/drawing/2014/main" id="{639171F4-F349-A96C-AB4E-BA447DAF2C3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1" name="Rechthoek 20">
              <a:extLst>
                <a:ext uri="{FF2B5EF4-FFF2-40B4-BE49-F238E27FC236}">
                  <a16:creationId xmlns:a16="http://schemas.microsoft.com/office/drawing/2014/main" id="{0AA92F3A-EA27-C75D-0F6A-A66F373980AF}"/>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2" name="Rechthoek 21">
              <a:extLst>
                <a:ext uri="{FF2B5EF4-FFF2-40B4-BE49-F238E27FC236}">
                  <a16:creationId xmlns:a16="http://schemas.microsoft.com/office/drawing/2014/main" id="{1C8FD130-EB1E-A8E8-D3D1-EE0F312980E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3" name="Groep 22">
              <a:extLst>
                <a:ext uri="{FF2B5EF4-FFF2-40B4-BE49-F238E27FC236}">
                  <a16:creationId xmlns:a16="http://schemas.microsoft.com/office/drawing/2014/main" id="{021267EF-4526-4C7E-7E80-C111BC8FE00D}"/>
                </a:ext>
              </a:extLst>
            </p:cNvPr>
            <p:cNvGrpSpPr/>
            <p:nvPr userDrawn="1"/>
          </p:nvGrpSpPr>
          <p:grpSpPr>
            <a:xfrm>
              <a:off x="-3365484" y="1226982"/>
              <a:ext cx="446937" cy="406485"/>
              <a:chOff x="-3563526" y="1409294"/>
              <a:chExt cx="354190" cy="322133"/>
            </a:xfrm>
          </p:grpSpPr>
          <p:grpSp>
            <p:nvGrpSpPr>
              <p:cNvPr id="24" name="Groep 23">
                <a:extLst>
                  <a:ext uri="{FF2B5EF4-FFF2-40B4-BE49-F238E27FC236}">
                    <a16:creationId xmlns:a16="http://schemas.microsoft.com/office/drawing/2014/main" id="{9C99F11D-A747-1125-3BA5-AAE89C907FFE}"/>
                  </a:ext>
                </a:extLst>
              </p:cNvPr>
              <p:cNvGrpSpPr/>
              <p:nvPr userDrawn="1"/>
            </p:nvGrpSpPr>
            <p:grpSpPr>
              <a:xfrm>
                <a:off x="-3499992" y="1409294"/>
                <a:ext cx="225195" cy="195499"/>
                <a:chOff x="8987389" y="1361199"/>
                <a:chExt cx="2200275" cy="1914525"/>
              </a:xfrm>
            </p:grpSpPr>
            <p:sp>
              <p:nvSpPr>
                <p:cNvPr id="26" name="Vrije vorm: vorm 25">
                  <a:extLst>
                    <a:ext uri="{FF2B5EF4-FFF2-40B4-BE49-F238E27FC236}">
                      <a16:creationId xmlns:a16="http://schemas.microsoft.com/office/drawing/2014/main" id="{2A320BCF-281D-1D04-73A6-F3E8B18CD0A7}"/>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7" name="Groep 26">
                  <a:extLst>
                    <a:ext uri="{FF2B5EF4-FFF2-40B4-BE49-F238E27FC236}">
                      <a16:creationId xmlns:a16="http://schemas.microsoft.com/office/drawing/2014/main" id="{0DBFF3F2-CAF2-C5C4-B710-AB08E289527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8" name="Vrije vorm: vorm 27">
                    <a:extLst>
                      <a:ext uri="{FF2B5EF4-FFF2-40B4-BE49-F238E27FC236}">
                        <a16:creationId xmlns:a16="http://schemas.microsoft.com/office/drawing/2014/main" id="{2FC58FA6-B03C-87DE-F027-9E478190EA5A}"/>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9" name="Vrije vorm: vorm 28">
                    <a:extLst>
                      <a:ext uri="{FF2B5EF4-FFF2-40B4-BE49-F238E27FC236}">
                        <a16:creationId xmlns:a16="http://schemas.microsoft.com/office/drawing/2014/main" id="{7913F690-116B-4778-BE13-1AD2B05345D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5" name="Tekstvak 24">
                <a:extLst>
                  <a:ext uri="{FF2B5EF4-FFF2-40B4-BE49-F238E27FC236}">
                    <a16:creationId xmlns:a16="http://schemas.microsoft.com/office/drawing/2014/main" id="{E7A88F5A-AA24-CCF1-7B20-1908D65F2FE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767835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image">
    <p:bg>
      <p:bgPr>
        <a:solidFill>
          <a:schemeClr val="accent1"/>
        </a:solidFill>
        <a:effectLst/>
      </p:bgPr>
    </p:bg>
    <p:spTree>
      <p:nvGrpSpPr>
        <p:cNvPr id="1" name=""/>
        <p:cNvGrpSpPr/>
        <p:nvPr/>
      </p:nvGrpSpPr>
      <p:grpSpPr>
        <a:xfrm>
          <a:off x="0" y="0"/>
          <a:ext cx="0" cy="0"/>
          <a:chOff x="0" y="0"/>
          <a:chExt cx="0" cy="0"/>
        </a:xfrm>
      </p:grpSpPr>
      <p:sp>
        <p:nvSpPr>
          <p:cNvPr id="20" name="Vrije vorm: vorm 19">
            <a:extLst>
              <a:ext uri="{FF2B5EF4-FFF2-40B4-BE49-F238E27FC236}">
                <a16:creationId xmlns:a16="http://schemas.microsoft.com/office/drawing/2014/main" id="{D511B4CD-103C-593D-613C-2346A35667C7}"/>
              </a:ext>
            </a:extLst>
          </p:cNvPr>
          <p:cNvSpPr>
            <a:spLocks noGrp="1" noRot="1" noMove="1" noResize="1" noEditPoints="1" noAdjustHandles="1" noChangeArrowheads="1" noChangeShapeType="1"/>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1989968"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Title slide + image</a:t>
            </a:r>
          </a:p>
        </p:txBody>
      </p:sp>
      <p:grpSp>
        <p:nvGrpSpPr>
          <p:cNvPr id="8" name="Graphic 4">
            <a:extLst>
              <a:ext uri="{FF2B5EF4-FFF2-40B4-BE49-F238E27FC236}">
                <a16:creationId xmlns:a16="http://schemas.microsoft.com/office/drawing/2014/main" id="{F8EDA2E5-8990-6524-1F90-5CF9A0ABE743}"/>
              </a:ext>
            </a:extLst>
          </p:cNvPr>
          <p:cNvGrpSpPr/>
          <p:nvPr/>
        </p:nvGrpSpPr>
        <p:grpSpPr>
          <a:xfrm>
            <a:off x="721114" y="5413216"/>
            <a:ext cx="1530269" cy="594428"/>
            <a:chOff x="717019" y="5865846"/>
            <a:chExt cx="1413341" cy="549008"/>
          </a:xfrm>
          <a:solidFill>
            <a:srgbClr val="FFFFFF"/>
          </a:solidFill>
        </p:grpSpPr>
        <p:sp>
          <p:nvSpPr>
            <p:cNvPr id="9" name="Vrije vorm: vorm 8">
              <a:extLst>
                <a:ext uri="{FF2B5EF4-FFF2-40B4-BE49-F238E27FC236}">
                  <a16:creationId xmlns:a16="http://schemas.microsoft.com/office/drawing/2014/main" id="{14F687E5-3F7F-C866-9EB7-85E0F55F5463}"/>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dirty="0"/>
            </a:p>
          </p:txBody>
        </p:sp>
        <p:sp>
          <p:nvSpPr>
            <p:cNvPr id="10" name="Vrije vorm: vorm 9">
              <a:extLst>
                <a:ext uri="{FF2B5EF4-FFF2-40B4-BE49-F238E27FC236}">
                  <a16:creationId xmlns:a16="http://schemas.microsoft.com/office/drawing/2014/main" id="{59449444-9956-51CD-FA6E-807D2DAA76C3}"/>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dirty="0"/>
            </a:p>
          </p:txBody>
        </p:sp>
        <p:sp>
          <p:nvSpPr>
            <p:cNvPr id="11" name="Vrije vorm: vorm 10">
              <a:extLst>
                <a:ext uri="{FF2B5EF4-FFF2-40B4-BE49-F238E27FC236}">
                  <a16:creationId xmlns:a16="http://schemas.microsoft.com/office/drawing/2014/main" id="{38D46059-DB59-DD28-5BD0-842E6FDED580}"/>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dirty="0"/>
            </a:p>
          </p:txBody>
        </p:sp>
        <p:sp>
          <p:nvSpPr>
            <p:cNvPr id="12" name="Vrije vorm: vorm 11">
              <a:extLst>
                <a:ext uri="{FF2B5EF4-FFF2-40B4-BE49-F238E27FC236}">
                  <a16:creationId xmlns:a16="http://schemas.microsoft.com/office/drawing/2014/main" id="{1D9EED3E-2DF3-39B2-4ABF-9A9E2C76D6B1}"/>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dirty="0"/>
            </a:p>
          </p:txBody>
        </p:sp>
        <p:sp>
          <p:nvSpPr>
            <p:cNvPr id="13" name="Vrije vorm: vorm 12">
              <a:extLst>
                <a:ext uri="{FF2B5EF4-FFF2-40B4-BE49-F238E27FC236}">
                  <a16:creationId xmlns:a16="http://schemas.microsoft.com/office/drawing/2014/main" id="{FE872223-5E47-AEA4-3F51-C5DC13B053E8}"/>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dirty="0"/>
            </a:p>
          </p:txBody>
        </p:sp>
        <p:sp>
          <p:nvSpPr>
            <p:cNvPr id="14" name="Vrije vorm: vorm 13">
              <a:extLst>
                <a:ext uri="{FF2B5EF4-FFF2-40B4-BE49-F238E27FC236}">
                  <a16:creationId xmlns:a16="http://schemas.microsoft.com/office/drawing/2014/main" id="{3E81D4D2-DEFC-7F03-C7F1-7B01AE4AF1EC}"/>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dirty="0"/>
            </a:p>
          </p:txBody>
        </p:sp>
        <p:sp>
          <p:nvSpPr>
            <p:cNvPr id="15" name="Vrije vorm: vorm 14">
              <a:extLst>
                <a:ext uri="{FF2B5EF4-FFF2-40B4-BE49-F238E27FC236}">
                  <a16:creationId xmlns:a16="http://schemas.microsoft.com/office/drawing/2014/main" id="{22E0BAD8-5DCF-72B7-FB7A-91979F996E51}"/>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dirty="0"/>
            </a:p>
          </p:txBody>
        </p:sp>
        <p:sp>
          <p:nvSpPr>
            <p:cNvPr id="16" name="Vrije vorm: vorm 15">
              <a:extLst>
                <a:ext uri="{FF2B5EF4-FFF2-40B4-BE49-F238E27FC236}">
                  <a16:creationId xmlns:a16="http://schemas.microsoft.com/office/drawing/2014/main" id="{6779A44D-156E-169E-45E9-81901A8F6C6D}"/>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dirty="0"/>
            </a:p>
          </p:txBody>
        </p:sp>
      </p:gr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847689"/>
            <a:ext cx="5865553" cy="1333698"/>
          </a:xfrm>
        </p:spPr>
        <p:txBody>
          <a:bodyPr wrap="square" anchor="b" anchorCtr="0">
            <a:spAutoFit/>
          </a:bodyPr>
          <a:lstStyle>
            <a:lvl1pPr marL="0" indent="0" algn="l">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3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2301536"/>
            <a:ext cx="5871541" cy="332399"/>
          </a:xfrm>
        </p:spPr>
        <p:txBody>
          <a:bodyPr wrap="square">
            <a:spAutoFit/>
          </a:bodyPr>
          <a:lstStyle>
            <a:lvl1pPr marL="0" indent="0" algn="l">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719137" y="2710973"/>
            <a:ext cx="766235" cy="184666"/>
          </a:xfrm>
        </p:spPr>
        <p:txBody>
          <a:bodyPr/>
          <a:lstStyle>
            <a:lvl1pPr algn="l">
              <a:defRPr sz="1200">
                <a:solidFill>
                  <a:schemeClr val="tx2"/>
                </a:solidFill>
              </a:defRPr>
            </a:lvl1pPr>
          </a:lstStyle>
          <a:p>
            <a:r>
              <a:rPr lang="nl-NL"/>
              <a:t>11/08/2023</a:t>
            </a:r>
            <a:endParaRPr lang="en-GB" dirty="0"/>
          </a:p>
        </p:txBody>
      </p:sp>
      <p:sp>
        <p:nvSpPr>
          <p:cNvPr id="5" name="Tijdelijke aanduiding voor afbeelding 16">
            <a:extLst>
              <a:ext uri="{FF2B5EF4-FFF2-40B4-BE49-F238E27FC236}">
                <a16:creationId xmlns:a16="http://schemas.microsoft.com/office/drawing/2014/main" id="{7797F04D-8400-F770-AED2-A49B8F1C477F}"/>
              </a:ext>
            </a:extLst>
          </p:cNvPr>
          <p:cNvSpPr>
            <a:spLocks noGrp="1" noRot="1" noMove="1" noResize="1" noEditPoints="1" noAdjustHandles="1" noChangeArrowheads="1" noChangeShapeType="1"/>
          </p:cNvSpPr>
          <p:nvPr>
            <p:ph type="pic" sz="quarter" idx="13" hasCustomPrompt="1"/>
          </p:nvPr>
        </p:nvSpPr>
        <p:spPr>
          <a:xfrm>
            <a:off x="7308357" y="0"/>
            <a:ext cx="488364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a:t>
            </a:r>
            <a:br>
              <a:rPr lang="en-GB" noProof="0" dirty="0"/>
            </a:br>
            <a:r>
              <a:rPr lang="en-GB" noProof="0" dirty="0"/>
              <a:t>click on ‘Images’, select the preferred image </a:t>
            </a:r>
            <a:br>
              <a:rPr lang="en-GB" noProof="0" dirty="0"/>
            </a:br>
            <a:r>
              <a:rPr lang="en-GB" noProof="0" dirty="0"/>
              <a:t>and click on ‘Insert’.</a:t>
            </a:r>
          </a:p>
        </p:txBody>
      </p:sp>
      <p:grpSp>
        <p:nvGrpSpPr>
          <p:cNvPr id="3" name="INSTRUCTION">
            <a:extLst>
              <a:ext uri="{FF2B5EF4-FFF2-40B4-BE49-F238E27FC236}">
                <a16:creationId xmlns:a16="http://schemas.microsoft.com/office/drawing/2014/main" id="{83D36BAF-6A46-FC70-F348-9474E690DA0E}"/>
              </a:ext>
            </a:extLst>
          </p:cNvPr>
          <p:cNvGrpSpPr/>
          <p:nvPr userDrawn="1"/>
        </p:nvGrpSpPr>
        <p:grpSpPr>
          <a:xfrm>
            <a:off x="12377595" y="-1"/>
            <a:ext cx="3693386" cy="6640349"/>
            <a:chOff x="-3786165" y="-1"/>
            <a:chExt cx="3693386" cy="6640349"/>
          </a:xfrm>
        </p:grpSpPr>
        <p:sp>
          <p:nvSpPr>
            <p:cNvPr id="7" name="Rechthoek 6">
              <a:extLst>
                <a:ext uri="{FF2B5EF4-FFF2-40B4-BE49-F238E27FC236}">
                  <a16:creationId xmlns:a16="http://schemas.microsoft.com/office/drawing/2014/main" id="{90DBC8A3-9289-CF0F-D83A-22ACEA901D9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8" name="Ovaal 17">
              <a:extLst>
                <a:ext uri="{FF2B5EF4-FFF2-40B4-BE49-F238E27FC236}">
                  <a16:creationId xmlns:a16="http://schemas.microsoft.com/office/drawing/2014/main" id="{4B3C2751-ECA8-33FA-C952-CE2744AF394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 name="Rechthoek 18">
              <a:extLst>
                <a:ext uri="{FF2B5EF4-FFF2-40B4-BE49-F238E27FC236}">
                  <a16:creationId xmlns:a16="http://schemas.microsoft.com/office/drawing/2014/main" id="{153EE913-A752-7B9F-74CE-B992B74D85EC}"/>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2E075884-D63D-46F1-2CE9-D356783C7476}"/>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2" name="Rechthoek 21">
              <a:extLst>
                <a:ext uri="{FF2B5EF4-FFF2-40B4-BE49-F238E27FC236}">
                  <a16:creationId xmlns:a16="http://schemas.microsoft.com/office/drawing/2014/main" id="{CB282691-AE0D-DE69-2960-8B2159DDCF08}"/>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3" name="Ovaal 22">
              <a:extLst>
                <a:ext uri="{FF2B5EF4-FFF2-40B4-BE49-F238E27FC236}">
                  <a16:creationId xmlns:a16="http://schemas.microsoft.com/office/drawing/2014/main" id="{7D772366-0161-D434-5A40-B5AB54A2111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4" name="Rechthoek 23">
              <a:extLst>
                <a:ext uri="{FF2B5EF4-FFF2-40B4-BE49-F238E27FC236}">
                  <a16:creationId xmlns:a16="http://schemas.microsoft.com/office/drawing/2014/main" id="{405EF644-5856-009F-B6B2-2388E6B26ED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25" name="Rechthoek 24">
              <a:extLst>
                <a:ext uri="{FF2B5EF4-FFF2-40B4-BE49-F238E27FC236}">
                  <a16:creationId xmlns:a16="http://schemas.microsoft.com/office/drawing/2014/main" id="{956B1FB0-6592-EF9B-BE28-215FB072E5AF}"/>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26" name="Groep 25">
              <a:extLst>
                <a:ext uri="{FF2B5EF4-FFF2-40B4-BE49-F238E27FC236}">
                  <a16:creationId xmlns:a16="http://schemas.microsoft.com/office/drawing/2014/main" id="{50F71E3C-E372-CF85-F539-0EF7E3B9730B}"/>
                </a:ext>
              </a:extLst>
            </p:cNvPr>
            <p:cNvGrpSpPr/>
            <p:nvPr userDrawn="1"/>
          </p:nvGrpSpPr>
          <p:grpSpPr>
            <a:xfrm>
              <a:off x="-2485819" y="3479783"/>
              <a:ext cx="1222990" cy="563933"/>
              <a:chOff x="-2485819" y="3399207"/>
              <a:chExt cx="1222990" cy="563933"/>
            </a:xfrm>
          </p:grpSpPr>
          <p:sp>
            <p:nvSpPr>
              <p:cNvPr id="65" name="Rechthoek 64">
                <a:extLst>
                  <a:ext uri="{FF2B5EF4-FFF2-40B4-BE49-F238E27FC236}">
                    <a16:creationId xmlns:a16="http://schemas.microsoft.com/office/drawing/2014/main" id="{D1D8DD9D-7249-438D-35D0-2B2C4567EF4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B882E159-1ED3-DF4C-C190-0DCB38B3E7E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67" name="Groep 66">
                <a:extLst>
                  <a:ext uri="{FF2B5EF4-FFF2-40B4-BE49-F238E27FC236}">
                    <a16:creationId xmlns:a16="http://schemas.microsoft.com/office/drawing/2014/main" id="{0196836D-26AB-A279-ACAB-AB403730A39D}"/>
                  </a:ext>
                </a:extLst>
              </p:cNvPr>
              <p:cNvGrpSpPr/>
              <p:nvPr userDrawn="1"/>
            </p:nvGrpSpPr>
            <p:grpSpPr>
              <a:xfrm>
                <a:off x="-2403869" y="3460544"/>
                <a:ext cx="155951" cy="131922"/>
                <a:chOff x="12968836" y="3354170"/>
                <a:chExt cx="404806" cy="342433"/>
              </a:xfrm>
            </p:grpSpPr>
            <p:sp>
              <p:nvSpPr>
                <p:cNvPr id="80" name="Rechthoek: afgeronde hoeken 79">
                  <a:extLst>
                    <a:ext uri="{FF2B5EF4-FFF2-40B4-BE49-F238E27FC236}">
                      <a16:creationId xmlns:a16="http://schemas.microsoft.com/office/drawing/2014/main" id="{7F8EFFB0-0CC4-7DB1-BE0B-6DB955BD6066}"/>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18F9C8D2-CE79-6EAE-50AF-9849C54D692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D3E71A50-FF9D-B0D1-159A-433E0E0212C5}"/>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92A06DF3-7127-E117-C4FA-058C92952B7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CAE7B77C-A11C-A7B6-ED26-0A86A8D0318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95FC68D1-45F6-ED57-6C16-27D094F4F43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8" name="Groep 67">
                <a:extLst>
                  <a:ext uri="{FF2B5EF4-FFF2-40B4-BE49-F238E27FC236}">
                    <a16:creationId xmlns:a16="http://schemas.microsoft.com/office/drawing/2014/main" id="{501764F9-4AFD-49E8-A051-14921FBEB23C}"/>
                  </a:ext>
                </a:extLst>
              </p:cNvPr>
              <p:cNvGrpSpPr/>
              <p:nvPr userDrawn="1"/>
            </p:nvGrpSpPr>
            <p:grpSpPr>
              <a:xfrm>
                <a:off x="-2423424" y="3690208"/>
                <a:ext cx="166739" cy="218963"/>
                <a:chOff x="12940828" y="3950597"/>
                <a:chExt cx="432813" cy="568367"/>
              </a:xfrm>
            </p:grpSpPr>
            <p:grpSp>
              <p:nvGrpSpPr>
                <p:cNvPr id="72" name="Groep 71">
                  <a:extLst>
                    <a:ext uri="{FF2B5EF4-FFF2-40B4-BE49-F238E27FC236}">
                      <a16:creationId xmlns:a16="http://schemas.microsoft.com/office/drawing/2014/main" id="{8550AB30-CCC2-55D0-DBC6-968B8DC17794}"/>
                    </a:ext>
                  </a:extLst>
                </p:cNvPr>
                <p:cNvGrpSpPr/>
                <p:nvPr userDrawn="1"/>
              </p:nvGrpSpPr>
              <p:grpSpPr>
                <a:xfrm>
                  <a:off x="13000382" y="4006891"/>
                  <a:ext cx="373259" cy="315747"/>
                  <a:chOff x="12968836" y="3354170"/>
                  <a:chExt cx="404806" cy="342433"/>
                </a:xfrm>
              </p:grpSpPr>
              <p:sp>
                <p:nvSpPr>
                  <p:cNvPr id="74" name="Rechthoek: afgeronde hoeken 73">
                    <a:extLst>
                      <a:ext uri="{FF2B5EF4-FFF2-40B4-BE49-F238E27FC236}">
                        <a16:creationId xmlns:a16="http://schemas.microsoft.com/office/drawing/2014/main" id="{9AD397C1-9A0D-4045-5CFE-4CB7616B8F7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D6FB3632-AE4D-BD05-04B5-283C1C0A72F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3825DE90-E1E8-E8E9-7FFA-20EF5879843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B0A9C8C9-1044-AAA0-FA7C-0EEDC36BDB0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5F22B0D9-CD89-E8BF-06C7-727E559C996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50E97EF3-D92F-40DC-6800-1E4D6FBE86C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73" name="Boog 72">
                  <a:extLst>
                    <a:ext uri="{FF2B5EF4-FFF2-40B4-BE49-F238E27FC236}">
                      <a16:creationId xmlns:a16="http://schemas.microsoft.com/office/drawing/2014/main" id="{49E1B6D8-6B64-EED4-4C17-8D0A2188029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9" name="Tekstvak 68">
                <a:extLst>
                  <a:ext uri="{FF2B5EF4-FFF2-40B4-BE49-F238E27FC236}">
                    <a16:creationId xmlns:a16="http://schemas.microsoft.com/office/drawing/2014/main" id="{2F5337C6-56DA-3C8C-0AD5-CC6BCBCA004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70" name="Tekstvak 69">
                <a:extLst>
                  <a:ext uri="{FF2B5EF4-FFF2-40B4-BE49-F238E27FC236}">
                    <a16:creationId xmlns:a16="http://schemas.microsoft.com/office/drawing/2014/main" id="{3E753270-D0FD-33A8-CD11-C4E6B9F3A942}"/>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71" name="Vrije vorm: vorm 70">
                <a:extLst>
                  <a:ext uri="{FF2B5EF4-FFF2-40B4-BE49-F238E27FC236}">
                    <a16:creationId xmlns:a16="http://schemas.microsoft.com/office/drawing/2014/main" id="{38CAF6E8-E8ED-D666-5B19-37C9B432DF6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7" name="Groep 26">
              <a:extLst>
                <a:ext uri="{FF2B5EF4-FFF2-40B4-BE49-F238E27FC236}">
                  <a16:creationId xmlns:a16="http://schemas.microsoft.com/office/drawing/2014/main" id="{4DDCD2BF-56A1-C7A7-1E59-921EF643774B}"/>
                </a:ext>
              </a:extLst>
            </p:cNvPr>
            <p:cNvGrpSpPr/>
            <p:nvPr userDrawn="1"/>
          </p:nvGrpSpPr>
          <p:grpSpPr>
            <a:xfrm>
              <a:off x="-3786165" y="5680652"/>
              <a:ext cx="3693386" cy="959696"/>
              <a:chOff x="-3786437" y="6163468"/>
              <a:chExt cx="3693386" cy="959696"/>
            </a:xfrm>
          </p:grpSpPr>
          <p:sp>
            <p:nvSpPr>
              <p:cNvPr id="55" name="Rechthoek 54">
                <a:extLst>
                  <a:ext uri="{FF2B5EF4-FFF2-40B4-BE49-F238E27FC236}">
                    <a16:creationId xmlns:a16="http://schemas.microsoft.com/office/drawing/2014/main" id="{2F30809B-DBBE-F925-DC39-FF534F14819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56" name="ICOON_info">
                <a:extLst>
                  <a:ext uri="{FF2B5EF4-FFF2-40B4-BE49-F238E27FC236}">
                    <a16:creationId xmlns:a16="http://schemas.microsoft.com/office/drawing/2014/main" id="{A1CC24CF-86A8-0341-843B-C83E7B3CA33E}"/>
                  </a:ext>
                </a:extLst>
              </p:cNvPr>
              <p:cNvGrpSpPr/>
              <p:nvPr userDrawn="1"/>
            </p:nvGrpSpPr>
            <p:grpSpPr>
              <a:xfrm>
                <a:off x="-376736" y="6163468"/>
                <a:ext cx="283685" cy="283685"/>
                <a:chOff x="-510741" y="5913713"/>
                <a:chExt cx="267555" cy="267555"/>
              </a:xfrm>
            </p:grpSpPr>
            <p:sp>
              <p:nvSpPr>
                <p:cNvPr id="63" name="Ovaal 62">
                  <a:extLst>
                    <a:ext uri="{FF2B5EF4-FFF2-40B4-BE49-F238E27FC236}">
                      <a16:creationId xmlns:a16="http://schemas.microsoft.com/office/drawing/2014/main" id="{4A16FB29-FA8B-47B1-FEC2-19BD7198879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4" name="Graphic 163" descr="Informatie">
                  <a:extLst>
                    <a:ext uri="{FF2B5EF4-FFF2-40B4-BE49-F238E27FC236}">
                      <a16:creationId xmlns:a16="http://schemas.microsoft.com/office/drawing/2014/main" id="{17E78844-0BC9-1CDF-B1E9-D9B35A17B8E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7" name="Groep 56">
                <a:extLst>
                  <a:ext uri="{FF2B5EF4-FFF2-40B4-BE49-F238E27FC236}">
                    <a16:creationId xmlns:a16="http://schemas.microsoft.com/office/drawing/2014/main" id="{AFCFFF33-03DE-784A-46BF-341491AD82C0}"/>
                  </a:ext>
                </a:extLst>
              </p:cNvPr>
              <p:cNvGrpSpPr/>
              <p:nvPr userDrawn="1"/>
            </p:nvGrpSpPr>
            <p:grpSpPr>
              <a:xfrm>
                <a:off x="-938434" y="6420818"/>
                <a:ext cx="627798" cy="576693"/>
                <a:chOff x="-938434" y="4570310"/>
                <a:chExt cx="627798" cy="576693"/>
              </a:xfrm>
            </p:grpSpPr>
            <p:grpSp>
              <p:nvGrpSpPr>
                <p:cNvPr id="58" name="Inspireren">
                  <a:extLst>
                    <a:ext uri="{FF2B5EF4-FFF2-40B4-BE49-F238E27FC236}">
                      <a16:creationId xmlns:a16="http://schemas.microsoft.com/office/drawing/2014/main" id="{1EBCEBD5-B620-0008-D93C-CD46A9E4DC7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0" name="Freeform 12">
                    <a:extLst>
                      <a:ext uri="{FF2B5EF4-FFF2-40B4-BE49-F238E27FC236}">
                        <a16:creationId xmlns:a16="http://schemas.microsoft.com/office/drawing/2014/main" id="{664BC5D7-F973-42A1-046B-9FAA1A70EA2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1" name="Freeform 13">
                    <a:extLst>
                      <a:ext uri="{FF2B5EF4-FFF2-40B4-BE49-F238E27FC236}">
                        <a16:creationId xmlns:a16="http://schemas.microsoft.com/office/drawing/2014/main" id="{CB24A030-65C8-B635-D99A-2DE8D174DCD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2" name="Freeform 14">
                    <a:extLst>
                      <a:ext uri="{FF2B5EF4-FFF2-40B4-BE49-F238E27FC236}">
                        <a16:creationId xmlns:a16="http://schemas.microsoft.com/office/drawing/2014/main" id="{2E2608C8-94F2-68AD-B9A3-7E3A53AA88FE}"/>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9" name="Tekstvak 58">
                  <a:extLst>
                    <a:ext uri="{FF2B5EF4-FFF2-40B4-BE49-F238E27FC236}">
                      <a16:creationId xmlns:a16="http://schemas.microsoft.com/office/drawing/2014/main" id="{934212D2-1CC6-46C2-A7C9-1B6FA93A125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8" name="Groep 27">
              <a:extLst>
                <a:ext uri="{FF2B5EF4-FFF2-40B4-BE49-F238E27FC236}">
                  <a16:creationId xmlns:a16="http://schemas.microsoft.com/office/drawing/2014/main" id="{FC14F5F2-A02F-5E50-6A14-8376C8361542}"/>
                </a:ext>
              </a:extLst>
            </p:cNvPr>
            <p:cNvGrpSpPr/>
            <p:nvPr userDrawn="1"/>
          </p:nvGrpSpPr>
          <p:grpSpPr>
            <a:xfrm>
              <a:off x="-3426806" y="5129582"/>
              <a:ext cx="514284" cy="506545"/>
              <a:chOff x="12617641" y="3403239"/>
              <a:chExt cx="752963" cy="741634"/>
            </a:xfrm>
          </p:grpSpPr>
          <p:grpSp>
            <p:nvGrpSpPr>
              <p:cNvPr id="39" name="Groep 38">
                <a:extLst>
                  <a:ext uri="{FF2B5EF4-FFF2-40B4-BE49-F238E27FC236}">
                    <a16:creationId xmlns:a16="http://schemas.microsoft.com/office/drawing/2014/main" id="{1359FB6E-97D1-FE9C-24B0-3A3C7BC9CAE1}"/>
                  </a:ext>
                </a:extLst>
              </p:cNvPr>
              <p:cNvGrpSpPr/>
              <p:nvPr userDrawn="1"/>
            </p:nvGrpSpPr>
            <p:grpSpPr>
              <a:xfrm>
                <a:off x="12771530" y="3403239"/>
                <a:ext cx="467176" cy="448491"/>
                <a:chOff x="12782157" y="3403239"/>
                <a:chExt cx="467176" cy="448491"/>
              </a:xfrm>
            </p:grpSpPr>
            <p:grpSp>
              <p:nvGrpSpPr>
                <p:cNvPr id="42" name="Groep 41">
                  <a:extLst>
                    <a:ext uri="{FF2B5EF4-FFF2-40B4-BE49-F238E27FC236}">
                      <a16:creationId xmlns:a16="http://schemas.microsoft.com/office/drawing/2014/main" id="{7D8E78B9-21BE-2D3A-A385-42849214C480}"/>
                    </a:ext>
                  </a:extLst>
                </p:cNvPr>
                <p:cNvGrpSpPr/>
                <p:nvPr userDrawn="1"/>
              </p:nvGrpSpPr>
              <p:grpSpPr>
                <a:xfrm>
                  <a:off x="12782157" y="3403239"/>
                  <a:ext cx="412976" cy="396132"/>
                  <a:chOff x="13554906" y="3320109"/>
                  <a:chExt cx="443917" cy="425811"/>
                </a:xfrm>
              </p:grpSpPr>
              <p:grpSp>
                <p:nvGrpSpPr>
                  <p:cNvPr id="49" name="Groep 48">
                    <a:extLst>
                      <a:ext uri="{FF2B5EF4-FFF2-40B4-BE49-F238E27FC236}">
                        <a16:creationId xmlns:a16="http://schemas.microsoft.com/office/drawing/2014/main" id="{CD013D78-525B-059E-963E-23A760AF2C85}"/>
                      </a:ext>
                    </a:extLst>
                  </p:cNvPr>
                  <p:cNvGrpSpPr/>
                  <p:nvPr userDrawn="1"/>
                </p:nvGrpSpPr>
                <p:grpSpPr>
                  <a:xfrm>
                    <a:off x="13554906" y="3320109"/>
                    <a:ext cx="443917" cy="425811"/>
                    <a:chOff x="12909684" y="1276143"/>
                    <a:chExt cx="443917" cy="425811"/>
                  </a:xfrm>
                </p:grpSpPr>
                <p:sp>
                  <p:nvSpPr>
                    <p:cNvPr id="52" name="Rechthoek 51">
                      <a:extLst>
                        <a:ext uri="{FF2B5EF4-FFF2-40B4-BE49-F238E27FC236}">
                          <a16:creationId xmlns:a16="http://schemas.microsoft.com/office/drawing/2014/main" id="{7C74C419-82F3-C3A9-4CB6-BC24111FE33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C97B16C7-D52D-71EF-1439-2E7BC3CBA4D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4" name="Ovaal 53">
                      <a:extLst>
                        <a:ext uri="{FF2B5EF4-FFF2-40B4-BE49-F238E27FC236}">
                          <a16:creationId xmlns:a16="http://schemas.microsoft.com/office/drawing/2014/main" id="{D55B39D2-4BAE-ADC3-26B7-F399857FAFF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0" name="Afbeelding 49">
                    <a:extLst>
                      <a:ext uri="{FF2B5EF4-FFF2-40B4-BE49-F238E27FC236}">
                        <a16:creationId xmlns:a16="http://schemas.microsoft.com/office/drawing/2014/main" id="{1FB4176A-87C0-215F-7224-5B51FEFB67D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1" name="Afbeelding 50">
                    <a:extLst>
                      <a:ext uri="{FF2B5EF4-FFF2-40B4-BE49-F238E27FC236}">
                        <a16:creationId xmlns:a16="http://schemas.microsoft.com/office/drawing/2014/main" id="{1A29BF32-DB27-0F5C-C35B-C1564D2FA93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3" name="Groep 42">
                  <a:extLst>
                    <a:ext uri="{FF2B5EF4-FFF2-40B4-BE49-F238E27FC236}">
                      <a16:creationId xmlns:a16="http://schemas.microsoft.com/office/drawing/2014/main" id="{874A8D92-0691-A56C-A1F6-FF9982D3AB27}"/>
                    </a:ext>
                  </a:extLst>
                </p:cNvPr>
                <p:cNvGrpSpPr/>
                <p:nvPr userDrawn="1"/>
              </p:nvGrpSpPr>
              <p:grpSpPr>
                <a:xfrm>
                  <a:off x="13103513" y="3705268"/>
                  <a:ext cx="145820" cy="146462"/>
                  <a:chOff x="13096169" y="3602278"/>
                  <a:chExt cx="145820" cy="146462"/>
                </a:xfrm>
              </p:grpSpPr>
              <p:sp>
                <p:nvSpPr>
                  <p:cNvPr id="47" name="Rechthoek 46">
                    <a:extLst>
                      <a:ext uri="{FF2B5EF4-FFF2-40B4-BE49-F238E27FC236}">
                        <a16:creationId xmlns:a16="http://schemas.microsoft.com/office/drawing/2014/main" id="{0D7559F1-D122-8FE2-D04A-D1E9D7CF62F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CB2E1E51-E0F4-ED2F-6D47-B5E635C3220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B20A7472-851D-3CBE-039E-867905EC7CA2}"/>
                    </a:ext>
                  </a:extLst>
                </p:cNvPr>
                <p:cNvGrpSpPr/>
                <p:nvPr userDrawn="1"/>
              </p:nvGrpSpPr>
              <p:grpSpPr>
                <a:xfrm rot="10800000">
                  <a:off x="13061402" y="3665637"/>
                  <a:ext cx="145820" cy="146462"/>
                  <a:chOff x="13096169" y="3602278"/>
                  <a:chExt cx="145820" cy="146462"/>
                </a:xfrm>
              </p:grpSpPr>
              <p:sp>
                <p:nvSpPr>
                  <p:cNvPr id="45" name="Rechthoek 44">
                    <a:extLst>
                      <a:ext uri="{FF2B5EF4-FFF2-40B4-BE49-F238E27FC236}">
                        <a16:creationId xmlns:a16="http://schemas.microsoft.com/office/drawing/2014/main" id="{7F0241A6-93EC-6B9E-D265-D69E8EC0877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D2D6E925-8607-C578-819D-48C0847C57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0" name="Rechthoek 39">
                <a:extLst>
                  <a:ext uri="{FF2B5EF4-FFF2-40B4-BE49-F238E27FC236}">
                    <a16:creationId xmlns:a16="http://schemas.microsoft.com/office/drawing/2014/main" id="{24514FF6-A8F5-5D82-43A9-25335D2E2AB4}"/>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1" name="Gelijkbenige driehoek 40">
                <a:extLst>
                  <a:ext uri="{FF2B5EF4-FFF2-40B4-BE49-F238E27FC236}">
                    <a16:creationId xmlns:a16="http://schemas.microsoft.com/office/drawing/2014/main" id="{D4645E96-47C9-6A85-74BF-91A9F504C585}"/>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9" name="Ovaal 28">
              <a:extLst>
                <a:ext uri="{FF2B5EF4-FFF2-40B4-BE49-F238E27FC236}">
                  <a16:creationId xmlns:a16="http://schemas.microsoft.com/office/drawing/2014/main" id="{7447DC81-DAF1-BC5C-7227-5C73C07C3A2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0" name="Rechthoek 29">
              <a:extLst>
                <a:ext uri="{FF2B5EF4-FFF2-40B4-BE49-F238E27FC236}">
                  <a16:creationId xmlns:a16="http://schemas.microsoft.com/office/drawing/2014/main" id="{96DF473B-A274-D352-2252-11610BC8E15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31" name="Rechthoek 30">
              <a:extLst>
                <a:ext uri="{FF2B5EF4-FFF2-40B4-BE49-F238E27FC236}">
                  <a16:creationId xmlns:a16="http://schemas.microsoft.com/office/drawing/2014/main" id="{A14006B4-E1E5-D6BC-0279-4A3208C9047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32" name="Groep 31">
              <a:extLst>
                <a:ext uri="{FF2B5EF4-FFF2-40B4-BE49-F238E27FC236}">
                  <a16:creationId xmlns:a16="http://schemas.microsoft.com/office/drawing/2014/main" id="{B30A9797-A377-19E2-5757-2556ABDBC3C1}"/>
                </a:ext>
              </a:extLst>
            </p:cNvPr>
            <p:cNvGrpSpPr/>
            <p:nvPr userDrawn="1"/>
          </p:nvGrpSpPr>
          <p:grpSpPr>
            <a:xfrm>
              <a:off x="-3365484" y="1226982"/>
              <a:ext cx="446937" cy="406485"/>
              <a:chOff x="-3563526" y="1409294"/>
              <a:chExt cx="354190" cy="322133"/>
            </a:xfrm>
          </p:grpSpPr>
          <p:grpSp>
            <p:nvGrpSpPr>
              <p:cNvPr id="33" name="Groep 32">
                <a:extLst>
                  <a:ext uri="{FF2B5EF4-FFF2-40B4-BE49-F238E27FC236}">
                    <a16:creationId xmlns:a16="http://schemas.microsoft.com/office/drawing/2014/main" id="{39696BC7-29FA-2D1C-435A-539D319391AC}"/>
                  </a:ext>
                </a:extLst>
              </p:cNvPr>
              <p:cNvGrpSpPr/>
              <p:nvPr userDrawn="1"/>
            </p:nvGrpSpPr>
            <p:grpSpPr>
              <a:xfrm>
                <a:off x="-3499992" y="1409294"/>
                <a:ext cx="225195" cy="195499"/>
                <a:chOff x="8987389" y="1361199"/>
                <a:chExt cx="2200275" cy="1914525"/>
              </a:xfrm>
            </p:grpSpPr>
            <p:sp>
              <p:nvSpPr>
                <p:cNvPr id="35" name="Vrije vorm: vorm 34">
                  <a:extLst>
                    <a:ext uri="{FF2B5EF4-FFF2-40B4-BE49-F238E27FC236}">
                      <a16:creationId xmlns:a16="http://schemas.microsoft.com/office/drawing/2014/main" id="{F3989D1B-0E51-EF74-F735-A317ADA5C7C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36" name="Groep 35">
                  <a:extLst>
                    <a:ext uri="{FF2B5EF4-FFF2-40B4-BE49-F238E27FC236}">
                      <a16:creationId xmlns:a16="http://schemas.microsoft.com/office/drawing/2014/main" id="{5F6C71FC-BCA9-229A-F6C7-077055F7974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7" name="Vrije vorm: vorm 36">
                    <a:extLst>
                      <a:ext uri="{FF2B5EF4-FFF2-40B4-BE49-F238E27FC236}">
                        <a16:creationId xmlns:a16="http://schemas.microsoft.com/office/drawing/2014/main" id="{5A41684E-F2CE-5023-633D-6D7337B8EC6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8" name="Vrije vorm: vorm 37">
                    <a:extLst>
                      <a:ext uri="{FF2B5EF4-FFF2-40B4-BE49-F238E27FC236}">
                        <a16:creationId xmlns:a16="http://schemas.microsoft.com/office/drawing/2014/main" id="{262BF2D2-D3B0-7919-3557-F356FE48418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34" name="Tekstvak 33">
                <a:extLst>
                  <a:ext uri="{FF2B5EF4-FFF2-40B4-BE49-F238E27FC236}">
                    <a16:creationId xmlns:a16="http://schemas.microsoft.com/office/drawing/2014/main" id="{447868DC-4E78-0363-A8D7-CF69A490970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435704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2">
    <p:bg>
      <p:bgPr>
        <a:solidFill>
          <a:schemeClr val="accent1"/>
        </a:solidFill>
        <a:effectLst/>
      </p:bgPr>
    </p:bg>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40562B5D-4BCD-1D4E-BB65-7F5FCBABE005}"/>
              </a:ext>
            </a:extLst>
          </p:cNvPr>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Custom #2</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3" name="Rechthoek 2">
            <a:extLst>
              <a:ext uri="{FF2B5EF4-FFF2-40B4-BE49-F238E27FC236}">
                <a16:creationId xmlns:a16="http://schemas.microsoft.com/office/drawing/2014/main" id="{2B460069-16B0-DE5C-7C45-BAB07D3C0B9F}"/>
              </a:ext>
            </a:extLst>
          </p:cNvPr>
          <p:cNvSpPr/>
          <p:nvPr userDrawn="1"/>
        </p:nvSpPr>
        <p:spPr>
          <a:xfrm>
            <a:off x="-10751" y="3282846"/>
            <a:ext cx="12192000" cy="35751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5" name="Tijdelijke aanduiding voor afbeelding 16">
            <a:extLst>
              <a:ext uri="{FF2B5EF4-FFF2-40B4-BE49-F238E27FC236}">
                <a16:creationId xmlns:a16="http://schemas.microsoft.com/office/drawing/2014/main" id="{2BDB1DBC-B9F0-84CD-43BD-7C1A120AAC41}"/>
              </a:ext>
            </a:extLst>
          </p:cNvPr>
          <p:cNvSpPr>
            <a:spLocks noGrp="1"/>
          </p:cNvSpPr>
          <p:nvPr>
            <p:ph type="pic" sz="quarter" idx="13" hasCustomPrompt="1"/>
          </p:nvPr>
        </p:nvSpPr>
        <p:spPr>
          <a:xfrm>
            <a:off x="721079" y="719138"/>
            <a:ext cx="3318867"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grpSp>
        <p:nvGrpSpPr>
          <p:cNvPr id="77" name="INSTRUCTION">
            <a:extLst>
              <a:ext uri="{FF2B5EF4-FFF2-40B4-BE49-F238E27FC236}">
                <a16:creationId xmlns:a16="http://schemas.microsoft.com/office/drawing/2014/main" id="{6727D08B-166C-E220-C65A-4C6CF286CBC0}"/>
              </a:ext>
            </a:extLst>
          </p:cNvPr>
          <p:cNvGrpSpPr/>
          <p:nvPr userDrawn="1"/>
        </p:nvGrpSpPr>
        <p:grpSpPr>
          <a:xfrm>
            <a:off x="-3786164" y="0"/>
            <a:ext cx="3693113" cy="5054643"/>
            <a:chOff x="-3786164" y="0"/>
            <a:chExt cx="3693113" cy="5054643"/>
          </a:xfrm>
        </p:grpSpPr>
        <p:sp>
          <p:nvSpPr>
            <p:cNvPr id="78" name="Rechthoek 77">
              <a:extLst>
                <a:ext uri="{FF2B5EF4-FFF2-40B4-BE49-F238E27FC236}">
                  <a16:creationId xmlns:a16="http://schemas.microsoft.com/office/drawing/2014/main" id="{982C114D-4EFE-C875-84BD-A1CE7AD31CB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9" name="Rechthoek 78">
              <a:extLst>
                <a:ext uri="{FF2B5EF4-FFF2-40B4-BE49-F238E27FC236}">
                  <a16:creationId xmlns:a16="http://schemas.microsoft.com/office/drawing/2014/main" id="{F5F23281-7424-FD20-47C9-D062D2185EB2}"/>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0" name="Ovaal 79">
              <a:extLst>
                <a:ext uri="{FF2B5EF4-FFF2-40B4-BE49-F238E27FC236}">
                  <a16:creationId xmlns:a16="http://schemas.microsoft.com/office/drawing/2014/main" id="{4C243F47-F3A7-733B-E9A3-262CD6642BF2}"/>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1" name="Rechthoek 80">
              <a:extLst>
                <a:ext uri="{FF2B5EF4-FFF2-40B4-BE49-F238E27FC236}">
                  <a16:creationId xmlns:a16="http://schemas.microsoft.com/office/drawing/2014/main" id="{089F710C-E487-E596-3890-24CEF5FCE9D0}"/>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BB4E3693-18B2-F2AE-2B86-4D729CD8ED6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3" name="Rechthoek 82">
              <a:extLst>
                <a:ext uri="{FF2B5EF4-FFF2-40B4-BE49-F238E27FC236}">
                  <a16:creationId xmlns:a16="http://schemas.microsoft.com/office/drawing/2014/main" id="{9DDB2448-43DC-D522-A2AF-2F7F78AA844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4" name="Rechthoek 83">
              <a:extLst>
                <a:ext uri="{FF2B5EF4-FFF2-40B4-BE49-F238E27FC236}">
                  <a16:creationId xmlns:a16="http://schemas.microsoft.com/office/drawing/2014/main" id="{94F7C7F5-84EE-08A5-C2A8-D40863C44DF7}"/>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85" name="Ovaal 84">
              <a:extLst>
                <a:ext uri="{FF2B5EF4-FFF2-40B4-BE49-F238E27FC236}">
                  <a16:creationId xmlns:a16="http://schemas.microsoft.com/office/drawing/2014/main" id="{36C87FE6-659D-FB5D-2B4D-4C68F02586CD}"/>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6" name="Rechthoek 85">
              <a:extLst>
                <a:ext uri="{FF2B5EF4-FFF2-40B4-BE49-F238E27FC236}">
                  <a16:creationId xmlns:a16="http://schemas.microsoft.com/office/drawing/2014/main" id="{8D0654E8-0407-3E0C-07B6-54D13B858C44}"/>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87" name="Groep 86">
              <a:extLst>
                <a:ext uri="{FF2B5EF4-FFF2-40B4-BE49-F238E27FC236}">
                  <a16:creationId xmlns:a16="http://schemas.microsoft.com/office/drawing/2014/main" id="{1B77EC59-F841-70DB-26E5-CE9B30D388B6}"/>
                </a:ext>
              </a:extLst>
            </p:cNvPr>
            <p:cNvGrpSpPr/>
            <p:nvPr userDrawn="1"/>
          </p:nvGrpSpPr>
          <p:grpSpPr>
            <a:xfrm>
              <a:off x="-3414453" y="3534339"/>
              <a:ext cx="514284" cy="506545"/>
              <a:chOff x="12617641" y="3403239"/>
              <a:chExt cx="752963" cy="741634"/>
            </a:xfrm>
          </p:grpSpPr>
          <p:grpSp>
            <p:nvGrpSpPr>
              <p:cNvPr id="104" name="Groep 103">
                <a:extLst>
                  <a:ext uri="{FF2B5EF4-FFF2-40B4-BE49-F238E27FC236}">
                    <a16:creationId xmlns:a16="http://schemas.microsoft.com/office/drawing/2014/main" id="{D601E5B5-6A3C-925D-B3DA-0F098B5634F2}"/>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484B9510-A7DE-3DD7-A80D-8A0B0B0C4EB8}"/>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12DEEEF7-AEB5-09F8-5822-3D8484867157}"/>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A4017AF6-03CB-3D6B-8B14-379F8B68277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3495504B-7940-4E65-5F69-67711EE3128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1898BC6E-051E-9288-F6FD-986FC16B60F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A3070010-4F72-D403-7D2F-FCFA79910464}"/>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60E55EC3-343D-AD8D-76DF-3702E8AD904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E55E20E0-3758-7265-9512-AA24D5A025D0}"/>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68DC690D-6824-D7CF-CB6F-51B7434679A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A54E62A1-E56D-AE7D-96FC-C4D19C33B98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708CA9C1-69AF-1E21-0D5E-D6DCEBC337FD}"/>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93115381-446F-4BCA-F0E0-EB297ABCA56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BC0E1C64-7500-6EA8-C9C9-0965D89191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62656C27-C3C4-3986-70C6-DD93E192432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51CE933D-DBFC-7BD3-4475-6C5C7788017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88" name="ICOON_info">
              <a:extLst>
                <a:ext uri="{FF2B5EF4-FFF2-40B4-BE49-F238E27FC236}">
                  <a16:creationId xmlns:a16="http://schemas.microsoft.com/office/drawing/2014/main" id="{C38AF839-02B0-B463-4B31-ABCCD3D0BD26}"/>
                </a:ext>
              </a:extLst>
            </p:cNvPr>
            <p:cNvGrpSpPr/>
            <p:nvPr userDrawn="1"/>
          </p:nvGrpSpPr>
          <p:grpSpPr>
            <a:xfrm>
              <a:off x="-376736" y="4055594"/>
              <a:ext cx="283685" cy="283685"/>
              <a:chOff x="-510741" y="5913713"/>
              <a:chExt cx="267555" cy="267555"/>
            </a:xfrm>
          </p:grpSpPr>
          <p:sp>
            <p:nvSpPr>
              <p:cNvPr id="102" name="Ovaal 101">
                <a:extLst>
                  <a:ext uri="{FF2B5EF4-FFF2-40B4-BE49-F238E27FC236}">
                    <a16:creationId xmlns:a16="http://schemas.microsoft.com/office/drawing/2014/main" id="{7D5D1986-BAAE-9314-F7AD-47D03D8282E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3" name="Graphic 163" descr="Informatie">
                <a:extLst>
                  <a:ext uri="{FF2B5EF4-FFF2-40B4-BE49-F238E27FC236}">
                    <a16:creationId xmlns:a16="http://schemas.microsoft.com/office/drawing/2014/main" id="{B2BAC2C0-C711-77EF-73CB-035DD8B57B8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9" name="Groep 88">
              <a:extLst>
                <a:ext uri="{FF2B5EF4-FFF2-40B4-BE49-F238E27FC236}">
                  <a16:creationId xmlns:a16="http://schemas.microsoft.com/office/drawing/2014/main" id="{D4E706EA-4885-65F8-12D4-2DF68C3F7074}"/>
                </a:ext>
              </a:extLst>
            </p:cNvPr>
            <p:cNvGrpSpPr/>
            <p:nvPr userDrawn="1"/>
          </p:nvGrpSpPr>
          <p:grpSpPr>
            <a:xfrm>
              <a:off x="-938434" y="4364020"/>
              <a:ext cx="627798" cy="576693"/>
              <a:chOff x="-938434" y="4570310"/>
              <a:chExt cx="627798" cy="576693"/>
            </a:xfrm>
          </p:grpSpPr>
          <p:grpSp>
            <p:nvGrpSpPr>
              <p:cNvPr id="97" name="Inspireren">
                <a:extLst>
                  <a:ext uri="{FF2B5EF4-FFF2-40B4-BE49-F238E27FC236}">
                    <a16:creationId xmlns:a16="http://schemas.microsoft.com/office/drawing/2014/main" id="{5339DD9A-85F2-94EE-5BCC-071F283B9E4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9" name="Freeform 12">
                  <a:extLst>
                    <a:ext uri="{FF2B5EF4-FFF2-40B4-BE49-F238E27FC236}">
                      <a16:creationId xmlns:a16="http://schemas.microsoft.com/office/drawing/2014/main" id="{B75CC60E-C9CD-959A-331E-93A944BFDA8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00" name="Freeform 13">
                  <a:extLst>
                    <a:ext uri="{FF2B5EF4-FFF2-40B4-BE49-F238E27FC236}">
                      <a16:creationId xmlns:a16="http://schemas.microsoft.com/office/drawing/2014/main" id="{5F1712B6-19E1-0828-C287-151DF8A780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01" name="Freeform 14">
                  <a:extLst>
                    <a:ext uri="{FF2B5EF4-FFF2-40B4-BE49-F238E27FC236}">
                      <a16:creationId xmlns:a16="http://schemas.microsoft.com/office/drawing/2014/main" id="{3A2561F4-9F85-5A87-463A-7A2A0799387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98" name="Tekstvak 97">
                <a:extLst>
                  <a:ext uri="{FF2B5EF4-FFF2-40B4-BE49-F238E27FC236}">
                    <a16:creationId xmlns:a16="http://schemas.microsoft.com/office/drawing/2014/main" id="{D8BBD7EF-A3E0-DA7E-5462-D6E918B1B8B5}"/>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90" name="Groep 89">
              <a:extLst>
                <a:ext uri="{FF2B5EF4-FFF2-40B4-BE49-F238E27FC236}">
                  <a16:creationId xmlns:a16="http://schemas.microsoft.com/office/drawing/2014/main" id="{BBED0169-CBA1-01B4-9D3C-4ACF33C8A4FB}"/>
                </a:ext>
              </a:extLst>
            </p:cNvPr>
            <p:cNvGrpSpPr/>
            <p:nvPr userDrawn="1"/>
          </p:nvGrpSpPr>
          <p:grpSpPr>
            <a:xfrm>
              <a:off x="-3365484" y="1226982"/>
              <a:ext cx="446937" cy="406485"/>
              <a:chOff x="-3563526" y="1409294"/>
              <a:chExt cx="354190" cy="322133"/>
            </a:xfrm>
          </p:grpSpPr>
          <p:grpSp>
            <p:nvGrpSpPr>
              <p:cNvPr id="91" name="Groep 90">
                <a:extLst>
                  <a:ext uri="{FF2B5EF4-FFF2-40B4-BE49-F238E27FC236}">
                    <a16:creationId xmlns:a16="http://schemas.microsoft.com/office/drawing/2014/main" id="{8B41351A-A077-08EB-1C6B-CAF91E68BC5A}"/>
                  </a:ext>
                </a:extLst>
              </p:cNvPr>
              <p:cNvGrpSpPr/>
              <p:nvPr userDrawn="1"/>
            </p:nvGrpSpPr>
            <p:grpSpPr>
              <a:xfrm>
                <a:off x="-3499992" y="1409294"/>
                <a:ext cx="225195" cy="195499"/>
                <a:chOff x="8987389" y="1361199"/>
                <a:chExt cx="2200275" cy="1914525"/>
              </a:xfrm>
            </p:grpSpPr>
            <p:sp>
              <p:nvSpPr>
                <p:cNvPr id="93" name="Vrije vorm: vorm 92">
                  <a:extLst>
                    <a:ext uri="{FF2B5EF4-FFF2-40B4-BE49-F238E27FC236}">
                      <a16:creationId xmlns:a16="http://schemas.microsoft.com/office/drawing/2014/main" id="{EE0EF60D-874E-8208-480B-DD484BBF4432}"/>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94" name="Groep 93">
                  <a:extLst>
                    <a:ext uri="{FF2B5EF4-FFF2-40B4-BE49-F238E27FC236}">
                      <a16:creationId xmlns:a16="http://schemas.microsoft.com/office/drawing/2014/main" id="{2C51480B-00EB-CBA7-F51F-4B07FFCE0947}"/>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95" name="Vrije vorm: vorm 94">
                    <a:extLst>
                      <a:ext uri="{FF2B5EF4-FFF2-40B4-BE49-F238E27FC236}">
                        <a16:creationId xmlns:a16="http://schemas.microsoft.com/office/drawing/2014/main" id="{DB05D42B-D730-A5EE-3228-DC4E98A9D95D}"/>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96" name="Vrije vorm: vorm 95">
                    <a:extLst>
                      <a:ext uri="{FF2B5EF4-FFF2-40B4-BE49-F238E27FC236}">
                        <a16:creationId xmlns:a16="http://schemas.microsoft.com/office/drawing/2014/main" id="{B755D216-ABA2-6F82-0A6F-AA0E941971E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92" name="Tekstvak 91">
                <a:extLst>
                  <a:ext uri="{FF2B5EF4-FFF2-40B4-BE49-F238E27FC236}">
                    <a16:creationId xmlns:a16="http://schemas.microsoft.com/office/drawing/2014/main" id="{0D9230C9-C94F-50B9-217C-348BF10D06CD}"/>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8603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3">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Custom #3</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5" name="Tijdelijke aanduiding voor afbeelding 16">
            <a:extLst>
              <a:ext uri="{FF2B5EF4-FFF2-40B4-BE49-F238E27FC236}">
                <a16:creationId xmlns:a16="http://schemas.microsoft.com/office/drawing/2014/main" id="{87611670-58DA-B79F-CA76-4F57F88930B5}"/>
              </a:ext>
            </a:extLst>
          </p:cNvPr>
          <p:cNvSpPr>
            <a:spLocks noGrp="1"/>
          </p:cNvSpPr>
          <p:nvPr>
            <p:ph type="pic" sz="quarter" idx="13" hasCustomPrompt="1"/>
          </p:nvPr>
        </p:nvSpPr>
        <p:spPr>
          <a:xfrm>
            <a:off x="3818238" y="719138"/>
            <a:ext cx="7651524"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3" name="INSTRUCTION">
            <a:extLst>
              <a:ext uri="{FF2B5EF4-FFF2-40B4-BE49-F238E27FC236}">
                <a16:creationId xmlns:a16="http://schemas.microsoft.com/office/drawing/2014/main" id="{EC2C8F9D-7B0D-9FDE-26A1-FD90378B3D8A}"/>
              </a:ext>
            </a:extLst>
          </p:cNvPr>
          <p:cNvGrpSpPr/>
          <p:nvPr userDrawn="1"/>
        </p:nvGrpSpPr>
        <p:grpSpPr>
          <a:xfrm>
            <a:off x="12377595" y="0"/>
            <a:ext cx="3693113" cy="5054643"/>
            <a:chOff x="-3786164" y="0"/>
            <a:chExt cx="3693113" cy="5054643"/>
          </a:xfrm>
        </p:grpSpPr>
        <p:sp>
          <p:nvSpPr>
            <p:cNvPr id="6" name="Rechthoek 5">
              <a:extLst>
                <a:ext uri="{FF2B5EF4-FFF2-40B4-BE49-F238E27FC236}">
                  <a16:creationId xmlns:a16="http://schemas.microsoft.com/office/drawing/2014/main" id="{978FB479-8A76-1C9D-5023-FA566C503C79}"/>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5CF71405-DC9F-7B52-1C87-32135C663688}"/>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6E40A625-2D49-F59E-4DCA-60B46DA3B65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72E59A89-BDFB-77A0-0B5C-BC3122FC65BA}"/>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1" name="Ovaal 10">
              <a:extLst>
                <a:ext uri="{FF2B5EF4-FFF2-40B4-BE49-F238E27FC236}">
                  <a16:creationId xmlns:a16="http://schemas.microsoft.com/office/drawing/2014/main" id="{6E206292-8A2B-5D74-7AAF-DA77D592B28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 name="Rechthoek 11">
              <a:extLst>
                <a:ext uri="{FF2B5EF4-FFF2-40B4-BE49-F238E27FC236}">
                  <a16:creationId xmlns:a16="http://schemas.microsoft.com/office/drawing/2014/main" id="{18C8DF89-B5D7-AF37-C2C6-3E9123D4D97A}"/>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 name="Rechthoek 12">
              <a:extLst>
                <a:ext uri="{FF2B5EF4-FFF2-40B4-BE49-F238E27FC236}">
                  <a16:creationId xmlns:a16="http://schemas.microsoft.com/office/drawing/2014/main" id="{4F465291-34CB-2150-E4F6-3F17AAC02421}"/>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4" name="Ovaal 13">
              <a:extLst>
                <a:ext uri="{FF2B5EF4-FFF2-40B4-BE49-F238E27FC236}">
                  <a16:creationId xmlns:a16="http://schemas.microsoft.com/office/drawing/2014/main" id="{A32ADE78-9D33-8D97-B074-951FCED8DB99}"/>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 name="Rechthoek 14">
              <a:extLst>
                <a:ext uri="{FF2B5EF4-FFF2-40B4-BE49-F238E27FC236}">
                  <a16:creationId xmlns:a16="http://schemas.microsoft.com/office/drawing/2014/main" id="{B8BA398F-BD5B-9CCE-7366-8401706989A4}"/>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6" name="Groep 15">
              <a:extLst>
                <a:ext uri="{FF2B5EF4-FFF2-40B4-BE49-F238E27FC236}">
                  <a16:creationId xmlns:a16="http://schemas.microsoft.com/office/drawing/2014/main" id="{CDC505D3-7713-3FFF-8D72-E7C0B389DE59}"/>
                </a:ext>
              </a:extLst>
            </p:cNvPr>
            <p:cNvGrpSpPr/>
            <p:nvPr userDrawn="1"/>
          </p:nvGrpSpPr>
          <p:grpSpPr>
            <a:xfrm>
              <a:off x="-3414453" y="3534339"/>
              <a:ext cx="514284" cy="506545"/>
              <a:chOff x="12617641" y="3403239"/>
              <a:chExt cx="752963" cy="741634"/>
            </a:xfrm>
          </p:grpSpPr>
          <p:grpSp>
            <p:nvGrpSpPr>
              <p:cNvPr id="33" name="Groep 32">
                <a:extLst>
                  <a:ext uri="{FF2B5EF4-FFF2-40B4-BE49-F238E27FC236}">
                    <a16:creationId xmlns:a16="http://schemas.microsoft.com/office/drawing/2014/main" id="{FB827EDC-B331-1ED5-DE8E-E14A84DD673A}"/>
                  </a:ext>
                </a:extLst>
              </p:cNvPr>
              <p:cNvGrpSpPr/>
              <p:nvPr userDrawn="1"/>
            </p:nvGrpSpPr>
            <p:grpSpPr>
              <a:xfrm>
                <a:off x="12771530" y="3403239"/>
                <a:ext cx="467176" cy="448491"/>
                <a:chOff x="12782157" y="3403239"/>
                <a:chExt cx="467176" cy="448491"/>
              </a:xfrm>
            </p:grpSpPr>
            <p:grpSp>
              <p:nvGrpSpPr>
                <p:cNvPr id="36" name="Groep 35">
                  <a:extLst>
                    <a:ext uri="{FF2B5EF4-FFF2-40B4-BE49-F238E27FC236}">
                      <a16:creationId xmlns:a16="http://schemas.microsoft.com/office/drawing/2014/main" id="{3FF31C92-EC27-50E2-4D86-4E19F9883997}"/>
                    </a:ext>
                  </a:extLst>
                </p:cNvPr>
                <p:cNvGrpSpPr/>
                <p:nvPr userDrawn="1"/>
              </p:nvGrpSpPr>
              <p:grpSpPr>
                <a:xfrm>
                  <a:off x="12782157" y="3403239"/>
                  <a:ext cx="412976" cy="396132"/>
                  <a:chOff x="13554906" y="3320109"/>
                  <a:chExt cx="443917" cy="425811"/>
                </a:xfrm>
              </p:grpSpPr>
              <p:grpSp>
                <p:nvGrpSpPr>
                  <p:cNvPr id="43" name="Groep 42">
                    <a:extLst>
                      <a:ext uri="{FF2B5EF4-FFF2-40B4-BE49-F238E27FC236}">
                        <a16:creationId xmlns:a16="http://schemas.microsoft.com/office/drawing/2014/main" id="{BF8C4EB6-B737-A181-D87A-30791E9B96CA}"/>
                      </a:ext>
                    </a:extLst>
                  </p:cNvPr>
                  <p:cNvGrpSpPr/>
                  <p:nvPr userDrawn="1"/>
                </p:nvGrpSpPr>
                <p:grpSpPr>
                  <a:xfrm>
                    <a:off x="13554906" y="3320109"/>
                    <a:ext cx="443917" cy="425811"/>
                    <a:chOff x="12909684" y="1276143"/>
                    <a:chExt cx="443917" cy="425811"/>
                  </a:xfrm>
                </p:grpSpPr>
                <p:sp>
                  <p:nvSpPr>
                    <p:cNvPr id="46" name="Rechthoek 45">
                      <a:extLst>
                        <a:ext uri="{FF2B5EF4-FFF2-40B4-BE49-F238E27FC236}">
                          <a16:creationId xmlns:a16="http://schemas.microsoft.com/office/drawing/2014/main" id="{93F0B661-D7F0-2DFD-EF6F-DFCA7E60DD5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2332BAE2-9F34-2559-B4C9-FD5BDDB2B23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Ovaal 47">
                      <a:extLst>
                        <a:ext uri="{FF2B5EF4-FFF2-40B4-BE49-F238E27FC236}">
                          <a16:creationId xmlns:a16="http://schemas.microsoft.com/office/drawing/2014/main" id="{6CDDF950-0EBF-0B86-2078-43036B87914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4" name="Afbeelding 43">
                    <a:extLst>
                      <a:ext uri="{FF2B5EF4-FFF2-40B4-BE49-F238E27FC236}">
                        <a16:creationId xmlns:a16="http://schemas.microsoft.com/office/drawing/2014/main" id="{2D8A04A6-4492-C8F8-E611-421B0E5F8F1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5" name="Afbeelding 44">
                    <a:extLst>
                      <a:ext uri="{FF2B5EF4-FFF2-40B4-BE49-F238E27FC236}">
                        <a16:creationId xmlns:a16="http://schemas.microsoft.com/office/drawing/2014/main" id="{CA16BBFD-31DB-C954-34B0-CEB3DAC460F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7" name="Groep 36">
                  <a:extLst>
                    <a:ext uri="{FF2B5EF4-FFF2-40B4-BE49-F238E27FC236}">
                      <a16:creationId xmlns:a16="http://schemas.microsoft.com/office/drawing/2014/main" id="{919A039E-3D01-ECFD-6439-822EF143DAB1}"/>
                    </a:ext>
                  </a:extLst>
                </p:cNvPr>
                <p:cNvGrpSpPr/>
                <p:nvPr userDrawn="1"/>
              </p:nvGrpSpPr>
              <p:grpSpPr>
                <a:xfrm>
                  <a:off x="13103513" y="3705268"/>
                  <a:ext cx="145820" cy="146462"/>
                  <a:chOff x="13096169" y="3602278"/>
                  <a:chExt cx="145820" cy="146462"/>
                </a:xfrm>
              </p:grpSpPr>
              <p:sp>
                <p:nvSpPr>
                  <p:cNvPr id="41" name="Rechthoek 40">
                    <a:extLst>
                      <a:ext uri="{FF2B5EF4-FFF2-40B4-BE49-F238E27FC236}">
                        <a16:creationId xmlns:a16="http://schemas.microsoft.com/office/drawing/2014/main" id="{2B3626F2-D44F-1275-7CEF-4457D18D05D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5051741A-C949-09C0-55E4-55C0D39A0F5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66AB9058-C084-AC82-3AF9-3637F00B5EE5}"/>
                    </a:ext>
                  </a:extLst>
                </p:cNvPr>
                <p:cNvGrpSpPr/>
                <p:nvPr userDrawn="1"/>
              </p:nvGrpSpPr>
              <p:grpSpPr>
                <a:xfrm rot="10800000">
                  <a:off x="13061402" y="3665637"/>
                  <a:ext cx="145820" cy="146462"/>
                  <a:chOff x="13096169" y="3602278"/>
                  <a:chExt cx="145820" cy="146462"/>
                </a:xfrm>
              </p:grpSpPr>
              <p:sp>
                <p:nvSpPr>
                  <p:cNvPr id="39" name="Rechthoek 38">
                    <a:extLst>
                      <a:ext uri="{FF2B5EF4-FFF2-40B4-BE49-F238E27FC236}">
                        <a16:creationId xmlns:a16="http://schemas.microsoft.com/office/drawing/2014/main" id="{F84CB722-6F8C-D7AB-A828-838A37389B1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0" name="Rechthoek 39">
                    <a:extLst>
                      <a:ext uri="{FF2B5EF4-FFF2-40B4-BE49-F238E27FC236}">
                        <a16:creationId xmlns:a16="http://schemas.microsoft.com/office/drawing/2014/main" id="{A144ADDA-6DC2-F2F7-7F91-43C0850BFE7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4" name="Rechthoek 33">
                <a:extLst>
                  <a:ext uri="{FF2B5EF4-FFF2-40B4-BE49-F238E27FC236}">
                    <a16:creationId xmlns:a16="http://schemas.microsoft.com/office/drawing/2014/main" id="{1DBA312D-EC97-889F-D4C5-B9200205BF9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5" name="Gelijkbenige driehoek 34">
                <a:extLst>
                  <a:ext uri="{FF2B5EF4-FFF2-40B4-BE49-F238E27FC236}">
                    <a16:creationId xmlns:a16="http://schemas.microsoft.com/office/drawing/2014/main" id="{09A15732-BDE8-542D-5863-316C755C92B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7" name="ICOON_info">
              <a:extLst>
                <a:ext uri="{FF2B5EF4-FFF2-40B4-BE49-F238E27FC236}">
                  <a16:creationId xmlns:a16="http://schemas.microsoft.com/office/drawing/2014/main" id="{5F28FCA8-57DD-0197-93A4-84AFCD5EE482}"/>
                </a:ext>
              </a:extLst>
            </p:cNvPr>
            <p:cNvGrpSpPr/>
            <p:nvPr userDrawn="1"/>
          </p:nvGrpSpPr>
          <p:grpSpPr>
            <a:xfrm>
              <a:off x="-376736" y="4055594"/>
              <a:ext cx="283685" cy="283685"/>
              <a:chOff x="-510741" y="5913713"/>
              <a:chExt cx="267555" cy="267555"/>
            </a:xfrm>
          </p:grpSpPr>
          <p:sp>
            <p:nvSpPr>
              <p:cNvPr id="31" name="Ovaal 30">
                <a:extLst>
                  <a:ext uri="{FF2B5EF4-FFF2-40B4-BE49-F238E27FC236}">
                    <a16:creationId xmlns:a16="http://schemas.microsoft.com/office/drawing/2014/main" id="{49AF1E89-FCE1-D59C-6D39-7A08E0D23AD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 name="Graphic 163" descr="Informatie">
                <a:extLst>
                  <a:ext uri="{FF2B5EF4-FFF2-40B4-BE49-F238E27FC236}">
                    <a16:creationId xmlns:a16="http://schemas.microsoft.com/office/drawing/2014/main" id="{540B2A05-F9AC-7D19-C7C7-DE0BEF7CCDD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C03A1CCB-33FB-0D14-6F44-E3A9704533F7}"/>
                </a:ext>
              </a:extLst>
            </p:cNvPr>
            <p:cNvGrpSpPr/>
            <p:nvPr userDrawn="1"/>
          </p:nvGrpSpPr>
          <p:grpSpPr>
            <a:xfrm>
              <a:off x="-938434" y="4364020"/>
              <a:ext cx="627798" cy="576693"/>
              <a:chOff x="-938434" y="4570310"/>
              <a:chExt cx="627798" cy="576693"/>
            </a:xfrm>
          </p:grpSpPr>
          <p:grpSp>
            <p:nvGrpSpPr>
              <p:cNvPr id="26" name="Inspireren">
                <a:extLst>
                  <a:ext uri="{FF2B5EF4-FFF2-40B4-BE49-F238E27FC236}">
                    <a16:creationId xmlns:a16="http://schemas.microsoft.com/office/drawing/2014/main" id="{5202B4B5-D03A-6A4F-130F-687E22D4B16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8" name="Freeform 12">
                  <a:extLst>
                    <a:ext uri="{FF2B5EF4-FFF2-40B4-BE49-F238E27FC236}">
                      <a16:creationId xmlns:a16="http://schemas.microsoft.com/office/drawing/2014/main" id="{BC546C31-F5B8-F00D-920A-7E308F668E5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9" name="Freeform 13">
                  <a:extLst>
                    <a:ext uri="{FF2B5EF4-FFF2-40B4-BE49-F238E27FC236}">
                      <a16:creationId xmlns:a16="http://schemas.microsoft.com/office/drawing/2014/main" id="{42CD2A26-4A3D-0A9E-6C94-FADFA142843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4">
                  <a:extLst>
                    <a:ext uri="{FF2B5EF4-FFF2-40B4-BE49-F238E27FC236}">
                      <a16:creationId xmlns:a16="http://schemas.microsoft.com/office/drawing/2014/main" id="{D398C350-960B-03E2-ABA1-A85D931A1A8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7" name="Tekstvak 26">
                <a:extLst>
                  <a:ext uri="{FF2B5EF4-FFF2-40B4-BE49-F238E27FC236}">
                    <a16:creationId xmlns:a16="http://schemas.microsoft.com/office/drawing/2014/main" id="{90EE85A7-9A15-E82D-7576-416C83AF37AC}"/>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19" name="Groep 18">
              <a:extLst>
                <a:ext uri="{FF2B5EF4-FFF2-40B4-BE49-F238E27FC236}">
                  <a16:creationId xmlns:a16="http://schemas.microsoft.com/office/drawing/2014/main" id="{58360425-34BB-7D4E-B0EF-D56C36FC9766}"/>
                </a:ext>
              </a:extLst>
            </p:cNvPr>
            <p:cNvGrpSpPr/>
            <p:nvPr userDrawn="1"/>
          </p:nvGrpSpPr>
          <p:grpSpPr>
            <a:xfrm>
              <a:off x="-3365484" y="1226982"/>
              <a:ext cx="446937" cy="406485"/>
              <a:chOff x="-3563526" y="1409294"/>
              <a:chExt cx="354190" cy="322133"/>
            </a:xfrm>
          </p:grpSpPr>
          <p:grpSp>
            <p:nvGrpSpPr>
              <p:cNvPr id="20" name="Groep 19">
                <a:extLst>
                  <a:ext uri="{FF2B5EF4-FFF2-40B4-BE49-F238E27FC236}">
                    <a16:creationId xmlns:a16="http://schemas.microsoft.com/office/drawing/2014/main" id="{D0D8D8EA-1FFA-DC03-0677-7B12ADBF2FD6}"/>
                  </a:ext>
                </a:extLst>
              </p:cNvPr>
              <p:cNvGrpSpPr/>
              <p:nvPr userDrawn="1"/>
            </p:nvGrpSpPr>
            <p:grpSpPr>
              <a:xfrm>
                <a:off x="-3499992" y="1409294"/>
                <a:ext cx="225195" cy="195499"/>
                <a:chOff x="8987389" y="1361199"/>
                <a:chExt cx="2200275" cy="1914525"/>
              </a:xfrm>
            </p:grpSpPr>
            <p:sp>
              <p:nvSpPr>
                <p:cNvPr id="22" name="Vrije vorm: vorm 21">
                  <a:extLst>
                    <a:ext uri="{FF2B5EF4-FFF2-40B4-BE49-F238E27FC236}">
                      <a16:creationId xmlns:a16="http://schemas.microsoft.com/office/drawing/2014/main" id="{305D4A91-0C36-8B95-B019-10AD9F87D53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3" name="Groep 22">
                  <a:extLst>
                    <a:ext uri="{FF2B5EF4-FFF2-40B4-BE49-F238E27FC236}">
                      <a16:creationId xmlns:a16="http://schemas.microsoft.com/office/drawing/2014/main" id="{368CC647-2084-DC74-39C7-3472C3D5944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4" name="Vrije vorm: vorm 23">
                    <a:extLst>
                      <a:ext uri="{FF2B5EF4-FFF2-40B4-BE49-F238E27FC236}">
                        <a16:creationId xmlns:a16="http://schemas.microsoft.com/office/drawing/2014/main" id="{789CE6E4-DDE0-7703-952A-785709CD61D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5" name="Vrije vorm: vorm 24">
                    <a:extLst>
                      <a:ext uri="{FF2B5EF4-FFF2-40B4-BE49-F238E27FC236}">
                        <a16:creationId xmlns:a16="http://schemas.microsoft.com/office/drawing/2014/main" id="{5E232362-C8EC-E5D3-F552-0E8E1F88041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1" name="Tekstvak 20">
                <a:extLst>
                  <a:ext uri="{FF2B5EF4-FFF2-40B4-BE49-F238E27FC236}">
                    <a16:creationId xmlns:a16="http://schemas.microsoft.com/office/drawing/2014/main" id="{CE3D5211-797B-ABF8-8A93-B51A9707807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1349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4">
    <p:spTree>
      <p:nvGrpSpPr>
        <p:cNvPr id="1" name=""/>
        <p:cNvGrpSpPr/>
        <p:nvPr/>
      </p:nvGrpSpPr>
      <p:grpSpPr>
        <a:xfrm>
          <a:off x="0" y="0"/>
          <a:ext cx="0" cy="0"/>
          <a:chOff x="0" y="0"/>
          <a:chExt cx="0" cy="0"/>
        </a:xfrm>
      </p:grpSpPr>
      <p:sp>
        <p:nvSpPr>
          <p:cNvPr id="7" name="Tijdelijke aanduiding voor afbeelding 16">
            <a:extLst>
              <a:ext uri="{FF2B5EF4-FFF2-40B4-BE49-F238E27FC236}">
                <a16:creationId xmlns:a16="http://schemas.microsoft.com/office/drawing/2014/main" id="{345EB16D-6C07-A3A7-C8EF-77B6EB08CFCA}"/>
              </a:ext>
            </a:extLst>
          </p:cNvPr>
          <p:cNvSpPr>
            <a:spLocks noGrp="1"/>
          </p:cNvSpPr>
          <p:nvPr>
            <p:ph type="pic" sz="quarter" idx="13" hasCustomPrompt="1"/>
          </p:nvPr>
        </p:nvSpPr>
        <p:spPr>
          <a:xfrm>
            <a:off x="1204687" y="1814286"/>
            <a:ext cx="5863770" cy="3643085"/>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lvl1pPr>
              <a:defRPr/>
            </a:lvl1pPr>
          </a:lstStyle>
          <a:p>
            <a:r>
              <a:rPr lang="nl-NL" dirty="0"/>
              <a:t>Title </a:t>
            </a:r>
            <a:r>
              <a:rPr lang="nl-NL" dirty="0" err="1"/>
              <a:t>goes</a:t>
            </a:r>
            <a:r>
              <a:rPr lang="nl-NL" dirty="0"/>
              <a:t> here</a:t>
            </a:r>
            <a:endParaRPr lang="en-GB" dirty="0"/>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a:t>
            </a:fld>
            <a:endParaRPr lang="en-GB" dirty="0"/>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Custom #4</a:t>
            </a:r>
          </a:p>
        </p:txBody>
      </p:sp>
      <p:grpSp>
        <p:nvGrpSpPr>
          <p:cNvPr id="5" name="INSTRUCTION">
            <a:extLst>
              <a:ext uri="{FF2B5EF4-FFF2-40B4-BE49-F238E27FC236}">
                <a16:creationId xmlns:a16="http://schemas.microsoft.com/office/drawing/2014/main" id="{B363B4BC-660F-1009-3438-1B55FDF3B068}"/>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DFAF34E6-1AA3-BCFC-9137-2FF3ADFFE044}"/>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E704BC09-1D9B-D092-E6F9-6FE2DED28C7C}"/>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A7F8C2B0-F4D2-617E-A9EA-637C20EA98F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D4A22585-9B16-848E-03FD-55DE9D7CF1E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BAC1470C-9968-0128-1046-E5819ABC52AF}"/>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55D5E45-0893-B0B4-CD07-A88BFFFC71A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A80811B9-36F7-DDDE-B671-34DFC153B08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6A1B1C9B-0982-912E-4346-576967CC7E20}"/>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7CE0C77D-5AEF-CB17-2396-E24DC62B6DA0}"/>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480C35BB-83B3-A5E6-E7B3-40DCA33A0859}"/>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3BA383B2-11F7-2AD9-A22B-8634DF84DC7D}"/>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AD78E440-34A8-0D9D-0A2E-0BB5698A01E8}"/>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075C3B1D-0444-E93A-0DC9-B32800B1C295}"/>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411236DF-7524-CFCB-3476-23A187B8D44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DBB99C89-658C-0DEE-DBAB-F6DF7898E8A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05D6F6A9-7824-28A5-3544-35E60F77E25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D82A12A5-8BC4-B727-83B4-DD46F1139F5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F6C6E924-76EC-652B-BF00-2A0082096A3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AC64C1A5-1051-2CF4-0848-169A3E70C455}"/>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322D296E-B234-EBD7-90A6-59EED8D32E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56916F65-0C15-0270-FDBC-984AB0D5434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2DEEAE6B-90C4-1A11-2F35-FAC7B069769F}"/>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A8118F3-F514-0179-2B82-B62EEF71C13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BBB96390-779B-2462-3C1D-18131C25213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19A85CDD-2CFA-571C-EB57-DD934FCD602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9D5A31E1-ECFA-F2FB-2686-020348684FA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0EE35539-F4F0-C67D-26BD-D7DC9F990210}"/>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93F83CE2-389E-329A-9BE1-50FA7B02C08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5923D4E0-D396-469C-6B8E-31DCEA24EF3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B2DF9228-1C68-0571-9843-7278A8480AB9}"/>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D309083F-00DA-B9E5-8236-D5042FB5377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6AB84804-07E6-59E4-70CE-B877F125C9B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1A30D9F0-2E34-3C10-BF44-3CF7455EFA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05B598AE-F4F7-C756-2036-7AE12D52D76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D6C305F2-3BFB-928F-082E-23E37A4D1A4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F8DFEDCC-E904-5DFC-1ECD-9A44E436373F}"/>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DA4DA024-7465-20A0-E5D1-8FC0324988E0}"/>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249612A2-2B03-C417-BD46-A5B59216D30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C34B0607-D71B-E547-FB7B-7B87EACB156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D8BF9584-2FE5-2C1D-EA1B-B29ACBD20A4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86D9B74A-CD58-7A0B-E988-F7028EC94141}"/>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810385CB-2139-23B5-B218-14378207763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404197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p>
            <a:r>
              <a:rPr lang="nl-NL"/>
              <a:t>Title goes here</a:t>
            </a:r>
            <a:endParaRPr lang="en-GB" dirty="0"/>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a:t>
            </a:fld>
            <a:endParaRPr lang="en-GB" dirty="0"/>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Custom #5</a:t>
            </a:r>
          </a:p>
        </p:txBody>
      </p:sp>
      <p:sp>
        <p:nvSpPr>
          <p:cNvPr id="5" name="Tijdelijke aanduiding voor afbeelding 16">
            <a:extLst>
              <a:ext uri="{FF2B5EF4-FFF2-40B4-BE49-F238E27FC236}">
                <a16:creationId xmlns:a16="http://schemas.microsoft.com/office/drawing/2014/main" id="{097D3568-BED0-E753-083E-C86FFB3B280D}"/>
              </a:ext>
            </a:extLst>
          </p:cNvPr>
          <p:cNvSpPr>
            <a:spLocks noGrp="1"/>
          </p:cNvSpPr>
          <p:nvPr>
            <p:ph type="pic" sz="quarter" idx="14" hasCustomPrompt="1"/>
          </p:nvPr>
        </p:nvSpPr>
        <p:spPr>
          <a:xfrm>
            <a:off x="5123543" y="1814286"/>
            <a:ext cx="5863770" cy="3643085"/>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6" name="INSTRUCTION">
            <a:extLst>
              <a:ext uri="{FF2B5EF4-FFF2-40B4-BE49-F238E27FC236}">
                <a16:creationId xmlns:a16="http://schemas.microsoft.com/office/drawing/2014/main" id="{5D5AB300-4DA9-FD86-33AE-B47C1A7E3C0C}"/>
              </a:ext>
            </a:extLst>
          </p:cNvPr>
          <p:cNvGrpSpPr/>
          <p:nvPr userDrawn="1"/>
        </p:nvGrpSpPr>
        <p:grpSpPr>
          <a:xfrm>
            <a:off x="12377595" y="0"/>
            <a:ext cx="3693113" cy="5054643"/>
            <a:chOff x="-3786164" y="0"/>
            <a:chExt cx="3693113" cy="5054643"/>
          </a:xfrm>
        </p:grpSpPr>
        <p:sp>
          <p:nvSpPr>
            <p:cNvPr id="7" name="Rechthoek 6">
              <a:extLst>
                <a:ext uri="{FF2B5EF4-FFF2-40B4-BE49-F238E27FC236}">
                  <a16:creationId xmlns:a16="http://schemas.microsoft.com/office/drawing/2014/main" id="{DB286456-4F71-17CE-AB3B-8F2303243695}"/>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0730A949-EDF9-97EC-7EBA-646F8FA1EB13}"/>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29C6FDBA-7DF7-A3D8-776F-AD9C0842650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223BD816-294B-6061-87EE-4414B13A145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22FDCDF5-46AC-2034-FBD8-2662FFB6795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A39336E4-7981-247F-C6F1-21EB05BDAF9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FD885712-AFA0-8A34-1854-54A57FD9B17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008C34EF-72AF-1F36-AABF-806E55A8CCBE}"/>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575222EC-36CC-0394-144F-604580963B0E}"/>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03B92EB2-074A-F0B2-4284-205FAD938F7F}"/>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D96186F1-4444-7CDA-48D0-36B200FDBA57}"/>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FF078E09-72EA-D5E3-241F-D80E9C2261CA}"/>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C83AF6C7-8092-A6AB-C0C5-77B9E2CE1D08}"/>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FF5C9E9E-F8B0-B277-AF4C-BFC9C501E72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4F1098A8-26DD-06E6-E641-D839AD0323C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C17A3A52-8EFD-8048-45EA-7564869CC42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1D3D8E8A-5D88-5469-6E57-75C21DAAB06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75DDE359-E0A6-B364-C024-7311A00F75AD}"/>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B6311CE7-A21C-092D-7C9D-4F5A2A508B3E}"/>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E3970E51-0459-5EA3-075D-9F851ABB73F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B6041FAB-B4CA-8BF7-5114-19AC090DAEF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DDB4A2CF-2910-E114-AC1B-A38A186A0DDD}"/>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CB7EB5C3-B27C-1374-AB1A-0F9008265B0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D05622B2-F0B7-0B27-552A-9B18BF9B7F0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0E39195F-DC9B-C19D-7442-066D0E3D13B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87F7F1DE-5960-178D-9957-C22D9B1853F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73E9B773-3672-8B03-9C29-67B85B77C4E7}"/>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3AD2260C-5899-1869-384D-F3CE067C2E8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FAF743CB-30F6-587C-85BC-FB9BFF2A596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D61C68B6-F436-A129-0103-A3E6E372ADF9}"/>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B79D49FB-C297-FF16-CC00-4DD48870E59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2F25B28A-CD31-3F03-C3F3-F5532CE7D76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DDB34996-3328-1226-48ED-B020DB49AD3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9050C5E1-C70E-9C68-D9FA-02CAB6510BD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A5E1CD04-5FD7-9767-41A6-FDE233D0C2C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242BDAC-55B2-14E8-B5FF-814AEEA40C3D}"/>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0C7C8A08-3E2A-1162-8DD8-A5A8B53A898B}"/>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590A9B62-F552-8744-9B80-6BDF69A3BD4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DB96C67F-35F7-27F7-8C32-20350747A33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A9517932-4071-E718-FE16-55CBE7058F7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EC814FDF-6D01-FCC3-B0EE-84F3A8E7151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06E580C5-AC4F-7D21-11CE-48A2A215B219}"/>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1189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6">
    <p:bg>
      <p:bgPr>
        <a:solidFill>
          <a:srgbClr val="FFFFFF"/>
        </a:solidFill>
        <a:effectLst/>
      </p:bgPr>
    </p:bg>
    <p:spTree>
      <p:nvGrpSpPr>
        <p:cNvPr id="1" name=""/>
        <p:cNvGrpSpPr/>
        <p:nvPr/>
      </p:nvGrpSpPr>
      <p:grpSpPr>
        <a:xfrm>
          <a:off x="0" y="0"/>
          <a:ext cx="0" cy="0"/>
          <a:chOff x="0" y="0"/>
          <a:chExt cx="0" cy="0"/>
        </a:xfrm>
      </p:grpSpPr>
      <p:pic>
        <p:nvPicPr>
          <p:cNvPr id="76" name="Afbeelding 75">
            <a:extLst>
              <a:ext uri="{FF2B5EF4-FFF2-40B4-BE49-F238E27FC236}">
                <a16:creationId xmlns:a16="http://schemas.microsoft.com/office/drawing/2014/main" id="{F11C090B-A315-5C91-5D8F-993589E67F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029" y="591602"/>
            <a:ext cx="4964492" cy="6266397"/>
          </a:xfrm>
          <a:prstGeom prst="rect">
            <a:avLst/>
          </a:prstGeom>
        </p:spPr>
      </p:pic>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p>
            <a:r>
              <a:rPr lang="nl-NL"/>
              <a:t>Title goes here</a:t>
            </a:r>
            <a:endParaRPr lang="en-GB" dirty="0"/>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a:t>
            </a:fld>
            <a:endParaRPr lang="en-GB" dirty="0"/>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Custom #6</a:t>
            </a:r>
          </a:p>
        </p:txBody>
      </p:sp>
      <p:grpSp>
        <p:nvGrpSpPr>
          <p:cNvPr id="5" name="INSTRUCTION">
            <a:extLst>
              <a:ext uri="{FF2B5EF4-FFF2-40B4-BE49-F238E27FC236}">
                <a16:creationId xmlns:a16="http://schemas.microsoft.com/office/drawing/2014/main" id="{75DD9D33-202B-6899-A7F7-99913987FBDD}"/>
              </a:ext>
            </a:extLst>
          </p:cNvPr>
          <p:cNvGrpSpPr/>
          <p:nvPr userDrawn="1"/>
        </p:nvGrpSpPr>
        <p:grpSpPr>
          <a:xfrm>
            <a:off x="12377595" y="-1"/>
            <a:ext cx="3693386" cy="6640349"/>
            <a:chOff x="-3786165" y="-1"/>
            <a:chExt cx="3693386" cy="6640349"/>
          </a:xfrm>
        </p:grpSpPr>
        <p:sp>
          <p:nvSpPr>
            <p:cNvPr id="6" name="Rechthoek 5">
              <a:extLst>
                <a:ext uri="{FF2B5EF4-FFF2-40B4-BE49-F238E27FC236}">
                  <a16:creationId xmlns:a16="http://schemas.microsoft.com/office/drawing/2014/main" id="{09585C01-523D-AC04-63B7-8CB8F02AE763}"/>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Ovaal 6">
              <a:extLst>
                <a:ext uri="{FF2B5EF4-FFF2-40B4-BE49-F238E27FC236}">
                  <a16:creationId xmlns:a16="http://schemas.microsoft.com/office/drawing/2014/main" id="{20984A5A-F131-4BF4-9869-C353E9114EE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 name="Rechthoek 7">
              <a:extLst>
                <a:ext uri="{FF2B5EF4-FFF2-40B4-BE49-F238E27FC236}">
                  <a16:creationId xmlns:a16="http://schemas.microsoft.com/office/drawing/2014/main" id="{D7E20B74-7D5D-049B-ED65-9FF3094E4ADE}"/>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9" name="Ovaal 8">
              <a:extLst>
                <a:ext uri="{FF2B5EF4-FFF2-40B4-BE49-F238E27FC236}">
                  <a16:creationId xmlns:a16="http://schemas.microsoft.com/office/drawing/2014/main" id="{69398259-8233-7941-9853-2CF3D5CF0A1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 name="Rechthoek 9">
              <a:extLst>
                <a:ext uri="{FF2B5EF4-FFF2-40B4-BE49-F238E27FC236}">
                  <a16:creationId xmlns:a16="http://schemas.microsoft.com/office/drawing/2014/main" id="{26A06B40-5451-1B08-78DD-7126CE7858F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4EABD929-8916-8FEB-7233-950346FCD1A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154CCF5F-EDEB-2427-15DF-D4758954864C}"/>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F428C417-C3C0-810F-98D7-D0E3E4DC3B1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D9FEC2EE-FAD3-4FD3-FA2D-958C9AA42FD7}"/>
                </a:ext>
              </a:extLst>
            </p:cNvPr>
            <p:cNvGrpSpPr/>
            <p:nvPr userDrawn="1"/>
          </p:nvGrpSpPr>
          <p:grpSpPr>
            <a:xfrm>
              <a:off x="-2485819" y="3479783"/>
              <a:ext cx="1222990" cy="563933"/>
              <a:chOff x="-2485819" y="3399207"/>
              <a:chExt cx="1222990" cy="563933"/>
            </a:xfrm>
          </p:grpSpPr>
          <p:sp>
            <p:nvSpPr>
              <p:cNvPr id="55" name="Rechthoek 54">
                <a:extLst>
                  <a:ext uri="{FF2B5EF4-FFF2-40B4-BE49-F238E27FC236}">
                    <a16:creationId xmlns:a16="http://schemas.microsoft.com/office/drawing/2014/main" id="{93D4046F-6CF2-87BE-79E3-F9E7061A9F1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8493541F-5996-56F2-83D8-3225B54AE9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7" name="Groep 56">
                <a:extLst>
                  <a:ext uri="{FF2B5EF4-FFF2-40B4-BE49-F238E27FC236}">
                    <a16:creationId xmlns:a16="http://schemas.microsoft.com/office/drawing/2014/main" id="{43F18F60-B241-351F-536D-5DC389F3E42C}"/>
                  </a:ext>
                </a:extLst>
              </p:cNvPr>
              <p:cNvGrpSpPr/>
              <p:nvPr userDrawn="1"/>
            </p:nvGrpSpPr>
            <p:grpSpPr>
              <a:xfrm>
                <a:off x="-2403869" y="3460544"/>
                <a:ext cx="155951" cy="131922"/>
                <a:chOff x="12968836" y="3354170"/>
                <a:chExt cx="404806" cy="342433"/>
              </a:xfrm>
            </p:grpSpPr>
            <p:sp>
              <p:nvSpPr>
                <p:cNvPr id="70" name="Rechthoek: afgeronde hoeken 69">
                  <a:extLst>
                    <a:ext uri="{FF2B5EF4-FFF2-40B4-BE49-F238E27FC236}">
                      <a16:creationId xmlns:a16="http://schemas.microsoft.com/office/drawing/2014/main" id="{43E107B2-D1A2-72A2-41FA-7467CB318E2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BAA2188E-DAC5-C72A-AEB0-BDBF92BF80F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F9088517-F43A-EBE0-0169-FA0ABE7F39F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BA646467-598B-F5AE-AEB4-D7A0270F619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982B8980-029E-EA8E-2FA3-9492245BBD8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2D77F7AC-C8E7-9EFA-A319-AECB566BDE9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C90CA8E9-94F8-C7D8-181E-D8FC4076A584}"/>
                  </a:ext>
                </a:extLst>
              </p:cNvPr>
              <p:cNvGrpSpPr/>
              <p:nvPr userDrawn="1"/>
            </p:nvGrpSpPr>
            <p:grpSpPr>
              <a:xfrm>
                <a:off x="-2423424" y="3690208"/>
                <a:ext cx="166739" cy="218963"/>
                <a:chOff x="12940828" y="3950597"/>
                <a:chExt cx="432813" cy="568367"/>
              </a:xfrm>
            </p:grpSpPr>
            <p:grpSp>
              <p:nvGrpSpPr>
                <p:cNvPr id="62" name="Groep 61">
                  <a:extLst>
                    <a:ext uri="{FF2B5EF4-FFF2-40B4-BE49-F238E27FC236}">
                      <a16:creationId xmlns:a16="http://schemas.microsoft.com/office/drawing/2014/main" id="{E8EC30BF-EE1B-B7F8-E9E8-F1C65AD1B1DC}"/>
                    </a:ext>
                  </a:extLst>
                </p:cNvPr>
                <p:cNvGrpSpPr/>
                <p:nvPr userDrawn="1"/>
              </p:nvGrpSpPr>
              <p:grpSpPr>
                <a:xfrm>
                  <a:off x="13000382" y="4006891"/>
                  <a:ext cx="373259" cy="315747"/>
                  <a:chOff x="12968836" y="3354170"/>
                  <a:chExt cx="404806" cy="342433"/>
                </a:xfrm>
              </p:grpSpPr>
              <p:sp>
                <p:nvSpPr>
                  <p:cNvPr id="64" name="Rechthoek: afgeronde hoeken 63">
                    <a:extLst>
                      <a:ext uri="{FF2B5EF4-FFF2-40B4-BE49-F238E27FC236}">
                        <a16:creationId xmlns:a16="http://schemas.microsoft.com/office/drawing/2014/main" id="{3E91DEF0-22C9-3507-8EEC-F96DEA9D6EE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81CD2612-9A39-2732-2A19-88B1D2DA01B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F2665B27-322A-2DD8-E363-48A1F0D1BF5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50E7AFE9-86BF-8477-257F-D3C2EDC827A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ADDF5FF3-7DE8-6BF9-BCF0-30C51CDF707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F50E6A79-EEA0-6F66-B93E-7DBDF7EE96E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3" name="Boog 62">
                  <a:extLst>
                    <a:ext uri="{FF2B5EF4-FFF2-40B4-BE49-F238E27FC236}">
                      <a16:creationId xmlns:a16="http://schemas.microsoft.com/office/drawing/2014/main" id="{79CF4826-97D7-DE67-8C81-07C65798E57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59" name="Tekstvak 58">
                <a:extLst>
                  <a:ext uri="{FF2B5EF4-FFF2-40B4-BE49-F238E27FC236}">
                    <a16:creationId xmlns:a16="http://schemas.microsoft.com/office/drawing/2014/main" id="{489AE3B1-DFAE-1F1D-8504-2F7CB8B273A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0" name="Tekstvak 59">
                <a:extLst>
                  <a:ext uri="{FF2B5EF4-FFF2-40B4-BE49-F238E27FC236}">
                    <a16:creationId xmlns:a16="http://schemas.microsoft.com/office/drawing/2014/main" id="{D200B1A1-330F-59C4-ECD3-1D269F3AA865}"/>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1" name="Vrije vorm: vorm 60">
                <a:extLst>
                  <a:ext uri="{FF2B5EF4-FFF2-40B4-BE49-F238E27FC236}">
                    <a16:creationId xmlns:a16="http://schemas.microsoft.com/office/drawing/2014/main" id="{27DFBA19-E9A4-0373-374B-CD458E33EC93}"/>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7" name="Groep 16">
              <a:extLst>
                <a:ext uri="{FF2B5EF4-FFF2-40B4-BE49-F238E27FC236}">
                  <a16:creationId xmlns:a16="http://schemas.microsoft.com/office/drawing/2014/main" id="{0EB07808-AC7D-3D1E-1233-58039BE5E06D}"/>
                </a:ext>
              </a:extLst>
            </p:cNvPr>
            <p:cNvGrpSpPr/>
            <p:nvPr userDrawn="1"/>
          </p:nvGrpSpPr>
          <p:grpSpPr>
            <a:xfrm>
              <a:off x="-3786165" y="5680652"/>
              <a:ext cx="3693386" cy="959696"/>
              <a:chOff x="-3786437" y="6163468"/>
              <a:chExt cx="3693386" cy="959696"/>
            </a:xfrm>
          </p:grpSpPr>
          <p:sp>
            <p:nvSpPr>
              <p:cNvPr id="45" name="Rechthoek 44">
                <a:extLst>
                  <a:ext uri="{FF2B5EF4-FFF2-40B4-BE49-F238E27FC236}">
                    <a16:creationId xmlns:a16="http://schemas.microsoft.com/office/drawing/2014/main" id="{D2ED2937-F1D7-B2B0-176A-13B9EE25E0A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6" name="ICOON_info">
                <a:extLst>
                  <a:ext uri="{FF2B5EF4-FFF2-40B4-BE49-F238E27FC236}">
                    <a16:creationId xmlns:a16="http://schemas.microsoft.com/office/drawing/2014/main" id="{82047AF5-CB56-D93C-0369-7D22A862F5BE}"/>
                  </a:ext>
                </a:extLst>
              </p:cNvPr>
              <p:cNvGrpSpPr/>
              <p:nvPr userDrawn="1"/>
            </p:nvGrpSpPr>
            <p:grpSpPr>
              <a:xfrm>
                <a:off x="-376736" y="6163468"/>
                <a:ext cx="283685" cy="283685"/>
                <a:chOff x="-510741" y="5913713"/>
                <a:chExt cx="267555" cy="267555"/>
              </a:xfrm>
            </p:grpSpPr>
            <p:sp>
              <p:nvSpPr>
                <p:cNvPr id="53" name="Ovaal 52">
                  <a:extLst>
                    <a:ext uri="{FF2B5EF4-FFF2-40B4-BE49-F238E27FC236}">
                      <a16:creationId xmlns:a16="http://schemas.microsoft.com/office/drawing/2014/main" id="{5C389F78-2591-5655-15F0-8FAF053F97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4" name="Graphic 163" descr="Informatie">
                  <a:extLst>
                    <a:ext uri="{FF2B5EF4-FFF2-40B4-BE49-F238E27FC236}">
                      <a16:creationId xmlns:a16="http://schemas.microsoft.com/office/drawing/2014/main" id="{8D4B8379-3D07-3E2B-2C8A-3164E78D011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7" name="Groep 46">
                <a:extLst>
                  <a:ext uri="{FF2B5EF4-FFF2-40B4-BE49-F238E27FC236}">
                    <a16:creationId xmlns:a16="http://schemas.microsoft.com/office/drawing/2014/main" id="{B79EB739-0EEB-E1A2-AEBE-DF356768B77E}"/>
                  </a:ext>
                </a:extLst>
              </p:cNvPr>
              <p:cNvGrpSpPr/>
              <p:nvPr userDrawn="1"/>
            </p:nvGrpSpPr>
            <p:grpSpPr>
              <a:xfrm>
                <a:off x="-938434" y="6420818"/>
                <a:ext cx="627798" cy="576693"/>
                <a:chOff x="-938434" y="4570310"/>
                <a:chExt cx="627798" cy="576693"/>
              </a:xfrm>
            </p:grpSpPr>
            <p:grpSp>
              <p:nvGrpSpPr>
                <p:cNvPr id="48" name="Inspireren">
                  <a:extLst>
                    <a:ext uri="{FF2B5EF4-FFF2-40B4-BE49-F238E27FC236}">
                      <a16:creationId xmlns:a16="http://schemas.microsoft.com/office/drawing/2014/main" id="{54AF5229-376C-9D3D-7F25-A0E522C23A7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0" name="Freeform 12">
                    <a:extLst>
                      <a:ext uri="{FF2B5EF4-FFF2-40B4-BE49-F238E27FC236}">
                        <a16:creationId xmlns:a16="http://schemas.microsoft.com/office/drawing/2014/main" id="{5C081ADA-60D1-0C6A-9CAF-DAAD1A7D58E8}"/>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1" name="Freeform 13">
                    <a:extLst>
                      <a:ext uri="{FF2B5EF4-FFF2-40B4-BE49-F238E27FC236}">
                        <a16:creationId xmlns:a16="http://schemas.microsoft.com/office/drawing/2014/main" id="{A6D9AAE5-F352-4EB1-B8F4-0D0997C44C1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2" name="Freeform 14">
                    <a:extLst>
                      <a:ext uri="{FF2B5EF4-FFF2-40B4-BE49-F238E27FC236}">
                        <a16:creationId xmlns:a16="http://schemas.microsoft.com/office/drawing/2014/main" id="{D4FD9B01-A4B1-72D9-13A7-C9EDD4493EE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49" name="Tekstvak 48">
                  <a:extLst>
                    <a:ext uri="{FF2B5EF4-FFF2-40B4-BE49-F238E27FC236}">
                      <a16:creationId xmlns:a16="http://schemas.microsoft.com/office/drawing/2014/main" id="{D7DCB898-CF0F-D429-3EB5-BE3141AFA24C}"/>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 name="Groep 17">
              <a:extLst>
                <a:ext uri="{FF2B5EF4-FFF2-40B4-BE49-F238E27FC236}">
                  <a16:creationId xmlns:a16="http://schemas.microsoft.com/office/drawing/2014/main" id="{CF8451A8-3CF8-E424-9E34-A86C9A8A62B7}"/>
                </a:ext>
              </a:extLst>
            </p:cNvPr>
            <p:cNvGrpSpPr/>
            <p:nvPr userDrawn="1"/>
          </p:nvGrpSpPr>
          <p:grpSpPr>
            <a:xfrm>
              <a:off x="-3426806" y="5129582"/>
              <a:ext cx="514284" cy="506545"/>
              <a:chOff x="12617641" y="3403239"/>
              <a:chExt cx="752963" cy="741634"/>
            </a:xfrm>
          </p:grpSpPr>
          <p:grpSp>
            <p:nvGrpSpPr>
              <p:cNvPr id="29" name="Groep 28">
                <a:extLst>
                  <a:ext uri="{FF2B5EF4-FFF2-40B4-BE49-F238E27FC236}">
                    <a16:creationId xmlns:a16="http://schemas.microsoft.com/office/drawing/2014/main" id="{6A9BC0C4-8269-9130-7ECB-5C7D1FDFB22D}"/>
                  </a:ext>
                </a:extLst>
              </p:cNvPr>
              <p:cNvGrpSpPr/>
              <p:nvPr userDrawn="1"/>
            </p:nvGrpSpPr>
            <p:grpSpPr>
              <a:xfrm>
                <a:off x="12771530" y="3403239"/>
                <a:ext cx="467176" cy="448491"/>
                <a:chOff x="12782157" y="3403239"/>
                <a:chExt cx="467176" cy="448491"/>
              </a:xfrm>
            </p:grpSpPr>
            <p:grpSp>
              <p:nvGrpSpPr>
                <p:cNvPr id="32" name="Groep 31">
                  <a:extLst>
                    <a:ext uri="{FF2B5EF4-FFF2-40B4-BE49-F238E27FC236}">
                      <a16:creationId xmlns:a16="http://schemas.microsoft.com/office/drawing/2014/main" id="{62D36D3B-0BE5-5340-8AD4-4484C9AFE844}"/>
                    </a:ext>
                  </a:extLst>
                </p:cNvPr>
                <p:cNvGrpSpPr/>
                <p:nvPr userDrawn="1"/>
              </p:nvGrpSpPr>
              <p:grpSpPr>
                <a:xfrm>
                  <a:off x="12782157" y="3403239"/>
                  <a:ext cx="412976" cy="396132"/>
                  <a:chOff x="13554906" y="3320109"/>
                  <a:chExt cx="443917" cy="425811"/>
                </a:xfrm>
              </p:grpSpPr>
              <p:grpSp>
                <p:nvGrpSpPr>
                  <p:cNvPr id="39" name="Groep 38">
                    <a:extLst>
                      <a:ext uri="{FF2B5EF4-FFF2-40B4-BE49-F238E27FC236}">
                        <a16:creationId xmlns:a16="http://schemas.microsoft.com/office/drawing/2014/main" id="{D34084E2-F642-4DE3-B4BF-023CBC040294}"/>
                      </a:ext>
                    </a:extLst>
                  </p:cNvPr>
                  <p:cNvGrpSpPr/>
                  <p:nvPr userDrawn="1"/>
                </p:nvGrpSpPr>
                <p:grpSpPr>
                  <a:xfrm>
                    <a:off x="13554906" y="3320109"/>
                    <a:ext cx="443917" cy="425811"/>
                    <a:chOff x="12909684" y="1276143"/>
                    <a:chExt cx="443917" cy="425811"/>
                  </a:xfrm>
                </p:grpSpPr>
                <p:sp>
                  <p:nvSpPr>
                    <p:cNvPr id="42" name="Rechthoek 41">
                      <a:extLst>
                        <a:ext uri="{FF2B5EF4-FFF2-40B4-BE49-F238E27FC236}">
                          <a16:creationId xmlns:a16="http://schemas.microsoft.com/office/drawing/2014/main" id="{CB1B463F-F2BF-EE8A-D0FB-3197153F2852}"/>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9B0EF92-436D-C3AC-78B9-FC4EECBDF5F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4" name="Ovaal 43">
                      <a:extLst>
                        <a:ext uri="{FF2B5EF4-FFF2-40B4-BE49-F238E27FC236}">
                          <a16:creationId xmlns:a16="http://schemas.microsoft.com/office/drawing/2014/main" id="{F2D29199-EA5F-DF38-41ED-F356F5DA8E9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0" name="Afbeelding 39">
                    <a:extLst>
                      <a:ext uri="{FF2B5EF4-FFF2-40B4-BE49-F238E27FC236}">
                        <a16:creationId xmlns:a16="http://schemas.microsoft.com/office/drawing/2014/main" id="{96223DF4-2561-3476-1B30-10EDF7B00926}"/>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1" name="Afbeelding 40">
                    <a:extLst>
                      <a:ext uri="{FF2B5EF4-FFF2-40B4-BE49-F238E27FC236}">
                        <a16:creationId xmlns:a16="http://schemas.microsoft.com/office/drawing/2014/main" id="{CEF42391-6825-A42F-1181-83AEFCB4F437}"/>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3" name="Groep 32">
                  <a:extLst>
                    <a:ext uri="{FF2B5EF4-FFF2-40B4-BE49-F238E27FC236}">
                      <a16:creationId xmlns:a16="http://schemas.microsoft.com/office/drawing/2014/main" id="{20FFB9EE-E5FF-B480-E4B5-EE55A6A00211}"/>
                    </a:ext>
                  </a:extLst>
                </p:cNvPr>
                <p:cNvGrpSpPr/>
                <p:nvPr userDrawn="1"/>
              </p:nvGrpSpPr>
              <p:grpSpPr>
                <a:xfrm>
                  <a:off x="13103513" y="3705268"/>
                  <a:ext cx="145820" cy="146462"/>
                  <a:chOff x="13096169" y="3602278"/>
                  <a:chExt cx="145820" cy="146462"/>
                </a:xfrm>
              </p:grpSpPr>
              <p:sp>
                <p:nvSpPr>
                  <p:cNvPr id="37" name="Rechthoek 36">
                    <a:extLst>
                      <a:ext uri="{FF2B5EF4-FFF2-40B4-BE49-F238E27FC236}">
                        <a16:creationId xmlns:a16="http://schemas.microsoft.com/office/drawing/2014/main" id="{0FFF6592-BDC8-C371-516F-E416B0F304F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A96F141D-2307-45E9-402A-D7429EBFA55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4" name="Groep 33">
                  <a:extLst>
                    <a:ext uri="{FF2B5EF4-FFF2-40B4-BE49-F238E27FC236}">
                      <a16:creationId xmlns:a16="http://schemas.microsoft.com/office/drawing/2014/main" id="{C721246E-C1D7-4929-023A-0CFA385A5251}"/>
                    </a:ext>
                  </a:extLst>
                </p:cNvPr>
                <p:cNvGrpSpPr/>
                <p:nvPr userDrawn="1"/>
              </p:nvGrpSpPr>
              <p:grpSpPr>
                <a:xfrm rot="10800000">
                  <a:off x="13061402" y="3665637"/>
                  <a:ext cx="145820" cy="146462"/>
                  <a:chOff x="13096169" y="3602278"/>
                  <a:chExt cx="145820" cy="146462"/>
                </a:xfrm>
              </p:grpSpPr>
              <p:sp>
                <p:nvSpPr>
                  <p:cNvPr id="35" name="Rechthoek 34">
                    <a:extLst>
                      <a:ext uri="{FF2B5EF4-FFF2-40B4-BE49-F238E27FC236}">
                        <a16:creationId xmlns:a16="http://schemas.microsoft.com/office/drawing/2014/main" id="{7037DD3F-3595-AD11-C08C-2A51EEEE34F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6" name="Rechthoek 35">
                    <a:extLst>
                      <a:ext uri="{FF2B5EF4-FFF2-40B4-BE49-F238E27FC236}">
                        <a16:creationId xmlns:a16="http://schemas.microsoft.com/office/drawing/2014/main" id="{D6074542-5A8F-F8DB-3147-A68CF99CFE8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0" name="Rechthoek 29">
                <a:extLst>
                  <a:ext uri="{FF2B5EF4-FFF2-40B4-BE49-F238E27FC236}">
                    <a16:creationId xmlns:a16="http://schemas.microsoft.com/office/drawing/2014/main" id="{78CA011E-E98B-9DB2-9347-D3141FD9738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1" name="Gelijkbenige driehoek 30">
                <a:extLst>
                  <a:ext uri="{FF2B5EF4-FFF2-40B4-BE49-F238E27FC236}">
                    <a16:creationId xmlns:a16="http://schemas.microsoft.com/office/drawing/2014/main" id="{64B4346D-4A88-8576-AE70-911C53E1658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 name="Ovaal 18">
              <a:extLst>
                <a:ext uri="{FF2B5EF4-FFF2-40B4-BE49-F238E27FC236}">
                  <a16:creationId xmlns:a16="http://schemas.microsoft.com/office/drawing/2014/main" id="{DE2E95A3-75B5-6C23-DDC3-BC26AD0B4CDF}"/>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 name="Rechthoek 19">
              <a:extLst>
                <a:ext uri="{FF2B5EF4-FFF2-40B4-BE49-F238E27FC236}">
                  <a16:creationId xmlns:a16="http://schemas.microsoft.com/office/drawing/2014/main" id="{62326430-5A79-56D4-4666-582CBE337DE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1" name="Rechthoek 20">
              <a:extLst>
                <a:ext uri="{FF2B5EF4-FFF2-40B4-BE49-F238E27FC236}">
                  <a16:creationId xmlns:a16="http://schemas.microsoft.com/office/drawing/2014/main" id="{A6DC167B-8273-BD7B-7F02-C340DA9874C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2" name="Groep 21">
              <a:extLst>
                <a:ext uri="{FF2B5EF4-FFF2-40B4-BE49-F238E27FC236}">
                  <a16:creationId xmlns:a16="http://schemas.microsoft.com/office/drawing/2014/main" id="{B853C7C4-0D13-558B-DB63-FAD961B27DB5}"/>
                </a:ext>
              </a:extLst>
            </p:cNvPr>
            <p:cNvGrpSpPr/>
            <p:nvPr userDrawn="1"/>
          </p:nvGrpSpPr>
          <p:grpSpPr>
            <a:xfrm>
              <a:off x="-3365484" y="1226982"/>
              <a:ext cx="446937" cy="406485"/>
              <a:chOff x="-3563526" y="1409294"/>
              <a:chExt cx="354190" cy="322133"/>
            </a:xfrm>
          </p:grpSpPr>
          <p:grpSp>
            <p:nvGrpSpPr>
              <p:cNvPr id="23" name="Groep 22">
                <a:extLst>
                  <a:ext uri="{FF2B5EF4-FFF2-40B4-BE49-F238E27FC236}">
                    <a16:creationId xmlns:a16="http://schemas.microsoft.com/office/drawing/2014/main" id="{F6AACDE6-A411-4487-4D44-FAE94A3EAD55}"/>
                  </a:ext>
                </a:extLst>
              </p:cNvPr>
              <p:cNvGrpSpPr/>
              <p:nvPr userDrawn="1"/>
            </p:nvGrpSpPr>
            <p:grpSpPr>
              <a:xfrm>
                <a:off x="-3499992" y="1409294"/>
                <a:ext cx="225195" cy="195499"/>
                <a:chOff x="8987389" y="1361199"/>
                <a:chExt cx="2200275" cy="1914525"/>
              </a:xfrm>
            </p:grpSpPr>
            <p:sp>
              <p:nvSpPr>
                <p:cNvPr id="25" name="Vrije vorm: vorm 24">
                  <a:extLst>
                    <a:ext uri="{FF2B5EF4-FFF2-40B4-BE49-F238E27FC236}">
                      <a16:creationId xmlns:a16="http://schemas.microsoft.com/office/drawing/2014/main" id="{A3C2117B-1D03-F4B3-C481-D36BBAA4B7B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6" name="Groep 25">
                  <a:extLst>
                    <a:ext uri="{FF2B5EF4-FFF2-40B4-BE49-F238E27FC236}">
                      <a16:creationId xmlns:a16="http://schemas.microsoft.com/office/drawing/2014/main" id="{411EF59D-B20F-CC37-095E-82AC6B78D746}"/>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7" name="Vrije vorm: vorm 26">
                    <a:extLst>
                      <a:ext uri="{FF2B5EF4-FFF2-40B4-BE49-F238E27FC236}">
                        <a16:creationId xmlns:a16="http://schemas.microsoft.com/office/drawing/2014/main" id="{662E67D3-F576-606E-F8EB-21530773741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8" name="Vrije vorm: vorm 27">
                    <a:extLst>
                      <a:ext uri="{FF2B5EF4-FFF2-40B4-BE49-F238E27FC236}">
                        <a16:creationId xmlns:a16="http://schemas.microsoft.com/office/drawing/2014/main" id="{C13AD0C7-E49C-BD03-2900-4B852A928423}"/>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4" name="Tekstvak 23">
                <a:extLst>
                  <a:ext uri="{FF2B5EF4-FFF2-40B4-BE49-F238E27FC236}">
                    <a16:creationId xmlns:a16="http://schemas.microsoft.com/office/drawing/2014/main" id="{23982F7B-B12A-8A68-CEB8-8BFE6CBA356B}"/>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78" name="Tijdelijke aanduiding voor afbeelding 77">
            <a:extLst>
              <a:ext uri="{FF2B5EF4-FFF2-40B4-BE49-F238E27FC236}">
                <a16:creationId xmlns:a16="http://schemas.microsoft.com/office/drawing/2014/main" id="{B73FE5B2-4BA7-E720-C6FA-DA399F2460E1}"/>
              </a:ext>
            </a:extLst>
          </p:cNvPr>
          <p:cNvSpPr>
            <a:spLocks noGrp="1"/>
          </p:cNvSpPr>
          <p:nvPr>
            <p:ph type="pic" sz="quarter" idx="14" hasCustomPrompt="1"/>
          </p:nvPr>
        </p:nvSpPr>
        <p:spPr>
          <a:xfrm>
            <a:off x="7841304" y="904637"/>
            <a:ext cx="2426050" cy="5267563"/>
          </a:xfrm>
          <a:custGeom>
            <a:avLst/>
            <a:gdLst>
              <a:gd name="connsiteX0" fmla="*/ 243624 w 2426050"/>
              <a:gd name="connsiteY0" fmla="*/ 0 h 5267563"/>
              <a:gd name="connsiteX1" fmla="*/ 541127 w 2426050"/>
              <a:gd name="connsiteY1" fmla="*/ 0 h 5267563"/>
              <a:gd name="connsiteX2" fmla="*/ 541127 w 2426050"/>
              <a:gd name="connsiteY2" fmla="*/ 57271 h 5267563"/>
              <a:gd name="connsiteX3" fmla="*/ 678732 w 2426050"/>
              <a:gd name="connsiteY3" fmla="*/ 195049 h 5267563"/>
              <a:gd name="connsiteX4" fmla="*/ 1744312 w 2426050"/>
              <a:gd name="connsiteY4" fmla="*/ 195049 h 5267563"/>
              <a:gd name="connsiteX5" fmla="*/ 1881918 w 2426050"/>
              <a:gd name="connsiteY5" fmla="*/ 57271 h 5267563"/>
              <a:gd name="connsiteX6" fmla="*/ 1881918 w 2426050"/>
              <a:gd name="connsiteY6" fmla="*/ 0 h 5267563"/>
              <a:gd name="connsiteX7" fmla="*/ 2182426 w 2426050"/>
              <a:gd name="connsiteY7" fmla="*/ 0 h 5267563"/>
              <a:gd name="connsiteX8" fmla="*/ 2426050 w 2426050"/>
              <a:gd name="connsiteY8" fmla="*/ 243930 h 5267563"/>
              <a:gd name="connsiteX9" fmla="*/ 2426050 w 2426050"/>
              <a:gd name="connsiteY9" fmla="*/ 5023633 h 5267563"/>
              <a:gd name="connsiteX10" fmla="*/ 2182426 w 2426050"/>
              <a:gd name="connsiteY10" fmla="*/ 5267563 h 5267563"/>
              <a:gd name="connsiteX11" fmla="*/ 243624 w 2426050"/>
              <a:gd name="connsiteY11" fmla="*/ 5267563 h 5267563"/>
              <a:gd name="connsiteX12" fmla="*/ 0 w 2426050"/>
              <a:gd name="connsiteY12" fmla="*/ 5023633 h 5267563"/>
              <a:gd name="connsiteX13" fmla="*/ 0 w 2426050"/>
              <a:gd name="connsiteY13" fmla="*/ 243930 h 5267563"/>
              <a:gd name="connsiteX14" fmla="*/ 243624 w 2426050"/>
              <a:gd name="connsiteY14" fmla="*/ 0 h 526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6050" h="5267563">
                <a:moveTo>
                  <a:pt x="243624" y="0"/>
                </a:moveTo>
                <a:lnTo>
                  <a:pt x="541127" y="0"/>
                </a:lnTo>
                <a:lnTo>
                  <a:pt x="541127" y="57271"/>
                </a:lnTo>
                <a:cubicBezTo>
                  <a:pt x="541127" y="133363"/>
                  <a:pt x="602735" y="195049"/>
                  <a:pt x="678732" y="195049"/>
                </a:cubicBezTo>
                <a:lnTo>
                  <a:pt x="1744312" y="195049"/>
                </a:lnTo>
                <a:cubicBezTo>
                  <a:pt x="1820309" y="195049"/>
                  <a:pt x="1881918" y="133363"/>
                  <a:pt x="1881918" y="57271"/>
                </a:cubicBezTo>
                <a:lnTo>
                  <a:pt x="1881918" y="0"/>
                </a:lnTo>
                <a:lnTo>
                  <a:pt x="2182426" y="0"/>
                </a:lnTo>
                <a:cubicBezTo>
                  <a:pt x="2316976" y="0"/>
                  <a:pt x="2426050" y="109211"/>
                  <a:pt x="2426050" y="243930"/>
                </a:cubicBezTo>
                <a:lnTo>
                  <a:pt x="2426050" y="5023633"/>
                </a:lnTo>
                <a:cubicBezTo>
                  <a:pt x="2426050" y="5158352"/>
                  <a:pt x="2316976" y="5267563"/>
                  <a:pt x="2182426" y="5267563"/>
                </a:cubicBezTo>
                <a:lnTo>
                  <a:pt x="243624" y="5267563"/>
                </a:lnTo>
                <a:cubicBezTo>
                  <a:pt x="109074" y="5267563"/>
                  <a:pt x="0" y="5158352"/>
                  <a:pt x="0" y="5023633"/>
                </a:cubicBezTo>
                <a:lnTo>
                  <a:pt x="0" y="243930"/>
                </a:lnTo>
                <a:cubicBezTo>
                  <a:pt x="0" y="109211"/>
                  <a:pt x="109074" y="0"/>
                  <a:pt x="243624" y="0"/>
                </a:cubicBezTo>
                <a:close/>
              </a:path>
            </a:pathLst>
          </a:custGeom>
          <a:pattFill prst="pct60">
            <a:fgClr>
              <a:schemeClr val="bg1">
                <a:lumMod val="95000"/>
              </a:schemeClr>
            </a:fgClr>
            <a:bgClr>
              <a:schemeClr val="bg1">
                <a:lumMod val="85000"/>
              </a:schemeClr>
            </a:bgClr>
          </a:pattFill>
        </p:spPr>
        <p:txBody>
          <a:bodyPr wrap="square" tIns="0" bIns="1260000" anchor="ctr" anchorCtr="0">
            <a:noAutofit/>
          </a:bodyPr>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t>
            </a:r>
            <a:br>
              <a:rPr lang="en-GB" noProof="0" dirty="0"/>
            </a:br>
            <a:r>
              <a:rPr lang="en-GB" noProof="0" dirty="0"/>
              <a:t>and click on ‘Insert’.</a:t>
            </a:r>
          </a:p>
        </p:txBody>
      </p:sp>
    </p:spTree>
    <p:extLst>
      <p:ext uri="{BB962C8B-B14F-4D97-AF65-F5344CB8AC3E}">
        <p14:creationId xmlns:p14="http://schemas.microsoft.com/office/powerpoint/2010/main" val="67700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12314-92D6-D1B3-5C27-FCDD5B680101}"/>
              </a:ext>
            </a:extLst>
          </p:cNvPr>
          <p:cNvSpPr>
            <a:spLocks noGrp="1"/>
          </p:cNvSpPr>
          <p:nvPr>
            <p:ph type="title"/>
          </p:nvPr>
        </p:nvSpPr>
        <p:spPr/>
        <p:txBody>
          <a:bodyPr/>
          <a:lstStyle/>
          <a:p>
            <a:r>
              <a:rPr lang="en-GB"/>
              <a:t>Click to edit Master title style</a:t>
            </a:r>
            <a:endParaRPr lang="nl-NL"/>
          </a:p>
        </p:txBody>
      </p:sp>
      <p:sp>
        <p:nvSpPr>
          <p:cNvPr id="3" name="Date Placeholder 2">
            <a:extLst>
              <a:ext uri="{FF2B5EF4-FFF2-40B4-BE49-F238E27FC236}">
                <a16:creationId xmlns:a16="http://schemas.microsoft.com/office/drawing/2014/main" id="{4BAA4D9A-E7F0-8A4F-05AA-716ED2B45DD6}"/>
              </a:ext>
            </a:extLst>
          </p:cNvPr>
          <p:cNvSpPr>
            <a:spLocks noGrp="1"/>
          </p:cNvSpPr>
          <p:nvPr>
            <p:ph type="dt" sz="half" idx="10"/>
          </p:nvPr>
        </p:nvSpPr>
        <p:spPr/>
        <p:txBody>
          <a:bodyPr/>
          <a:lstStyle/>
          <a:p>
            <a:r>
              <a:rPr lang="nl-NL"/>
              <a:t>11/08/2023</a:t>
            </a:r>
            <a:endParaRPr lang="en-GB" dirty="0"/>
          </a:p>
        </p:txBody>
      </p:sp>
      <p:sp>
        <p:nvSpPr>
          <p:cNvPr id="4" name="Slide Number Placeholder 3">
            <a:extLst>
              <a:ext uri="{FF2B5EF4-FFF2-40B4-BE49-F238E27FC236}">
                <a16:creationId xmlns:a16="http://schemas.microsoft.com/office/drawing/2014/main" id="{5426496B-2695-AE61-E7D9-FE8C2FBBE63A}"/>
              </a:ext>
            </a:extLst>
          </p:cNvPr>
          <p:cNvSpPr>
            <a:spLocks noGrp="1"/>
          </p:cNvSpPr>
          <p:nvPr>
            <p:ph type="sldNum" sz="quarter" idx="11"/>
          </p:nvPr>
        </p:nvSpPr>
        <p:spPr/>
        <p:txBody>
          <a:bodyPr/>
          <a:lstStyle/>
          <a:p>
            <a:fld id="{9E843DB9-9987-4157-AB9C-CEA8D7D910BB}" type="slidenum">
              <a:rPr lang="en-GB" smtClean="0"/>
              <a:pPr/>
              <a:t>‹#›</a:t>
            </a:fld>
            <a:endParaRPr lang="en-GB" dirty="0"/>
          </a:p>
        </p:txBody>
      </p:sp>
    </p:spTree>
    <p:extLst>
      <p:ext uri="{BB962C8B-B14F-4D97-AF65-F5344CB8AC3E}">
        <p14:creationId xmlns:p14="http://schemas.microsoft.com/office/powerpoint/2010/main" val="48073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15869-1552-C38C-0CC6-860164568BC2}"/>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nl-NL"/>
          </a:p>
        </p:txBody>
      </p:sp>
      <p:sp>
        <p:nvSpPr>
          <p:cNvPr id="3" name="Subtitle 2">
            <a:extLst>
              <a:ext uri="{FF2B5EF4-FFF2-40B4-BE49-F238E27FC236}">
                <a16:creationId xmlns:a16="http://schemas.microsoft.com/office/drawing/2014/main" id="{AF1624DC-629F-6254-4310-CA330D658E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l-NL"/>
          </a:p>
        </p:txBody>
      </p:sp>
      <p:sp>
        <p:nvSpPr>
          <p:cNvPr id="4" name="Date Placeholder 3">
            <a:extLst>
              <a:ext uri="{FF2B5EF4-FFF2-40B4-BE49-F238E27FC236}">
                <a16:creationId xmlns:a16="http://schemas.microsoft.com/office/drawing/2014/main" id="{A08D0E62-1135-357E-F050-D221867A2D26}"/>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5" name="Footer Placeholder 4">
            <a:extLst>
              <a:ext uri="{FF2B5EF4-FFF2-40B4-BE49-F238E27FC236}">
                <a16:creationId xmlns:a16="http://schemas.microsoft.com/office/drawing/2014/main" id="{BA16D60E-CC87-74D4-EAE6-995E8E7FB31B}"/>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56E159EF-C5EC-6C7D-E0B5-AC0D00A9DFFA}"/>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42859695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9C5FE-1F25-FEBB-44E7-A25C81B010EA}"/>
              </a:ext>
            </a:extLst>
          </p:cNvPr>
          <p:cNvSpPr>
            <a:spLocks noGrp="1"/>
          </p:cNvSpPr>
          <p:nvPr>
            <p:ph type="title"/>
          </p:nvPr>
        </p:nvSpPr>
        <p:spPr/>
        <p:txBody>
          <a:bodyPr/>
          <a:lstStyle/>
          <a:p>
            <a:r>
              <a:rPr lang="en-GB"/>
              <a:t>Click to edit Master title style</a:t>
            </a:r>
            <a:endParaRPr lang="nl-NL"/>
          </a:p>
        </p:txBody>
      </p:sp>
      <p:sp>
        <p:nvSpPr>
          <p:cNvPr id="3" name="Content Placeholder 2">
            <a:extLst>
              <a:ext uri="{FF2B5EF4-FFF2-40B4-BE49-F238E27FC236}">
                <a16:creationId xmlns:a16="http://schemas.microsoft.com/office/drawing/2014/main" id="{1877B54B-1E5E-CE81-1A1E-28A61263606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4" name="Date Placeholder 3">
            <a:extLst>
              <a:ext uri="{FF2B5EF4-FFF2-40B4-BE49-F238E27FC236}">
                <a16:creationId xmlns:a16="http://schemas.microsoft.com/office/drawing/2014/main" id="{93CED3C8-7B3C-A157-A565-B72C5249003E}"/>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5" name="Footer Placeholder 4">
            <a:extLst>
              <a:ext uri="{FF2B5EF4-FFF2-40B4-BE49-F238E27FC236}">
                <a16:creationId xmlns:a16="http://schemas.microsoft.com/office/drawing/2014/main" id="{5E3D38D0-0342-C6F0-CBD4-2BBF7A70C1D1}"/>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BD19E23A-12CE-47A3-8B2B-2D023E4638EC}"/>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2549715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7D1AB-4CDC-FBF7-A3FF-5BC192D0B93F}"/>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nl-NL"/>
          </a:p>
        </p:txBody>
      </p:sp>
      <p:sp>
        <p:nvSpPr>
          <p:cNvPr id="3" name="Text Placeholder 2">
            <a:extLst>
              <a:ext uri="{FF2B5EF4-FFF2-40B4-BE49-F238E27FC236}">
                <a16:creationId xmlns:a16="http://schemas.microsoft.com/office/drawing/2014/main" id="{DADD5E87-0B9C-5684-906A-D568E89501E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FB36E119-53C0-9B09-2974-20BA10671A71}"/>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5" name="Footer Placeholder 4">
            <a:extLst>
              <a:ext uri="{FF2B5EF4-FFF2-40B4-BE49-F238E27FC236}">
                <a16:creationId xmlns:a16="http://schemas.microsoft.com/office/drawing/2014/main" id="{676CB814-ADE5-8E75-BB7B-AEA11AFBE84A}"/>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6ED25E67-67C9-7CB5-0160-409917E22DEF}"/>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1395988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72EB5-9931-96C3-9270-0C999056AC35}"/>
              </a:ext>
            </a:extLst>
          </p:cNvPr>
          <p:cNvSpPr>
            <a:spLocks noGrp="1"/>
          </p:cNvSpPr>
          <p:nvPr>
            <p:ph type="title"/>
          </p:nvPr>
        </p:nvSpPr>
        <p:spPr/>
        <p:txBody>
          <a:bodyPr/>
          <a:lstStyle/>
          <a:p>
            <a:r>
              <a:rPr lang="en-GB"/>
              <a:t>Click to edit Master title style</a:t>
            </a:r>
            <a:endParaRPr lang="nl-NL"/>
          </a:p>
        </p:txBody>
      </p:sp>
      <p:sp>
        <p:nvSpPr>
          <p:cNvPr id="3" name="Content Placeholder 2">
            <a:extLst>
              <a:ext uri="{FF2B5EF4-FFF2-40B4-BE49-F238E27FC236}">
                <a16:creationId xmlns:a16="http://schemas.microsoft.com/office/drawing/2014/main" id="{8F0880CB-0679-2635-E13C-29E706E0B3E3}"/>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4" name="Content Placeholder 3">
            <a:extLst>
              <a:ext uri="{FF2B5EF4-FFF2-40B4-BE49-F238E27FC236}">
                <a16:creationId xmlns:a16="http://schemas.microsoft.com/office/drawing/2014/main" id="{0AC749DF-6EB8-58C6-4507-E03377BB8242}"/>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5" name="Date Placeholder 4">
            <a:extLst>
              <a:ext uri="{FF2B5EF4-FFF2-40B4-BE49-F238E27FC236}">
                <a16:creationId xmlns:a16="http://schemas.microsoft.com/office/drawing/2014/main" id="{26F81920-D2E5-86E8-C054-87A224163606}"/>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6" name="Footer Placeholder 5">
            <a:extLst>
              <a:ext uri="{FF2B5EF4-FFF2-40B4-BE49-F238E27FC236}">
                <a16:creationId xmlns:a16="http://schemas.microsoft.com/office/drawing/2014/main" id="{3A94B4EB-0F6A-47D4-DE19-B072BE947C56}"/>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62393164-7C72-6AAE-E1FA-6BF4B1E8A1C8}"/>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1525069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457369"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7" name="Tijdelijke aanduiding voor tekst 6">
            <a:extLst>
              <a:ext uri="{FF2B5EF4-FFF2-40B4-BE49-F238E27FC236}">
                <a16:creationId xmlns:a16="http://schemas.microsoft.com/office/drawing/2014/main" id="{97C32B2A-67AA-E6D6-AE57-0F98725B06A3}"/>
              </a:ext>
            </a:extLst>
          </p:cNvPr>
          <p:cNvSpPr>
            <a:spLocks noGrp="1"/>
          </p:cNvSpPr>
          <p:nvPr>
            <p:ph type="body" sz="quarter" idx="21" hasCustomPrompt="1"/>
          </p:nvPr>
        </p:nvSpPr>
        <p:spPr>
          <a:xfrm>
            <a:off x="719139" y="1565274"/>
            <a:ext cx="10752136" cy="4435476"/>
          </a:xfrm>
        </p:spPr>
        <p:txBody>
          <a:body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grpSp>
        <p:nvGrpSpPr>
          <p:cNvPr id="3" name="INSTRUCTION">
            <a:extLst>
              <a:ext uri="{FF2B5EF4-FFF2-40B4-BE49-F238E27FC236}">
                <a16:creationId xmlns:a16="http://schemas.microsoft.com/office/drawing/2014/main" id="{C37508DF-E7AE-13D6-A5D2-641AAF042AAA}"/>
              </a:ext>
            </a:extLst>
          </p:cNvPr>
          <p:cNvGrpSpPr/>
          <p:nvPr userDrawn="1"/>
        </p:nvGrpSpPr>
        <p:grpSpPr>
          <a:xfrm>
            <a:off x="-3786437" y="0"/>
            <a:ext cx="3693386" cy="5359349"/>
            <a:chOff x="-3786437" y="0"/>
            <a:chExt cx="3693386" cy="5359349"/>
          </a:xfrm>
        </p:grpSpPr>
        <p:sp>
          <p:nvSpPr>
            <p:cNvPr id="6" name="Rechthoek 5">
              <a:extLst>
                <a:ext uri="{FF2B5EF4-FFF2-40B4-BE49-F238E27FC236}">
                  <a16:creationId xmlns:a16="http://schemas.microsoft.com/office/drawing/2014/main" id="{5B292675-B31B-1A55-BD2C-CDC7BD1CA441}"/>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8" name="Ovaal 7">
              <a:extLst>
                <a:ext uri="{FF2B5EF4-FFF2-40B4-BE49-F238E27FC236}">
                  <a16:creationId xmlns:a16="http://schemas.microsoft.com/office/drawing/2014/main" id="{A35309F0-A4E8-85D2-9E3E-CD49CB4ACB66}"/>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274035FC-FAE5-FEDD-FC98-2DC0B4C24BCC}"/>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0" name="Ovaal 9">
              <a:extLst>
                <a:ext uri="{FF2B5EF4-FFF2-40B4-BE49-F238E27FC236}">
                  <a16:creationId xmlns:a16="http://schemas.microsoft.com/office/drawing/2014/main" id="{37703DCC-3613-510F-E6EF-B5E9E9799A4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 name="Rechthoek 10">
              <a:extLst>
                <a:ext uri="{FF2B5EF4-FFF2-40B4-BE49-F238E27FC236}">
                  <a16:creationId xmlns:a16="http://schemas.microsoft.com/office/drawing/2014/main" id="{857BEEE0-E6E0-FB2B-D415-EFFBE579EBC6}"/>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2" name="Rechthoek 11">
              <a:extLst>
                <a:ext uri="{FF2B5EF4-FFF2-40B4-BE49-F238E27FC236}">
                  <a16:creationId xmlns:a16="http://schemas.microsoft.com/office/drawing/2014/main" id="{4A8D04C8-99F4-D837-93EF-0CEF277D20BF}"/>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3" name="Ovaal 12">
              <a:extLst>
                <a:ext uri="{FF2B5EF4-FFF2-40B4-BE49-F238E27FC236}">
                  <a16:creationId xmlns:a16="http://schemas.microsoft.com/office/drawing/2014/main" id="{885181B5-3158-376F-D926-AFA9513F2A9E}"/>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 name="Rechthoek 13">
              <a:extLst>
                <a:ext uri="{FF2B5EF4-FFF2-40B4-BE49-F238E27FC236}">
                  <a16:creationId xmlns:a16="http://schemas.microsoft.com/office/drawing/2014/main" id="{B32DDA1C-171F-8981-2B90-6FD5AE5AE94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5" name="Ovaal 14">
              <a:extLst>
                <a:ext uri="{FF2B5EF4-FFF2-40B4-BE49-F238E27FC236}">
                  <a16:creationId xmlns:a16="http://schemas.microsoft.com/office/drawing/2014/main" id="{3A02263B-52A4-C14C-D38F-4716D86E6247}"/>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 name="Rechthoek 15">
              <a:extLst>
                <a:ext uri="{FF2B5EF4-FFF2-40B4-BE49-F238E27FC236}">
                  <a16:creationId xmlns:a16="http://schemas.microsoft.com/office/drawing/2014/main" id="{A6C7CC7F-B1A2-466F-BC08-67D17171E5C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17" name="Ovaal 16">
              <a:extLst>
                <a:ext uri="{FF2B5EF4-FFF2-40B4-BE49-F238E27FC236}">
                  <a16:creationId xmlns:a16="http://schemas.microsoft.com/office/drawing/2014/main" id="{6A00CAE5-EA4E-3025-8837-EA7504B1D9F6}"/>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8" name="Rechthoek 17">
              <a:extLst>
                <a:ext uri="{FF2B5EF4-FFF2-40B4-BE49-F238E27FC236}">
                  <a16:creationId xmlns:a16="http://schemas.microsoft.com/office/drawing/2014/main" id="{F41C09A2-C386-E45E-EA25-81D4F1651481}"/>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19" name="Ovaal 18">
              <a:extLst>
                <a:ext uri="{FF2B5EF4-FFF2-40B4-BE49-F238E27FC236}">
                  <a16:creationId xmlns:a16="http://schemas.microsoft.com/office/drawing/2014/main" id="{9B5207EA-F3B0-451A-9F45-19370FF77EB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0" name="Rechthoek 19">
              <a:extLst>
                <a:ext uri="{FF2B5EF4-FFF2-40B4-BE49-F238E27FC236}">
                  <a16:creationId xmlns:a16="http://schemas.microsoft.com/office/drawing/2014/main" id="{205AA4BC-7FD8-C844-72C1-057F452AA55F}"/>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2" name="Ovaal 21">
              <a:extLst>
                <a:ext uri="{FF2B5EF4-FFF2-40B4-BE49-F238E27FC236}">
                  <a16:creationId xmlns:a16="http://schemas.microsoft.com/office/drawing/2014/main" id="{AFC95C2C-6412-7491-A24B-BE1590B0990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3" name="Rechthoek 22">
              <a:extLst>
                <a:ext uri="{FF2B5EF4-FFF2-40B4-BE49-F238E27FC236}">
                  <a16:creationId xmlns:a16="http://schemas.microsoft.com/office/drawing/2014/main" id="{032E4A44-CF49-C369-C31E-82F68244C42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4" name="Ovaal 23">
              <a:extLst>
                <a:ext uri="{FF2B5EF4-FFF2-40B4-BE49-F238E27FC236}">
                  <a16:creationId xmlns:a16="http://schemas.microsoft.com/office/drawing/2014/main" id="{B88B0BBC-401D-B4B9-EAB9-5F732A603B2F}"/>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5" name="Rechthoek 24">
              <a:extLst>
                <a:ext uri="{FF2B5EF4-FFF2-40B4-BE49-F238E27FC236}">
                  <a16:creationId xmlns:a16="http://schemas.microsoft.com/office/drawing/2014/main" id="{10923C3B-92D8-3D47-9A1C-12BD19290B4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6" name="Ovaal 25">
              <a:extLst>
                <a:ext uri="{FF2B5EF4-FFF2-40B4-BE49-F238E27FC236}">
                  <a16:creationId xmlns:a16="http://schemas.microsoft.com/office/drawing/2014/main" id="{00353552-7BED-DF4A-354B-1CF349A225AF}"/>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 name="Rechthoek 26">
              <a:extLst>
                <a:ext uri="{FF2B5EF4-FFF2-40B4-BE49-F238E27FC236}">
                  <a16:creationId xmlns:a16="http://schemas.microsoft.com/office/drawing/2014/main" id="{A0A50B02-FA01-EBB9-5857-57CCBD40A9D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28" name="Rechthoek 27">
              <a:extLst>
                <a:ext uri="{FF2B5EF4-FFF2-40B4-BE49-F238E27FC236}">
                  <a16:creationId xmlns:a16="http://schemas.microsoft.com/office/drawing/2014/main" id="{4D2AF1E5-FFF3-DAA5-C984-86F4BCBE2FB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9" name="ICOON_info">
              <a:extLst>
                <a:ext uri="{FF2B5EF4-FFF2-40B4-BE49-F238E27FC236}">
                  <a16:creationId xmlns:a16="http://schemas.microsoft.com/office/drawing/2014/main" id="{2748128B-F3DF-8964-29ED-3D14A1FB1EF0}"/>
                </a:ext>
              </a:extLst>
            </p:cNvPr>
            <p:cNvGrpSpPr/>
            <p:nvPr userDrawn="1"/>
          </p:nvGrpSpPr>
          <p:grpSpPr>
            <a:xfrm>
              <a:off x="-376736" y="4400186"/>
              <a:ext cx="283685" cy="283685"/>
              <a:chOff x="-510741" y="5913713"/>
              <a:chExt cx="267555" cy="267555"/>
            </a:xfrm>
          </p:grpSpPr>
          <p:sp>
            <p:nvSpPr>
              <p:cNvPr id="77" name="Ovaal 76">
                <a:extLst>
                  <a:ext uri="{FF2B5EF4-FFF2-40B4-BE49-F238E27FC236}">
                    <a16:creationId xmlns:a16="http://schemas.microsoft.com/office/drawing/2014/main" id="{DDA583D6-D08D-95C4-A005-D82C60FD32F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8" name="Graphic 163" descr="Informatie">
                <a:extLst>
                  <a:ext uri="{FF2B5EF4-FFF2-40B4-BE49-F238E27FC236}">
                    <a16:creationId xmlns:a16="http://schemas.microsoft.com/office/drawing/2014/main" id="{C4BE452F-9BDF-A18D-0A7D-AE18F26993F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0" name="VOORBEELD">
              <a:extLst>
                <a:ext uri="{FF2B5EF4-FFF2-40B4-BE49-F238E27FC236}">
                  <a16:creationId xmlns:a16="http://schemas.microsoft.com/office/drawing/2014/main" id="{BCBE1EE9-F025-40A3-DAA5-C00A8F948100}"/>
                </a:ext>
              </a:extLst>
            </p:cNvPr>
            <p:cNvGrpSpPr/>
            <p:nvPr userDrawn="1"/>
          </p:nvGrpSpPr>
          <p:grpSpPr>
            <a:xfrm>
              <a:off x="-3605171" y="458674"/>
              <a:ext cx="3234311" cy="558875"/>
              <a:chOff x="-3605171" y="458674"/>
              <a:chExt cx="3234311" cy="558875"/>
            </a:xfrm>
          </p:grpSpPr>
          <p:sp>
            <p:nvSpPr>
              <p:cNvPr id="37" name="Rechthoek 36">
                <a:extLst>
                  <a:ext uri="{FF2B5EF4-FFF2-40B4-BE49-F238E27FC236}">
                    <a16:creationId xmlns:a16="http://schemas.microsoft.com/office/drawing/2014/main" id="{6D4FCD4E-E6C2-559E-740C-BD3369614F9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38" name="Rechthoek 37">
                <a:extLst>
                  <a:ext uri="{FF2B5EF4-FFF2-40B4-BE49-F238E27FC236}">
                    <a16:creationId xmlns:a16="http://schemas.microsoft.com/office/drawing/2014/main" id="{F538757F-568E-4976-EF92-B878B06C834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39" name="Groep 38">
                <a:extLst>
                  <a:ext uri="{FF2B5EF4-FFF2-40B4-BE49-F238E27FC236}">
                    <a16:creationId xmlns:a16="http://schemas.microsoft.com/office/drawing/2014/main" id="{8174DEE9-1EA6-20ED-3D9D-BB2603482DE8}"/>
                  </a:ext>
                </a:extLst>
              </p:cNvPr>
              <p:cNvGrpSpPr/>
              <p:nvPr userDrawn="1"/>
            </p:nvGrpSpPr>
            <p:grpSpPr>
              <a:xfrm>
                <a:off x="-3386247" y="830871"/>
                <a:ext cx="139423" cy="109566"/>
                <a:chOff x="-2866744" y="827071"/>
                <a:chExt cx="168701" cy="132575"/>
              </a:xfrm>
            </p:grpSpPr>
            <p:grpSp>
              <p:nvGrpSpPr>
                <p:cNvPr id="70" name="Groep 69">
                  <a:extLst>
                    <a:ext uri="{FF2B5EF4-FFF2-40B4-BE49-F238E27FC236}">
                      <a16:creationId xmlns:a16="http://schemas.microsoft.com/office/drawing/2014/main" id="{0D1A3735-2B7A-FFC7-051F-149C12647F5A}"/>
                    </a:ext>
                  </a:extLst>
                </p:cNvPr>
                <p:cNvGrpSpPr/>
                <p:nvPr userDrawn="1"/>
              </p:nvGrpSpPr>
              <p:grpSpPr>
                <a:xfrm>
                  <a:off x="-2866744" y="827071"/>
                  <a:ext cx="168701" cy="132575"/>
                  <a:chOff x="-2866744" y="827071"/>
                  <a:chExt cx="168701" cy="132575"/>
                </a:xfrm>
              </p:grpSpPr>
              <p:cxnSp>
                <p:nvCxnSpPr>
                  <p:cNvPr id="72" name="Rechte verbindingslijn 71">
                    <a:extLst>
                      <a:ext uri="{FF2B5EF4-FFF2-40B4-BE49-F238E27FC236}">
                        <a16:creationId xmlns:a16="http://schemas.microsoft.com/office/drawing/2014/main" id="{64E3276F-49E2-0662-ECF1-9C8A1C0E0CB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F64D2204-8B03-7D97-0C60-288B8466B4C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C2604207-5D6B-EF04-2B7A-80E2010DBE8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B408F0C2-D0E5-B3F9-CDCB-95445399A27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724B0BCE-2A38-E76C-9EA2-2C55A56D349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1" name="Pijl: rechts 70">
                  <a:extLst>
                    <a:ext uri="{FF2B5EF4-FFF2-40B4-BE49-F238E27FC236}">
                      <a16:creationId xmlns:a16="http://schemas.microsoft.com/office/drawing/2014/main" id="{C33085CB-98EA-39F4-85B3-7753B789EE4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0" name="Groep 39">
                <a:extLst>
                  <a:ext uri="{FF2B5EF4-FFF2-40B4-BE49-F238E27FC236}">
                    <a16:creationId xmlns:a16="http://schemas.microsoft.com/office/drawing/2014/main" id="{211BFD96-7DB8-EEE6-7010-BCB6BA4C543F}"/>
                  </a:ext>
                </a:extLst>
              </p:cNvPr>
              <p:cNvGrpSpPr/>
              <p:nvPr userDrawn="1"/>
            </p:nvGrpSpPr>
            <p:grpSpPr>
              <a:xfrm>
                <a:off x="-3605171" y="830871"/>
                <a:ext cx="139423" cy="109566"/>
                <a:chOff x="-2866744" y="518074"/>
                <a:chExt cx="168701" cy="132575"/>
              </a:xfrm>
            </p:grpSpPr>
            <p:grpSp>
              <p:nvGrpSpPr>
                <p:cNvPr id="63" name="Groep 62">
                  <a:extLst>
                    <a:ext uri="{FF2B5EF4-FFF2-40B4-BE49-F238E27FC236}">
                      <a16:creationId xmlns:a16="http://schemas.microsoft.com/office/drawing/2014/main" id="{259AB1ED-C075-609B-CE74-4A2A4D0B2906}"/>
                    </a:ext>
                  </a:extLst>
                </p:cNvPr>
                <p:cNvGrpSpPr/>
                <p:nvPr userDrawn="1"/>
              </p:nvGrpSpPr>
              <p:grpSpPr>
                <a:xfrm>
                  <a:off x="-2866744" y="518074"/>
                  <a:ext cx="168701" cy="132575"/>
                  <a:chOff x="-2866744" y="518074"/>
                  <a:chExt cx="168701" cy="132575"/>
                </a:xfrm>
              </p:grpSpPr>
              <p:cxnSp>
                <p:nvCxnSpPr>
                  <p:cNvPr id="65" name="Rechte verbindingslijn 64">
                    <a:extLst>
                      <a:ext uri="{FF2B5EF4-FFF2-40B4-BE49-F238E27FC236}">
                        <a16:creationId xmlns:a16="http://schemas.microsoft.com/office/drawing/2014/main" id="{CD8A9BA2-5A9F-EAE1-5568-4D6D601A866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C2D8F76A-79D8-E421-3CA4-A053AE88A42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CB7FB5FE-22DF-9FE1-40CA-3DF9C034060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478A052E-2E80-0B09-7391-A07054E9D63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0EE57897-7B96-6834-B33C-C46342E0F2D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4" name="Pijl: rechts 63">
                  <a:extLst>
                    <a:ext uri="{FF2B5EF4-FFF2-40B4-BE49-F238E27FC236}">
                      <a16:creationId xmlns:a16="http://schemas.microsoft.com/office/drawing/2014/main" id="{1EE7C1A8-F4A3-2DFD-F5D3-1DBBD741C63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1" name="Rechte verbindingslijn 40">
                <a:extLst>
                  <a:ext uri="{FF2B5EF4-FFF2-40B4-BE49-F238E27FC236}">
                    <a16:creationId xmlns:a16="http://schemas.microsoft.com/office/drawing/2014/main" id="{D5EE5550-53F1-A3FA-624E-D82C7A4806C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2" name="Rechte verbindingslijn 41">
                <a:extLst>
                  <a:ext uri="{FF2B5EF4-FFF2-40B4-BE49-F238E27FC236}">
                    <a16:creationId xmlns:a16="http://schemas.microsoft.com/office/drawing/2014/main" id="{976EC336-1566-A061-0BFC-9D665C8B018C}"/>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3" name="Rechthoek 42">
                <a:extLst>
                  <a:ext uri="{FF2B5EF4-FFF2-40B4-BE49-F238E27FC236}">
                    <a16:creationId xmlns:a16="http://schemas.microsoft.com/office/drawing/2014/main" id="{4CCB6AAC-6450-2ED9-21C1-390C5D84C5D7}"/>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4" name="Rechthoek 43">
                <a:extLst>
                  <a:ext uri="{FF2B5EF4-FFF2-40B4-BE49-F238E27FC236}">
                    <a16:creationId xmlns:a16="http://schemas.microsoft.com/office/drawing/2014/main" id="{D09BBA50-E454-731D-445E-61A0E20CAFD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5" name="Groep 44">
                <a:extLst>
                  <a:ext uri="{FF2B5EF4-FFF2-40B4-BE49-F238E27FC236}">
                    <a16:creationId xmlns:a16="http://schemas.microsoft.com/office/drawing/2014/main" id="{E6299F8D-2530-CD86-49B1-B21076DE7FD1}"/>
                  </a:ext>
                </a:extLst>
              </p:cNvPr>
              <p:cNvGrpSpPr/>
              <p:nvPr userDrawn="1"/>
            </p:nvGrpSpPr>
            <p:grpSpPr>
              <a:xfrm>
                <a:off x="-2916763" y="769168"/>
                <a:ext cx="268738" cy="248381"/>
                <a:chOff x="-2916763" y="769168"/>
                <a:chExt cx="268738" cy="248381"/>
              </a:xfrm>
            </p:grpSpPr>
            <p:sp>
              <p:nvSpPr>
                <p:cNvPr id="55" name="Rechthoek 54">
                  <a:extLst>
                    <a:ext uri="{FF2B5EF4-FFF2-40B4-BE49-F238E27FC236}">
                      <a16:creationId xmlns:a16="http://schemas.microsoft.com/office/drawing/2014/main" id="{B6BA80A6-3080-1B5D-9BA0-2E05C4C2DFC4}"/>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6" name="Groep 55">
                  <a:extLst>
                    <a:ext uri="{FF2B5EF4-FFF2-40B4-BE49-F238E27FC236}">
                      <a16:creationId xmlns:a16="http://schemas.microsoft.com/office/drawing/2014/main" id="{9554AB33-7133-1169-EDDC-77429B9C16A4}"/>
                    </a:ext>
                  </a:extLst>
                </p:cNvPr>
                <p:cNvGrpSpPr/>
                <p:nvPr userDrawn="1"/>
              </p:nvGrpSpPr>
              <p:grpSpPr>
                <a:xfrm>
                  <a:off x="-2866744" y="827071"/>
                  <a:ext cx="168701" cy="132575"/>
                  <a:chOff x="-2866744" y="827071"/>
                  <a:chExt cx="168701" cy="132575"/>
                </a:xfrm>
              </p:grpSpPr>
              <p:cxnSp>
                <p:nvCxnSpPr>
                  <p:cNvPr id="58" name="Rechte verbindingslijn 57">
                    <a:extLst>
                      <a:ext uri="{FF2B5EF4-FFF2-40B4-BE49-F238E27FC236}">
                        <a16:creationId xmlns:a16="http://schemas.microsoft.com/office/drawing/2014/main" id="{493F65E9-5995-281D-B5E6-D05B120B5DB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A4968D85-AB9D-DDFB-CDDD-8430ECE46EB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2D3ADD57-7DCA-42D2-78F4-7D31A2159A9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DD1210B4-9A58-1F7D-1F68-6FA23AD1B64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BABAC1B0-CED1-B770-5C1F-1E28A9CF594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7" name="Pijl: rechts 56">
                  <a:extLst>
                    <a:ext uri="{FF2B5EF4-FFF2-40B4-BE49-F238E27FC236}">
                      <a16:creationId xmlns:a16="http://schemas.microsoft.com/office/drawing/2014/main" id="{0D11D7DA-EA9F-B8F5-4069-C3537032C7B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339BAD63-756C-7F62-0EBB-D926343AC496}"/>
                  </a:ext>
                </a:extLst>
              </p:cNvPr>
              <p:cNvGrpSpPr/>
              <p:nvPr userDrawn="1"/>
            </p:nvGrpSpPr>
            <p:grpSpPr>
              <a:xfrm>
                <a:off x="-2916763" y="460171"/>
                <a:ext cx="268738" cy="248381"/>
                <a:chOff x="-2916763" y="460171"/>
                <a:chExt cx="268738" cy="248381"/>
              </a:xfrm>
            </p:grpSpPr>
            <p:sp>
              <p:nvSpPr>
                <p:cNvPr id="47" name="Rechthoek 46">
                  <a:extLst>
                    <a:ext uri="{FF2B5EF4-FFF2-40B4-BE49-F238E27FC236}">
                      <a16:creationId xmlns:a16="http://schemas.microsoft.com/office/drawing/2014/main" id="{6390F651-A213-85A1-438F-DA57CB84D7D3}"/>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48" name="Groep 47">
                  <a:extLst>
                    <a:ext uri="{FF2B5EF4-FFF2-40B4-BE49-F238E27FC236}">
                      <a16:creationId xmlns:a16="http://schemas.microsoft.com/office/drawing/2014/main" id="{94CE63C1-616F-141B-D19C-DED13D6C6588}"/>
                    </a:ext>
                  </a:extLst>
                </p:cNvPr>
                <p:cNvGrpSpPr/>
                <p:nvPr userDrawn="1"/>
              </p:nvGrpSpPr>
              <p:grpSpPr>
                <a:xfrm>
                  <a:off x="-2866744" y="518074"/>
                  <a:ext cx="168701" cy="132575"/>
                  <a:chOff x="-2866744" y="518074"/>
                  <a:chExt cx="168701" cy="132575"/>
                </a:xfrm>
              </p:grpSpPr>
              <p:cxnSp>
                <p:nvCxnSpPr>
                  <p:cNvPr id="50" name="Rechte verbindingslijn 49">
                    <a:extLst>
                      <a:ext uri="{FF2B5EF4-FFF2-40B4-BE49-F238E27FC236}">
                        <a16:creationId xmlns:a16="http://schemas.microsoft.com/office/drawing/2014/main" id="{BF0C2197-CACB-B4E4-A2E4-566797CD7E2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190BDEE9-CF49-BE46-5188-5D10ACDA5F2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C52FB0A9-A081-6ABD-0104-4D69BC6047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90AADF44-5DAD-C621-08AF-BA2CECCC286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F34EBD70-3E9F-6F1F-5976-97222BD624C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9" name="Pijl: rechts 48">
                  <a:extLst>
                    <a:ext uri="{FF2B5EF4-FFF2-40B4-BE49-F238E27FC236}">
                      <a16:creationId xmlns:a16="http://schemas.microsoft.com/office/drawing/2014/main" id="{F2DF7555-0BAD-5E82-C70F-311AF2D096A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1" name="Groep 30">
              <a:extLst>
                <a:ext uri="{FF2B5EF4-FFF2-40B4-BE49-F238E27FC236}">
                  <a16:creationId xmlns:a16="http://schemas.microsoft.com/office/drawing/2014/main" id="{F5190837-775F-410C-906A-BB5FCA95E368}"/>
                </a:ext>
              </a:extLst>
            </p:cNvPr>
            <p:cNvGrpSpPr/>
            <p:nvPr userDrawn="1"/>
          </p:nvGrpSpPr>
          <p:grpSpPr>
            <a:xfrm>
              <a:off x="-938434" y="4663037"/>
              <a:ext cx="627798" cy="576693"/>
              <a:chOff x="-1753862" y="6112775"/>
              <a:chExt cx="759635" cy="697798"/>
            </a:xfrm>
          </p:grpSpPr>
          <p:grpSp>
            <p:nvGrpSpPr>
              <p:cNvPr id="32" name="Inspireren">
                <a:extLst>
                  <a:ext uri="{FF2B5EF4-FFF2-40B4-BE49-F238E27FC236}">
                    <a16:creationId xmlns:a16="http://schemas.microsoft.com/office/drawing/2014/main" id="{D30132C9-2025-5C44-46AE-221ABEFB5E0F}"/>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4" name="Freeform 12">
                  <a:extLst>
                    <a:ext uri="{FF2B5EF4-FFF2-40B4-BE49-F238E27FC236}">
                      <a16:creationId xmlns:a16="http://schemas.microsoft.com/office/drawing/2014/main" id="{DCDB8C4F-1930-4C7B-600F-9099358475E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5" name="Freeform 13">
                  <a:extLst>
                    <a:ext uri="{FF2B5EF4-FFF2-40B4-BE49-F238E27FC236}">
                      <a16:creationId xmlns:a16="http://schemas.microsoft.com/office/drawing/2014/main" id="{0F4655FA-5BCA-5C0C-7839-6BDE067F0D8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6" name="Freeform 14">
                  <a:extLst>
                    <a:ext uri="{FF2B5EF4-FFF2-40B4-BE49-F238E27FC236}">
                      <a16:creationId xmlns:a16="http://schemas.microsoft.com/office/drawing/2014/main" id="{4C8E76B0-8063-A13C-8266-95910CE7688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3" name="Tekstvak 32">
                <a:extLst>
                  <a:ext uri="{FF2B5EF4-FFF2-40B4-BE49-F238E27FC236}">
                    <a16:creationId xmlns:a16="http://schemas.microsoft.com/office/drawing/2014/main" id="{771AE7A1-D522-5F70-E69D-F82BBBDBD65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372783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5B879-CBDE-F4A1-168A-20D5E8B4275A}"/>
              </a:ext>
            </a:extLst>
          </p:cNvPr>
          <p:cNvSpPr>
            <a:spLocks noGrp="1"/>
          </p:cNvSpPr>
          <p:nvPr>
            <p:ph type="title"/>
          </p:nvPr>
        </p:nvSpPr>
        <p:spPr>
          <a:xfrm>
            <a:off x="839788" y="365125"/>
            <a:ext cx="10515600" cy="1325563"/>
          </a:xfrm>
        </p:spPr>
        <p:txBody>
          <a:bodyPr/>
          <a:lstStyle/>
          <a:p>
            <a:r>
              <a:rPr lang="en-GB"/>
              <a:t>Click to edit Master title style</a:t>
            </a:r>
            <a:endParaRPr lang="nl-NL"/>
          </a:p>
        </p:txBody>
      </p:sp>
      <p:sp>
        <p:nvSpPr>
          <p:cNvPr id="3" name="Text Placeholder 2">
            <a:extLst>
              <a:ext uri="{FF2B5EF4-FFF2-40B4-BE49-F238E27FC236}">
                <a16:creationId xmlns:a16="http://schemas.microsoft.com/office/drawing/2014/main" id="{DF245690-FE27-E6C6-ED02-97406705B2F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E11B742C-21E0-8AD2-8C6A-35211B900F34}"/>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5" name="Text Placeholder 4">
            <a:extLst>
              <a:ext uri="{FF2B5EF4-FFF2-40B4-BE49-F238E27FC236}">
                <a16:creationId xmlns:a16="http://schemas.microsoft.com/office/drawing/2014/main" id="{498AEEF2-78EC-6840-6691-3A6A8BCD1E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4CC7C5A-CA9A-E2DF-C80E-CFB6FBBDB4C2}"/>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7" name="Date Placeholder 6">
            <a:extLst>
              <a:ext uri="{FF2B5EF4-FFF2-40B4-BE49-F238E27FC236}">
                <a16:creationId xmlns:a16="http://schemas.microsoft.com/office/drawing/2014/main" id="{EE3CEE26-7C37-F420-B63B-0F7946BF7D48}"/>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8" name="Footer Placeholder 7">
            <a:extLst>
              <a:ext uri="{FF2B5EF4-FFF2-40B4-BE49-F238E27FC236}">
                <a16:creationId xmlns:a16="http://schemas.microsoft.com/office/drawing/2014/main" id="{91EBE66C-8047-8F4B-C7E9-0DE42E161A2D}"/>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82DA3579-8105-DD50-2CDB-987E06A0C311}"/>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29416184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00187-B573-32F1-32C4-3AA7E7BDEFC5}"/>
              </a:ext>
            </a:extLst>
          </p:cNvPr>
          <p:cNvSpPr>
            <a:spLocks noGrp="1"/>
          </p:cNvSpPr>
          <p:nvPr>
            <p:ph type="title"/>
          </p:nvPr>
        </p:nvSpPr>
        <p:spPr/>
        <p:txBody>
          <a:bodyPr/>
          <a:lstStyle/>
          <a:p>
            <a:r>
              <a:rPr lang="en-GB"/>
              <a:t>Click to edit Master title style</a:t>
            </a:r>
            <a:endParaRPr lang="nl-NL"/>
          </a:p>
        </p:txBody>
      </p:sp>
      <p:sp>
        <p:nvSpPr>
          <p:cNvPr id="3" name="Date Placeholder 2">
            <a:extLst>
              <a:ext uri="{FF2B5EF4-FFF2-40B4-BE49-F238E27FC236}">
                <a16:creationId xmlns:a16="http://schemas.microsoft.com/office/drawing/2014/main" id="{8FFF5E52-2087-0CCD-491C-0689C7D96636}"/>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4" name="Footer Placeholder 3">
            <a:extLst>
              <a:ext uri="{FF2B5EF4-FFF2-40B4-BE49-F238E27FC236}">
                <a16:creationId xmlns:a16="http://schemas.microsoft.com/office/drawing/2014/main" id="{7427EF02-8A1B-D5E1-668C-14EF3C9FCF5D}"/>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7884DD2E-CE3D-8F0B-688B-00F1F8EE3AC3}"/>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1025510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66427A-44E1-F549-E5AA-24436CB2CFBC}"/>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3" name="Footer Placeholder 2">
            <a:extLst>
              <a:ext uri="{FF2B5EF4-FFF2-40B4-BE49-F238E27FC236}">
                <a16:creationId xmlns:a16="http://schemas.microsoft.com/office/drawing/2014/main" id="{70C3729E-7666-C8A8-736E-8E21743DC278}"/>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C781B732-E29A-D56D-4F27-2FDFE13836AF}"/>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17620120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105E4-FE1B-B576-4C01-15B0593856B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nl-NL"/>
          </a:p>
        </p:txBody>
      </p:sp>
      <p:sp>
        <p:nvSpPr>
          <p:cNvPr id="3" name="Content Placeholder 2">
            <a:extLst>
              <a:ext uri="{FF2B5EF4-FFF2-40B4-BE49-F238E27FC236}">
                <a16:creationId xmlns:a16="http://schemas.microsoft.com/office/drawing/2014/main" id="{FD33BE46-9607-B822-F7F0-EA36487392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4" name="Text Placeholder 3">
            <a:extLst>
              <a:ext uri="{FF2B5EF4-FFF2-40B4-BE49-F238E27FC236}">
                <a16:creationId xmlns:a16="http://schemas.microsoft.com/office/drawing/2014/main" id="{761925B8-0315-CDDB-B7F5-9C32BF7086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499F29C-904A-4B37-A3BF-BEB3409E398E}"/>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6" name="Footer Placeholder 5">
            <a:extLst>
              <a:ext uri="{FF2B5EF4-FFF2-40B4-BE49-F238E27FC236}">
                <a16:creationId xmlns:a16="http://schemas.microsoft.com/office/drawing/2014/main" id="{59F5EB25-744A-96C5-8FC7-FA2853751BB1}"/>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4CCF119C-E203-79D6-683B-13BD88713A9F}"/>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4724168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61727-5BEC-9859-B4EF-CCA7476DF66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nl-NL"/>
          </a:p>
        </p:txBody>
      </p:sp>
      <p:sp>
        <p:nvSpPr>
          <p:cNvPr id="3" name="Picture Placeholder 2">
            <a:extLst>
              <a:ext uri="{FF2B5EF4-FFF2-40B4-BE49-F238E27FC236}">
                <a16:creationId xmlns:a16="http://schemas.microsoft.com/office/drawing/2014/main" id="{DCD69180-DDE7-F616-492A-2D7247F6F1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F801BB66-AA8D-ABF4-8148-4DD16C5BF9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6C30559-54EC-3E8C-7A6E-CF6D4D568A7F}"/>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6" name="Footer Placeholder 5">
            <a:extLst>
              <a:ext uri="{FF2B5EF4-FFF2-40B4-BE49-F238E27FC236}">
                <a16:creationId xmlns:a16="http://schemas.microsoft.com/office/drawing/2014/main" id="{08A70BA4-A425-F3DF-681C-0A65C9D47DB9}"/>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C1AB9DE9-3BEA-1BF5-6028-E11DD059B37D}"/>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39106350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46942-4786-F7F5-27F8-5B53DCD2120A}"/>
              </a:ext>
            </a:extLst>
          </p:cNvPr>
          <p:cNvSpPr>
            <a:spLocks noGrp="1"/>
          </p:cNvSpPr>
          <p:nvPr>
            <p:ph type="title"/>
          </p:nvPr>
        </p:nvSpPr>
        <p:spPr/>
        <p:txBody>
          <a:bodyPr/>
          <a:lstStyle/>
          <a:p>
            <a:r>
              <a:rPr lang="en-GB"/>
              <a:t>Click to edit Master title style</a:t>
            </a:r>
            <a:endParaRPr lang="nl-NL"/>
          </a:p>
        </p:txBody>
      </p:sp>
      <p:sp>
        <p:nvSpPr>
          <p:cNvPr id="3" name="Vertical Text Placeholder 2">
            <a:extLst>
              <a:ext uri="{FF2B5EF4-FFF2-40B4-BE49-F238E27FC236}">
                <a16:creationId xmlns:a16="http://schemas.microsoft.com/office/drawing/2014/main" id="{45BFDAEE-51C6-BD76-07FF-A0E443D1F8C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4" name="Date Placeholder 3">
            <a:extLst>
              <a:ext uri="{FF2B5EF4-FFF2-40B4-BE49-F238E27FC236}">
                <a16:creationId xmlns:a16="http://schemas.microsoft.com/office/drawing/2014/main" id="{2CE43A7B-0270-F52D-427F-CFE7D46AA97A}"/>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5" name="Footer Placeholder 4">
            <a:extLst>
              <a:ext uri="{FF2B5EF4-FFF2-40B4-BE49-F238E27FC236}">
                <a16:creationId xmlns:a16="http://schemas.microsoft.com/office/drawing/2014/main" id="{4310B178-F06B-4B19-935F-AAE5B99A8D42}"/>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AE5CBF69-FAEE-803B-8A67-8FBC612B8FFD}"/>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11852908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40F4F6-DE86-BB7F-D030-68BA85222547}"/>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nl-NL"/>
          </a:p>
        </p:txBody>
      </p:sp>
      <p:sp>
        <p:nvSpPr>
          <p:cNvPr id="3" name="Vertical Text Placeholder 2">
            <a:extLst>
              <a:ext uri="{FF2B5EF4-FFF2-40B4-BE49-F238E27FC236}">
                <a16:creationId xmlns:a16="http://schemas.microsoft.com/office/drawing/2014/main" id="{C630C57C-8CE5-EDD6-B02D-200C8EF417DD}"/>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4" name="Date Placeholder 3">
            <a:extLst>
              <a:ext uri="{FF2B5EF4-FFF2-40B4-BE49-F238E27FC236}">
                <a16:creationId xmlns:a16="http://schemas.microsoft.com/office/drawing/2014/main" id="{CBD9D8B8-C73D-41D8-FF65-7968C895BAC2}"/>
              </a:ext>
            </a:extLst>
          </p:cNvPr>
          <p:cNvSpPr>
            <a:spLocks noGrp="1"/>
          </p:cNvSpPr>
          <p:nvPr>
            <p:ph type="dt" sz="half" idx="10"/>
          </p:nvPr>
        </p:nvSpPr>
        <p:spPr/>
        <p:txBody>
          <a:bodyPr/>
          <a:lstStyle/>
          <a:p>
            <a:fld id="{D00E52E2-4654-4145-851C-F69A1D33A1AB}" type="datetimeFigureOut">
              <a:rPr lang="nl-NL" smtClean="0"/>
              <a:t>13-3-2025</a:t>
            </a:fld>
            <a:endParaRPr lang="nl-NL"/>
          </a:p>
        </p:txBody>
      </p:sp>
      <p:sp>
        <p:nvSpPr>
          <p:cNvPr id="5" name="Footer Placeholder 4">
            <a:extLst>
              <a:ext uri="{FF2B5EF4-FFF2-40B4-BE49-F238E27FC236}">
                <a16:creationId xmlns:a16="http://schemas.microsoft.com/office/drawing/2014/main" id="{B18EFA75-34D5-75DB-D0FB-9A95C26DF7DC}"/>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C48EB186-D907-D0D8-B52D-97182A51E334}"/>
              </a:ext>
            </a:extLst>
          </p:cNvPr>
          <p:cNvSpPr>
            <a:spLocks noGrp="1"/>
          </p:cNvSpPr>
          <p:nvPr>
            <p:ph type="sldNum" sz="quarter" idx="12"/>
          </p:nvPr>
        </p:nvSpPr>
        <p:spPr/>
        <p:txBody>
          <a:bodyPr/>
          <a:lstStyle/>
          <a:p>
            <a:fld id="{E7AB4F37-BD25-4A57-BDAE-09EA4F25B652}" type="slidenum">
              <a:rPr lang="nl-NL" smtClean="0"/>
              <a:t>‹#›</a:t>
            </a:fld>
            <a:endParaRPr lang="nl-NL"/>
          </a:p>
        </p:txBody>
      </p:sp>
    </p:spTree>
    <p:extLst>
      <p:ext uri="{BB962C8B-B14F-4D97-AF65-F5344CB8AC3E}">
        <p14:creationId xmlns:p14="http://schemas.microsoft.com/office/powerpoint/2010/main" val="21606165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1">
    <p:bg>
      <p:bgPr>
        <a:solidFill>
          <a:schemeClr val="accent1"/>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5" name="Tijdelijke aanduiding voor afbeelding 15">
            <a:extLst>
              <a:ext uri="{FF2B5EF4-FFF2-40B4-BE49-F238E27FC236}">
                <a16:creationId xmlns:a16="http://schemas.microsoft.com/office/drawing/2014/main" id="{2B5C508B-DF1E-5C02-9C06-98C5F4940A55}"/>
              </a:ext>
            </a:extLst>
          </p:cNvPr>
          <p:cNvSpPr>
            <a:spLocks noGrp="1"/>
          </p:cNvSpPr>
          <p:nvPr>
            <p:ph type="pic" sz="quarter" idx="14" hasCustomPrompt="1"/>
          </p:nvPr>
        </p:nvSpPr>
        <p:spPr>
          <a:xfrm>
            <a:off x="5242839" y="785399"/>
            <a:ext cx="1706322" cy="1706010"/>
          </a:xfrm>
          <a:prstGeom prst="rect">
            <a:avLst/>
          </a:prstGeom>
          <a:pattFill prst="pct60">
            <a:fgClr>
              <a:schemeClr val="bg1">
                <a:lumMod val="95000"/>
              </a:schemeClr>
            </a:fgClr>
            <a:bgClr>
              <a:schemeClr val="bg1">
                <a:lumMod val="85000"/>
              </a:schemeClr>
            </a:bgClr>
          </a:pattFill>
          <a:ln w="127000">
            <a:solidFill>
              <a:schemeClr val="bg2"/>
            </a:solidFill>
            <a:miter lim="800000"/>
          </a:ln>
        </p:spPr>
        <p:txBody>
          <a:bodyPr wrap="square" tIns="0" bIns="0" anchor="ctr" anchorCtr="0">
            <a:noAutofit/>
          </a:bodyPr>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t>
            </a:r>
            <a:br>
              <a:rPr lang="en-GB" noProof="0" dirty="0"/>
            </a:br>
            <a:r>
              <a:rPr lang="en-GB" noProof="0" dirty="0"/>
              <a:t>and click on ‘Insert’.</a:t>
            </a:r>
          </a:p>
        </p:txBody>
      </p:sp>
      <p:grpSp>
        <p:nvGrpSpPr>
          <p:cNvPr id="6" name="INSTRUCTION">
            <a:extLst>
              <a:ext uri="{FF2B5EF4-FFF2-40B4-BE49-F238E27FC236}">
                <a16:creationId xmlns:a16="http://schemas.microsoft.com/office/drawing/2014/main" id="{A7CDC7A9-1E6C-CF24-2C23-21BA38844791}"/>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50C04F9B-A35F-E618-4F8E-A2CADA07FBDA}"/>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FD36A594-8DDA-F22F-0D0B-8336FA6BA9FE}"/>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1AE0A3C6-CF49-9394-F5DA-A2041311558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19E797D2-F9E1-FA68-DA92-04E21B2C285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6C5B633F-726B-65E9-AF32-5BD842E447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41A8C12C-9327-E4A7-8AD6-404E0124B22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406C8A9B-E7A7-CC7C-5EA7-660741791C9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95B117C1-025E-B159-D5F5-012FD6EBD481}"/>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CE33996F-4F00-CAAD-F3B3-1FE994C05C6C}"/>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C5C40F7C-CA56-9588-AF42-03943BB83BAC}"/>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5098700C-E12C-774F-CB38-ECE1F3422DD7}"/>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963816BD-0CB8-CCFE-4403-3C76A81B32C3}"/>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320BB8BB-80F1-095B-7034-915457A8023C}"/>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6B529153-48BB-E822-6B74-DA98B7C4DBD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FA327AE5-F1DE-EB06-A20C-B6E6A0F6E0F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5BF6463E-70CD-45C2-1DCB-3B112E066EA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B97A5AC5-51F7-F69A-D374-EE11CE0DA6D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1829FB17-4856-1000-791B-7E6C0EE5EBC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6118B8D4-D4DD-7E26-4A88-BFA308959D61}"/>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2C8A4C79-DD02-62F9-BC79-095A4DA5654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98C3B34-BFAB-87E5-F989-6545C582E9C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6C8B5076-17B8-438E-AC67-32A029A42B1C}"/>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12BECE2-5CFE-5F46-8A6D-7CB6F2FA70B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B8E27213-449F-3686-95E3-CDF0F0877B6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6177498F-3FDE-29F9-AF09-BAEB9E8B05C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C26E74BF-A561-43D9-C730-A925D14D96D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F8B3130F-7E04-766B-43BF-0A6733B44A1C}"/>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DD302C40-B32E-2A46-E265-8D89D949687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B3F8A3DC-3836-63D1-F470-6409FF9FE9C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88D54503-7674-4B12-94F6-7C4CD8AE908F}"/>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FE15AB32-691F-94EE-60EB-E7068CC1E46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7B3E6E21-380B-6D82-80C3-84DB54C0447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6631EEFB-EC92-30C5-5C15-CBE234674A0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C28FEDB3-7189-4640-C5D5-B08243F720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46C56384-EEFF-6973-A62F-1EBBE0F1AF0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4A22A1BB-F028-7F6F-42F3-4FB85D8D118A}"/>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0CFC1199-CD29-3405-2540-549B3855E19A}"/>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5FDA499C-D1FF-66B1-56F5-AA5A2D3B0EE6}"/>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AE72049E-1946-A8DA-5155-C65213B1E1E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67BDFF98-F67B-61A5-B6C8-2F8A3F9326C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F7768E5C-F088-BFC8-F99E-4BEFCC133F4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F0F7C992-A9F7-65B7-9A4E-F812607D2694}"/>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3318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2">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3" name="Tijdelijke aanduiding voor afbeelding 16">
            <a:extLst>
              <a:ext uri="{FF2B5EF4-FFF2-40B4-BE49-F238E27FC236}">
                <a16:creationId xmlns:a16="http://schemas.microsoft.com/office/drawing/2014/main" id="{CA3F2D38-67FE-D2C6-F8BC-2EA5359702E0}"/>
              </a:ext>
            </a:extLst>
          </p:cNvPr>
          <p:cNvSpPr>
            <a:spLocks noGrp="1"/>
          </p:cNvSpPr>
          <p:nvPr>
            <p:ph type="pic" sz="quarter" idx="14" hasCustomPrompt="1"/>
          </p:nvPr>
        </p:nvSpPr>
        <p:spPr>
          <a:xfrm>
            <a:off x="0" y="1"/>
            <a:ext cx="12192000" cy="600074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6" name="INSTRUCTION">
            <a:extLst>
              <a:ext uri="{FF2B5EF4-FFF2-40B4-BE49-F238E27FC236}">
                <a16:creationId xmlns:a16="http://schemas.microsoft.com/office/drawing/2014/main" id="{16382744-8AA4-99F0-5F88-ADC343663506}"/>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157590B8-5967-3CA8-1D7C-D870FB46709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33C87924-05BA-94C7-22AF-CB020E198BA4}"/>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86E09189-0B2C-A2A4-122C-364080665143}"/>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94A30E10-DC3E-1C51-2F35-C3180308FF3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41B33B60-14D0-CA1B-CC4B-69CA8C3C52D5}"/>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3033C4AA-9152-F2FE-F5DB-D051B613107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CFAEA4E9-8B18-BD18-68F3-92CD39D518A3}"/>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D1EB4370-A517-1522-41FD-C565942C8A68}"/>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94930651-E28E-64F2-7214-CCDDC09A2471}"/>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A256E37B-34B7-8FA5-1CF1-A40172C87E94}"/>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331C78CC-DAB4-9B4F-4BEC-A804B78DA98D}"/>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F1FEF6D3-8CE7-7C9B-A391-DAC0766E1F5D}"/>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FBC86ABC-DA5D-BEC5-F926-A223AC69D6A9}"/>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21EC932A-8838-AEF6-0292-D6341DB3AFCB}"/>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6382B95C-58A3-6761-8D18-48B795AD26A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F76BF0EA-D6A8-DA29-B243-45EB0090B45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8C8D0DC7-4CCB-CE0C-2995-45B85CFE075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F27CB82E-AE9F-81E9-529B-73AC80AE1E3E}"/>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BF083939-19B4-E15C-2EFA-41CA49C9CBD1}"/>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D7C4E1ED-308D-58AC-E195-424EC8A6194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67366BA3-BCFB-2569-DF7B-F6F32DD7A32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8D572D6C-8157-CE63-3F30-DFAB1C17C681}"/>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0C9371D-9071-4710-B3BF-2CDA9E52EB9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8C70DA76-ACA7-2835-53FE-BF6DD42D145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F2ABBA81-C01A-55F9-011B-9C0C5BBBAB8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91D1B3BB-0100-1F3B-2E94-9B11A4B366A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95CE659A-CD94-2CA7-8323-8D59ED46AE64}"/>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F98648F8-EC2E-EEFE-8F00-8FBC7CE0EF1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83359181-4FC6-12AF-B58C-643B357BF51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BD1D8447-5BBB-F663-3DFF-E4EBBDF67E20}"/>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83FFB17F-BBCF-F944-9C64-728EFBEF4C3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0E09555D-1B81-F8E8-354B-8FCB438D37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E412F8A6-A858-4F6D-EF3B-C7B2423E24D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1CEE6F28-C20B-32C9-9153-0FA5272F97E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D6AAA75C-7856-2FD7-CCD6-B4C78A8EC81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DDF4DB3-720C-78A2-3464-4A49CC27BBEE}"/>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482923B8-20F2-E902-90FF-712C2346C40C}"/>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CA5C5187-7CA8-7360-217A-B86BEBDFAB38}"/>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1D96E727-A441-0FE2-1512-27206DBC7C4A}"/>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85735F47-7EDC-E7ED-9DA7-F0C79DDB80DD}"/>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64ADD9D0-6A1C-E76D-0D1B-D8B4331666F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8FF1B72F-398A-5236-80FD-094887962878}"/>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37991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3">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3" name="Tijdelijke aanduiding voor afbeelding 16">
            <a:extLst>
              <a:ext uri="{FF2B5EF4-FFF2-40B4-BE49-F238E27FC236}">
                <a16:creationId xmlns:a16="http://schemas.microsoft.com/office/drawing/2014/main" id="{CA3F2D38-67FE-D2C6-F8BC-2EA5359702E0}"/>
              </a:ext>
            </a:extLst>
          </p:cNvPr>
          <p:cNvSpPr>
            <a:spLocks noGrp="1"/>
          </p:cNvSpPr>
          <p:nvPr>
            <p:ph type="pic" sz="quarter" idx="14" hasCustomPrompt="1"/>
          </p:nvPr>
        </p:nvSpPr>
        <p:spPr>
          <a:xfrm>
            <a:off x="0" y="1"/>
            <a:ext cx="6096000" cy="342899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sp>
        <p:nvSpPr>
          <p:cNvPr id="5" name="Tijdelijke aanduiding voor afbeelding 16">
            <a:extLst>
              <a:ext uri="{FF2B5EF4-FFF2-40B4-BE49-F238E27FC236}">
                <a16:creationId xmlns:a16="http://schemas.microsoft.com/office/drawing/2014/main" id="{531E2A2D-79C6-D06B-2FE6-2F61C8923162}"/>
              </a:ext>
            </a:extLst>
          </p:cNvPr>
          <p:cNvSpPr>
            <a:spLocks noGrp="1"/>
          </p:cNvSpPr>
          <p:nvPr>
            <p:ph type="pic" sz="quarter" idx="15" hasCustomPrompt="1"/>
          </p:nvPr>
        </p:nvSpPr>
        <p:spPr>
          <a:xfrm>
            <a:off x="6096000" y="1"/>
            <a:ext cx="6096000" cy="342899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6" name="INSTRUCTION">
            <a:extLst>
              <a:ext uri="{FF2B5EF4-FFF2-40B4-BE49-F238E27FC236}">
                <a16:creationId xmlns:a16="http://schemas.microsoft.com/office/drawing/2014/main" id="{09509B13-8340-F604-A560-C19E420DCA1E}"/>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3DA679F4-2095-1091-2A7C-F31C6F9F124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04F460DC-42AF-07DB-32C1-AA4D85AD4AC6}"/>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4E09268A-145E-726D-C3B2-70110DB5C8E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35E0FE1A-888B-42A4-0126-28C37FE6A03C}"/>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6C5F016E-95EE-12F1-858E-B7F490A7376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0E1C6F91-51A6-CE65-B78C-F6EC2C9429A3}"/>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39197CB0-535E-EB58-01B8-C8A6EEC6142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D3D623D4-6D26-1BCD-D1CB-AEEC9CA70AA7}"/>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D5501B27-DE75-F1C2-9494-A113EB5FA8B9}"/>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0E7EE6DD-5BB9-88AF-2529-1BF8917460E2}"/>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1008AF48-9386-D0B0-828F-F6A1B71C471F}"/>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996F9CE6-5543-093C-EA77-4BFC760E45B0}"/>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FDDDDA1E-06AE-4A1A-8CA1-D717BAFB01C6}"/>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1D12673F-55DB-46FD-8576-3CA01809171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5DB43AC8-81F5-F894-A073-8791CBD0C18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866D1AB2-0B85-BD59-EAD0-7BA5BC3B21E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AA185EB5-6DA0-EA27-A077-B8D66F1AEB6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325BF2B9-4AE9-F56E-96A6-EB5725C7F3FF}"/>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CE6ADDF7-2265-FBC6-8BFA-71FE4FD46AE3}"/>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5455DFEF-D755-C511-D97B-F91A05ACCB6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5C6553C-9E18-DA13-94EE-61339ACB883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216702BD-E213-A3DD-9EBA-247BAE3E0CED}"/>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4FD7D74-B2FC-AC59-1ACF-581CBA8BF9A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4CF66662-B019-30A5-0AF3-0109B8387D2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479C4171-4B8B-9638-AC8F-AA1CEFDB67F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69276B51-0CE4-CA93-A64F-2984A085A92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113459F2-2CF2-79ED-01F7-F0AE5845F46D}"/>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74D5F4AB-06AD-E142-1575-AD49573F31B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45B974F7-B43B-9682-FD97-80F185034D4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9F1A7910-668A-AECB-8855-A9299967F211}"/>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7F069D6E-A4BD-3798-174D-B3D30CDA2C0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0CD367ED-7BCA-5774-669D-5C5CA15ACF99}"/>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654159CD-7488-E138-B0F0-3EDEBF12A357}"/>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443401AD-E362-49D1-88E4-357707C2652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9014D6B6-E5F0-2942-78D9-235F3846918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920E38F-CE7A-9665-FC5C-056C82C382C2}"/>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9A9EEE37-1F5C-1D55-0715-FE96C783989B}"/>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789E76A5-1AAF-BB27-60E7-2408C2FF7BC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1D6D4D30-91B8-E968-ABC6-6E165DB72339}"/>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868BE42C-A5EF-FEA8-BFC8-D5232D3A5A04}"/>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2E2B6222-6663-E75A-1E50-CF119B610F1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27D7C6EE-6310-82C9-B2A9-8EDFA3C7552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68804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S)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a:t>
            </a:r>
            <a:r>
              <a:rPr lang="en-GB" noProof="0" dirty="0" err="1"/>
              <a:t>Images’,select</a:t>
            </a:r>
            <a:r>
              <a:rPr lang="en-GB" noProof="0" dirty="0"/>
              <a:t> </a:t>
            </a:r>
            <a:br>
              <a:rPr lang="en-GB" noProof="0" dirty="0"/>
            </a:br>
            <a:r>
              <a:rPr lang="en-GB" noProof="0" dirty="0"/>
              <a:t>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2" y="1569104"/>
            <a:ext cx="7016140"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S)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4057" y="722454"/>
            <a:ext cx="7015484" cy="323709"/>
          </a:xfrm>
        </p:spPr>
        <p:txBody>
          <a:body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F2D62E5B-2074-698F-2ECC-2F629ED1F9D9}"/>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DB779EAF-1727-F745-6A6C-C9D3A21E85F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D061AF3C-542B-3065-D7FA-87C187BFF5B0}"/>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7DF58987-30D3-B3E7-6656-59120C32F32C}"/>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E3E31377-AA32-F0E7-8FF5-8568C5F3723B}"/>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15530573-E1FC-465C-55E0-FD584D31F42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1AEB255B-2AE6-F3C5-A98C-707217F48EE1}"/>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317F4415-A25D-5BE7-8828-3AF1F7DAA69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F48334B0-BF47-BCFA-0C40-E1F429EE42E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DC6FD95F-976B-269D-4186-B75729CD714A}"/>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84B7A3AA-4D64-87DF-FBFA-A59A9F96F08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28533E2A-FD24-9778-2EDC-E3D3CD9D60A7}"/>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083A13B-CAE8-A226-9C18-F8829598B9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294AC230-1397-3FB7-B911-34A02D739D7A}"/>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42037223-D6EC-4526-061E-7A21582C2C7B}"/>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C9D60FED-AFA3-9011-59E2-9AB9DDB70A9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EF2D8110-1AB1-E82E-7D0B-8005EE7C98BF}"/>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92EE8558-8338-C4E8-72FE-284A99CD299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71413106-EBB7-D694-601B-91490FE31E59}"/>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EA319190-B9BE-0765-C13B-F85B2BB46D4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1A39CB4E-B08D-2C2D-4E41-C42BEA024B5E}"/>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464F77B1-FBCC-549F-1253-55858E0F5F1F}"/>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55C141B3-F47C-1AEC-3847-96FF2961C57F}"/>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91F5BDB0-552B-D2B8-4B2E-57D49CC53BE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A6DAFFFB-B084-4DB9-A933-9F5B16D9237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50AAA542-4BCC-0EE0-976F-1781EB9510BE}"/>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BCDAF1CB-FD29-2263-7B57-995F325160B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5DD665FC-CAB4-DB70-8A26-F70A68BA262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F9570531-D919-CF89-891C-71147CB20968}"/>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F1F37F6E-097D-A403-BBA8-FCF9377B18AE}"/>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488DE7C6-9E72-2A7E-08AD-EB0AC37375C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9C692C52-74F3-FBF3-3373-EB0A29B6055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6D93FD4F-8A93-D0ED-D4CA-9C0255BE0BA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F353B41E-D9EE-26D1-D438-72FE51B8B33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3ECC67C-0DD9-A05E-0B91-B1A82E8A034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8B98149A-7494-152C-47AE-EF176E48D06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D8EA0292-CA67-2E7E-89E6-5A78AFA08573}"/>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FA30CDC8-AECF-2585-86CA-DD4B5AB86D86}"/>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7FD9C2AC-B4D1-1B71-8523-FC60799DFAF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F86668BF-D2CF-56F5-4A47-4C43628627CF}"/>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6F08D18-FB9D-3A6E-6333-C7C9A9CD420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20245CC1-B341-F028-9E70-C08D3965B8A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1A96C893-3927-1C51-62A0-86D2109CAAB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778D3D8A-59D1-08E1-1A76-CA152634440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E9D561C4-FC9F-608D-0E76-FD88B154459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754303A0-9AB8-0CA0-0963-A77BB2930FB5}"/>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E6BD6786-4ABE-4397-EE12-7117D1A4F10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7730A5A6-8748-9212-B6AF-39CA7E01BC2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B7F9FEB9-F7C3-B4A0-E7E0-9A519EC68BD5}"/>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0D6878FC-941E-F472-7B87-8025D7C5049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24C80858-D8B5-0624-1A8D-04D62D7EAD5C}"/>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DC020272-888E-6CC3-62D6-0C63BBCF75F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09CAEFA9-C16D-4F89-DF93-815E8EC9EFAE}"/>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FC889B46-F148-A595-F04F-EA4F0FDD30D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88328551-B190-B7EC-20F4-338C9331173E}"/>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67600FAD-2744-E9ED-A5B3-A6971000E25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CD6CDAA6-ADD0-4B3D-98F9-E192F500424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ECA40C87-7E11-EAEF-1C26-96C44996BECA}"/>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C158E530-CE1B-0D0F-B973-F9D0071411CD}"/>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05FCA82F-943B-8BDB-531B-DBD99C044943}"/>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480088CD-0B77-0C4D-2704-6915EE31288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5BA688F1-F6FB-8D20-F0F0-2ABD7500CE0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B1A8F60E-4621-4E5F-D36D-B9D2EF5EEBF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CE24B179-D800-3170-2E8F-97C08D9083F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94B07A75-449D-F416-8485-796FF9BBF97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080E1A40-A48B-2DB2-8EA6-E65F41FC3E9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F2ED51CD-EB01-CFE1-07C3-1BD9CF4C82FA}"/>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01F1314B-A7B8-951F-51BA-663A8BEC98B0}"/>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10FDD520-CC5F-3212-B855-10D0F2E4F0C9}"/>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52170D27-2311-BE61-A8E0-C51958F08AD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BAFB5E16-14AB-BC95-6E55-69B28145E22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BD52C0B8-3072-B9F1-6646-4D194EF8734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4" name="INSTRUCTION">
            <a:extLst>
              <a:ext uri="{FF2B5EF4-FFF2-40B4-BE49-F238E27FC236}">
                <a16:creationId xmlns:a16="http://schemas.microsoft.com/office/drawing/2014/main" id="{AEDF01EE-0106-4162-27F4-6555CE7C7874}"/>
              </a:ext>
            </a:extLst>
          </p:cNvPr>
          <p:cNvGrpSpPr/>
          <p:nvPr userDrawn="1"/>
        </p:nvGrpSpPr>
        <p:grpSpPr>
          <a:xfrm>
            <a:off x="-3786165" y="-1"/>
            <a:ext cx="3693386" cy="6640349"/>
            <a:chOff x="-3786165" y="-1"/>
            <a:chExt cx="3693386" cy="6640349"/>
          </a:xfrm>
        </p:grpSpPr>
        <p:sp>
          <p:nvSpPr>
            <p:cNvPr id="155" name="Rechthoek 154">
              <a:extLst>
                <a:ext uri="{FF2B5EF4-FFF2-40B4-BE49-F238E27FC236}">
                  <a16:creationId xmlns:a16="http://schemas.microsoft.com/office/drawing/2014/main" id="{A7DBA7C6-1EBD-F527-AF22-C450B9652195}"/>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56" name="Ovaal 155">
              <a:extLst>
                <a:ext uri="{FF2B5EF4-FFF2-40B4-BE49-F238E27FC236}">
                  <a16:creationId xmlns:a16="http://schemas.microsoft.com/office/drawing/2014/main" id="{9B1C743E-0910-B66F-1FA7-51BBE01C1C6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7" name="Rechthoek 156">
              <a:extLst>
                <a:ext uri="{FF2B5EF4-FFF2-40B4-BE49-F238E27FC236}">
                  <a16:creationId xmlns:a16="http://schemas.microsoft.com/office/drawing/2014/main" id="{7BCB2128-684A-4EFE-E69D-1CA11EC2D83D}"/>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58" name="Ovaal 157">
              <a:extLst>
                <a:ext uri="{FF2B5EF4-FFF2-40B4-BE49-F238E27FC236}">
                  <a16:creationId xmlns:a16="http://schemas.microsoft.com/office/drawing/2014/main" id="{76AC11AA-C724-A455-9C7E-CE27C2B005A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9" name="Rechthoek 158">
              <a:extLst>
                <a:ext uri="{FF2B5EF4-FFF2-40B4-BE49-F238E27FC236}">
                  <a16:creationId xmlns:a16="http://schemas.microsoft.com/office/drawing/2014/main" id="{9A2C3CE8-172F-3EAE-6352-C9C92B5AAF65}"/>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0" name="Ovaal 159">
              <a:extLst>
                <a:ext uri="{FF2B5EF4-FFF2-40B4-BE49-F238E27FC236}">
                  <a16:creationId xmlns:a16="http://schemas.microsoft.com/office/drawing/2014/main" id="{0690548B-7700-D72B-2728-89675019580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1" name="Rechthoek 160">
              <a:extLst>
                <a:ext uri="{FF2B5EF4-FFF2-40B4-BE49-F238E27FC236}">
                  <a16:creationId xmlns:a16="http://schemas.microsoft.com/office/drawing/2014/main" id="{3D13594F-EAE3-5152-F310-3471C0753D6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2" name="Rechthoek 161">
              <a:extLst>
                <a:ext uri="{FF2B5EF4-FFF2-40B4-BE49-F238E27FC236}">
                  <a16:creationId xmlns:a16="http://schemas.microsoft.com/office/drawing/2014/main" id="{9AE496F3-7F4F-D464-7681-5C204E437F30}"/>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63" name="Groep 162">
              <a:extLst>
                <a:ext uri="{FF2B5EF4-FFF2-40B4-BE49-F238E27FC236}">
                  <a16:creationId xmlns:a16="http://schemas.microsoft.com/office/drawing/2014/main" id="{5A3ED984-533E-D084-0A98-66490E424A81}"/>
                </a:ext>
              </a:extLst>
            </p:cNvPr>
            <p:cNvGrpSpPr/>
            <p:nvPr userDrawn="1"/>
          </p:nvGrpSpPr>
          <p:grpSpPr>
            <a:xfrm>
              <a:off x="-2485819" y="3479783"/>
              <a:ext cx="1222990" cy="563933"/>
              <a:chOff x="-2485819" y="3399207"/>
              <a:chExt cx="1222990" cy="563933"/>
            </a:xfrm>
          </p:grpSpPr>
          <p:sp>
            <p:nvSpPr>
              <p:cNvPr id="202" name="Rechthoek 201">
                <a:extLst>
                  <a:ext uri="{FF2B5EF4-FFF2-40B4-BE49-F238E27FC236}">
                    <a16:creationId xmlns:a16="http://schemas.microsoft.com/office/drawing/2014/main" id="{608160CE-4124-1405-D2C3-9F27805BAF8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3" name="Rechthoek 202">
                <a:extLst>
                  <a:ext uri="{FF2B5EF4-FFF2-40B4-BE49-F238E27FC236}">
                    <a16:creationId xmlns:a16="http://schemas.microsoft.com/office/drawing/2014/main" id="{357544C1-8E16-FD08-5667-598CD49F291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4" name="Groep 203">
                <a:extLst>
                  <a:ext uri="{FF2B5EF4-FFF2-40B4-BE49-F238E27FC236}">
                    <a16:creationId xmlns:a16="http://schemas.microsoft.com/office/drawing/2014/main" id="{5E70F474-6682-0844-8E52-F40B95E26B1D}"/>
                  </a:ext>
                </a:extLst>
              </p:cNvPr>
              <p:cNvGrpSpPr/>
              <p:nvPr userDrawn="1"/>
            </p:nvGrpSpPr>
            <p:grpSpPr>
              <a:xfrm>
                <a:off x="-2403869" y="3460544"/>
                <a:ext cx="155951" cy="131922"/>
                <a:chOff x="12968836" y="3354170"/>
                <a:chExt cx="404806" cy="342433"/>
              </a:xfrm>
            </p:grpSpPr>
            <p:sp>
              <p:nvSpPr>
                <p:cNvPr id="217" name="Rechthoek: afgeronde hoeken 216">
                  <a:extLst>
                    <a:ext uri="{FF2B5EF4-FFF2-40B4-BE49-F238E27FC236}">
                      <a16:creationId xmlns:a16="http://schemas.microsoft.com/office/drawing/2014/main" id="{807E0271-3133-E4BD-18F8-48057DBD1B5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8" name="Rechthoek 217">
                  <a:extLst>
                    <a:ext uri="{FF2B5EF4-FFF2-40B4-BE49-F238E27FC236}">
                      <a16:creationId xmlns:a16="http://schemas.microsoft.com/office/drawing/2014/main" id="{794DA430-249C-C317-D93E-AF2B423DC6C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383EA3D7-16DE-EEBB-E500-EFB010D2821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DDE1B982-75D4-8DE8-C1A5-580C8F0C468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0ECC5E71-A908-F04D-D13A-306F9B5FC47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17FEB298-C4BF-5689-1723-52BB4DF0256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5" name="Groep 204">
                <a:extLst>
                  <a:ext uri="{FF2B5EF4-FFF2-40B4-BE49-F238E27FC236}">
                    <a16:creationId xmlns:a16="http://schemas.microsoft.com/office/drawing/2014/main" id="{3631E47D-3D52-7E0E-59E8-C4AB92EB4AD4}"/>
                  </a:ext>
                </a:extLst>
              </p:cNvPr>
              <p:cNvGrpSpPr/>
              <p:nvPr userDrawn="1"/>
            </p:nvGrpSpPr>
            <p:grpSpPr>
              <a:xfrm>
                <a:off x="-2423424" y="3690208"/>
                <a:ext cx="166739" cy="218963"/>
                <a:chOff x="12940828" y="3950597"/>
                <a:chExt cx="432813" cy="568367"/>
              </a:xfrm>
            </p:grpSpPr>
            <p:grpSp>
              <p:nvGrpSpPr>
                <p:cNvPr id="209" name="Groep 208">
                  <a:extLst>
                    <a:ext uri="{FF2B5EF4-FFF2-40B4-BE49-F238E27FC236}">
                      <a16:creationId xmlns:a16="http://schemas.microsoft.com/office/drawing/2014/main" id="{E5B2A353-ED37-3D31-82B3-6813DFD8AE01}"/>
                    </a:ext>
                  </a:extLst>
                </p:cNvPr>
                <p:cNvGrpSpPr/>
                <p:nvPr userDrawn="1"/>
              </p:nvGrpSpPr>
              <p:grpSpPr>
                <a:xfrm>
                  <a:off x="13000382" y="4006891"/>
                  <a:ext cx="373259" cy="315747"/>
                  <a:chOff x="12968836" y="3354170"/>
                  <a:chExt cx="404806" cy="342433"/>
                </a:xfrm>
              </p:grpSpPr>
              <p:sp>
                <p:nvSpPr>
                  <p:cNvPr id="211" name="Rechthoek: afgeronde hoeken 210">
                    <a:extLst>
                      <a:ext uri="{FF2B5EF4-FFF2-40B4-BE49-F238E27FC236}">
                        <a16:creationId xmlns:a16="http://schemas.microsoft.com/office/drawing/2014/main" id="{9C37C452-A579-D643-1581-216BEABC4BE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743249E8-3DA3-10B7-F358-4A85465DD21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3" name="Rechthoek 212">
                    <a:extLst>
                      <a:ext uri="{FF2B5EF4-FFF2-40B4-BE49-F238E27FC236}">
                        <a16:creationId xmlns:a16="http://schemas.microsoft.com/office/drawing/2014/main" id="{32206FB8-B56D-A49E-2A72-82E6D978B44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B3D132A6-13DE-D312-C5D0-BEA8A27A4B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67F167F3-D3B3-2A32-900D-4DEB95B1D95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6" name="Rechthoek 215">
                    <a:extLst>
                      <a:ext uri="{FF2B5EF4-FFF2-40B4-BE49-F238E27FC236}">
                        <a16:creationId xmlns:a16="http://schemas.microsoft.com/office/drawing/2014/main" id="{ADBE5A09-83B7-10BB-CF6C-877F3189FAA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10" name="Boog 209">
                  <a:extLst>
                    <a:ext uri="{FF2B5EF4-FFF2-40B4-BE49-F238E27FC236}">
                      <a16:creationId xmlns:a16="http://schemas.microsoft.com/office/drawing/2014/main" id="{9510AC96-0A9F-B11E-AA15-DF7206B4DC2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06" name="Tekstvak 205">
                <a:extLst>
                  <a:ext uri="{FF2B5EF4-FFF2-40B4-BE49-F238E27FC236}">
                    <a16:creationId xmlns:a16="http://schemas.microsoft.com/office/drawing/2014/main" id="{D5BB96CC-B91B-703B-84EA-B7EDA84490F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07" name="Tekstvak 206">
                <a:extLst>
                  <a:ext uri="{FF2B5EF4-FFF2-40B4-BE49-F238E27FC236}">
                    <a16:creationId xmlns:a16="http://schemas.microsoft.com/office/drawing/2014/main" id="{87AA12A6-A8A1-BD00-EE89-881D937504A2}"/>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08" name="Vrije vorm: vorm 207">
                <a:extLst>
                  <a:ext uri="{FF2B5EF4-FFF2-40B4-BE49-F238E27FC236}">
                    <a16:creationId xmlns:a16="http://schemas.microsoft.com/office/drawing/2014/main" id="{6A20EAF3-4320-C094-D78B-1BC11FD3135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4" name="Groep 163">
              <a:extLst>
                <a:ext uri="{FF2B5EF4-FFF2-40B4-BE49-F238E27FC236}">
                  <a16:creationId xmlns:a16="http://schemas.microsoft.com/office/drawing/2014/main" id="{50AA196A-548A-A1AF-556C-A158C265DBFE}"/>
                </a:ext>
              </a:extLst>
            </p:cNvPr>
            <p:cNvGrpSpPr/>
            <p:nvPr userDrawn="1"/>
          </p:nvGrpSpPr>
          <p:grpSpPr>
            <a:xfrm>
              <a:off x="-3786165" y="5680652"/>
              <a:ext cx="3693386" cy="959696"/>
              <a:chOff x="-3786437" y="6163468"/>
              <a:chExt cx="3693386" cy="959696"/>
            </a:xfrm>
          </p:grpSpPr>
          <p:sp>
            <p:nvSpPr>
              <p:cNvPr id="192" name="Rechthoek 191">
                <a:extLst>
                  <a:ext uri="{FF2B5EF4-FFF2-40B4-BE49-F238E27FC236}">
                    <a16:creationId xmlns:a16="http://schemas.microsoft.com/office/drawing/2014/main" id="{60F9E4E8-8BF9-0B67-4B78-2EEB1AFE14FC}"/>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93" name="ICOON_info">
                <a:extLst>
                  <a:ext uri="{FF2B5EF4-FFF2-40B4-BE49-F238E27FC236}">
                    <a16:creationId xmlns:a16="http://schemas.microsoft.com/office/drawing/2014/main" id="{1CD9022C-3003-25E9-E0F8-1E3033CDD749}"/>
                  </a:ext>
                </a:extLst>
              </p:cNvPr>
              <p:cNvGrpSpPr/>
              <p:nvPr userDrawn="1"/>
            </p:nvGrpSpPr>
            <p:grpSpPr>
              <a:xfrm>
                <a:off x="-376736" y="6163468"/>
                <a:ext cx="283685" cy="283685"/>
                <a:chOff x="-510741" y="5913713"/>
                <a:chExt cx="267555" cy="267555"/>
              </a:xfrm>
            </p:grpSpPr>
            <p:sp>
              <p:nvSpPr>
                <p:cNvPr id="200" name="Ovaal 199">
                  <a:extLst>
                    <a:ext uri="{FF2B5EF4-FFF2-40B4-BE49-F238E27FC236}">
                      <a16:creationId xmlns:a16="http://schemas.microsoft.com/office/drawing/2014/main" id="{7867242F-3D65-349B-AB92-0B62654CDC2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1" name="Graphic 163" descr="Informatie">
                  <a:extLst>
                    <a:ext uri="{FF2B5EF4-FFF2-40B4-BE49-F238E27FC236}">
                      <a16:creationId xmlns:a16="http://schemas.microsoft.com/office/drawing/2014/main" id="{8A3777D6-A1EB-5CFE-1504-ACE2FB4A062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4" name="Groep 193">
                <a:extLst>
                  <a:ext uri="{FF2B5EF4-FFF2-40B4-BE49-F238E27FC236}">
                    <a16:creationId xmlns:a16="http://schemas.microsoft.com/office/drawing/2014/main" id="{A9749D19-5EEB-5F95-0635-013B64914270}"/>
                  </a:ext>
                </a:extLst>
              </p:cNvPr>
              <p:cNvGrpSpPr/>
              <p:nvPr userDrawn="1"/>
            </p:nvGrpSpPr>
            <p:grpSpPr>
              <a:xfrm>
                <a:off x="-938434" y="6420818"/>
                <a:ext cx="627798" cy="576693"/>
                <a:chOff x="-938434" y="4570310"/>
                <a:chExt cx="627798" cy="576693"/>
              </a:xfrm>
            </p:grpSpPr>
            <p:grpSp>
              <p:nvGrpSpPr>
                <p:cNvPr id="195" name="Inspireren">
                  <a:extLst>
                    <a:ext uri="{FF2B5EF4-FFF2-40B4-BE49-F238E27FC236}">
                      <a16:creationId xmlns:a16="http://schemas.microsoft.com/office/drawing/2014/main" id="{F449D423-055B-89BE-3E65-35742355633B}"/>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7" name="Freeform 12">
                    <a:extLst>
                      <a:ext uri="{FF2B5EF4-FFF2-40B4-BE49-F238E27FC236}">
                        <a16:creationId xmlns:a16="http://schemas.microsoft.com/office/drawing/2014/main" id="{EBAD858F-3990-35E7-4D4C-CB4929E7C8A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8" name="Freeform 13">
                    <a:extLst>
                      <a:ext uri="{FF2B5EF4-FFF2-40B4-BE49-F238E27FC236}">
                        <a16:creationId xmlns:a16="http://schemas.microsoft.com/office/drawing/2014/main" id="{01EC15E9-7F03-36B1-5E8B-35940F8786F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9" name="Freeform 14">
                    <a:extLst>
                      <a:ext uri="{FF2B5EF4-FFF2-40B4-BE49-F238E27FC236}">
                        <a16:creationId xmlns:a16="http://schemas.microsoft.com/office/drawing/2014/main" id="{D827E11A-C39B-D3A4-EC2A-0A5F65C99EE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96" name="Tekstvak 195">
                  <a:extLst>
                    <a:ext uri="{FF2B5EF4-FFF2-40B4-BE49-F238E27FC236}">
                      <a16:creationId xmlns:a16="http://schemas.microsoft.com/office/drawing/2014/main" id="{94CDDA7F-1AEC-40FA-A8B9-652D299A961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5" name="Groep 164">
              <a:extLst>
                <a:ext uri="{FF2B5EF4-FFF2-40B4-BE49-F238E27FC236}">
                  <a16:creationId xmlns:a16="http://schemas.microsoft.com/office/drawing/2014/main" id="{A534071F-493F-E5C1-7FF4-76BD5B39DE95}"/>
                </a:ext>
              </a:extLst>
            </p:cNvPr>
            <p:cNvGrpSpPr/>
            <p:nvPr userDrawn="1"/>
          </p:nvGrpSpPr>
          <p:grpSpPr>
            <a:xfrm>
              <a:off x="-3426806" y="5129582"/>
              <a:ext cx="514284" cy="506545"/>
              <a:chOff x="12617641" y="3403239"/>
              <a:chExt cx="752963" cy="741634"/>
            </a:xfrm>
          </p:grpSpPr>
          <p:grpSp>
            <p:nvGrpSpPr>
              <p:cNvPr id="176" name="Groep 175">
                <a:extLst>
                  <a:ext uri="{FF2B5EF4-FFF2-40B4-BE49-F238E27FC236}">
                    <a16:creationId xmlns:a16="http://schemas.microsoft.com/office/drawing/2014/main" id="{E913446D-A519-D1A6-F1DC-D4BB144D8CBC}"/>
                  </a:ext>
                </a:extLst>
              </p:cNvPr>
              <p:cNvGrpSpPr/>
              <p:nvPr userDrawn="1"/>
            </p:nvGrpSpPr>
            <p:grpSpPr>
              <a:xfrm>
                <a:off x="12771530" y="3403239"/>
                <a:ext cx="467176" cy="448491"/>
                <a:chOff x="12782157" y="3403239"/>
                <a:chExt cx="467176" cy="448491"/>
              </a:xfrm>
            </p:grpSpPr>
            <p:grpSp>
              <p:nvGrpSpPr>
                <p:cNvPr id="179" name="Groep 178">
                  <a:extLst>
                    <a:ext uri="{FF2B5EF4-FFF2-40B4-BE49-F238E27FC236}">
                      <a16:creationId xmlns:a16="http://schemas.microsoft.com/office/drawing/2014/main" id="{5B22225C-E16F-B4FA-7E3C-4FB64A5795C4}"/>
                    </a:ext>
                  </a:extLst>
                </p:cNvPr>
                <p:cNvGrpSpPr/>
                <p:nvPr userDrawn="1"/>
              </p:nvGrpSpPr>
              <p:grpSpPr>
                <a:xfrm>
                  <a:off x="12782157" y="3403239"/>
                  <a:ext cx="412976" cy="396132"/>
                  <a:chOff x="13554906" y="3320109"/>
                  <a:chExt cx="443917" cy="425811"/>
                </a:xfrm>
              </p:grpSpPr>
              <p:grpSp>
                <p:nvGrpSpPr>
                  <p:cNvPr id="186" name="Groep 185">
                    <a:extLst>
                      <a:ext uri="{FF2B5EF4-FFF2-40B4-BE49-F238E27FC236}">
                        <a16:creationId xmlns:a16="http://schemas.microsoft.com/office/drawing/2014/main" id="{5645C2E9-0E3F-493C-06F5-4DBACD1C76DF}"/>
                      </a:ext>
                    </a:extLst>
                  </p:cNvPr>
                  <p:cNvGrpSpPr/>
                  <p:nvPr userDrawn="1"/>
                </p:nvGrpSpPr>
                <p:grpSpPr>
                  <a:xfrm>
                    <a:off x="13554906" y="3320109"/>
                    <a:ext cx="443917" cy="425811"/>
                    <a:chOff x="12909684" y="1276143"/>
                    <a:chExt cx="443917" cy="425811"/>
                  </a:xfrm>
                </p:grpSpPr>
                <p:sp>
                  <p:nvSpPr>
                    <p:cNvPr id="189" name="Rechthoek 188">
                      <a:extLst>
                        <a:ext uri="{FF2B5EF4-FFF2-40B4-BE49-F238E27FC236}">
                          <a16:creationId xmlns:a16="http://schemas.microsoft.com/office/drawing/2014/main" id="{62284D8C-3900-974C-E1A6-1B0B14A182C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0" name="Rechthoek 189">
                      <a:extLst>
                        <a:ext uri="{FF2B5EF4-FFF2-40B4-BE49-F238E27FC236}">
                          <a16:creationId xmlns:a16="http://schemas.microsoft.com/office/drawing/2014/main" id="{FB464925-6F21-3244-5313-27DEC6A5FBA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1" name="Ovaal 190">
                      <a:extLst>
                        <a:ext uri="{FF2B5EF4-FFF2-40B4-BE49-F238E27FC236}">
                          <a16:creationId xmlns:a16="http://schemas.microsoft.com/office/drawing/2014/main" id="{E0B800B4-F4E4-9D7F-44A3-E8D451B28CE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87" name="Afbeelding 186">
                    <a:extLst>
                      <a:ext uri="{FF2B5EF4-FFF2-40B4-BE49-F238E27FC236}">
                        <a16:creationId xmlns:a16="http://schemas.microsoft.com/office/drawing/2014/main" id="{638CDF03-CBE0-F53E-AC37-0614050110C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88" name="Afbeelding 187">
                    <a:extLst>
                      <a:ext uri="{FF2B5EF4-FFF2-40B4-BE49-F238E27FC236}">
                        <a16:creationId xmlns:a16="http://schemas.microsoft.com/office/drawing/2014/main" id="{68687D1D-E631-54D4-86D2-FEC778DF6026}"/>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80" name="Groep 179">
                  <a:extLst>
                    <a:ext uri="{FF2B5EF4-FFF2-40B4-BE49-F238E27FC236}">
                      <a16:creationId xmlns:a16="http://schemas.microsoft.com/office/drawing/2014/main" id="{433EE0ED-9FFD-3CEE-CBDB-FC718D98A869}"/>
                    </a:ext>
                  </a:extLst>
                </p:cNvPr>
                <p:cNvGrpSpPr/>
                <p:nvPr userDrawn="1"/>
              </p:nvGrpSpPr>
              <p:grpSpPr>
                <a:xfrm>
                  <a:off x="13103513" y="3705268"/>
                  <a:ext cx="145820" cy="146462"/>
                  <a:chOff x="13096169" y="3602278"/>
                  <a:chExt cx="145820" cy="146462"/>
                </a:xfrm>
              </p:grpSpPr>
              <p:sp>
                <p:nvSpPr>
                  <p:cNvPr id="184" name="Rechthoek 183">
                    <a:extLst>
                      <a:ext uri="{FF2B5EF4-FFF2-40B4-BE49-F238E27FC236}">
                        <a16:creationId xmlns:a16="http://schemas.microsoft.com/office/drawing/2014/main" id="{E24F3181-9B5D-2BBD-59F6-7001EB2B0BD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5" name="Rechthoek 184">
                    <a:extLst>
                      <a:ext uri="{FF2B5EF4-FFF2-40B4-BE49-F238E27FC236}">
                        <a16:creationId xmlns:a16="http://schemas.microsoft.com/office/drawing/2014/main" id="{D3B7F4F0-EFE0-76F3-8696-4C72926E57A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1" name="Groep 180">
                  <a:extLst>
                    <a:ext uri="{FF2B5EF4-FFF2-40B4-BE49-F238E27FC236}">
                      <a16:creationId xmlns:a16="http://schemas.microsoft.com/office/drawing/2014/main" id="{3F890A04-B977-1C31-B5E5-B92E2FE43978}"/>
                    </a:ext>
                  </a:extLst>
                </p:cNvPr>
                <p:cNvGrpSpPr/>
                <p:nvPr userDrawn="1"/>
              </p:nvGrpSpPr>
              <p:grpSpPr>
                <a:xfrm rot="10800000">
                  <a:off x="13061402" y="3665637"/>
                  <a:ext cx="145820" cy="146462"/>
                  <a:chOff x="13096169" y="3602278"/>
                  <a:chExt cx="145820" cy="146462"/>
                </a:xfrm>
              </p:grpSpPr>
              <p:sp>
                <p:nvSpPr>
                  <p:cNvPr id="182" name="Rechthoek 181">
                    <a:extLst>
                      <a:ext uri="{FF2B5EF4-FFF2-40B4-BE49-F238E27FC236}">
                        <a16:creationId xmlns:a16="http://schemas.microsoft.com/office/drawing/2014/main" id="{6A4500C2-416B-B3ED-E007-0A8CE9C96E9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3" name="Rechthoek 182">
                    <a:extLst>
                      <a:ext uri="{FF2B5EF4-FFF2-40B4-BE49-F238E27FC236}">
                        <a16:creationId xmlns:a16="http://schemas.microsoft.com/office/drawing/2014/main" id="{3456EAC2-F9F3-1007-A2FF-AEB38A23C85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77" name="Rechthoek 176">
                <a:extLst>
                  <a:ext uri="{FF2B5EF4-FFF2-40B4-BE49-F238E27FC236}">
                    <a16:creationId xmlns:a16="http://schemas.microsoft.com/office/drawing/2014/main" id="{ED81E4D8-20EA-C456-2544-F2EB1139CD7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78" name="Gelijkbenige driehoek 177">
                <a:extLst>
                  <a:ext uri="{FF2B5EF4-FFF2-40B4-BE49-F238E27FC236}">
                    <a16:creationId xmlns:a16="http://schemas.microsoft.com/office/drawing/2014/main" id="{F85CA207-58FD-8750-75F2-94097F91D07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6" name="Ovaal 165">
              <a:extLst>
                <a:ext uri="{FF2B5EF4-FFF2-40B4-BE49-F238E27FC236}">
                  <a16:creationId xmlns:a16="http://schemas.microsoft.com/office/drawing/2014/main" id="{A2E2AE58-B5A8-4177-51AF-486C40C2D37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7" name="Rechthoek 166">
              <a:extLst>
                <a:ext uri="{FF2B5EF4-FFF2-40B4-BE49-F238E27FC236}">
                  <a16:creationId xmlns:a16="http://schemas.microsoft.com/office/drawing/2014/main" id="{98CB1725-6A40-28C5-4D29-1125808D1F53}"/>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8" name="Rechthoek 167">
              <a:extLst>
                <a:ext uri="{FF2B5EF4-FFF2-40B4-BE49-F238E27FC236}">
                  <a16:creationId xmlns:a16="http://schemas.microsoft.com/office/drawing/2014/main" id="{CAF34E4C-9143-60EE-B37F-F634647FDF0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69" name="Groep 168">
              <a:extLst>
                <a:ext uri="{FF2B5EF4-FFF2-40B4-BE49-F238E27FC236}">
                  <a16:creationId xmlns:a16="http://schemas.microsoft.com/office/drawing/2014/main" id="{3F345693-1496-5D36-D8A4-3BD8577C7A8C}"/>
                </a:ext>
              </a:extLst>
            </p:cNvPr>
            <p:cNvGrpSpPr/>
            <p:nvPr userDrawn="1"/>
          </p:nvGrpSpPr>
          <p:grpSpPr>
            <a:xfrm>
              <a:off x="-3365484" y="1226982"/>
              <a:ext cx="446937" cy="406485"/>
              <a:chOff x="-3563526" y="1409294"/>
              <a:chExt cx="354190" cy="322133"/>
            </a:xfrm>
          </p:grpSpPr>
          <p:grpSp>
            <p:nvGrpSpPr>
              <p:cNvPr id="170" name="Groep 169">
                <a:extLst>
                  <a:ext uri="{FF2B5EF4-FFF2-40B4-BE49-F238E27FC236}">
                    <a16:creationId xmlns:a16="http://schemas.microsoft.com/office/drawing/2014/main" id="{3765ABC2-1D66-7EB0-7484-D404D39E572D}"/>
                  </a:ext>
                </a:extLst>
              </p:cNvPr>
              <p:cNvGrpSpPr/>
              <p:nvPr userDrawn="1"/>
            </p:nvGrpSpPr>
            <p:grpSpPr>
              <a:xfrm>
                <a:off x="-3499992" y="1409294"/>
                <a:ext cx="225195" cy="195499"/>
                <a:chOff x="8987389" y="1361199"/>
                <a:chExt cx="2200275" cy="1914525"/>
              </a:xfrm>
            </p:grpSpPr>
            <p:sp>
              <p:nvSpPr>
                <p:cNvPr id="172" name="Vrije vorm: vorm 171">
                  <a:extLst>
                    <a:ext uri="{FF2B5EF4-FFF2-40B4-BE49-F238E27FC236}">
                      <a16:creationId xmlns:a16="http://schemas.microsoft.com/office/drawing/2014/main" id="{6105C4EC-C48C-C099-35D5-B7B2CE69865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73" name="Groep 172">
                  <a:extLst>
                    <a:ext uri="{FF2B5EF4-FFF2-40B4-BE49-F238E27FC236}">
                      <a16:creationId xmlns:a16="http://schemas.microsoft.com/office/drawing/2014/main" id="{70BC74F2-6C9C-64AB-51E0-D12D079EAE8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4" name="Vrije vorm: vorm 173">
                    <a:extLst>
                      <a:ext uri="{FF2B5EF4-FFF2-40B4-BE49-F238E27FC236}">
                        <a16:creationId xmlns:a16="http://schemas.microsoft.com/office/drawing/2014/main" id="{26EB3650-9C0A-4889-5E25-74A14FA6063C}"/>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75" name="Vrije vorm: vorm 174">
                    <a:extLst>
                      <a:ext uri="{FF2B5EF4-FFF2-40B4-BE49-F238E27FC236}">
                        <a16:creationId xmlns:a16="http://schemas.microsoft.com/office/drawing/2014/main" id="{37AE32A1-A930-83DF-3861-6C4E7683F177}"/>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71" name="Tekstvak 170">
                <a:extLst>
                  <a:ext uri="{FF2B5EF4-FFF2-40B4-BE49-F238E27FC236}">
                    <a16:creationId xmlns:a16="http://schemas.microsoft.com/office/drawing/2014/main" id="{8976F661-9C74-4EEE-5E1B-643ADE70D526}"/>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69059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4">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5" name="Tijdelijke aanduiding voor afbeelding 16">
            <a:extLst>
              <a:ext uri="{FF2B5EF4-FFF2-40B4-BE49-F238E27FC236}">
                <a16:creationId xmlns:a16="http://schemas.microsoft.com/office/drawing/2014/main" id="{531E2A2D-79C6-D06B-2FE6-2F61C8923162}"/>
              </a:ext>
            </a:extLst>
          </p:cNvPr>
          <p:cNvSpPr>
            <a:spLocks noGrp="1"/>
          </p:cNvSpPr>
          <p:nvPr>
            <p:ph type="pic" sz="quarter" idx="15" hasCustomPrompt="1"/>
          </p:nvPr>
        </p:nvSpPr>
        <p:spPr>
          <a:xfrm>
            <a:off x="3818238" y="719138"/>
            <a:ext cx="7651524"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8" name="INSTRUCTION">
            <a:extLst>
              <a:ext uri="{FF2B5EF4-FFF2-40B4-BE49-F238E27FC236}">
                <a16:creationId xmlns:a16="http://schemas.microsoft.com/office/drawing/2014/main" id="{F2D547FC-8675-10B0-8D4D-4E73B6F6EBA3}"/>
              </a:ext>
            </a:extLst>
          </p:cNvPr>
          <p:cNvGrpSpPr/>
          <p:nvPr userDrawn="1"/>
        </p:nvGrpSpPr>
        <p:grpSpPr>
          <a:xfrm>
            <a:off x="12377595" y="0"/>
            <a:ext cx="3693113" cy="5054643"/>
            <a:chOff x="-3786164" y="0"/>
            <a:chExt cx="3693113" cy="5054643"/>
          </a:xfrm>
        </p:grpSpPr>
        <p:sp>
          <p:nvSpPr>
            <p:cNvPr id="9" name="Rechthoek 8">
              <a:extLst>
                <a:ext uri="{FF2B5EF4-FFF2-40B4-BE49-F238E27FC236}">
                  <a16:creationId xmlns:a16="http://schemas.microsoft.com/office/drawing/2014/main" id="{AA3D3DE8-FAAA-0CCB-9B1A-DED17E9590E4}"/>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 name="Rechthoek 9">
              <a:extLst>
                <a:ext uri="{FF2B5EF4-FFF2-40B4-BE49-F238E27FC236}">
                  <a16:creationId xmlns:a16="http://schemas.microsoft.com/office/drawing/2014/main" id="{B0A857C9-A4BB-CC70-C3F9-9195312712EE}"/>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1" name="Ovaal 10">
              <a:extLst>
                <a:ext uri="{FF2B5EF4-FFF2-40B4-BE49-F238E27FC236}">
                  <a16:creationId xmlns:a16="http://schemas.microsoft.com/office/drawing/2014/main" id="{7A20A025-9E26-4D1B-D703-D0EB1160417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7C1DF6F8-CC48-5685-B365-AA4FDAA708B9}"/>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CF9085E4-187D-A0BC-210C-0136896A41D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36210036-0240-8CA2-6EF8-0BD4944070F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B6119F4C-019C-605A-6943-F46F89EB013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6" name="Ovaal 15">
              <a:extLst>
                <a:ext uri="{FF2B5EF4-FFF2-40B4-BE49-F238E27FC236}">
                  <a16:creationId xmlns:a16="http://schemas.microsoft.com/office/drawing/2014/main" id="{4D99191E-B53B-3251-5C4B-1626C4264714}"/>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DB5F333A-1CA4-8A38-6DE0-45284DF08CD9}"/>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8" name="Groep 17">
              <a:extLst>
                <a:ext uri="{FF2B5EF4-FFF2-40B4-BE49-F238E27FC236}">
                  <a16:creationId xmlns:a16="http://schemas.microsoft.com/office/drawing/2014/main" id="{4B0F239D-3AF8-92D3-5B8A-C2E0ACC11C38}"/>
                </a:ext>
              </a:extLst>
            </p:cNvPr>
            <p:cNvGrpSpPr/>
            <p:nvPr userDrawn="1"/>
          </p:nvGrpSpPr>
          <p:grpSpPr>
            <a:xfrm>
              <a:off x="-3414453" y="3534339"/>
              <a:ext cx="514284" cy="506545"/>
              <a:chOff x="12617641" y="3403239"/>
              <a:chExt cx="752963" cy="741634"/>
            </a:xfrm>
          </p:grpSpPr>
          <p:grpSp>
            <p:nvGrpSpPr>
              <p:cNvPr id="35" name="Groep 34">
                <a:extLst>
                  <a:ext uri="{FF2B5EF4-FFF2-40B4-BE49-F238E27FC236}">
                    <a16:creationId xmlns:a16="http://schemas.microsoft.com/office/drawing/2014/main" id="{2E2A776D-132D-E444-2B58-839C8E2C1D46}"/>
                  </a:ext>
                </a:extLst>
              </p:cNvPr>
              <p:cNvGrpSpPr/>
              <p:nvPr userDrawn="1"/>
            </p:nvGrpSpPr>
            <p:grpSpPr>
              <a:xfrm>
                <a:off x="12771530" y="3403239"/>
                <a:ext cx="467176" cy="448491"/>
                <a:chOff x="12782157" y="3403239"/>
                <a:chExt cx="467176" cy="448491"/>
              </a:xfrm>
            </p:grpSpPr>
            <p:grpSp>
              <p:nvGrpSpPr>
                <p:cNvPr id="38" name="Groep 37">
                  <a:extLst>
                    <a:ext uri="{FF2B5EF4-FFF2-40B4-BE49-F238E27FC236}">
                      <a16:creationId xmlns:a16="http://schemas.microsoft.com/office/drawing/2014/main" id="{578162D6-E0E1-EDCB-65D0-FF4F6463923E}"/>
                    </a:ext>
                  </a:extLst>
                </p:cNvPr>
                <p:cNvGrpSpPr/>
                <p:nvPr userDrawn="1"/>
              </p:nvGrpSpPr>
              <p:grpSpPr>
                <a:xfrm>
                  <a:off x="12782157" y="3403239"/>
                  <a:ext cx="412976" cy="396132"/>
                  <a:chOff x="13554906" y="3320109"/>
                  <a:chExt cx="443917" cy="425811"/>
                </a:xfrm>
              </p:grpSpPr>
              <p:grpSp>
                <p:nvGrpSpPr>
                  <p:cNvPr id="45" name="Groep 44">
                    <a:extLst>
                      <a:ext uri="{FF2B5EF4-FFF2-40B4-BE49-F238E27FC236}">
                        <a16:creationId xmlns:a16="http://schemas.microsoft.com/office/drawing/2014/main" id="{CF3ACBAF-9D09-81A4-2172-3A5EFD2774B7}"/>
                      </a:ext>
                    </a:extLst>
                  </p:cNvPr>
                  <p:cNvGrpSpPr/>
                  <p:nvPr userDrawn="1"/>
                </p:nvGrpSpPr>
                <p:grpSpPr>
                  <a:xfrm>
                    <a:off x="13554906" y="3320109"/>
                    <a:ext cx="443917" cy="425811"/>
                    <a:chOff x="12909684" y="1276143"/>
                    <a:chExt cx="443917" cy="425811"/>
                  </a:xfrm>
                </p:grpSpPr>
                <p:sp>
                  <p:nvSpPr>
                    <p:cNvPr id="48" name="Rechthoek 47">
                      <a:extLst>
                        <a:ext uri="{FF2B5EF4-FFF2-40B4-BE49-F238E27FC236}">
                          <a16:creationId xmlns:a16="http://schemas.microsoft.com/office/drawing/2014/main" id="{76511F38-8A3D-C488-C13D-14B9267C171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BF6F0872-D6E6-0129-5AFD-80A6EA82AE42}"/>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0" name="Ovaal 49">
                      <a:extLst>
                        <a:ext uri="{FF2B5EF4-FFF2-40B4-BE49-F238E27FC236}">
                          <a16:creationId xmlns:a16="http://schemas.microsoft.com/office/drawing/2014/main" id="{26698984-53EE-AD20-A983-6D8809F487B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6" name="Afbeelding 45">
                    <a:extLst>
                      <a:ext uri="{FF2B5EF4-FFF2-40B4-BE49-F238E27FC236}">
                        <a16:creationId xmlns:a16="http://schemas.microsoft.com/office/drawing/2014/main" id="{1EFA564B-F7F8-A3E1-EA0E-20857182072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7" name="Afbeelding 46">
                    <a:extLst>
                      <a:ext uri="{FF2B5EF4-FFF2-40B4-BE49-F238E27FC236}">
                        <a16:creationId xmlns:a16="http://schemas.microsoft.com/office/drawing/2014/main" id="{9F272245-01A0-E0AB-464E-B4F26BF0A3F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9" name="Groep 38">
                  <a:extLst>
                    <a:ext uri="{FF2B5EF4-FFF2-40B4-BE49-F238E27FC236}">
                      <a16:creationId xmlns:a16="http://schemas.microsoft.com/office/drawing/2014/main" id="{58BADA06-F25C-E0D3-E4E1-FC344AEEEFCC}"/>
                    </a:ext>
                  </a:extLst>
                </p:cNvPr>
                <p:cNvGrpSpPr/>
                <p:nvPr userDrawn="1"/>
              </p:nvGrpSpPr>
              <p:grpSpPr>
                <a:xfrm>
                  <a:off x="13103513" y="3705268"/>
                  <a:ext cx="145820" cy="146462"/>
                  <a:chOff x="13096169" y="3602278"/>
                  <a:chExt cx="145820" cy="146462"/>
                </a:xfrm>
              </p:grpSpPr>
              <p:sp>
                <p:nvSpPr>
                  <p:cNvPr id="43" name="Rechthoek 42">
                    <a:extLst>
                      <a:ext uri="{FF2B5EF4-FFF2-40B4-BE49-F238E27FC236}">
                        <a16:creationId xmlns:a16="http://schemas.microsoft.com/office/drawing/2014/main" id="{F6158168-D2A9-51D8-2ED0-FA5053AB5A2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4" name="Rechthoek 43">
                    <a:extLst>
                      <a:ext uri="{FF2B5EF4-FFF2-40B4-BE49-F238E27FC236}">
                        <a16:creationId xmlns:a16="http://schemas.microsoft.com/office/drawing/2014/main" id="{5616C0FA-E4BF-A970-F7DA-5A617A4671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0" name="Groep 39">
                  <a:extLst>
                    <a:ext uri="{FF2B5EF4-FFF2-40B4-BE49-F238E27FC236}">
                      <a16:creationId xmlns:a16="http://schemas.microsoft.com/office/drawing/2014/main" id="{60643B8C-9422-2E4D-55D0-06B3FBBD8034}"/>
                    </a:ext>
                  </a:extLst>
                </p:cNvPr>
                <p:cNvGrpSpPr/>
                <p:nvPr userDrawn="1"/>
              </p:nvGrpSpPr>
              <p:grpSpPr>
                <a:xfrm rot="10800000">
                  <a:off x="13061402" y="3665637"/>
                  <a:ext cx="145820" cy="146462"/>
                  <a:chOff x="13096169" y="3602278"/>
                  <a:chExt cx="145820" cy="146462"/>
                </a:xfrm>
              </p:grpSpPr>
              <p:sp>
                <p:nvSpPr>
                  <p:cNvPr id="41" name="Rechthoek 40">
                    <a:extLst>
                      <a:ext uri="{FF2B5EF4-FFF2-40B4-BE49-F238E27FC236}">
                        <a16:creationId xmlns:a16="http://schemas.microsoft.com/office/drawing/2014/main" id="{BBD94545-F851-9570-0905-C56C6AEEC8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02F7CBAA-658A-DECF-422D-2CE41F3F449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6" name="Rechthoek 35">
                <a:extLst>
                  <a:ext uri="{FF2B5EF4-FFF2-40B4-BE49-F238E27FC236}">
                    <a16:creationId xmlns:a16="http://schemas.microsoft.com/office/drawing/2014/main" id="{A6141E01-F200-8684-4E99-022433B43F0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7" name="Gelijkbenige driehoek 36">
                <a:extLst>
                  <a:ext uri="{FF2B5EF4-FFF2-40B4-BE49-F238E27FC236}">
                    <a16:creationId xmlns:a16="http://schemas.microsoft.com/office/drawing/2014/main" id="{8A0896F9-45E2-5154-3241-BEF098A96DC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9" name="ICOON_info">
              <a:extLst>
                <a:ext uri="{FF2B5EF4-FFF2-40B4-BE49-F238E27FC236}">
                  <a16:creationId xmlns:a16="http://schemas.microsoft.com/office/drawing/2014/main" id="{FDCE1B62-58AF-60A6-6A99-AE72625DDD57}"/>
                </a:ext>
              </a:extLst>
            </p:cNvPr>
            <p:cNvGrpSpPr/>
            <p:nvPr userDrawn="1"/>
          </p:nvGrpSpPr>
          <p:grpSpPr>
            <a:xfrm>
              <a:off x="-376736" y="4055594"/>
              <a:ext cx="283685" cy="283685"/>
              <a:chOff x="-510741" y="5913713"/>
              <a:chExt cx="267555" cy="267555"/>
            </a:xfrm>
          </p:grpSpPr>
          <p:sp>
            <p:nvSpPr>
              <p:cNvPr id="33" name="Ovaal 32">
                <a:extLst>
                  <a:ext uri="{FF2B5EF4-FFF2-40B4-BE49-F238E27FC236}">
                    <a16:creationId xmlns:a16="http://schemas.microsoft.com/office/drawing/2014/main" id="{2D496AE7-1ABA-D72E-46F0-58B7BE51ACB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4" name="Graphic 163" descr="Informatie">
                <a:extLst>
                  <a:ext uri="{FF2B5EF4-FFF2-40B4-BE49-F238E27FC236}">
                    <a16:creationId xmlns:a16="http://schemas.microsoft.com/office/drawing/2014/main" id="{3DB5CA68-B8B8-4748-ADB8-4F13D1DBEBB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 name="Groep 19">
              <a:extLst>
                <a:ext uri="{FF2B5EF4-FFF2-40B4-BE49-F238E27FC236}">
                  <a16:creationId xmlns:a16="http://schemas.microsoft.com/office/drawing/2014/main" id="{B73AE3F6-8136-DEF3-A216-4FC50C1EE599}"/>
                </a:ext>
              </a:extLst>
            </p:cNvPr>
            <p:cNvGrpSpPr/>
            <p:nvPr userDrawn="1"/>
          </p:nvGrpSpPr>
          <p:grpSpPr>
            <a:xfrm>
              <a:off x="-938434" y="4364020"/>
              <a:ext cx="627798" cy="576693"/>
              <a:chOff x="-938434" y="4570310"/>
              <a:chExt cx="627798" cy="576693"/>
            </a:xfrm>
          </p:grpSpPr>
          <p:grpSp>
            <p:nvGrpSpPr>
              <p:cNvPr id="28" name="Inspireren">
                <a:extLst>
                  <a:ext uri="{FF2B5EF4-FFF2-40B4-BE49-F238E27FC236}">
                    <a16:creationId xmlns:a16="http://schemas.microsoft.com/office/drawing/2014/main" id="{4C38CBEE-B7AF-C9D6-47BB-49DB1163CD2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0" name="Freeform 12">
                  <a:extLst>
                    <a:ext uri="{FF2B5EF4-FFF2-40B4-BE49-F238E27FC236}">
                      <a16:creationId xmlns:a16="http://schemas.microsoft.com/office/drawing/2014/main" id="{DECBDD8D-668F-D23C-6138-82CEB7F038A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3">
                  <a:extLst>
                    <a:ext uri="{FF2B5EF4-FFF2-40B4-BE49-F238E27FC236}">
                      <a16:creationId xmlns:a16="http://schemas.microsoft.com/office/drawing/2014/main" id="{557EF1EB-BB59-B21D-0636-6A3C4DF9F0C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2" name="Freeform 14">
                  <a:extLst>
                    <a:ext uri="{FF2B5EF4-FFF2-40B4-BE49-F238E27FC236}">
                      <a16:creationId xmlns:a16="http://schemas.microsoft.com/office/drawing/2014/main" id="{94A51CC8-8EE5-8E00-5783-6B4451D770E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9" name="Tekstvak 28">
                <a:extLst>
                  <a:ext uri="{FF2B5EF4-FFF2-40B4-BE49-F238E27FC236}">
                    <a16:creationId xmlns:a16="http://schemas.microsoft.com/office/drawing/2014/main" id="{8BAD05E6-A5ED-164E-E4E5-975F8412445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1" name="Groep 20">
              <a:extLst>
                <a:ext uri="{FF2B5EF4-FFF2-40B4-BE49-F238E27FC236}">
                  <a16:creationId xmlns:a16="http://schemas.microsoft.com/office/drawing/2014/main" id="{058AFC21-D9B4-B91D-8D8B-88AA9904D2B2}"/>
                </a:ext>
              </a:extLst>
            </p:cNvPr>
            <p:cNvGrpSpPr/>
            <p:nvPr userDrawn="1"/>
          </p:nvGrpSpPr>
          <p:grpSpPr>
            <a:xfrm>
              <a:off x="-3365484" y="1226982"/>
              <a:ext cx="446937" cy="406485"/>
              <a:chOff x="-3563526" y="1409294"/>
              <a:chExt cx="354190" cy="322133"/>
            </a:xfrm>
          </p:grpSpPr>
          <p:grpSp>
            <p:nvGrpSpPr>
              <p:cNvPr id="22" name="Groep 21">
                <a:extLst>
                  <a:ext uri="{FF2B5EF4-FFF2-40B4-BE49-F238E27FC236}">
                    <a16:creationId xmlns:a16="http://schemas.microsoft.com/office/drawing/2014/main" id="{AA2CE0ED-6859-D1FF-5735-251BAC091E34}"/>
                  </a:ext>
                </a:extLst>
              </p:cNvPr>
              <p:cNvGrpSpPr/>
              <p:nvPr userDrawn="1"/>
            </p:nvGrpSpPr>
            <p:grpSpPr>
              <a:xfrm>
                <a:off x="-3499992" y="1409294"/>
                <a:ext cx="225195" cy="195499"/>
                <a:chOff x="8987389" y="1361199"/>
                <a:chExt cx="2200275" cy="1914525"/>
              </a:xfrm>
            </p:grpSpPr>
            <p:sp>
              <p:nvSpPr>
                <p:cNvPr id="24" name="Vrije vorm: vorm 23">
                  <a:extLst>
                    <a:ext uri="{FF2B5EF4-FFF2-40B4-BE49-F238E27FC236}">
                      <a16:creationId xmlns:a16="http://schemas.microsoft.com/office/drawing/2014/main" id="{773A49B1-D791-D338-52B9-7A0C3E6BEFB4}"/>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5" name="Groep 24">
                  <a:extLst>
                    <a:ext uri="{FF2B5EF4-FFF2-40B4-BE49-F238E27FC236}">
                      <a16:creationId xmlns:a16="http://schemas.microsoft.com/office/drawing/2014/main" id="{F8CAB3EA-89F1-FD57-5480-C862D780C9A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6" name="Vrije vorm: vorm 25">
                    <a:extLst>
                      <a:ext uri="{FF2B5EF4-FFF2-40B4-BE49-F238E27FC236}">
                        <a16:creationId xmlns:a16="http://schemas.microsoft.com/office/drawing/2014/main" id="{B63E97C4-1E41-758F-5C19-324A74E209D5}"/>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7" name="Vrije vorm: vorm 26">
                    <a:extLst>
                      <a:ext uri="{FF2B5EF4-FFF2-40B4-BE49-F238E27FC236}">
                        <a16:creationId xmlns:a16="http://schemas.microsoft.com/office/drawing/2014/main" id="{714CF8C4-EE70-3331-DDB1-86D78BE8330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3" name="Tekstvak 22">
                <a:extLst>
                  <a:ext uri="{FF2B5EF4-FFF2-40B4-BE49-F238E27FC236}">
                    <a16:creationId xmlns:a16="http://schemas.microsoft.com/office/drawing/2014/main" id="{15343C1B-78D4-A6E7-5DCD-92F16A4D7D23}"/>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019804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5">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Tree>
    <p:extLst>
      <p:ext uri="{BB962C8B-B14F-4D97-AF65-F5344CB8AC3E}">
        <p14:creationId xmlns:p14="http://schemas.microsoft.com/office/powerpoint/2010/main" val="390497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S) + text | blue mode">
    <p:bg>
      <p:bgPr>
        <a:solidFill>
          <a:schemeClr val="accent1"/>
        </a:solidFill>
        <a:effectLst/>
      </p:bgPr>
    </p:bg>
    <p:spTree>
      <p:nvGrpSpPr>
        <p:cNvPr id="1" name=""/>
        <p:cNvGrpSpPr/>
        <p:nvPr/>
      </p:nvGrpSpPr>
      <p:grpSpPr>
        <a:xfrm>
          <a:off x="0" y="0"/>
          <a:ext cx="0" cy="0"/>
          <a:chOff x="0" y="0"/>
          <a:chExt cx="0" cy="0"/>
        </a:xfrm>
      </p:grpSpPr>
      <p:sp>
        <p:nvSpPr>
          <p:cNvPr id="4" name="Tijdelijke aanduiding voor afbeelding 16">
            <a:extLst>
              <a:ext uri="{FF2B5EF4-FFF2-40B4-BE49-F238E27FC236}">
                <a16:creationId xmlns:a16="http://schemas.microsoft.com/office/drawing/2014/main" id="{61F36D1D-AE33-D8F4-F1EC-9C92E82AD61F}"/>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a:t>
            </a:r>
            <a:r>
              <a:rPr lang="en-GB" noProof="0" dirty="0" err="1"/>
              <a:t>Images’,select</a:t>
            </a:r>
            <a:r>
              <a:rPr lang="en-GB" noProof="0" dirty="0"/>
              <a:t> </a:t>
            </a:r>
            <a:br>
              <a:rPr lang="en-GB" noProof="0" dirty="0"/>
            </a:br>
            <a:r>
              <a:rPr lang="en-GB" noProof="0" dirty="0"/>
              <a:t>the preferred image and click on ‘Insert’.</a:t>
            </a:r>
          </a:p>
        </p:txBody>
      </p:sp>
      <p:sp>
        <p:nvSpPr>
          <p:cNvPr id="7" name="Tijdelijke aanduiding voor tekst 18">
            <a:extLst>
              <a:ext uri="{FF2B5EF4-FFF2-40B4-BE49-F238E27FC236}">
                <a16:creationId xmlns:a16="http://schemas.microsoft.com/office/drawing/2014/main" id="{AA9F6C2C-6967-33E9-B1F2-D2151E251AEA}"/>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3" y="1569104"/>
            <a:ext cx="7016140"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S)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3622" y="722454"/>
            <a:ext cx="7016140" cy="323709"/>
          </a:xfrm>
        </p:spPr>
        <p:txBody>
          <a:bodyPr/>
          <a:lstStyle>
            <a:lvl1pPr>
              <a:defRPr>
                <a:solidFill>
                  <a:schemeClr val="tx2"/>
                </a:solidFill>
              </a:defRPr>
            </a:lvl1pPr>
          </a:lstStyle>
          <a:p>
            <a:r>
              <a:rPr lang="en-GB" noProof="0" dirty="0"/>
              <a:t>Title goes here</a:t>
            </a:r>
            <a:endParaRPr lang="en-GB" dirty="0"/>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9" name="INSTRUCTION">
            <a:extLst>
              <a:ext uri="{FF2B5EF4-FFF2-40B4-BE49-F238E27FC236}">
                <a16:creationId xmlns:a16="http://schemas.microsoft.com/office/drawing/2014/main" id="{6D07E421-802D-1AE7-499D-23D2A87E021E}"/>
              </a:ext>
            </a:extLst>
          </p:cNvPr>
          <p:cNvGrpSpPr/>
          <p:nvPr userDrawn="1"/>
        </p:nvGrpSpPr>
        <p:grpSpPr>
          <a:xfrm>
            <a:off x="12377595" y="0"/>
            <a:ext cx="3693386" cy="5359349"/>
            <a:chOff x="-3786437" y="0"/>
            <a:chExt cx="3693386" cy="5359349"/>
          </a:xfrm>
        </p:grpSpPr>
        <p:sp>
          <p:nvSpPr>
            <p:cNvPr id="10" name="Rechthoek 9">
              <a:extLst>
                <a:ext uri="{FF2B5EF4-FFF2-40B4-BE49-F238E27FC236}">
                  <a16:creationId xmlns:a16="http://schemas.microsoft.com/office/drawing/2014/main" id="{91FC304D-357C-06BF-C5FF-3D046F7F6AB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82" name="Rechthoek 81">
              <a:extLst>
                <a:ext uri="{FF2B5EF4-FFF2-40B4-BE49-F238E27FC236}">
                  <a16:creationId xmlns:a16="http://schemas.microsoft.com/office/drawing/2014/main" id="{F9882C7C-88A1-41F0-7D86-1B6585FB08A2}"/>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532503FE-9BFB-4451-9202-2AE4E0C89B34}"/>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2129915-D12A-A7CF-B1BD-52E3FCC93E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8B02F4ED-FD93-570B-17D1-E244D19CC3FE}"/>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83401FAF-502A-5A46-E8BB-F5E46D87AC87}"/>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8C57B91E-0D76-DAF7-7D66-B21823D7C333}"/>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06699EF6-D2E5-2AC2-4F8F-06B0B8C23BC7}"/>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0F6C70FD-81C5-B018-8CB3-6D0E09345DB9}"/>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A4FF5F39-B742-ECAF-D28B-FDEBB8078336}"/>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0" name="Rechthoek 19">
              <a:extLst>
                <a:ext uri="{FF2B5EF4-FFF2-40B4-BE49-F238E27FC236}">
                  <a16:creationId xmlns:a16="http://schemas.microsoft.com/office/drawing/2014/main" id="{A8A7A46B-021E-6D64-C7A9-910DA38CD0A2}"/>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34E32B02-2B80-1814-047E-6972593C3A10}"/>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DB06FD1D-1C1C-7292-3998-AC099DC3E954}"/>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4B43B46C-4318-9F2E-4FAD-30021A080B6A}"/>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CF1D1366-7BC2-689C-C4C4-BC7A183FD177}"/>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5BBF4D97-EADD-24E9-C347-62C2D8E7C0FD}"/>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D2791377-8520-FDD1-637F-421761309944}"/>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3381929D-B36F-C1D9-67D7-4CF11EFD66B2}"/>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D29F4CE9-70F9-1DC7-2B76-2F8551EA532D}"/>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4F431478-31A3-5F7E-1005-27B065D86053}"/>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C6771B1E-60C7-A57D-3192-B6AC419B8AD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7B0A68CE-9999-1948-4E7B-6A080CC532DD}"/>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80B157DB-68E0-624E-B7A0-5221729D590E}"/>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D7B01AB8-F34A-82EF-E2E9-61803E45852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156A4BC5-042D-A6FB-AD3F-1F2BB8D09C8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691BCF54-16AB-6BE6-0C54-A41085B73309}"/>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E771F974-DDFD-E578-4A2A-9385135C24C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F3B6CBF2-A72E-BC3A-CB4B-A2FFA8ED24B9}"/>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075421AE-7C9C-FD82-340B-670C0FC7AB38}"/>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DDA0F6E1-7EDC-B2C0-788D-C621BD4F24D8}"/>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E1FCD5C1-7ECC-F6D5-26DF-2CD82787059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A8466D84-E30A-6566-1B67-6F73EE0F37B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B8EB5C4C-19EB-6AEB-9855-B20C411C48B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46981410-460A-3D40-F5A5-591C091EFB3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D7B8B9C0-5569-60E3-3058-06240A39FA5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A5B1B2EF-46B6-8DE1-55DC-A6FDE718FF3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4ABBCECB-3951-3D8A-8851-11DEBA960BB6}"/>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212BF66F-3648-2DA0-7602-FA3AE21E2EB0}"/>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F5F3A2A6-6447-E940-CF7D-FB682A15FB4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976FB9F5-7CC9-5C58-F011-1E7C6E18E79C}"/>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C235DFE0-B5C3-D285-613B-772E7C8811B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26875F0E-2B10-D647-DD3C-7794D1252F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02252262-8D30-D6FB-4CD2-A26513DFF0C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309C41FF-5EC9-FC9D-B5CE-055235B7B57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F8E44A1F-BD52-F362-7C32-65470E1E470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807E99BB-32BB-D89C-8876-BA033ED9FA4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D1D609C5-FA7F-D727-0F1A-12BB53276201}"/>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1ECF685B-28B9-2E7E-D2AE-9B364B51642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E36E85C9-6C5D-821E-F549-D537CDB59CC9}"/>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6458F2AE-2DBB-E310-61EE-12958360DDB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BDD0D37F-E4CF-02CF-CAF3-C287E1CC7B80}"/>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F11F41CA-0A24-5396-9777-96B78145CD6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921C930B-F1C1-2535-4B4E-39BC524E33A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36C11671-7728-E07E-893C-25BB3E54552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C72ADC80-B7FB-F003-21EA-E8B732D2DFB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07F1F97D-A5BF-EF8E-5D3B-DB27EB5FEB7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4E29640E-CB6D-7E8D-2B65-8CF0ED5FEF3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EFD05B29-DA41-992B-56A6-470CDDB647BE}"/>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D5953846-2FC0-5DFA-0DB3-69118675D6B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1E4054AC-711D-11A1-FADF-4F2DFC4C5672}"/>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31C174A1-6DDD-4538-83AD-012057C2C2B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160297FD-6A0A-25D9-1E9B-CF8C2AC6233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61D28259-FF64-05A0-9DF5-FF441981BED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6C86C6E9-73B9-FC12-1A19-9FCB3FFE34D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530B3578-71E4-B7C9-49F6-B345E2FA6AF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E4B02E61-A882-F065-FF7C-B735D5D923D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44A2C5E5-9032-0B25-BF2B-3CA33CC20173}"/>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03006E55-7C53-8453-CE0E-3D9347BDB77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378A8968-EA95-A0C2-DC98-5EDA20D776C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10D57F30-040E-5883-E14C-22FBFBB37AC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2295BB9D-159A-5B44-CF42-3229905449F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C81A82DB-0786-98FB-4C70-1D5252036186}"/>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E5FA1DB2-0A2B-1411-8977-F91C2D831D5B}"/>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744ED7B5-EA83-C1FB-D901-E1DB97D37BF2}"/>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EEC1556-9467-3873-4110-19148DE7F8D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473AD748-C8C8-79D7-7AD3-441EF77E4737}"/>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82A3C38D-869D-C883-6F26-8BBFCAB2C799}"/>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2F40731F-D730-8186-DF20-778671B1F9BD}"/>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503F90D2-7B58-CE04-99D7-98987CC148B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938DE611-C579-69E1-3022-D7AAB44DADA3}"/>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346656C8-922B-910F-D66B-D42489DB6D5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36175948-B77F-494D-0547-22A0318A9306}"/>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3384AFE0-31FD-C9DB-4BDF-673177ACEE4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A27E0397-783F-6578-3EA4-7322DE621D3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2685C4F1-8A77-8476-23C3-EA9CD1ECD2AD}"/>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A38C77F5-5A2A-2223-C841-9D059242ADB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6F2E5F66-77A4-984D-3A00-5493D37FC17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BEBB2900-152B-B205-77CE-05960C571BE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CABF3876-D6EE-F465-983B-DE53C69EECB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02C22475-AC20-D5C7-45AA-93A01FB4B1A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8B710D46-5200-2D05-2D85-42D9761393D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82F422D4-4061-D0A1-23EE-7EB368116A17}"/>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CAD1CD72-BB6F-907A-F464-1020B169C906}"/>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09A4519E-89B6-B10F-2881-C62BDE37BB0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21D72C5C-3F61-3156-F613-D5FFEBBCEC7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25206289-9CBD-55C9-AF12-0BE599632A3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9E4890D4-A620-6C49-7C7A-318D5974C30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B50C3CCC-15F9-4C42-43E9-2F0EA7D7733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D0347A76-0532-3B3F-A218-A793EFACACB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2BE66F2F-5D15-6AD6-2A9D-D44AE76E2F07}"/>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0FEA4718-4D4D-1617-D163-11132A8185B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23B2506C-4AAF-36DF-E919-92EBD47D5761}"/>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FBE37F18-6C87-D68A-227B-194D32FFD12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61376C46-51F8-C1B6-1F13-9C32C2553E91}"/>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49F14BC0-ECE2-741D-3912-754D1A4F3A2C}"/>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4905C5D0-C2B5-571B-7B85-241A5F1C901E}"/>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4FD9ED76-7C2E-6024-1BEC-FABD48B9A56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8E1E99F7-4369-2234-B9F2-6660914B6B6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83A9FC98-212B-0B17-5042-A24C87F0F5D6}"/>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CA83A769-3DB9-9B3C-2605-65CD93F0106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47519440-B415-9907-162A-E62EDF15F3C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804AFE93-0C44-E21D-8948-A4DBBFD1179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09E97041-6CFF-246D-0D18-DDEF17A8AA2F}"/>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FF9BF36D-DE3D-8D8B-A514-44ADF9F4404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62C10834-E850-E2AF-C864-730029A1D800}"/>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10EF3C23-E070-74D0-83D7-6E229E657D0C}"/>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D8D80824-3641-538A-27F0-AA145F3BF2FD}"/>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9DCCDB47-19B1-49EF-D699-2A26C8AF55DE}"/>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8D7AF03C-5ED2-A8C3-13A6-220E07E8261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7EFBEB2D-8F06-F546-6803-6C2B26BF8BE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81AE6F84-80BC-804F-A5AB-72BDB8FD79B2}"/>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4A2DAF85-3539-604C-6247-322DDD154726}"/>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063CD94F-E1E4-BE78-9700-1613594DE96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B2936B82-A285-59FC-C0E4-2B76D864291D}"/>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86B52D1B-015E-8BF8-6B88-ED6B40CB321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BBF9BECD-B461-A866-B746-30B72F9B317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3041923D-F8BD-65D6-B6B2-99A634560077}"/>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A8FA6EF4-EFCD-03EE-1E60-923EA48DE1F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24D2D25E-DD4D-B282-1EEF-23ADDB65A00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A8799E50-6A1E-5DFE-7FAC-79B2636E9BA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832AC579-6DED-F7D4-2167-02164A03AAE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D2324287-62C9-A1F0-FC2D-5C6429FD393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51EB588A-AB08-816D-A6C3-2FD559EE269F}"/>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1C465F6F-4E5A-1F0B-D07D-B51A988FAAC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F2DBA7EC-9F0D-7BFB-75DA-258D035FD2D9}"/>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F4425EC9-7BF7-5605-128B-37C078FC47C3}"/>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D0CEF8D7-F560-2C3F-EBD4-A55265C5960B}"/>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B5D0A59C-11E7-DEDB-343F-ADA8AE2FD1C4}"/>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17BCEF51-6EB2-17FD-1C06-346362FEF9F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CA09521B-74E4-3240-53A1-C4A91709674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600E0002-C4B5-BB83-0991-54BC74D25B9D}"/>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3169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S) + text | dark mode">
    <p:bg>
      <p:bgPr>
        <a:solidFill>
          <a:schemeClr val="accent2"/>
        </a:solidFill>
        <a:effectLst/>
      </p:bgPr>
    </p:bg>
    <p:spTree>
      <p:nvGrpSpPr>
        <p:cNvPr id="1" name=""/>
        <p:cNvGrpSpPr/>
        <p:nvPr/>
      </p:nvGrpSpPr>
      <p:grpSpPr>
        <a:xfrm>
          <a:off x="0" y="0"/>
          <a:ext cx="0" cy="0"/>
          <a:chOff x="0" y="0"/>
          <a:chExt cx="0" cy="0"/>
        </a:xfrm>
      </p:grpSpPr>
      <p:sp>
        <p:nvSpPr>
          <p:cNvPr id="7" name="Tijdelijke aanduiding voor afbeelding 16">
            <a:extLst>
              <a:ext uri="{FF2B5EF4-FFF2-40B4-BE49-F238E27FC236}">
                <a16:creationId xmlns:a16="http://schemas.microsoft.com/office/drawing/2014/main" id="{998950D4-3158-5AF8-50A9-B3ED06B5711D}"/>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a:t>
            </a:r>
            <a:r>
              <a:rPr lang="en-GB" noProof="0" dirty="0" err="1"/>
              <a:t>Images’,select</a:t>
            </a:r>
            <a:r>
              <a:rPr lang="en-GB" noProof="0" dirty="0"/>
              <a:t> </a:t>
            </a:r>
            <a:br>
              <a:rPr lang="en-GB" noProof="0" dirty="0"/>
            </a:br>
            <a:r>
              <a:rPr lang="en-GB" noProof="0" dirty="0"/>
              <a:t>the preferred image and click on ‘Insert’.</a:t>
            </a:r>
          </a:p>
        </p:txBody>
      </p:sp>
      <p:sp>
        <p:nvSpPr>
          <p:cNvPr id="10" name="Tijdelijke aanduiding voor tekst 18">
            <a:extLst>
              <a:ext uri="{FF2B5EF4-FFF2-40B4-BE49-F238E27FC236}">
                <a16:creationId xmlns:a16="http://schemas.microsoft.com/office/drawing/2014/main" id="{B08C0826-31A1-3DEF-7271-51202B96A14E}"/>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3" y="1569104"/>
            <a:ext cx="7016140"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dirty="0">
                <a:solidFill>
                  <a:schemeClr val="accent1"/>
                </a:solidFill>
                <a:latin typeface="+mj-lt"/>
              </a:rPr>
              <a:t>Image (S) + text | dark mode</a:t>
            </a:r>
            <a:endParaRPr lang="en-GB" sz="1800" b="1" cap="none" baseline="0" noProof="0" dirty="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3622" y="722454"/>
            <a:ext cx="7016140" cy="323709"/>
          </a:xfrm>
        </p:spPr>
        <p:txBody>
          <a:bodyPr/>
          <a:lstStyle>
            <a:lvl1pPr>
              <a:defRPr>
                <a:solidFill>
                  <a:schemeClr val="bg1"/>
                </a:solidFill>
              </a:defRPr>
            </a:lvl1pPr>
          </a:lstStyle>
          <a:p>
            <a:r>
              <a:rPr lang="en-GB" noProof="0" dirty="0"/>
              <a:t>Title goes here</a:t>
            </a:r>
            <a:endParaRPr lang="en-GB" dirty="0"/>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029F8F8E-B66F-D84A-81C1-DBDA4B71F05C}"/>
              </a:ext>
            </a:extLst>
          </p:cNvPr>
          <p:cNvGrpSpPr/>
          <p:nvPr userDrawn="1"/>
        </p:nvGrpSpPr>
        <p:grpSpPr>
          <a:xfrm>
            <a:off x="12377595" y="0"/>
            <a:ext cx="3693386" cy="5359349"/>
            <a:chOff x="-3786437" y="0"/>
            <a:chExt cx="3693386" cy="5359349"/>
          </a:xfrm>
        </p:grpSpPr>
        <p:sp>
          <p:nvSpPr>
            <p:cNvPr id="9" name="Rechthoek 8">
              <a:extLst>
                <a:ext uri="{FF2B5EF4-FFF2-40B4-BE49-F238E27FC236}">
                  <a16:creationId xmlns:a16="http://schemas.microsoft.com/office/drawing/2014/main" id="{7ADF48FA-05FC-DF57-4E09-928C2BA513F5}"/>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 name="Rechthoek 10">
              <a:extLst>
                <a:ext uri="{FF2B5EF4-FFF2-40B4-BE49-F238E27FC236}">
                  <a16:creationId xmlns:a16="http://schemas.microsoft.com/office/drawing/2014/main" id="{424E496F-C327-0011-F410-E6438146CA9B}"/>
                </a:ext>
              </a:extLst>
            </p:cNvPr>
            <p:cNvSpPr/>
            <p:nvPr userDrawn="1"/>
          </p:nvSpPr>
          <p:spPr>
            <a:xfrm>
              <a:off x="-3786165" y="1707400"/>
              <a:ext cx="3593091" cy="2836018"/>
            </a:xfrm>
            <a:prstGeom prst="rect">
              <a:avLst/>
            </a:prstGeom>
            <a:solidFill>
              <a:schemeClr val="accent2"/>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2" name="Ovaal 11">
              <a:extLst>
                <a:ext uri="{FF2B5EF4-FFF2-40B4-BE49-F238E27FC236}">
                  <a16:creationId xmlns:a16="http://schemas.microsoft.com/office/drawing/2014/main" id="{F2155647-28C0-F888-EE81-A099B769859D}"/>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3" name="Rechthoek 12">
              <a:extLst>
                <a:ext uri="{FF2B5EF4-FFF2-40B4-BE49-F238E27FC236}">
                  <a16:creationId xmlns:a16="http://schemas.microsoft.com/office/drawing/2014/main" id="{B59057CE-9262-6BC0-323C-A78F545C165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4" name="Ovaal 13">
              <a:extLst>
                <a:ext uri="{FF2B5EF4-FFF2-40B4-BE49-F238E27FC236}">
                  <a16:creationId xmlns:a16="http://schemas.microsoft.com/office/drawing/2014/main" id="{4EF1168F-E89C-E8BB-3E6F-F99E7A4F3BC7}"/>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5" name="Rechthoek 14">
              <a:extLst>
                <a:ext uri="{FF2B5EF4-FFF2-40B4-BE49-F238E27FC236}">
                  <a16:creationId xmlns:a16="http://schemas.microsoft.com/office/drawing/2014/main" id="{13D57669-F1E3-9778-8B1C-EEB64916CAA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6" name="Rechthoek 15">
              <a:extLst>
                <a:ext uri="{FF2B5EF4-FFF2-40B4-BE49-F238E27FC236}">
                  <a16:creationId xmlns:a16="http://schemas.microsoft.com/office/drawing/2014/main" id="{45F2691A-894C-0BAD-A64E-90BF94FDFBD8}"/>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7" name="Ovaal 16">
              <a:extLst>
                <a:ext uri="{FF2B5EF4-FFF2-40B4-BE49-F238E27FC236}">
                  <a16:creationId xmlns:a16="http://schemas.microsoft.com/office/drawing/2014/main" id="{7B72370B-63C0-3FF6-CBA0-D0218F4DEB95}"/>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8" name="Rechthoek 17">
              <a:extLst>
                <a:ext uri="{FF2B5EF4-FFF2-40B4-BE49-F238E27FC236}">
                  <a16:creationId xmlns:a16="http://schemas.microsoft.com/office/drawing/2014/main" id="{008892AF-36E8-A4BF-34DF-E574D7DED7E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20" name="Ovaal 19">
              <a:extLst>
                <a:ext uri="{FF2B5EF4-FFF2-40B4-BE49-F238E27FC236}">
                  <a16:creationId xmlns:a16="http://schemas.microsoft.com/office/drawing/2014/main" id="{AF9529F5-90D9-81C2-6542-EBD5AAF673CF}"/>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B2668A43-8FB8-75AA-5B87-1040304E7DF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bg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D75DEDC8-9AC6-A76C-074D-95E1A9147B8D}"/>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D2D235DA-4BB4-6C21-1050-E849F54C28A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bg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CA6F3E0C-DE5B-050C-2EA7-D80262B0D1F3}"/>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023CB4A1-6963-FFA0-E469-F920BA15514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396DA48D-D558-61AF-14C5-38E968D93220}"/>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69DD0256-BC55-70B6-9711-3F06745948A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2E593191-AEB1-EB79-EE36-D6B345301464}"/>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E8FD4786-60C9-9486-2DC6-3D9B00E1CBEF}"/>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523DA0C7-DBA9-8FE2-B931-01679B902CAC}"/>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BAB3BD5C-FB06-9428-2AA1-20078828C5DC}"/>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EAEA86D1-B00E-3D8E-7B2C-0871C793463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2B60D8A9-3310-9810-08D8-CFBD1AC55BDB}"/>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0059BE4F-C466-EDF0-108B-5D92562BDEC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7921049A-F3B6-D3E0-4073-0B095AA691E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5BC10C1D-E1D4-4E29-4C13-249D3D62C253}"/>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AF3EC131-7E63-C06C-7917-A3FF8A41114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914610E8-B757-0A30-9B28-61396977CD48}"/>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EB4E2AC5-D400-8328-C7B2-BAE358134C1C}"/>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BC3576CF-A7B1-17B1-D984-90AFF95BFE45}"/>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823F07FA-3156-C421-3B03-3B64529D97A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ABD2612A-2576-8DF0-3F4D-08534B6182CD}"/>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60EBB61E-1F76-853D-41A6-484939521A5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2073D5CB-EA62-759E-CC40-FDA085CC43A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3C80278B-8737-7B3C-1EF7-7047527172B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701C7CFA-4BFB-5C65-2BF2-90987071C9F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5D5AD55C-1878-1FBA-8585-25AFE3AF720B}"/>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BC8A942C-6950-44FB-3A9D-068C5E9A0FA4}"/>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82A6C3D0-6C85-9B31-38A7-88C4338A1D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8FC8623B-CEAE-E9A5-2244-112541F9523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46281FFE-331A-6BB8-A841-0F767919C62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F6B4E5CF-4D15-7FF7-A8D5-04A688445D4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8C263B9C-331C-8048-E4FF-8B47D9B1510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B49CE55E-69FB-B9CC-001D-9F1F9BF1901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9E585861-F94E-CD59-2EB9-5F485F3F4D4C}"/>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9310290C-4527-DDE5-98F2-0BBE8E32997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D91BCBE2-245D-6BEA-3A96-F2069FCF272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15E977E5-EF26-3107-BA42-02048DB2853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1D24D345-7F5E-C4F9-ED55-D6B041C68DB6}"/>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2AF027B3-D16D-1FC0-7B47-F317342C7981}"/>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EF0A90F4-444A-4301-846D-7488DD28EA4E}"/>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3655EFAD-2E48-28EC-34B0-0E71AA7B03A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2E740BBE-4ACA-E77D-11F6-E3EC8EFA324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4CDF5780-534F-AAD2-D80D-B82DF93EAE1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849EABD2-5647-B9AC-2F3B-FF87A99EFD4D}"/>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288A1F66-CBE0-5E1D-3BAC-39CCC49BB47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1A8C63F1-E2B1-4882-2922-F9E134AFF73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BF9ABF3C-8C2D-E4F6-5C27-1B0DC2A7AA39}"/>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08E0DA45-CC90-9315-4654-C1A487262EA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25AA5B83-9366-2167-4789-97722C1A3747}"/>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CE0142AE-8E90-944D-CF85-D76224D49DF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259151C3-DFBE-E5EB-B5B2-0EDE2B8FE13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E83AC589-248C-D47E-FE78-91C446B9CC9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8F90724F-3E48-75F8-0EE7-4BCDBF76D10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FB434647-E4C7-E5E7-DAF5-1C1ED4834C0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974723F2-A567-0B2C-1E19-3D58BF5F4EA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4E92109E-7049-67B7-E711-D0E3C35FFABF}"/>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B6BB28E5-FC07-8660-D163-A81A2312AC2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DDAE04FD-F181-3949-7D85-58325D157C0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95968914-FEA4-2AE8-E004-E96F339388B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AB79A8C7-FB3C-A442-3338-FC8FB2AE603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8DF17050-91F9-6EE8-82AF-836B5EC13983}"/>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6" name="INSTRUCTION">
            <a:extLst>
              <a:ext uri="{FF2B5EF4-FFF2-40B4-BE49-F238E27FC236}">
                <a16:creationId xmlns:a16="http://schemas.microsoft.com/office/drawing/2014/main" id="{0F7A56C1-733C-A37F-4D3F-2213F982AE40}"/>
              </a:ext>
            </a:extLst>
          </p:cNvPr>
          <p:cNvGrpSpPr/>
          <p:nvPr userDrawn="1"/>
        </p:nvGrpSpPr>
        <p:grpSpPr>
          <a:xfrm>
            <a:off x="-3786165" y="-1"/>
            <a:ext cx="3693386" cy="6640349"/>
            <a:chOff x="-3786165" y="-1"/>
            <a:chExt cx="3693386" cy="6640349"/>
          </a:xfrm>
        </p:grpSpPr>
        <p:sp>
          <p:nvSpPr>
            <p:cNvPr id="157" name="Rechthoek 156">
              <a:extLst>
                <a:ext uri="{FF2B5EF4-FFF2-40B4-BE49-F238E27FC236}">
                  <a16:creationId xmlns:a16="http://schemas.microsoft.com/office/drawing/2014/main" id="{1CEDD57F-4BB9-FD9F-B3F7-E79C0320BA73}"/>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58" name="Ovaal 157">
              <a:extLst>
                <a:ext uri="{FF2B5EF4-FFF2-40B4-BE49-F238E27FC236}">
                  <a16:creationId xmlns:a16="http://schemas.microsoft.com/office/drawing/2014/main" id="{DCE54C07-4C43-F9E1-4B83-167B7B08880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9" name="Rechthoek 158">
              <a:extLst>
                <a:ext uri="{FF2B5EF4-FFF2-40B4-BE49-F238E27FC236}">
                  <a16:creationId xmlns:a16="http://schemas.microsoft.com/office/drawing/2014/main" id="{65886D6B-F586-7823-DBA0-98143291F751}"/>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60" name="Ovaal 159">
              <a:extLst>
                <a:ext uri="{FF2B5EF4-FFF2-40B4-BE49-F238E27FC236}">
                  <a16:creationId xmlns:a16="http://schemas.microsoft.com/office/drawing/2014/main" id="{1E526610-5710-6B63-4E90-4563E7AA859F}"/>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1" name="Rechthoek 160">
              <a:extLst>
                <a:ext uri="{FF2B5EF4-FFF2-40B4-BE49-F238E27FC236}">
                  <a16:creationId xmlns:a16="http://schemas.microsoft.com/office/drawing/2014/main" id="{6D115087-3C69-969D-E772-4723287E1F53}"/>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2" name="Ovaal 161">
              <a:extLst>
                <a:ext uri="{FF2B5EF4-FFF2-40B4-BE49-F238E27FC236}">
                  <a16:creationId xmlns:a16="http://schemas.microsoft.com/office/drawing/2014/main" id="{8BFA1349-EEE4-A0F0-3A3D-55A8FE8D97A0}"/>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3" name="Rechthoek 162">
              <a:extLst>
                <a:ext uri="{FF2B5EF4-FFF2-40B4-BE49-F238E27FC236}">
                  <a16:creationId xmlns:a16="http://schemas.microsoft.com/office/drawing/2014/main" id="{13036124-AFB3-6331-E1AA-99EB524253A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4" name="Rechthoek 163">
              <a:extLst>
                <a:ext uri="{FF2B5EF4-FFF2-40B4-BE49-F238E27FC236}">
                  <a16:creationId xmlns:a16="http://schemas.microsoft.com/office/drawing/2014/main" id="{92646E72-2021-23E6-3AE0-AE1866ABA24A}"/>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65" name="Groep 164">
              <a:extLst>
                <a:ext uri="{FF2B5EF4-FFF2-40B4-BE49-F238E27FC236}">
                  <a16:creationId xmlns:a16="http://schemas.microsoft.com/office/drawing/2014/main" id="{9D68007A-EF83-5BDB-1FE3-3C1FDD8F5F0C}"/>
                </a:ext>
              </a:extLst>
            </p:cNvPr>
            <p:cNvGrpSpPr/>
            <p:nvPr userDrawn="1"/>
          </p:nvGrpSpPr>
          <p:grpSpPr>
            <a:xfrm>
              <a:off x="-2485819" y="3479783"/>
              <a:ext cx="1222990" cy="563933"/>
              <a:chOff x="-2485819" y="3399207"/>
              <a:chExt cx="1222990" cy="563933"/>
            </a:xfrm>
          </p:grpSpPr>
          <p:sp>
            <p:nvSpPr>
              <p:cNvPr id="204" name="Rechthoek 203">
                <a:extLst>
                  <a:ext uri="{FF2B5EF4-FFF2-40B4-BE49-F238E27FC236}">
                    <a16:creationId xmlns:a16="http://schemas.microsoft.com/office/drawing/2014/main" id="{C0C16C9F-8FC4-7BB6-91E2-E51E396E82F8}"/>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5" name="Rechthoek 204">
                <a:extLst>
                  <a:ext uri="{FF2B5EF4-FFF2-40B4-BE49-F238E27FC236}">
                    <a16:creationId xmlns:a16="http://schemas.microsoft.com/office/drawing/2014/main" id="{876A49EE-B34B-CDAF-FFC2-E46719A4C38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6" name="Groep 205">
                <a:extLst>
                  <a:ext uri="{FF2B5EF4-FFF2-40B4-BE49-F238E27FC236}">
                    <a16:creationId xmlns:a16="http://schemas.microsoft.com/office/drawing/2014/main" id="{3D59A685-562C-AF7A-977C-E38B960321BD}"/>
                  </a:ext>
                </a:extLst>
              </p:cNvPr>
              <p:cNvGrpSpPr/>
              <p:nvPr userDrawn="1"/>
            </p:nvGrpSpPr>
            <p:grpSpPr>
              <a:xfrm>
                <a:off x="-2403869" y="3460544"/>
                <a:ext cx="155951" cy="131922"/>
                <a:chOff x="12968836" y="3354170"/>
                <a:chExt cx="404806" cy="342433"/>
              </a:xfrm>
            </p:grpSpPr>
            <p:sp>
              <p:nvSpPr>
                <p:cNvPr id="219" name="Rechthoek: afgeronde hoeken 218">
                  <a:extLst>
                    <a:ext uri="{FF2B5EF4-FFF2-40B4-BE49-F238E27FC236}">
                      <a16:creationId xmlns:a16="http://schemas.microsoft.com/office/drawing/2014/main" id="{5A6F8916-EBA7-660C-5641-28B34664684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61617C69-A22C-868A-947A-C694ED973DF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1C7E5242-C604-56AA-1F4C-F85A6763639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485EE85A-5C8B-B94B-B308-5C74919257C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3" name="Rechthoek 222">
                  <a:extLst>
                    <a:ext uri="{FF2B5EF4-FFF2-40B4-BE49-F238E27FC236}">
                      <a16:creationId xmlns:a16="http://schemas.microsoft.com/office/drawing/2014/main" id="{332D8983-048F-D0D5-2C9C-60488AA4F22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4" name="Rechthoek 223">
                  <a:extLst>
                    <a:ext uri="{FF2B5EF4-FFF2-40B4-BE49-F238E27FC236}">
                      <a16:creationId xmlns:a16="http://schemas.microsoft.com/office/drawing/2014/main" id="{3CA42B89-B62A-300D-E3E8-03F413847AF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7" name="Groep 206">
                <a:extLst>
                  <a:ext uri="{FF2B5EF4-FFF2-40B4-BE49-F238E27FC236}">
                    <a16:creationId xmlns:a16="http://schemas.microsoft.com/office/drawing/2014/main" id="{3A2C2FA6-8A47-3A01-0C10-697B8A1D09E1}"/>
                  </a:ext>
                </a:extLst>
              </p:cNvPr>
              <p:cNvGrpSpPr/>
              <p:nvPr userDrawn="1"/>
            </p:nvGrpSpPr>
            <p:grpSpPr>
              <a:xfrm>
                <a:off x="-2423424" y="3690208"/>
                <a:ext cx="166739" cy="218963"/>
                <a:chOff x="12940828" y="3950597"/>
                <a:chExt cx="432813" cy="568367"/>
              </a:xfrm>
            </p:grpSpPr>
            <p:grpSp>
              <p:nvGrpSpPr>
                <p:cNvPr id="211" name="Groep 210">
                  <a:extLst>
                    <a:ext uri="{FF2B5EF4-FFF2-40B4-BE49-F238E27FC236}">
                      <a16:creationId xmlns:a16="http://schemas.microsoft.com/office/drawing/2014/main" id="{EE17CD81-799C-FE6B-92B6-798E98A75307}"/>
                    </a:ext>
                  </a:extLst>
                </p:cNvPr>
                <p:cNvGrpSpPr/>
                <p:nvPr userDrawn="1"/>
              </p:nvGrpSpPr>
              <p:grpSpPr>
                <a:xfrm>
                  <a:off x="13000382" y="4006891"/>
                  <a:ext cx="373259" cy="315747"/>
                  <a:chOff x="12968836" y="3354170"/>
                  <a:chExt cx="404806" cy="342433"/>
                </a:xfrm>
              </p:grpSpPr>
              <p:sp>
                <p:nvSpPr>
                  <p:cNvPr id="213" name="Rechthoek: afgeronde hoeken 212">
                    <a:extLst>
                      <a:ext uri="{FF2B5EF4-FFF2-40B4-BE49-F238E27FC236}">
                        <a16:creationId xmlns:a16="http://schemas.microsoft.com/office/drawing/2014/main" id="{EFF6AA78-CACC-4F0F-CAC2-1219830951B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74088B98-943B-23A9-FBC8-8A71B7633AE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7EB6BD8A-A3C2-31C0-5C9E-D72973559CAB}"/>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6" name="Rechthoek 215">
                    <a:extLst>
                      <a:ext uri="{FF2B5EF4-FFF2-40B4-BE49-F238E27FC236}">
                        <a16:creationId xmlns:a16="http://schemas.microsoft.com/office/drawing/2014/main" id="{65A1C915-25F2-4B6A-5B98-41A7621FDDD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7" name="Rechthoek 216">
                    <a:extLst>
                      <a:ext uri="{FF2B5EF4-FFF2-40B4-BE49-F238E27FC236}">
                        <a16:creationId xmlns:a16="http://schemas.microsoft.com/office/drawing/2014/main" id="{60EF339A-523B-DC6A-3917-FFA59378E75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8" name="Rechthoek 217">
                    <a:extLst>
                      <a:ext uri="{FF2B5EF4-FFF2-40B4-BE49-F238E27FC236}">
                        <a16:creationId xmlns:a16="http://schemas.microsoft.com/office/drawing/2014/main" id="{6B5073AE-2EAD-748F-BFBD-18579C5DCAD9}"/>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12" name="Boog 211">
                  <a:extLst>
                    <a:ext uri="{FF2B5EF4-FFF2-40B4-BE49-F238E27FC236}">
                      <a16:creationId xmlns:a16="http://schemas.microsoft.com/office/drawing/2014/main" id="{20E27356-621D-94D2-EDE8-D27F24BBD1C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08" name="Tekstvak 207">
                <a:extLst>
                  <a:ext uri="{FF2B5EF4-FFF2-40B4-BE49-F238E27FC236}">
                    <a16:creationId xmlns:a16="http://schemas.microsoft.com/office/drawing/2014/main" id="{90E9C096-24A1-FB55-4B35-19DC3E1E55B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09" name="Tekstvak 208">
                <a:extLst>
                  <a:ext uri="{FF2B5EF4-FFF2-40B4-BE49-F238E27FC236}">
                    <a16:creationId xmlns:a16="http://schemas.microsoft.com/office/drawing/2014/main" id="{A94BEDA9-24F8-0C29-9889-2B152C52226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10" name="Vrije vorm: vorm 209">
                <a:extLst>
                  <a:ext uri="{FF2B5EF4-FFF2-40B4-BE49-F238E27FC236}">
                    <a16:creationId xmlns:a16="http://schemas.microsoft.com/office/drawing/2014/main" id="{C16F6D9D-F4A7-1662-4C7C-9BDC6CAC020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6" name="Groep 165">
              <a:extLst>
                <a:ext uri="{FF2B5EF4-FFF2-40B4-BE49-F238E27FC236}">
                  <a16:creationId xmlns:a16="http://schemas.microsoft.com/office/drawing/2014/main" id="{A83BF9D9-BBED-BB51-A3BB-1457D2A9860B}"/>
                </a:ext>
              </a:extLst>
            </p:cNvPr>
            <p:cNvGrpSpPr/>
            <p:nvPr userDrawn="1"/>
          </p:nvGrpSpPr>
          <p:grpSpPr>
            <a:xfrm>
              <a:off x="-3786165" y="5680652"/>
              <a:ext cx="3693386" cy="959696"/>
              <a:chOff x="-3786437" y="6163468"/>
              <a:chExt cx="3693386" cy="959696"/>
            </a:xfrm>
          </p:grpSpPr>
          <p:sp>
            <p:nvSpPr>
              <p:cNvPr id="194" name="Rechthoek 193">
                <a:extLst>
                  <a:ext uri="{FF2B5EF4-FFF2-40B4-BE49-F238E27FC236}">
                    <a16:creationId xmlns:a16="http://schemas.microsoft.com/office/drawing/2014/main" id="{22B995AC-FF24-DC48-5079-8DC2072A6D1A}"/>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95" name="ICOON_info">
                <a:extLst>
                  <a:ext uri="{FF2B5EF4-FFF2-40B4-BE49-F238E27FC236}">
                    <a16:creationId xmlns:a16="http://schemas.microsoft.com/office/drawing/2014/main" id="{1D839DD9-0867-9C00-4164-7543DBB7184E}"/>
                  </a:ext>
                </a:extLst>
              </p:cNvPr>
              <p:cNvGrpSpPr/>
              <p:nvPr userDrawn="1"/>
            </p:nvGrpSpPr>
            <p:grpSpPr>
              <a:xfrm>
                <a:off x="-376736" y="6163468"/>
                <a:ext cx="283685" cy="283685"/>
                <a:chOff x="-510741" y="5913713"/>
                <a:chExt cx="267555" cy="267555"/>
              </a:xfrm>
            </p:grpSpPr>
            <p:sp>
              <p:nvSpPr>
                <p:cNvPr id="202" name="Ovaal 201">
                  <a:extLst>
                    <a:ext uri="{FF2B5EF4-FFF2-40B4-BE49-F238E27FC236}">
                      <a16:creationId xmlns:a16="http://schemas.microsoft.com/office/drawing/2014/main" id="{86C3C913-1270-0A5E-1F69-702A8485F55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3" name="Graphic 163" descr="Informatie">
                  <a:extLst>
                    <a:ext uri="{FF2B5EF4-FFF2-40B4-BE49-F238E27FC236}">
                      <a16:creationId xmlns:a16="http://schemas.microsoft.com/office/drawing/2014/main" id="{8FD71EF2-9010-01D8-5D23-49C4D81FA1A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6" name="Groep 195">
                <a:extLst>
                  <a:ext uri="{FF2B5EF4-FFF2-40B4-BE49-F238E27FC236}">
                    <a16:creationId xmlns:a16="http://schemas.microsoft.com/office/drawing/2014/main" id="{0A6C9D97-FC75-2636-CDB7-A2A1867268A2}"/>
                  </a:ext>
                </a:extLst>
              </p:cNvPr>
              <p:cNvGrpSpPr/>
              <p:nvPr userDrawn="1"/>
            </p:nvGrpSpPr>
            <p:grpSpPr>
              <a:xfrm>
                <a:off x="-938434" y="6420818"/>
                <a:ext cx="627798" cy="576693"/>
                <a:chOff x="-938434" y="4570310"/>
                <a:chExt cx="627798" cy="576693"/>
              </a:xfrm>
            </p:grpSpPr>
            <p:grpSp>
              <p:nvGrpSpPr>
                <p:cNvPr id="197" name="Inspireren">
                  <a:extLst>
                    <a:ext uri="{FF2B5EF4-FFF2-40B4-BE49-F238E27FC236}">
                      <a16:creationId xmlns:a16="http://schemas.microsoft.com/office/drawing/2014/main" id="{822A0246-33A0-71F3-0945-019F96E0C1A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9" name="Freeform 12">
                    <a:extLst>
                      <a:ext uri="{FF2B5EF4-FFF2-40B4-BE49-F238E27FC236}">
                        <a16:creationId xmlns:a16="http://schemas.microsoft.com/office/drawing/2014/main" id="{0139CC9F-B0DF-CC2B-51B1-25447EFDB01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00" name="Freeform 13">
                    <a:extLst>
                      <a:ext uri="{FF2B5EF4-FFF2-40B4-BE49-F238E27FC236}">
                        <a16:creationId xmlns:a16="http://schemas.microsoft.com/office/drawing/2014/main" id="{CA484941-AA5F-7570-708B-BF034C3440F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01" name="Freeform 14">
                    <a:extLst>
                      <a:ext uri="{FF2B5EF4-FFF2-40B4-BE49-F238E27FC236}">
                        <a16:creationId xmlns:a16="http://schemas.microsoft.com/office/drawing/2014/main" id="{73E6621C-5BD3-1722-8ADE-5F69230B355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98" name="Tekstvak 197">
                  <a:extLst>
                    <a:ext uri="{FF2B5EF4-FFF2-40B4-BE49-F238E27FC236}">
                      <a16:creationId xmlns:a16="http://schemas.microsoft.com/office/drawing/2014/main" id="{9FD00A1B-8E3B-6F8B-1D63-BA6F2AF629C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7" name="Groep 166">
              <a:extLst>
                <a:ext uri="{FF2B5EF4-FFF2-40B4-BE49-F238E27FC236}">
                  <a16:creationId xmlns:a16="http://schemas.microsoft.com/office/drawing/2014/main" id="{5C816F21-6B48-6FEA-AE3A-6691608C2123}"/>
                </a:ext>
              </a:extLst>
            </p:cNvPr>
            <p:cNvGrpSpPr/>
            <p:nvPr userDrawn="1"/>
          </p:nvGrpSpPr>
          <p:grpSpPr>
            <a:xfrm>
              <a:off x="-3426806" y="5129582"/>
              <a:ext cx="514284" cy="506545"/>
              <a:chOff x="12617641" y="3403239"/>
              <a:chExt cx="752963" cy="741634"/>
            </a:xfrm>
          </p:grpSpPr>
          <p:grpSp>
            <p:nvGrpSpPr>
              <p:cNvPr id="178" name="Groep 177">
                <a:extLst>
                  <a:ext uri="{FF2B5EF4-FFF2-40B4-BE49-F238E27FC236}">
                    <a16:creationId xmlns:a16="http://schemas.microsoft.com/office/drawing/2014/main" id="{DFFEEFB8-5FCE-DB39-6265-B0A69794AD63}"/>
                  </a:ext>
                </a:extLst>
              </p:cNvPr>
              <p:cNvGrpSpPr/>
              <p:nvPr userDrawn="1"/>
            </p:nvGrpSpPr>
            <p:grpSpPr>
              <a:xfrm>
                <a:off x="12771530" y="3403239"/>
                <a:ext cx="467176" cy="448491"/>
                <a:chOff x="12782157" y="3403239"/>
                <a:chExt cx="467176" cy="448491"/>
              </a:xfrm>
            </p:grpSpPr>
            <p:grpSp>
              <p:nvGrpSpPr>
                <p:cNvPr id="181" name="Groep 180">
                  <a:extLst>
                    <a:ext uri="{FF2B5EF4-FFF2-40B4-BE49-F238E27FC236}">
                      <a16:creationId xmlns:a16="http://schemas.microsoft.com/office/drawing/2014/main" id="{0C7575CB-EC62-A457-D471-9CD8F6D79E87}"/>
                    </a:ext>
                  </a:extLst>
                </p:cNvPr>
                <p:cNvGrpSpPr/>
                <p:nvPr userDrawn="1"/>
              </p:nvGrpSpPr>
              <p:grpSpPr>
                <a:xfrm>
                  <a:off x="12782157" y="3403239"/>
                  <a:ext cx="412976" cy="396132"/>
                  <a:chOff x="13554906" y="3320109"/>
                  <a:chExt cx="443917" cy="425811"/>
                </a:xfrm>
              </p:grpSpPr>
              <p:grpSp>
                <p:nvGrpSpPr>
                  <p:cNvPr id="188" name="Groep 187">
                    <a:extLst>
                      <a:ext uri="{FF2B5EF4-FFF2-40B4-BE49-F238E27FC236}">
                        <a16:creationId xmlns:a16="http://schemas.microsoft.com/office/drawing/2014/main" id="{8D47A38F-770D-2EBB-E2EA-2B406EA2D9BD}"/>
                      </a:ext>
                    </a:extLst>
                  </p:cNvPr>
                  <p:cNvGrpSpPr/>
                  <p:nvPr userDrawn="1"/>
                </p:nvGrpSpPr>
                <p:grpSpPr>
                  <a:xfrm>
                    <a:off x="13554906" y="3320109"/>
                    <a:ext cx="443917" cy="425811"/>
                    <a:chOff x="12909684" y="1276143"/>
                    <a:chExt cx="443917" cy="425811"/>
                  </a:xfrm>
                </p:grpSpPr>
                <p:sp>
                  <p:nvSpPr>
                    <p:cNvPr id="191" name="Rechthoek 190">
                      <a:extLst>
                        <a:ext uri="{FF2B5EF4-FFF2-40B4-BE49-F238E27FC236}">
                          <a16:creationId xmlns:a16="http://schemas.microsoft.com/office/drawing/2014/main" id="{3E346608-E17B-5B8A-A58A-DC6A512AF78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2" name="Rechthoek 191">
                      <a:extLst>
                        <a:ext uri="{FF2B5EF4-FFF2-40B4-BE49-F238E27FC236}">
                          <a16:creationId xmlns:a16="http://schemas.microsoft.com/office/drawing/2014/main" id="{CEEA1F7C-0170-71FD-F67E-C23D0A490DC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3" name="Ovaal 192">
                      <a:extLst>
                        <a:ext uri="{FF2B5EF4-FFF2-40B4-BE49-F238E27FC236}">
                          <a16:creationId xmlns:a16="http://schemas.microsoft.com/office/drawing/2014/main" id="{4464906B-E2FE-3DBB-7B17-D31B07FFB84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89" name="Afbeelding 188">
                    <a:extLst>
                      <a:ext uri="{FF2B5EF4-FFF2-40B4-BE49-F238E27FC236}">
                        <a16:creationId xmlns:a16="http://schemas.microsoft.com/office/drawing/2014/main" id="{A7FD7A29-A34B-5458-B542-4FD8E5D93E5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90" name="Afbeelding 189">
                    <a:extLst>
                      <a:ext uri="{FF2B5EF4-FFF2-40B4-BE49-F238E27FC236}">
                        <a16:creationId xmlns:a16="http://schemas.microsoft.com/office/drawing/2014/main" id="{3B707343-9074-784D-8A4C-D52A1A147D80}"/>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82" name="Groep 181">
                  <a:extLst>
                    <a:ext uri="{FF2B5EF4-FFF2-40B4-BE49-F238E27FC236}">
                      <a16:creationId xmlns:a16="http://schemas.microsoft.com/office/drawing/2014/main" id="{70E78859-0741-ECDC-9D92-6101C0DEC963}"/>
                    </a:ext>
                  </a:extLst>
                </p:cNvPr>
                <p:cNvGrpSpPr/>
                <p:nvPr userDrawn="1"/>
              </p:nvGrpSpPr>
              <p:grpSpPr>
                <a:xfrm>
                  <a:off x="13103513" y="3705268"/>
                  <a:ext cx="145820" cy="146462"/>
                  <a:chOff x="13096169" y="3602278"/>
                  <a:chExt cx="145820" cy="146462"/>
                </a:xfrm>
              </p:grpSpPr>
              <p:sp>
                <p:nvSpPr>
                  <p:cNvPr id="186" name="Rechthoek 185">
                    <a:extLst>
                      <a:ext uri="{FF2B5EF4-FFF2-40B4-BE49-F238E27FC236}">
                        <a16:creationId xmlns:a16="http://schemas.microsoft.com/office/drawing/2014/main" id="{92B4EF0B-CE70-BB6F-2977-DFE82704C02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93306CB3-E3DF-AD8A-E4EB-6F05CAA19B7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3" name="Groep 182">
                  <a:extLst>
                    <a:ext uri="{FF2B5EF4-FFF2-40B4-BE49-F238E27FC236}">
                      <a16:creationId xmlns:a16="http://schemas.microsoft.com/office/drawing/2014/main" id="{E96BFF7F-C3C8-8E94-EB57-BA957750B5D7}"/>
                    </a:ext>
                  </a:extLst>
                </p:cNvPr>
                <p:cNvGrpSpPr/>
                <p:nvPr userDrawn="1"/>
              </p:nvGrpSpPr>
              <p:grpSpPr>
                <a:xfrm rot="10800000">
                  <a:off x="13061402" y="3665637"/>
                  <a:ext cx="145820" cy="146462"/>
                  <a:chOff x="13096169" y="3602278"/>
                  <a:chExt cx="145820" cy="146462"/>
                </a:xfrm>
              </p:grpSpPr>
              <p:sp>
                <p:nvSpPr>
                  <p:cNvPr id="184" name="Rechthoek 183">
                    <a:extLst>
                      <a:ext uri="{FF2B5EF4-FFF2-40B4-BE49-F238E27FC236}">
                        <a16:creationId xmlns:a16="http://schemas.microsoft.com/office/drawing/2014/main" id="{D886EE0D-0BA6-363B-1BEF-C2EAE61C2C8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5" name="Rechthoek 184">
                    <a:extLst>
                      <a:ext uri="{FF2B5EF4-FFF2-40B4-BE49-F238E27FC236}">
                        <a16:creationId xmlns:a16="http://schemas.microsoft.com/office/drawing/2014/main" id="{CDFC80A7-CBCA-4182-032F-879647C6990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79" name="Rechthoek 178">
                <a:extLst>
                  <a:ext uri="{FF2B5EF4-FFF2-40B4-BE49-F238E27FC236}">
                    <a16:creationId xmlns:a16="http://schemas.microsoft.com/office/drawing/2014/main" id="{F6E7E734-3097-A12E-3909-A0D45DCDC1D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80" name="Gelijkbenige driehoek 179">
                <a:extLst>
                  <a:ext uri="{FF2B5EF4-FFF2-40B4-BE49-F238E27FC236}">
                    <a16:creationId xmlns:a16="http://schemas.microsoft.com/office/drawing/2014/main" id="{827F8E60-A265-0DF6-23B7-9F78BFEE5CE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8" name="Ovaal 167">
              <a:extLst>
                <a:ext uri="{FF2B5EF4-FFF2-40B4-BE49-F238E27FC236}">
                  <a16:creationId xmlns:a16="http://schemas.microsoft.com/office/drawing/2014/main" id="{F418584F-4DED-9ADC-9501-F914575960E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9" name="Rechthoek 168">
              <a:extLst>
                <a:ext uri="{FF2B5EF4-FFF2-40B4-BE49-F238E27FC236}">
                  <a16:creationId xmlns:a16="http://schemas.microsoft.com/office/drawing/2014/main" id="{AD3C003F-6AAA-FE9D-E939-362E5036891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0" name="Rechthoek 169">
              <a:extLst>
                <a:ext uri="{FF2B5EF4-FFF2-40B4-BE49-F238E27FC236}">
                  <a16:creationId xmlns:a16="http://schemas.microsoft.com/office/drawing/2014/main" id="{A6EF58C4-75E4-7404-778D-92D22FFC5DA8}"/>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71" name="Groep 170">
              <a:extLst>
                <a:ext uri="{FF2B5EF4-FFF2-40B4-BE49-F238E27FC236}">
                  <a16:creationId xmlns:a16="http://schemas.microsoft.com/office/drawing/2014/main" id="{C7DD37FF-5836-948B-2A50-3E4C24626716}"/>
                </a:ext>
              </a:extLst>
            </p:cNvPr>
            <p:cNvGrpSpPr/>
            <p:nvPr userDrawn="1"/>
          </p:nvGrpSpPr>
          <p:grpSpPr>
            <a:xfrm>
              <a:off x="-3365484" y="1226982"/>
              <a:ext cx="446937" cy="406485"/>
              <a:chOff x="-3563526" y="1409294"/>
              <a:chExt cx="354190" cy="322133"/>
            </a:xfrm>
          </p:grpSpPr>
          <p:grpSp>
            <p:nvGrpSpPr>
              <p:cNvPr id="172" name="Groep 171">
                <a:extLst>
                  <a:ext uri="{FF2B5EF4-FFF2-40B4-BE49-F238E27FC236}">
                    <a16:creationId xmlns:a16="http://schemas.microsoft.com/office/drawing/2014/main" id="{86CF1ED7-3D62-E1ED-DA23-6BDB4FFEEA8C}"/>
                  </a:ext>
                </a:extLst>
              </p:cNvPr>
              <p:cNvGrpSpPr/>
              <p:nvPr userDrawn="1"/>
            </p:nvGrpSpPr>
            <p:grpSpPr>
              <a:xfrm>
                <a:off x="-3499992" y="1409294"/>
                <a:ext cx="225195" cy="195499"/>
                <a:chOff x="8987389" y="1361199"/>
                <a:chExt cx="2200275" cy="1914525"/>
              </a:xfrm>
            </p:grpSpPr>
            <p:sp>
              <p:nvSpPr>
                <p:cNvPr id="174" name="Vrije vorm: vorm 173">
                  <a:extLst>
                    <a:ext uri="{FF2B5EF4-FFF2-40B4-BE49-F238E27FC236}">
                      <a16:creationId xmlns:a16="http://schemas.microsoft.com/office/drawing/2014/main" id="{65E308BB-4A40-0395-52E1-2A5F39437A8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75" name="Groep 174">
                  <a:extLst>
                    <a:ext uri="{FF2B5EF4-FFF2-40B4-BE49-F238E27FC236}">
                      <a16:creationId xmlns:a16="http://schemas.microsoft.com/office/drawing/2014/main" id="{9A027C3F-9E31-5DED-F93E-17BCB0AD0F9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6" name="Vrije vorm: vorm 175">
                    <a:extLst>
                      <a:ext uri="{FF2B5EF4-FFF2-40B4-BE49-F238E27FC236}">
                        <a16:creationId xmlns:a16="http://schemas.microsoft.com/office/drawing/2014/main" id="{134521F5-E6AC-A8DE-5045-9E936F752F5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77" name="Vrije vorm: vorm 176">
                    <a:extLst>
                      <a:ext uri="{FF2B5EF4-FFF2-40B4-BE49-F238E27FC236}">
                        <a16:creationId xmlns:a16="http://schemas.microsoft.com/office/drawing/2014/main" id="{BE4E9C39-1E7E-6981-2C84-C91390723352}"/>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73" name="Tekstvak 172">
                <a:extLst>
                  <a:ext uri="{FF2B5EF4-FFF2-40B4-BE49-F238E27FC236}">
                    <a16:creationId xmlns:a16="http://schemas.microsoft.com/office/drawing/2014/main" id="{3D4A21A9-9684-1D46-0D3D-B60A1401B530}"/>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42546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M)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M)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0DB32FCA-E550-678D-CF29-07E1060D4802}"/>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70FB3601-1E60-220C-7581-69D819FC46B0}"/>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71D8B121-5210-8C15-AA18-37FFDEEB248C}"/>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D9C13F65-6DDE-4DD8-476E-5EA81B7D885A}"/>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5A9AA05E-B0AE-6D4B-EC93-B908D2128AD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5282CB00-7F3D-EE85-7D92-1E30A45E7FB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211A7D4B-73CA-787D-069A-3EEB3A93FC9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CC7B17D2-0DEB-5C89-FA07-0D4035F657B5}"/>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FD769579-5678-82F8-5EC7-C1EC5A7BD46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CE9C8560-B90F-ACEF-D1B1-E81433E3EA1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E8B53E7C-BE59-376C-9884-925677BC533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5E00AF43-1C11-1106-6CBF-B8AA5236ADF7}"/>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F109EDA6-3938-D36D-5BF1-CEB04833B91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743929D9-5074-28C7-430E-06A5121E3CC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21E2D10A-DC67-DC90-9506-D766E6CDA21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2F4E4954-1BA9-85AB-1D34-B263CCDED7E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6D620A53-1453-46B1-28A7-A0765808D19C}"/>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D6EFEEDF-39B5-378C-1FB5-52E661BCC7C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F8DC04CC-6C90-E8A5-378B-4335C3F9132A}"/>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31508442-3451-A1C1-0A08-3F9935F706A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5220192E-8E83-E907-758F-39627DE3B73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D0BE4A20-EDE2-77B5-0B21-4B55E373704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B9E6C526-E226-7062-4FA5-FDE523F0E4E3}"/>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492BC0A2-A027-6F99-157C-600972DF19B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232FD5CC-0243-0F69-31C4-0320883883B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8E631805-BF1F-022D-4F32-299C5BF2CC17}"/>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95004DF6-4CCD-CD81-E05B-F9930250D172}"/>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78ACA381-CDD2-252D-2C13-0AC2A20E726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CCF3B4E6-0A43-D6BB-12AD-B7D4034FB0B9}"/>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A0C37986-45EC-482E-C898-0A79F2C86AE6}"/>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50BC636F-1661-59C1-A5AE-E7A1034C228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94BAA4BF-F7EC-F1B4-C8B8-FBDC3319C58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4F88B24B-B6B7-EFDC-1A2C-F9810243664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375FDF19-0D72-6419-6380-AECECFC0B85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B7F08EC6-23C0-B4EE-E424-C8961354B18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A872E16C-844D-4471-B55F-C71F1EBE7088}"/>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89C2E7DD-AE84-2079-452A-FFDDAC68154B}"/>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79E99FA6-537E-D80C-D8D5-CDDBD46AC959}"/>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135E801A-BCF6-F674-B601-7141177006A8}"/>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B4C5379B-1527-592A-717E-1DD6F07FF92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D6926521-3B5E-06B7-5AEE-B4FEC956D5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0DA13AD7-50DA-676E-3F6B-AAA45A8721A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0DB6173F-542F-C87E-AE88-5E7D261E100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2991704C-3BCE-212F-10CD-AC9DEB4133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E046524F-60C1-C37F-7304-AA4E426E80F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47C64CD2-99EF-66A0-1837-D9D53EE87C24}"/>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ED4E9734-AE6E-1E15-782B-32F1F17261E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0CD2390B-E0AD-AA53-1B11-30DA66FDF9CA}"/>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E3B2991A-4A48-F510-013D-6C29FE1B1DF4}"/>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91842888-6B47-88B0-9BCA-966039FF2C0D}"/>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9920054C-DF7F-E48D-91D2-BED4B8106BBE}"/>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AFB89B83-4270-7694-5945-9A4A8CBD699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33922D41-2612-0A94-1D20-67550EEF5F2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36C16A11-600E-2DDB-317F-7E4210BAEA6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081697E8-AC25-2F2A-1799-B96E728CC12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F4D805A-82B8-A9F4-2620-BA315E11B89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E9BAB2AE-16B8-24C9-758A-3568412C118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77A2D103-6AEF-5D08-B65A-B11D0FB36A26}"/>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1D5EE45A-686B-6217-63BC-D51496974F0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C7108246-2366-5C2E-E2D5-4BE669C54C9C}"/>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DD059F9B-A4E4-A14B-0DAE-A27D49D5D48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72B1BB2D-E47E-E183-9314-997CDD8311E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02DA1A32-F58C-FB87-69C4-A458E6139AD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9A84228E-0F3E-D61F-2C71-35EB949E823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443DD438-A49B-6FC7-1D25-11636878B64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B9E01507-7E8C-CCBF-5A64-88C5585E5A4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B81333CC-EF49-40D9-E6FE-15D63A161871}"/>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1649ACFD-637A-E926-DD5C-3CCA606E3361}"/>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7F60C42A-E814-D8B8-D340-F7334AC0B60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7017D67F-17BF-B95B-30CD-0FA8A5D61DB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0E0611DC-F7C9-75A2-C88E-FCAA598AEB2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14E04E60-514C-2FE7-A094-A5203B48C74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2" name="INSTRUCTION">
            <a:extLst>
              <a:ext uri="{FF2B5EF4-FFF2-40B4-BE49-F238E27FC236}">
                <a16:creationId xmlns:a16="http://schemas.microsoft.com/office/drawing/2014/main" id="{4C2089C0-B2AC-E696-5A8E-6A8B8C42167D}"/>
              </a:ext>
            </a:extLst>
          </p:cNvPr>
          <p:cNvGrpSpPr/>
          <p:nvPr userDrawn="1"/>
        </p:nvGrpSpPr>
        <p:grpSpPr>
          <a:xfrm>
            <a:off x="-3786165" y="-1"/>
            <a:ext cx="3693386" cy="6640349"/>
            <a:chOff x="-3786165" y="-1"/>
            <a:chExt cx="3693386" cy="6640349"/>
          </a:xfrm>
        </p:grpSpPr>
        <p:sp>
          <p:nvSpPr>
            <p:cNvPr id="83" name="Rechthoek 82">
              <a:extLst>
                <a:ext uri="{FF2B5EF4-FFF2-40B4-BE49-F238E27FC236}">
                  <a16:creationId xmlns:a16="http://schemas.microsoft.com/office/drawing/2014/main" id="{EDBFA259-3300-B065-B510-8B891F78430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4" name="Ovaal 83">
              <a:extLst>
                <a:ext uri="{FF2B5EF4-FFF2-40B4-BE49-F238E27FC236}">
                  <a16:creationId xmlns:a16="http://schemas.microsoft.com/office/drawing/2014/main" id="{00E57904-8A79-7AAD-C778-24BC09FE7DD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22D6E0BB-AA43-3466-9879-A10C8B472936}"/>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049C766C-863D-202C-344D-827AF0E42934}"/>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7" name="Rechthoek 86">
              <a:extLst>
                <a:ext uri="{FF2B5EF4-FFF2-40B4-BE49-F238E27FC236}">
                  <a16:creationId xmlns:a16="http://schemas.microsoft.com/office/drawing/2014/main" id="{9980DF71-F498-2CF9-3E80-B8BCD6D04B87}"/>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46A91D5A-69C2-0976-98D1-92D5F7FB36B5}"/>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9" name="Rechthoek 88">
              <a:extLst>
                <a:ext uri="{FF2B5EF4-FFF2-40B4-BE49-F238E27FC236}">
                  <a16:creationId xmlns:a16="http://schemas.microsoft.com/office/drawing/2014/main" id="{EA2FA2F3-7E9B-4DDB-5600-55FBEBAE39E8}"/>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0" name="Rechthoek 89">
              <a:extLst>
                <a:ext uri="{FF2B5EF4-FFF2-40B4-BE49-F238E27FC236}">
                  <a16:creationId xmlns:a16="http://schemas.microsoft.com/office/drawing/2014/main" id="{71A8E870-C918-CCE2-70FC-FBA9EBCE0D99}"/>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A026C58A-7588-E764-F83A-1D56887006E9}"/>
                </a:ext>
              </a:extLst>
            </p:cNvPr>
            <p:cNvGrpSpPr/>
            <p:nvPr userDrawn="1"/>
          </p:nvGrpSpPr>
          <p:grpSpPr>
            <a:xfrm>
              <a:off x="-2485819" y="3479783"/>
              <a:ext cx="1222990" cy="563933"/>
              <a:chOff x="-2485819" y="3399207"/>
              <a:chExt cx="1222990" cy="563933"/>
            </a:xfrm>
          </p:grpSpPr>
          <p:sp>
            <p:nvSpPr>
              <p:cNvPr id="130" name="Rechthoek 129">
                <a:extLst>
                  <a:ext uri="{FF2B5EF4-FFF2-40B4-BE49-F238E27FC236}">
                    <a16:creationId xmlns:a16="http://schemas.microsoft.com/office/drawing/2014/main" id="{7C07B5C8-1636-4DE7-0BD5-B6C4511F7FE8}"/>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11F8AD69-1B3B-4086-B3C4-0B0E6DFC2F6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2" name="Groep 131">
                <a:extLst>
                  <a:ext uri="{FF2B5EF4-FFF2-40B4-BE49-F238E27FC236}">
                    <a16:creationId xmlns:a16="http://schemas.microsoft.com/office/drawing/2014/main" id="{E12D28B5-79BD-D0C1-673E-6FAE85B50A54}"/>
                  </a:ext>
                </a:extLst>
              </p:cNvPr>
              <p:cNvGrpSpPr/>
              <p:nvPr userDrawn="1"/>
            </p:nvGrpSpPr>
            <p:grpSpPr>
              <a:xfrm>
                <a:off x="-2403869" y="3460544"/>
                <a:ext cx="155951" cy="131922"/>
                <a:chOff x="12968836" y="3354170"/>
                <a:chExt cx="404806" cy="342433"/>
              </a:xfrm>
            </p:grpSpPr>
            <p:sp>
              <p:nvSpPr>
                <p:cNvPr id="145" name="Rechthoek: afgeronde hoeken 144">
                  <a:extLst>
                    <a:ext uri="{FF2B5EF4-FFF2-40B4-BE49-F238E27FC236}">
                      <a16:creationId xmlns:a16="http://schemas.microsoft.com/office/drawing/2014/main" id="{6B3E1899-75C5-2B15-FC88-8B704EB50E7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6" name="Rechthoek 145">
                  <a:extLst>
                    <a:ext uri="{FF2B5EF4-FFF2-40B4-BE49-F238E27FC236}">
                      <a16:creationId xmlns:a16="http://schemas.microsoft.com/office/drawing/2014/main" id="{E3C2167C-C4F4-BD6B-F4DF-DED0307D32C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D84B6B35-D9F4-68C8-7F69-9AC0D898F6A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65285791-DA80-619E-F7C7-D4DC1A1AAF3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B92C0E2C-5E48-7F80-3312-1DCC47C0832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9CE35A5B-7572-4AA5-9096-BD6A1AE6F9E0}"/>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3" name="Groep 132">
                <a:extLst>
                  <a:ext uri="{FF2B5EF4-FFF2-40B4-BE49-F238E27FC236}">
                    <a16:creationId xmlns:a16="http://schemas.microsoft.com/office/drawing/2014/main" id="{A93164CF-47C6-1308-0CE3-AF492E1C5599}"/>
                  </a:ext>
                </a:extLst>
              </p:cNvPr>
              <p:cNvGrpSpPr/>
              <p:nvPr userDrawn="1"/>
            </p:nvGrpSpPr>
            <p:grpSpPr>
              <a:xfrm>
                <a:off x="-2423424" y="3690208"/>
                <a:ext cx="166739" cy="218963"/>
                <a:chOff x="12940828" y="3950597"/>
                <a:chExt cx="432813" cy="568367"/>
              </a:xfrm>
            </p:grpSpPr>
            <p:grpSp>
              <p:nvGrpSpPr>
                <p:cNvPr id="137" name="Groep 136">
                  <a:extLst>
                    <a:ext uri="{FF2B5EF4-FFF2-40B4-BE49-F238E27FC236}">
                      <a16:creationId xmlns:a16="http://schemas.microsoft.com/office/drawing/2014/main" id="{74DDB3DA-955E-C73B-633A-C29D94DEC990}"/>
                    </a:ext>
                  </a:extLst>
                </p:cNvPr>
                <p:cNvGrpSpPr/>
                <p:nvPr userDrawn="1"/>
              </p:nvGrpSpPr>
              <p:grpSpPr>
                <a:xfrm>
                  <a:off x="13000382" y="4006891"/>
                  <a:ext cx="373259" cy="315747"/>
                  <a:chOff x="12968836" y="3354170"/>
                  <a:chExt cx="404806" cy="342433"/>
                </a:xfrm>
              </p:grpSpPr>
              <p:sp>
                <p:nvSpPr>
                  <p:cNvPr id="139" name="Rechthoek: afgeronde hoeken 138">
                    <a:extLst>
                      <a:ext uri="{FF2B5EF4-FFF2-40B4-BE49-F238E27FC236}">
                        <a16:creationId xmlns:a16="http://schemas.microsoft.com/office/drawing/2014/main" id="{B6C671DF-2B2A-7CEB-A7D2-EB308E4309F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8C581F6A-8E37-A90D-7CC5-7F5A650CE1E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95B09599-CD9A-3034-7EE0-61697A9FA7E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B90F0AD5-E400-7C3D-E353-5E4A6D5C46C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B2B2704C-F08B-30FC-C3B4-6D61221BE3A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EA26EDFB-03C0-F0D8-D04F-6A24AD02EA5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8" name="Boog 137">
                  <a:extLst>
                    <a:ext uri="{FF2B5EF4-FFF2-40B4-BE49-F238E27FC236}">
                      <a16:creationId xmlns:a16="http://schemas.microsoft.com/office/drawing/2014/main" id="{18A7D5F9-1FDF-AADC-7682-144A43CDF8D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4" name="Tekstvak 133">
                <a:extLst>
                  <a:ext uri="{FF2B5EF4-FFF2-40B4-BE49-F238E27FC236}">
                    <a16:creationId xmlns:a16="http://schemas.microsoft.com/office/drawing/2014/main" id="{76CF95F6-E18C-6BFA-3930-451D17467AD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5" name="Tekstvak 134">
                <a:extLst>
                  <a:ext uri="{FF2B5EF4-FFF2-40B4-BE49-F238E27FC236}">
                    <a16:creationId xmlns:a16="http://schemas.microsoft.com/office/drawing/2014/main" id="{F8ABEB76-F339-5EF1-AC6E-0D5AE2DACDF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6" name="Vrije vorm: vorm 135">
                <a:extLst>
                  <a:ext uri="{FF2B5EF4-FFF2-40B4-BE49-F238E27FC236}">
                    <a16:creationId xmlns:a16="http://schemas.microsoft.com/office/drawing/2014/main" id="{2E6FDD78-3B75-C101-12EF-5FF35FF3BA76}"/>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2BCB3FD2-467B-0B48-0D5B-8BA7B4AF0FAA}"/>
                </a:ext>
              </a:extLst>
            </p:cNvPr>
            <p:cNvGrpSpPr/>
            <p:nvPr userDrawn="1"/>
          </p:nvGrpSpPr>
          <p:grpSpPr>
            <a:xfrm>
              <a:off x="-3786165" y="5680652"/>
              <a:ext cx="3693386" cy="959696"/>
              <a:chOff x="-3786437" y="6163468"/>
              <a:chExt cx="3693386" cy="959696"/>
            </a:xfrm>
          </p:grpSpPr>
          <p:sp>
            <p:nvSpPr>
              <p:cNvPr id="120" name="Rechthoek 119">
                <a:extLst>
                  <a:ext uri="{FF2B5EF4-FFF2-40B4-BE49-F238E27FC236}">
                    <a16:creationId xmlns:a16="http://schemas.microsoft.com/office/drawing/2014/main" id="{D15FDBCD-9C14-ABB9-F89A-D4F719A5FE3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1" name="ICOON_info">
                <a:extLst>
                  <a:ext uri="{FF2B5EF4-FFF2-40B4-BE49-F238E27FC236}">
                    <a16:creationId xmlns:a16="http://schemas.microsoft.com/office/drawing/2014/main" id="{C7242B07-B1BB-3F07-0238-E96F0FF53879}"/>
                  </a:ext>
                </a:extLst>
              </p:cNvPr>
              <p:cNvGrpSpPr/>
              <p:nvPr userDrawn="1"/>
            </p:nvGrpSpPr>
            <p:grpSpPr>
              <a:xfrm>
                <a:off x="-376736" y="6163468"/>
                <a:ext cx="283685" cy="283685"/>
                <a:chOff x="-510741" y="5913713"/>
                <a:chExt cx="267555" cy="267555"/>
              </a:xfrm>
            </p:grpSpPr>
            <p:sp>
              <p:nvSpPr>
                <p:cNvPr id="128" name="Ovaal 127">
                  <a:extLst>
                    <a:ext uri="{FF2B5EF4-FFF2-40B4-BE49-F238E27FC236}">
                      <a16:creationId xmlns:a16="http://schemas.microsoft.com/office/drawing/2014/main" id="{2F426854-D00B-F45D-B955-86FAEC9E576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9" name="Graphic 163" descr="Informatie">
                  <a:extLst>
                    <a:ext uri="{FF2B5EF4-FFF2-40B4-BE49-F238E27FC236}">
                      <a16:creationId xmlns:a16="http://schemas.microsoft.com/office/drawing/2014/main" id="{B4AA01CD-2285-7CA1-30D2-16B914FD3FC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2" name="Groep 121">
                <a:extLst>
                  <a:ext uri="{FF2B5EF4-FFF2-40B4-BE49-F238E27FC236}">
                    <a16:creationId xmlns:a16="http://schemas.microsoft.com/office/drawing/2014/main" id="{2AB54ED2-EDD2-2105-7B7B-3117B7C95B83}"/>
                  </a:ext>
                </a:extLst>
              </p:cNvPr>
              <p:cNvGrpSpPr/>
              <p:nvPr userDrawn="1"/>
            </p:nvGrpSpPr>
            <p:grpSpPr>
              <a:xfrm>
                <a:off x="-938434" y="6420818"/>
                <a:ext cx="627798" cy="576693"/>
                <a:chOff x="-938434" y="4570310"/>
                <a:chExt cx="627798" cy="576693"/>
              </a:xfrm>
            </p:grpSpPr>
            <p:grpSp>
              <p:nvGrpSpPr>
                <p:cNvPr id="123" name="Inspireren">
                  <a:extLst>
                    <a:ext uri="{FF2B5EF4-FFF2-40B4-BE49-F238E27FC236}">
                      <a16:creationId xmlns:a16="http://schemas.microsoft.com/office/drawing/2014/main" id="{2A5FD0E5-835F-21BE-5661-5CFC500E097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5" name="Freeform 12">
                    <a:extLst>
                      <a:ext uri="{FF2B5EF4-FFF2-40B4-BE49-F238E27FC236}">
                        <a16:creationId xmlns:a16="http://schemas.microsoft.com/office/drawing/2014/main" id="{7D8C4D80-1012-DAB6-3741-11759AECB82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6" name="Freeform 13">
                    <a:extLst>
                      <a:ext uri="{FF2B5EF4-FFF2-40B4-BE49-F238E27FC236}">
                        <a16:creationId xmlns:a16="http://schemas.microsoft.com/office/drawing/2014/main" id="{2FC65B57-49F0-1EA3-9C02-606F7637A67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4">
                    <a:extLst>
                      <a:ext uri="{FF2B5EF4-FFF2-40B4-BE49-F238E27FC236}">
                        <a16:creationId xmlns:a16="http://schemas.microsoft.com/office/drawing/2014/main" id="{01D73EF9-1110-0BDA-8CFC-6FFF57242E7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4" name="Tekstvak 123">
                  <a:extLst>
                    <a:ext uri="{FF2B5EF4-FFF2-40B4-BE49-F238E27FC236}">
                      <a16:creationId xmlns:a16="http://schemas.microsoft.com/office/drawing/2014/main" id="{6A890629-80E9-574C-1DBD-CC14AF25455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3" name="Groep 92">
              <a:extLst>
                <a:ext uri="{FF2B5EF4-FFF2-40B4-BE49-F238E27FC236}">
                  <a16:creationId xmlns:a16="http://schemas.microsoft.com/office/drawing/2014/main" id="{20F5000D-B3D2-2845-E515-75E5583BFF2A}"/>
                </a:ext>
              </a:extLst>
            </p:cNvPr>
            <p:cNvGrpSpPr/>
            <p:nvPr userDrawn="1"/>
          </p:nvGrpSpPr>
          <p:grpSpPr>
            <a:xfrm>
              <a:off x="-3426806" y="5129582"/>
              <a:ext cx="514284" cy="506545"/>
              <a:chOff x="12617641" y="3403239"/>
              <a:chExt cx="752963" cy="741634"/>
            </a:xfrm>
          </p:grpSpPr>
          <p:grpSp>
            <p:nvGrpSpPr>
              <p:cNvPr id="104" name="Groep 103">
                <a:extLst>
                  <a:ext uri="{FF2B5EF4-FFF2-40B4-BE49-F238E27FC236}">
                    <a16:creationId xmlns:a16="http://schemas.microsoft.com/office/drawing/2014/main" id="{D85893EE-32BD-7246-C0F1-5D0AB8A6321E}"/>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95F95942-17DE-CE98-689A-11927E3F514E}"/>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E2CC32E2-7CF1-DD85-D240-81FDE0BFCB81}"/>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820CD70B-BAEC-7668-55DB-51F0AF826DB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56291531-E9BE-0722-F707-DB44F8937F1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C11268D5-9CBE-B938-9B16-2F1C7EEB200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BA381BF8-ED12-400C-D3D9-62BCDBCA1A15}"/>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FA450C4F-7440-1438-66AA-970705FA3487}"/>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91ED5AA9-DA63-940D-CA85-F38B2B95FFE0}"/>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FC86B387-74FD-2253-E65B-55CA2835127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4C42A54C-E400-A3B9-DAD0-06BE2CB5DE7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C11A1D3D-5BA8-7C2B-609D-7E1F87328CB9}"/>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7F02C236-FAB5-B0A1-CBE0-867BED1DBE1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2E37AAF6-7B6D-5DCD-C9C3-5B6853D4287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A5A931BD-69DB-3529-DD1A-FAD0EAA5D24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CB763C0D-F836-5AB1-EBFC-B919C60E2EF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4" name="Ovaal 93">
              <a:extLst>
                <a:ext uri="{FF2B5EF4-FFF2-40B4-BE49-F238E27FC236}">
                  <a16:creationId xmlns:a16="http://schemas.microsoft.com/office/drawing/2014/main" id="{53CB1E9B-68E5-C1B8-AD9E-8774515695D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5" name="Rechthoek 94">
              <a:extLst>
                <a:ext uri="{FF2B5EF4-FFF2-40B4-BE49-F238E27FC236}">
                  <a16:creationId xmlns:a16="http://schemas.microsoft.com/office/drawing/2014/main" id="{8E237388-CA38-9E57-06EF-EA587EA132BA}"/>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Rechthoek 95">
              <a:extLst>
                <a:ext uri="{FF2B5EF4-FFF2-40B4-BE49-F238E27FC236}">
                  <a16:creationId xmlns:a16="http://schemas.microsoft.com/office/drawing/2014/main" id="{7D474CE2-B7DB-9EFA-0C1D-6773A522CDC3}"/>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7" name="Groep 96">
              <a:extLst>
                <a:ext uri="{FF2B5EF4-FFF2-40B4-BE49-F238E27FC236}">
                  <a16:creationId xmlns:a16="http://schemas.microsoft.com/office/drawing/2014/main" id="{95495BD3-F248-6C1C-C6A4-9D089109A69C}"/>
                </a:ext>
              </a:extLst>
            </p:cNvPr>
            <p:cNvGrpSpPr/>
            <p:nvPr userDrawn="1"/>
          </p:nvGrpSpPr>
          <p:grpSpPr>
            <a:xfrm>
              <a:off x="-3365484" y="1226982"/>
              <a:ext cx="446937" cy="406485"/>
              <a:chOff x="-3563526" y="1409294"/>
              <a:chExt cx="354190" cy="322133"/>
            </a:xfrm>
          </p:grpSpPr>
          <p:grpSp>
            <p:nvGrpSpPr>
              <p:cNvPr id="98" name="Groep 97">
                <a:extLst>
                  <a:ext uri="{FF2B5EF4-FFF2-40B4-BE49-F238E27FC236}">
                    <a16:creationId xmlns:a16="http://schemas.microsoft.com/office/drawing/2014/main" id="{A0500E96-1499-9A2E-AC79-D820D7E0D0A4}"/>
                  </a:ext>
                </a:extLst>
              </p:cNvPr>
              <p:cNvGrpSpPr/>
              <p:nvPr userDrawn="1"/>
            </p:nvGrpSpPr>
            <p:grpSpPr>
              <a:xfrm>
                <a:off x="-3499992" y="1409294"/>
                <a:ext cx="225195" cy="195499"/>
                <a:chOff x="8987389" y="1361199"/>
                <a:chExt cx="2200275" cy="1914525"/>
              </a:xfrm>
            </p:grpSpPr>
            <p:sp>
              <p:nvSpPr>
                <p:cNvPr id="100" name="Vrije vorm: vorm 99">
                  <a:extLst>
                    <a:ext uri="{FF2B5EF4-FFF2-40B4-BE49-F238E27FC236}">
                      <a16:creationId xmlns:a16="http://schemas.microsoft.com/office/drawing/2014/main" id="{D9F6402A-F56A-F9F2-66EA-18B82F678F39}"/>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1" name="Groep 100">
                  <a:extLst>
                    <a:ext uri="{FF2B5EF4-FFF2-40B4-BE49-F238E27FC236}">
                      <a16:creationId xmlns:a16="http://schemas.microsoft.com/office/drawing/2014/main" id="{759801F8-B618-F37B-E778-FA732E5F30A4}"/>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2" name="Vrije vorm: vorm 101">
                    <a:extLst>
                      <a:ext uri="{FF2B5EF4-FFF2-40B4-BE49-F238E27FC236}">
                        <a16:creationId xmlns:a16="http://schemas.microsoft.com/office/drawing/2014/main" id="{FAC99742-CB6B-E29B-1E35-833A0E15B11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3" name="Vrije vorm: vorm 102">
                    <a:extLst>
                      <a:ext uri="{FF2B5EF4-FFF2-40B4-BE49-F238E27FC236}">
                        <a16:creationId xmlns:a16="http://schemas.microsoft.com/office/drawing/2014/main" id="{B80AED1A-9DF9-9BA0-DCF0-D602ADC3556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99" name="Tekstvak 98">
                <a:extLst>
                  <a:ext uri="{FF2B5EF4-FFF2-40B4-BE49-F238E27FC236}">
                    <a16:creationId xmlns:a16="http://schemas.microsoft.com/office/drawing/2014/main" id="{6A8401AF-3FEB-44A1-E123-5CBDAFF7C100}"/>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5286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M) + text | blue mode">
    <p:bg>
      <p:bgPr>
        <a:solidFill>
          <a:schemeClr val="accent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M)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lvl1pPr>
              <a:defRPr>
                <a:solidFill>
                  <a:schemeClr val="tx2"/>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ECAE8F50-ED3B-331B-6EDF-C516BCBE04F2}"/>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541A9AE1-FDCE-9C4A-ABB3-985C50871DF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AA53428D-ECF3-2B69-4E88-0FAF6F52BC86}"/>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BCCE85D3-726B-79FC-9D08-E084E057D342}"/>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F8782DE7-6714-D963-7384-9274D987F5B3}"/>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54A562D5-48B6-EAA7-A12C-968EF910751D}"/>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508E3EC8-3868-4ACA-5F1D-2D52EB80083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D467C121-5EF3-17F0-A6CA-E0FDCFB3290A}"/>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6263BC64-4A4A-745A-97F5-DCFA632696AE}"/>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4B8AF6B3-B43D-17F1-6112-7D0E6411B3D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5E57F296-8989-D3D3-69B4-4A5A3EFB3781}"/>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89FDF4BB-7875-F011-9873-5BBAE4BAF38B}"/>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A410F7E0-6C4A-906E-47AA-68BA759B4FF1}"/>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6AA7F113-B635-90B0-8769-CAD9D480ED66}"/>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2380A194-D5F8-CB43-80B1-5E9867967C94}"/>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ED8AFD61-6500-DDE1-059C-A7EB1965AD9C}"/>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388B32FF-A6AD-AA31-F50E-5DB2EC119E2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7D2817CF-8F72-4931-9D5D-9BD4BA12A5F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6C1FC193-7166-88A5-F529-2B5AB454A5A4}"/>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1B2D8DD6-459C-5EED-C6FF-68CEE0A03B4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D12A6833-C02A-0D9C-1717-49F90818FC11}"/>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758E9712-5196-D0C0-221F-46DAC1604FD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042D9C72-60C8-3DB4-EDE0-68FA3653B4E9}"/>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5AD6B587-3A12-394F-9570-65F9A31E3494}"/>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95E89583-59D7-1FBC-2194-19480CC5ECE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6FD11870-6DBA-3782-903B-CAF3446C7EC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77DBD3D2-5227-9378-A3BC-4A94C5222797}"/>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D4AA3FAF-4A8E-CE1C-22AF-519004EBB71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6BD68FAB-566B-7CB1-B240-EC2C4E3262C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85258AF1-36FB-508F-33C8-ED74B428D0A1}"/>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A60DDBFA-B5C9-D794-069A-808942BEAB9B}"/>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BF27C5F2-B7A6-A0EA-819B-2CEAD59F072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54679592-39C7-859A-7FCB-9294A67116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BD1ED5AA-10F8-CA5A-DDB4-5C9AD8AF994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F64222F-D623-6926-1869-183B2FD5EC6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3E8AEE8E-D547-3832-6DEB-67E7968CE41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4886A281-AB3B-8EA5-3B79-561D44488A8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B2148450-1553-44DD-F6BC-8A24FD6C741C}"/>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5EEE16C5-1F5B-77E6-B519-B8EA5DD64DA3}"/>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4C3E980F-9D49-AD64-977C-07FD2DA627E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F2348E5E-A204-9326-9AD5-FF468929B1E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EF1D2D29-43CD-F88E-EDEB-82C61AF2FD7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737D0449-8549-41C0-358D-B21650C5DE7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4CD6AFD2-FD76-06CE-0B33-9983FC461B15}"/>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98179507-58E2-BEEA-7969-715E36BAB0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DB410B63-6EEE-3F71-5F6D-AFD29A121913}"/>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0AFFB209-BED1-C088-A1BF-174BBCCD887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FEEFE8A6-D308-6A37-DD1D-558BA7397BB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036CB7DD-D3E3-CF10-0EDD-CB3CECBF8CB7}"/>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7FE597D9-5CC2-2DB6-963E-3A6B5782B6AB}"/>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6CA3F92A-F207-1B11-B719-BAA0950F848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DCF2BE17-5726-EC84-C4BD-4872B636746E}"/>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1CA4E12F-DD59-7F39-F221-12FB02CA9BC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7C7CF087-551B-5C37-EFDA-62ACC424F4A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F6383F1D-11C3-88F8-F35B-320ACBDF67D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9A04F3A3-93F6-1032-5AA4-E4E9C364FD2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1AA10358-6A17-D5E8-3EBC-EEC7CC449FF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8FED6B50-47FE-8AC2-703B-0B7C7E3449A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84A33AE7-2AA0-382B-87C1-1BFDFC15364A}"/>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C57F1C43-3CE1-F890-74E4-CF8AE4A6697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63F139E5-2923-4991-197D-6F63D76EEBFF}"/>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36FB4E87-994C-EDC0-D5A6-0C545F3FA5E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8140E44B-F803-277B-8F3D-666E676851C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CEDEF060-0735-AD50-8CFE-962739394E3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4A0EC06D-AEB5-E4B3-2F74-6956D6AFBB6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272D7D49-2FA7-7B47-C3CD-1E97DB6A89D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7623F4C8-D7C5-6B80-07FC-95E28F2816D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D23EB3D7-D2D1-A640-A8D7-91646E89EEC1}"/>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1567F056-12B4-920F-3974-996A7C95322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04F86F78-D7B3-3886-10BA-FDA750D9F38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8704D9B4-5519-A3AB-B0FA-0F18728818B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52121ADB-E02D-C207-8AC7-739B48DA658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7347118D-762F-7218-C659-96B631FC4775}"/>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5F585955-C82B-E5E8-02A6-DE7951C28365}"/>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0B12CA8E-3868-4E86-6765-345CE7E0C400}"/>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44A43AE-394C-FB42-3A1E-E34BC04338E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7F2739C4-7C27-4B72-0B6F-E14ABD15E714}"/>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5431E20C-7780-F7D3-6104-3CBD394BD59C}"/>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33B63BD8-7191-1156-1CA7-F0BB1586B7EF}"/>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9ACBB932-22C1-DA71-FBCB-8D936738D737}"/>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2B986B3E-C592-6BF4-E87F-13A551192F3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B8885C02-ED56-ABF2-DD05-5FFE786BB513}"/>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A60EC4AA-7B17-D3B2-CD0F-0346CC88BAF3}"/>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AE5047F1-A331-D6BF-E7F4-428EAA1419C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C1C16890-6553-AD7D-C822-0E34C45FFBF6}"/>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31B843C2-F8DA-5521-53A9-87E7025FF96A}"/>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1AD9B5DA-FDA8-F0F5-40B1-24F3A6C8AEF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4A7C22A1-307B-D3D1-B6AD-24771BB9DF5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2CE37110-45D3-F029-8891-25859FF5AAC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436A09B3-39F4-D4C5-E5FE-D60FDDCC375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06763219-3C49-FD2B-5770-B058D40090D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63A01090-4B6E-441B-333F-F7B80876AF9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A1B50E30-87D2-0D73-5C03-10520672C449}"/>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410348AC-A5D3-E8E0-0336-0D807588ED2D}"/>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D81A09A7-ED8B-1EDB-1FC3-09319DBC29A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9BFEE9CB-C698-93F4-A526-B6B90F7210A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3C39D9E6-7C39-625B-89FB-D46C37D0C44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38407312-3456-0207-DA7C-305499DD9DE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1D36CC63-B868-735A-14B0-A0C30BB388D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0C4FD971-C1A4-F3A6-F800-FC19998567A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F5BC04D6-71F8-5813-FE12-9E7349E3EE2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F13247CB-CF61-FC7F-3227-B0536E8589E2}"/>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14C57AAA-BC51-E7F5-485D-65CEA3B959D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1B3349F9-C272-DBF1-907A-93466BE3050A}"/>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3F24FBDA-F8E9-BC68-2508-97FFA45B934C}"/>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30C2B497-72B0-D7AB-E3B2-74C9993AE90B}"/>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F9F88388-1875-FF9D-4009-EB74CE59B30F}"/>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9ADAD9C9-69EF-B577-86A7-FA7AEE8C6DF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25FE2376-D6CA-6CF6-76B7-36385CF951E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0631948E-6991-73D3-536F-75FD2CD1EF95}"/>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237C75CB-EB3F-1491-22E1-B238356ABC0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EAC06A5A-B198-CBDE-6C24-9778D9319D9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FD7F45DB-4F30-2A54-EB64-0F9984A77CD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A1E7207C-2A66-83CB-600B-40E8EB33343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7064263C-EC34-F4B1-3B16-EDF85985512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9B1D4447-51AA-9995-7CA6-DC18169FEF5D}"/>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CA20017F-FA8F-BEC9-5F24-D0AFF52A7398}"/>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CBF422A4-7D77-0D6D-9181-B6DFED7EBCB6}"/>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6623B590-B321-35C5-85DF-3F3C94EB6EA0}"/>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F068A3BD-C4BE-FA65-B24C-B6E5BF557DA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D2660878-B4A0-7604-1881-A117BF22EC0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CEC733F3-0833-B09A-58D7-173515B65A3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13DDF74A-B48D-A971-E2BA-228022DA82F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EB317102-3F9F-DF5A-99F4-0314C2B59A6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A5D15376-F1C6-F63D-DF4A-14EB207A5F07}"/>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99721CB5-F7C7-6AB4-82FC-4EC56048B26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02ACD577-BA90-3B4D-87CD-ABCED406203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81399A18-2243-991F-C634-0FFC93E7F121}"/>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786E5263-B04E-EDC6-B7E3-25C1585BCB2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F33D48F-B43F-D7AB-19A1-B848B2B4F20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E51D038C-5560-7D05-6652-165E8D84429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971EB294-FCA6-4940-BA30-879A2C87EA4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35C63940-8C4B-6B23-FD55-0579ABB46A8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0E267ACF-F57F-5677-D072-F383CE6338B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D2547F05-7459-93AE-E317-144756BA4D9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2A495CBB-0BCE-A477-6DC8-BDD67DD2342C}"/>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3FC2F719-AFD4-8770-7E9F-16621C2EC475}"/>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61FB5E76-CCEC-1A5E-129C-2ACEFEF50418}"/>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24E6E742-B072-94DA-ED41-E091F04D99B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BE7384CA-C692-8248-A3F2-543EFD787695}"/>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18BA3CF4-F5DF-4E4F-1201-95CD3DE5815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3C1C8FA9-F036-7A18-CCDE-1DE3D9817D8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05679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3.xml"/><Relationship Id="rId5" Type="http://schemas.openxmlformats.org/officeDocument/2006/relationships/slideLayout" Target="../slideLayouts/slideLayout51.xml"/><Relationship Id="rId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718666" y="722454"/>
            <a:ext cx="10752610" cy="323409"/>
          </a:xfrm>
          <a:prstGeom prst="rect">
            <a:avLst/>
          </a:prstGeom>
        </p:spPr>
        <p:txBody>
          <a:bodyPr vert="horz" lIns="0" tIns="0" rIns="0" bIns="378000" rtlCol="0" anchor="t">
            <a:noAutofit/>
          </a:bodyPr>
          <a:lstStyle/>
          <a:p>
            <a:r>
              <a:rPr lang="en-GB" noProof="0" dirty="0"/>
              <a:t>Title goes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719138" y="1563938"/>
            <a:ext cx="10752137" cy="4433419"/>
          </a:xfrm>
          <a:prstGeom prst="rect">
            <a:avLst/>
          </a:prstGeom>
        </p:spPr>
        <p:txBody>
          <a:bodyPr vert="horz" lIns="0" tIns="0" rIns="0" bIns="0" rtlCol="0">
            <a:noAutofit/>
          </a:body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12032" y="0"/>
            <a:ext cx="12204032" cy="6858000"/>
            <a:chOff x="-12032" y="0"/>
            <a:chExt cx="12204032" cy="6858000"/>
          </a:xfrm>
        </p:grpSpPr>
        <p:sp>
          <p:nvSpPr>
            <p:cNvPr id="8" name="Rechthoek 7">
              <a:extLst>
                <a:ext uri="{FF2B5EF4-FFF2-40B4-BE49-F238E27FC236}">
                  <a16:creationId xmlns:a16="http://schemas.microsoft.com/office/drawing/2014/main" id="{7D9988B5-FF41-44BF-9EBA-8ED0383D0B4A}"/>
                </a:ext>
              </a:extLst>
            </p:cNvPr>
            <p:cNvSpPr/>
            <p:nvPr userDrawn="1"/>
          </p:nvSpPr>
          <p:spPr>
            <a:xfrm>
              <a:off x="-12032" y="0"/>
              <a:ext cx="12192000" cy="72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0" y="-637132"/>
            <a:ext cx="565861" cy="169277"/>
          </a:xfrm>
          <a:prstGeom prst="rect">
            <a:avLst/>
          </a:prstGeom>
          <a:noFill/>
        </p:spPr>
        <p:txBody>
          <a:bodyPr wrap="none" lIns="0" tIns="0" rIns="0" bIns="0" rtlCol="0" anchor="b">
            <a:spAutoFit/>
          </a:bodyPr>
          <a:lstStyle/>
          <a:p>
            <a:pPr algn="l"/>
            <a:r>
              <a:rPr lang="en-GB" sz="1100" b="0" cap="all" baseline="0" noProof="0" dirty="0">
                <a:solidFill>
                  <a:schemeClr val="accent1"/>
                </a:solidFill>
                <a:latin typeface="+mn-lt"/>
              </a:rPr>
              <a:t>layout</a:t>
            </a:r>
          </a:p>
        </p:txBody>
      </p:sp>
      <p:sp>
        <p:nvSpPr>
          <p:cNvPr id="28" name="Tijdelijke aanduiding voor datum 3">
            <a:extLst>
              <a:ext uri="{FF2B5EF4-FFF2-40B4-BE49-F238E27FC236}">
                <a16:creationId xmlns:a16="http://schemas.microsoft.com/office/drawing/2014/main" id="{913F724C-C8A8-4D7C-A490-D6011A81D6CD}"/>
              </a:ext>
            </a:extLst>
          </p:cNvPr>
          <p:cNvSpPr>
            <a:spLocks noGrp="1"/>
          </p:cNvSpPr>
          <p:nvPr>
            <p:ph type="dt" sz="half" idx="2"/>
          </p:nvPr>
        </p:nvSpPr>
        <p:spPr>
          <a:xfrm>
            <a:off x="10146569" y="6405669"/>
            <a:ext cx="766235" cy="184666"/>
          </a:xfrm>
          <a:prstGeom prst="rect">
            <a:avLst/>
          </a:prstGeom>
        </p:spPr>
        <p:txBody>
          <a:bodyPr vert="horz" wrap="none" lIns="0" tIns="0" rIns="0" bIns="0" rtlCol="0" anchor="ctr">
            <a:spAutoFit/>
          </a:bodyPr>
          <a:lstStyle>
            <a:lvl1pPr algn="r">
              <a:defRPr sz="1200">
                <a:solidFill>
                  <a:schemeClr val="tx2"/>
                </a:solidFill>
                <a:latin typeface="+mn-lt"/>
                <a:cs typeface="Segoe UI Light" panose="020B0502040204020203" pitchFamily="34" charset="0"/>
              </a:defRPr>
            </a:lvl1pPr>
          </a:lstStyle>
          <a:p>
            <a:r>
              <a:rPr lang="nl-NL"/>
              <a:t>11/08/2023</a:t>
            </a:r>
            <a:endParaRPr lang="en-GB" dirty="0"/>
          </a:p>
        </p:txBody>
      </p:sp>
      <p:sp>
        <p:nvSpPr>
          <p:cNvPr id="30" name="Tijdelijke aanduiding voor dianummer 5">
            <a:extLst>
              <a:ext uri="{FF2B5EF4-FFF2-40B4-BE49-F238E27FC236}">
                <a16:creationId xmlns:a16="http://schemas.microsoft.com/office/drawing/2014/main" id="{97B5FD88-660A-4FF5-BB5B-19029FB61217}"/>
              </a:ext>
            </a:extLst>
          </p:cNvPr>
          <p:cNvSpPr>
            <a:spLocks noGrp="1"/>
          </p:cNvSpPr>
          <p:nvPr>
            <p:ph type="sldNum" sz="quarter" idx="4"/>
          </p:nvPr>
        </p:nvSpPr>
        <p:spPr>
          <a:xfrm>
            <a:off x="11178464" y="6405669"/>
            <a:ext cx="291298" cy="184666"/>
          </a:xfrm>
          <a:prstGeom prst="rect">
            <a:avLst/>
          </a:prstGeom>
        </p:spPr>
        <p:txBody>
          <a:bodyPr vert="horz" wrap="none" lIns="0" tIns="0" rIns="0" bIns="0" rtlCol="0" anchor="ctr">
            <a:spAutoFit/>
          </a:bodyPr>
          <a:lstStyle>
            <a:lvl1pPr algn="r">
              <a:defRPr sz="1200" b="1">
                <a:solidFill>
                  <a:schemeClr val="tx2"/>
                </a:solidFill>
                <a:latin typeface="+mj-lt"/>
                <a:cs typeface="Segoe UI Light" panose="020B0502040204020203" pitchFamily="34" charset="0"/>
              </a:defRPr>
            </a:lvl1pPr>
          </a:lstStyle>
          <a:p>
            <a:fld id="{9E843DB9-9987-4157-AB9C-CEA8D7D910BB}" type="slidenum">
              <a:rPr lang="en-GB" smtClean="0"/>
              <a:pPr/>
              <a:t>‹#›</a:t>
            </a:fld>
            <a:endParaRPr lang="en-GB" dirty="0"/>
          </a:p>
        </p:txBody>
      </p:sp>
      <p:sp>
        <p:nvSpPr>
          <p:cNvPr id="4" name="Tekstvak 3">
            <a:extLst>
              <a:ext uri="{FF2B5EF4-FFF2-40B4-BE49-F238E27FC236}">
                <a16:creationId xmlns:a16="http://schemas.microsoft.com/office/drawing/2014/main" id="{A36EA4FA-0B8A-4FA4-3D23-C40FA12DDAC9}"/>
              </a:ext>
            </a:extLst>
          </p:cNvPr>
          <p:cNvSpPr txBox="1"/>
          <p:nvPr userDrawn="1"/>
        </p:nvSpPr>
        <p:spPr>
          <a:xfrm>
            <a:off x="10912804" y="-1278897"/>
            <a:ext cx="1279196"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Primary colors</a:t>
            </a:r>
          </a:p>
        </p:txBody>
      </p:sp>
      <p:grpSp>
        <p:nvGrpSpPr>
          <p:cNvPr id="34" name="Groep 33">
            <a:extLst>
              <a:ext uri="{FF2B5EF4-FFF2-40B4-BE49-F238E27FC236}">
                <a16:creationId xmlns:a16="http://schemas.microsoft.com/office/drawing/2014/main" id="{0B508182-1D94-6963-6E0B-93418D7C8B8D}"/>
              </a:ext>
            </a:extLst>
          </p:cNvPr>
          <p:cNvGrpSpPr/>
          <p:nvPr userDrawn="1"/>
        </p:nvGrpSpPr>
        <p:grpSpPr>
          <a:xfrm>
            <a:off x="11552188" y="-1016102"/>
            <a:ext cx="639812" cy="180000"/>
            <a:chOff x="11552188" y="-1016102"/>
            <a:chExt cx="639812" cy="180000"/>
          </a:xfrm>
        </p:grpSpPr>
        <p:sp>
          <p:nvSpPr>
            <p:cNvPr id="5" name="Rechthoek 4">
              <a:extLst>
                <a:ext uri="{FF2B5EF4-FFF2-40B4-BE49-F238E27FC236}">
                  <a16:creationId xmlns:a16="http://schemas.microsoft.com/office/drawing/2014/main" id="{720EF2DF-3730-F6B5-403F-A5D9B50AA329}"/>
                </a:ext>
              </a:extLst>
            </p:cNvPr>
            <p:cNvSpPr/>
            <p:nvPr userDrawn="1"/>
          </p:nvSpPr>
          <p:spPr>
            <a:xfrm>
              <a:off x="12012000" y="-1016102"/>
              <a:ext cx="180000" cy="18000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Rechthoek 6">
              <a:extLst>
                <a:ext uri="{FF2B5EF4-FFF2-40B4-BE49-F238E27FC236}">
                  <a16:creationId xmlns:a16="http://schemas.microsoft.com/office/drawing/2014/main" id="{23A4CEB5-B6FA-9B7A-B2D0-072AAA09C577}"/>
                </a:ext>
              </a:extLst>
            </p:cNvPr>
            <p:cNvSpPr/>
            <p:nvPr userDrawn="1"/>
          </p:nvSpPr>
          <p:spPr>
            <a:xfrm>
              <a:off x="11782094" y="-1016102"/>
              <a:ext cx="180000" cy="180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 name="Rechthoek 8">
              <a:extLst>
                <a:ext uri="{FF2B5EF4-FFF2-40B4-BE49-F238E27FC236}">
                  <a16:creationId xmlns:a16="http://schemas.microsoft.com/office/drawing/2014/main" id="{E5A8DA9B-2314-02C7-0DB4-B1D5CD8DF2E4}"/>
                </a:ext>
              </a:extLst>
            </p:cNvPr>
            <p:cNvSpPr/>
            <p:nvPr userDrawn="1"/>
          </p:nvSpPr>
          <p:spPr>
            <a:xfrm>
              <a:off x="11552188" y="-1016102"/>
              <a:ext cx="180000" cy="180000"/>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sp>
        <p:nvSpPr>
          <p:cNvPr id="10" name="Tekstvak 9">
            <a:extLst>
              <a:ext uri="{FF2B5EF4-FFF2-40B4-BE49-F238E27FC236}">
                <a16:creationId xmlns:a16="http://schemas.microsoft.com/office/drawing/2014/main" id="{712FF8BF-FF57-497C-6D6E-58F4046DC0E4}"/>
              </a:ext>
            </a:extLst>
          </p:cNvPr>
          <p:cNvSpPr txBox="1"/>
          <p:nvPr userDrawn="1"/>
        </p:nvSpPr>
        <p:spPr>
          <a:xfrm>
            <a:off x="10659528" y="-674002"/>
            <a:ext cx="1532472"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secondary colors</a:t>
            </a:r>
          </a:p>
        </p:txBody>
      </p:sp>
      <p:grpSp>
        <p:nvGrpSpPr>
          <p:cNvPr id="33" name="Groep 32">
            <a:extLst>
              <a:ext uri="{FF2B5EF4-FFF2-40B4-BE49-F238E27FC236}">
                <a16:creationId xmlns:a16="http://schemas.microsoft.com/office/drawing/2014/main" id="{B444FEF0-EF23-9A75-C7DB-63258A64F5A1}"/>
              </a:ext>
            </a:extLst>
          </p:cNvPr>
          <p:cNvGrpSpPr/>
          <p:nvPr userDrawn="1"/>
        </p:nvGrpSpPr>
        <p:grpSpPr>
          <a:xfrm>
            <a:off x="9687884" y="-411207"/>
            <a:ext cx="2504116" cy="180000"/>
            <a:chOff x="9687884" y="-411207"/>
            <a:chExt cx="2504116" cy="180000"/>
          </a:xfrm>
        </p:grpSpPr>
        <p:sp>
          <p:nvSpPr>
            <p:cNvPr id="11" name="Rechthoek 10">
              <a:extLst>
                <a:ext uri="{FF2B5EF4-FFF2-40B4-BE49-F238E27FC236}">
                  <a16:creationId xmlns:a16="http://schemas.microsoft.com/office/drawing/2014/main" id="{F5BB984B-89D0-74F4-7C23-3CB60BB6C322}"/>
                </a:ext>
              </a:extLst>
            </p:cNvPr>
            <p:cNvSpPr/>
            <p:nvPr userDrawn="1"/>
          </p:nvSpPr>
          <p:spPr>
            <a:xfrm>
              <a:off x="12012000" y="-411207"/>
              <a:ext cx="180000" cy="180000"/>
            </a:xfrm>
            <a:prstGeom prst="rect">
              <a:avLst/>
            </a:prstGeom>
            <a:solidFill>
              <a:srgbClr val="009B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4" name="Rechthoek 13">
              <a:extLst>
                <a:ext uri="{FF2B5EF4-FFF2-40B4-BE49-F238E27FC236}">
                  <a16:creationId xmlns:a16="http://schemas.microsoft.com/office/drawing/2014/main" id="{1983FD3B-3516-2897-57E9-D8EFBFF1423C}"/>
                </a:ext>
              </a:extLst>
            </p:cNvPr>
            <p:cNvSpPr/>
            <p:nvPr userDrawn="1"/>
          </p:nvSpPr>
          <p:spPr>
            <a:xfrm>
              <a:off x="11782094" y="-411207"/>
              <a:ext cx="180000" cy="180000"/>
            </a:xfrm>
            <a:prstGeom prst="rect">
              <a:avLst/>
            </a:prstGeom>
            <a:solidFill>
              <a:srgbClr val="6CC24A"/>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9" name="Rechthoek 18">
              <a:extLst>
                <a:ext uri="{FF2B5EF4-FFF2-40B4-BE49-F238E27FC236}">
                  <a16:creationId xmlns:a16="http://schemas.microsoft.com/office/drawing/2014/main" id="{4571E6D2-E9F3-1013-DDA9-BF3005A09B29}"/>
                </a:ext>
              </a:extLst>
            </p:cNvPr>
            <p:cNvSpPr/>
            <p:nvPr userDrawn="1"/>
          </p:nvSpPr>
          <p:spPr>
            <a:xfrm>
              <a:off x="11552188" y="-411207"/>
              <a:ext cx="180000" cy="180000"/>
            </a:xfrm>
            <a:prstGeom prst="rect">
              <a:avLst/>
            </a:prstGeom>
            <a:solidFill>
              <a:srgbClr val="FFB81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2" name="Rechthoek 21">
              <a:extLst>
                <a:ext uri="{FF2B5EF4-FFF2-40B4-BE49-F238E27FC236}">
                  <a16:creationId xmlns:a16="http://schemas.microsoft.com/office/drawing/2014/main" id="{CF1B44D4-9C02-CF5C-268C-96E45AF98657}"/>
                </a:ext>
              </a:extLst>
            </p:cNvPr>
            <p:cNvSpPr/>
            <p:nvPr userDrawn="1"/>
          </p:nvSpPr>
          <p:spPr>
            <a:xfrm>
              <a:off x="11316018" y="-411207"/>
              <a:ext cx="180000" cy="180000"/>
            </a:xfrm>
            <a:prstGeom prst="rect">
              <a:avLst/>
            </a:prstGeom>
            <a:solidFill>
              <a:srgbClr val="EC684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3" name="Rechthoek 22">
              <a:extLst>
                <a:ext uri="{FF2B5EF4-FFF2-40B4-BE49-F238E27FC236}">
                  <a16:creationId xmlns:a16="http://schemas.microsoft.com/office/drawing/2014/main" id="{E2214C65-E16E-D1A0-F56E-A8E35340AF61}"/>
                </a:ext>
              </a:extLst>
            </p:cNvPr>
            <p:cNvSpPr/>
            <p:nvPr userDrawn="1"/>
          </p:nvSpPr>
          <p:spPr>
            <a:xfrm>
              <a:off x="11086112" y="-411207"/>
              <a:ext cx="180000" cy="180000"/>
            </a:xfrm>
            <a:prstGeom prst="rect">
              <a:avLst/>
            </a:prstGeom>
            <a:solidFill>
              <a:srgbClr val="E03C3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4" name="Rechthoek 23">
              <a:extLst>
                <a:ext uri="{FF2B5EF4-FFF2-40B4-BE49-F238E27FC236}">
                  <a16:creationId xmlns:a16="http://schemas.microsoft.com/office/drawing/2014/main" id="{55D9D295-9730-83B0-9A87-AE6384CA7F82}"/>
                </a:ext>
              </a:extLst>
            </p:cNvPr>
            <p:cNvSpPr/>
            <p:nvPr userDrawn="1"/>
          </p:nvSpPr>
          <p:spPr>
            <a:xfrm>
              <a:off x="10856206" y="-411207"/>
              <a:ext cx="180000" cy="180000"/>
            </a:xfrm>
            <a:prstGeom prst="rect">
              <a:avLst/>
            </a:prstGeom>
            <a:solidFill>
              <a:srgbClr val="A5003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5" name="Rechthoek 24">
              <a:extLst>
                <a:ext uri="{FF2B5EF4-FFF2-40B4-BE49-F238E27FC236}">
                  <a16:creationId xmlns:a16="http://schemas.microsoft.com/office/drawing/2014/main" id="{FD3CB985-76FB-1138-7ABB-C2AEA27C3BA6}"/>
                </a:ext>
              </a:extLst>
            </p:cNvPr>
            <p:cNvSpPr/>
            <p:nvPr userDrawn="1"/>
          </p:nvSpPr>
          <p:spPr>
            <a:xfrm>
              <a:off x="10620036" y="-411207"/>
              <a:ext cx="180000" cy="180000"/>
            </a:xfrm>
            <a:prstGeom prst="rect">
              <a:avLst/>
            </a:prstGeom>
            <a:solidFill>
              <a:srgbClr val="EF60A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6" name="Rechthoek 25">
              <a:extLst>
                <a:ext uri="{FF2B5EF4-FFF2-40B4-BE49-F238E27FC236}">
                  <a16:creationId xmlns:a16="http://schemas.microsoft.com/office/drawing/2014/main" id="{3017B0A1-3059-6859-5F3B-486053D198C9}"/>
                </a:ext>
              </a:extLst>
            </p:cNvPr>
            <p:cNvSpPr/>
            <p:nvPr userDrawn="1"/>
          </p:nvSpPr>
          <p:spPr>
            <a:xfrm>
              <a:off x="10383866" y="-411207"/>
              <a:ext cx="180000" cy="180000"/>
            </a:xfrm>
            <a:prstGeom prst="rect">
              <a:avLst/>
            </a:prstGeom>
            <a:solidFill>
              <a:srgbClr val="6F1D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7" name="Rechthoek 26">
              <a:extLst>
                <a:ext uri="{FF2B5EF4-FFF2-40B4-BE49-F238E27FC236}">
                  <a16:creationId xmlns:a16="http://schemas.microsoft.com/office/drawing/2014/main" id="{5DF6D8A2-044B-9B72-D264-D10733D97156}"/>
                </a:ext>
              </a:extLst>
            </p:cNvPr>
            <p:cNvSpPr/>
            <p:nvPr userDrawn="1"/>
          </p:nvSpPr>
          <p:spPr>
            <a:xfrm>
              <a:off x="10153960" y="-411207"/>
              <a:ext cx="180000" cy="180000"/>
            </a:xfrm>
            <a:prstGeom prst="rect">
              <a:avLst/>
            </a:prstGeom>
            <a:solidFill>
              <a:srgbClr val="0076C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1" name="Rechthoek 30">
              <a:extLst>
                <a:ext uri="{FF2B5EF4-FFF2-40B4-BE49-F238E27FC236}">
                  <a16:creationId xmlns:a16="http://schemas.microsoft.com/office/drawing/2014/main" id="{A9F4A9AC-B678-77B2-2E58-722942DB0831}"/>
                </a:ext>
              </a:extLst>
            </p:cNvPr>
            <p:cNvSpPr/>
            <p:nvPr userDrawn="1"/>
          </p:nvSpPr>
          <p:spPr>
            <a:xfrm>
              <a:off x="9924054" y="-411207"/>
              <a:ext cx="180000" cy="180000"/>
            </a:xfrm>
            <a:prstGeom prst="rect">
              <a:avLst/>
            </a:prstGeom>
            <a:solidFill>
              <a:srgbClr val="00B8C8"/>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2" name="Rechthoek 31">
              <a:extLst>
                <a:ext uri="{FF2B5EF4-FFF2-40B4-BE49-F238E27FC236}">
                  <a16:creationId xmlns:a16="http://schemas.microsoft.com/office/drawing/2014/main" id="{4A95EB90-8972-7E8F-BE91-33A15F9A2648}"/>
                </a:ext>
              </a:extLst>
            </p:cNvPr>
            <p:cNvSpPr/>
            <p:nvPr userDrawn="1"/>
          </p:nvSpPr>
          <p:spPr>
            <a:xfrm>
              <a:off x="9687884" y="-411207"/>
              <a:ext cx="180000" cy="180000"/>
            </a:xfrm>
            <a:prstGeom prst="rect">
              <a:avLst/>
            </a:prstGeom>
            <a:solidFill>
              <a:srgbClr val="0C234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grpSp>
        <p:nvGrpSpPr>
          <p:cNvPr id="51" name="Groep 50">
            <a:extLst>
              <a:ext uri="{FF2B5EF4-FFF2-40B4-BE49-F238E27FC236}">
                <a16:creationId xmlns:a16="http://schemas.microsoft.com/office/drawing/2014/main" id="{2FE40E40-1FE1-302C-7401-1188F7C3C956}"/>
              </a:ext>
            </a:extLst>
          </p:cNvPr>
          <p:cNvGrpSpPr/>
          <p:nvPr userDrawn="1"/>
        </p:nvGrpSpPr>
        <p:grpSpPr>
          <a:xfrm>
            <a:off x="721079" y="6216736"/>
            <a:ext cx="961200" cy="381600"/>
            <a:chOff x="2807303" y="2354764"/>
            <a:chExt cx="944974" cy="368527"/>
          </a:xfrm>
        </p:grpSpPr>
        <p:sp>
          <p:nvSpPr>
            <p:cNvPr id="43" name="Vrije vorm: vorm 42">
              <a:extLst>
                <a:ext uri="{FF2B5EF4-FFF2-40B4-BE49-F238E27FC236}">
                  <a16:creationId xmlns:a16="http://schemas.microsoft.com/office/drawing/2014/main" id="{8EAAA39B-E62F-1A64-6EB9-16C279742FC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36236F46-513D-1509-49B4-C9540C747A7E}"/>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59E6BEF-0F0B-1F81-FCB5-7C9DF5D09313}"/>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dirty="0"/>
            </a:p>
          </p:txBody>
        </p:sp>
        <p:sp>
          <p:nvSpPr>
            <p:cNvPr id="46" name="Vrije vorm: vorm 45">
              <a:extLst>
                <a:ext uri="{FF2B5EF4-FFF2-40B4-BE49-F238E27FC236}">
                  <a16:creationId xmlns:a16="http://schemas.microsoft.com/office/drawing/2014/main" id="{E2168793-CECA-2A56-70CA-A2BB97B2C83F}"/>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167B5967-C476-6D97-2D8A-678B164873F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0863CA44-130B-E285-9545-E013062D262E}"/>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BC4A4D97-B586-8C1B-3EB4-EF127E58DA10}"/>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9799722F-EF3D-E27E-3C21-C59FE9D1258A}"/>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777131786"/>
      </p:ext>
    </p:extLst>
  </p:cSld>
  <p:clrMap bg1="lt1" tx1="dk1" bg2="lt2" tx2="dk2" accent1="accent1" accent2="accent2" accent3="accent3" accent4="accent4" accent5="accent5" accent6="accent6" hlink="hlink" folHlink="folHlink"/>
  <p:sldLayoutIdLst>
    <p:sldLayoutId id="2147483704" r:id="rId1"/>
    <p:sldLayoutId id="2147483707" r:id="rId2"/>
    <p:sldLayoutId id="2147483708" r:id="rId3"/>
    <p:sldLayoutId id="2147483697" r:id="rId4"/>
    <p:sldLayoutId id="2147483728" r:id="rId5"/>
    <p:sldLayoutId id="2147483729" r:id="rId6"/>
    <p:sldLayoutId id="2147483730" r:id="rId7"/>
    <p:sldLayoutId id="2147483673" r:id="rId8"/>
    <p:sldLayoutId id="2147483711" r:id="rId9"/>
    <p:sldLayoutId id="2147483712" r:id="rId10"/>
    <p:sldLayoutId id="2147483731" r:id="rId11"/>
    <p:sldLayoutId id="2147483732" r:id="rId12"/>
    <p:sldLayoutId id="2147483733" r:id="rId13"/>
    <p:sldLayoutId id="2147483713" r:id="rId14"/>
    <p:sldLayoutId id="2147483736" r:id="rId15"/>
    <p:sldLayoutId id="2147483664" r:id="rId16"/>
    <p:sldLayoutId id="2147483720" r:id="rId17"/>
    <p:sldLayoutId id="2147483721" r:id="rId18"/>
    <p:sldLayoutId id="2147483667" r:id="rId19"/>
    <p:sldLayoutId id="2147483723" r:id="rId20"/>
    <p:sldLayoutId id="2147483715" r:id="rId21"/>
    <p:sldLayoutId id="2147483770" r:id="rId22"/>
    <p:sldLayoutId id="2147483724" r:id="rId23"/>
    <p:sldLayoutId id="2147483703" r:id="rId24"/>
    <p:sldLayoutId id="2147483726" r:id="rId25"/>
    <p:sldLayoutId id="2147483727" r:id="rId26"/>
    <p:sldLayoutId id="2147483734" r:id="rId27"/>
    <p:sldLayoutId id="2147483735" r:id="rId28"/>
    <p:sldLayoutId id="2147483714" r:id="rId29"/>
    <p:sldLayoutId id="2147483725" r:id="rId30"/>
    <p:sldLayoutId id="2147483737" r:id="rId31"/>
    <p:sldLayoutId id="2147483738" r:id="rId32"/>
    <p:sldLayoutId id="2147483739" r:id="rId33"/>
    <p:sldLayoutId id="2147483740" r:id="rId34"/>
    <p:sldLayoutId id="2147483771"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p:titleStyle>
    <p:bodyStyle>
      <a:lvl1pPr marL="361950" indent="-36195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defRPr sz="2000" kern="1200">
          <a:solidFill>
            <a:schemeClr val="tx2"/>
          </a:solidFill>
          <a:latin typeface="+mn-lt"/>
          <a:ea typeface="+mn-ea"/>
          <a:cs typeface="+mn-cs"/>
        </a:defRPr>
      </a:lvl1pPr>
      <a:lvl2pPr marL="712788" indent="-350838"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tabLst>
          <a:tab pos="712788" algn="l"/>
        </a:tabLst>
        <a:defRPr sz="2000" kern="1200">
          <a:solidFill>
            <a:schemeClr val="tx2"/>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accent3"/>
        </a:buClr>
        <a:buFont typeface="Segoe UI Light" panose="020B0502040204020203" pitchFamily="34" charset="0"/>
        <a:buNone/>
        <a:defRPr sz="20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400" b="0"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600"/>
        </a:spcBef>
        <a:spcAft>
          <a:spcPts val="600"/>
        </a:spcAft>
        <a:buClr>
          <a:schemeClr val="accent1"/>
        </a:buClr>
        <a:buFont typeface="+mj-lt"/>
        <a:buAutoNum type="arabicPeriod"/>
        <a:tabLst/>
        <a:defRPr sz="2000" kern="1200">
          <a:solidFill>
            <a:schemeClr val="tx1"/>
          </a:solidFill>
          <a:latin typeface="+mn-lt"/>
          <a:ea typeface="+mn-ea"/>
          <a:cs typeface="+mn-cs"/>
        </a:defRPr>
      </a:lvl7pPr>
      <a:lvl8pPr marL="361950" indent="-361950" algn="l" defTabSz="914400" rtl="0" eaLnBrk="1" latinLnBrk="0" hangingPunct="1">
        <a:lnSpc>
          <a:spcPct val="90000"/>
        </a:lnSpc>
        <a:spcBef>
          <a:spcPts val="600"/>
        </a:spcBef>
        <a:spcAft>
          <a:spcPts val="600"/>
        </a:spcAft>
        <a:buClr>
          <a:schemeClr val="accent1"/>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6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6" userDrawn="1">
          <p15:clr>
            <a:srgbClr val="5ACBF0"/>
          </p15:clr>
        </p15:guide>
        <p15:guide id="2" pos="453" userDrawn="1">
          <p15:clr>
            <a:srgbClr val="5ACBF0"/>
          </p15:clr>
        </p15:guide>
        <p15:guide id="3" orient="horz" pos="3780" userDrawn="1">
          <p15:clr>
            <a:srgbClr val="5ACBF0"/>
          </p15:clr>
        </p15:guide>
        <p15:guide id="6" pos="7226" userDrawn="1">
          <p15:clr>
            <a:srgbClr val="5ACBF0"/>
          </p15:clr>
        </p15:guide>
        <p15:guide id="9" orient="horz" pos="453" userDrawn="1">
          <p15:clr>
            <a:srgbClr val="5ACBF0"/>
          </p15:clr>
        </p15:guide>
        <p15:guide id="10" orient="horz" pos="659" userDrawn="1">
          <p15:clr>
            <a:srgbClr val="5ACBF0"/>
          </p15:clr>
        </p15:guide>
        <p15:guide id="12" orient="horz" pos="4032" userDrawn="1">
          <p15:clr>
            <a:srgbClr val="A4A3A4"/>
          </p15:clr>
        </p15:guide>
        <p15:guide id="13" pos="7680" userDrawn="1">
          <p15:clr>
            <a:srgbClr val="F26B43"/>
          </p15:clr>
        </p15:guide>
        <p15:guide id="14" orient="horz" pos="4320" userDrawn="1">
          <p15:clr>
            <a:srgbClr val="F26B43"/>
          </p15:clr>
        </p15:guide>
        <p15:guide id="15" orient="horz" pos="4151" userDrawn="1">
          <p15:clr>
            <a:srgbClr val="A4A3A4"/>
          </p15:clr>
        </p15:guide>
        <p15:guide id="16" userDrawn="1">
          <p15:clr>
            <a:srgbClr val="F26B43"/>
          </p15:clr>
        </p15:guide>
        <p15:guide id="17" orient="horz"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2D9654-F450-E6BD-F505-632AFCCED2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nl-NL"/>
          </a:p>
        </p:txBody>
      </p:sp>
      <p:sp>
        <p:nvSpPr>
          <p:cNvPr id="3" name="Text Placeholder 2">
            <a:extLst>
              <a:ext uri="{FF2B5EF4-FFF2-40B4-BE49-F238E27FC236}">
                <a16:creationId xmlns:a16="http://schemas.microsoft.com/office/drawing/2014/main" id="{98ED8F0B-A701-C2DD-2C86-FB76878822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4" name="Date Placeholder 3">
            <a:extLst>
              <a:ext uri="{FF2B5EF4-FFF2-40B4-BE49-F238E27FC236}">
                <a16:creationId xmlns:a16="http://schemas.microsoft.com/office/drawing/2014/main" id="{AB35439D-10A9-D879-BB26-857F32DE26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00E52E2-4654-4145-851C-F69A1D33A1AB}" type="datetimeFigureOut">
              <a:rPr lang="nl-NL" smtClean="0"/>
              <a:t>13-3-2025</a:t>
            </a:fld>
            <a:endParaRPr lang="nl-NL"/>
          </a:p>
        </p:txBody>
      </p:sp>
      <p:sp>
        <p:nvSpPr>
          <p:cNvPr id="5" name="Footer Placeholder 4">
            <a:extLst>
              <a:ext uri="{FF2B5EF4-FFF2-40B4-BE49-F238E27FC236}">
                <a16:creationId xmlns:a16="http://schemas.microsoft.com/office/drawing/2014/main" id="{D48D71F0-1B06-A14E-E2D3-D91E5184728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nl-NL"/>
          </a:p>
        </p:txBody>
      </p:sp>
      <p:sp>
        <p:nvSpPr>
          <p:cNvPr id="6" name="Slide Number Placeholder 5">
            <a:extLst>
              <a:ext uri="{FF2B5EF4-FFF2-40B4-BE49-F238E27FC236}">
                <a16:creationId xmlns:a16="http://schemas.microsoft.com/office/drawing/2014/main" id="{0C021D85-6F40-61E4-7D1C-D0D21FC7D7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7AB4F37-BD25-4A57-BDAE-09EA4F25B652}" type="slidenum">
              <a:rPr lang="nl-NL" smtClean="0"/>
              <a:t>‹#›</a:t>
            </a:fld>
            <a:endParaRPr lang="nl-NL"/>
          </a:p>
        </p:txBody>
      </p:sp>
    </p:spTree>
    <p:extLst>
      <p:ext uri="{BB962C8B-B14F-4D97-AF65-F5344CB8AC3E}">
        <p14:creationId xmlns:p14="http://schemas.microsoft.com/office/powerpoint/2010/main" val="3017623348"/>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718666" y="722454"/>
            <a:ext cx="10752610" cy="323409"/>
          </a:xfrm>
          <a:prstGeom prst="rect">
            <a:avLst/>
          </a:prstGeom>
        </p:spPr>
        <p:txBody>
          <a:bodyPr vert="horz" lIns="0" tIns="0" rIns="0" bIns="378000" rtlCol="0" anchor="t">
            <a:noAutofit/>
          </a:bodyPr>
          <a:lstStyle/>
          <a:p>
            <a:r>
              <a:rPr lang="en-GB" noProof="0" dirty="0"/>
              <a:t>Title goes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719138" y="1563938"/>
            <a:ext cx="10752137" cy="4433419"/>
          </a:xfrm>
          <a:prstGeom prst="rect">
            <a:avLst/>
          </a:prstGeom>
        </p:spPr>
        <p:txBody>
          <a:bodyPr vert="horz" lIns="0" tIns="0" rIns="0" bIns="0" rtlCol="0">
            <a:noAutofit/>
          </a:body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12032" y="0"/>
            <a:ext cx="12204032" cy="6858000"/>
            <a:chOff x="-12032" y="0"/>
            <a:chExt cx="12204032" cy="6858000"/>
          </a:xfrm>
        </p:grpSpPr>
        <p:sp>
          <p:nvSpPr>
            <p:cNvPr id="8" name="Rechthoek 7">
              <a:extLst>
                <a:ext uri="{FF2B5EF4-FFF2-40B4-BE49-F238E27FC236}">
                  <a16:creationId xmlns:a16="http://schemas.microsoft.com/office/drawing/2014/main" id="{7D9988B5-FF41-44BF-9EBA-8ED0383D0B4A}"/>
                </a:ext>
              </a:extLst>
            </p:cNvPr>
            <p:cNvSpPr/>
            <p:nvPr userDrawn="1"/>
          </p:nvSpPr>
          <p:spPr>
            <a:xfrm>
              <a:off x="-12032" y="0"/>
              <a:ext cx="12192000" cy="72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0" y="-637132"/>
            <a:ext cx="565861" cy="169277"/>
          </a:xfrm>
          <a:prstGeom prst="rect">
            <a:avLst/>
          </a:prstGeom>
          <a:noFill/>
        </p:spPr>
        <p:txBody>
          <a:bodyPr wrap="none" lIns="0" tIns="0" rIns="0" bIns="0" rtlCol="0" anchor="b">
            <a:spAutoFit/>
          </a:bodyPr>
          <a:lstStyle/>
          <a:p>
            <a:pPr algn="l"/>
            <a:r>
              <a:rPr lang="en-GB" sz="1100" b="0" cap="all" baseline="0" noProof="0" dirty="0">
                <a:solidFill>
                  <a:schemeClr val="accent1"/>
                </a:solidFill>
                <a:latin typeface="+mn-lt"/>
              </a:rPr>
              <a:t>layout</a:t>
            </a:r>
          </a:p>
        </p:txBody>
      </p:sp>
      <p:sp>
        <p:nvSpPr>
          <p:cNvPr id="28" name="Tijdelijke aanduiding voor datum 3">
            <a:extLst>
              <a:ext uri="{FF2B5EF4-FFF2-40B4-BE49-F238E27FC236}">
                <a16:creationId xmlns:a16="http://schemas.microsoft.com/office/drawing/2014/main" id="{913F724C-C8A8-4D7C-A490-D6011A81D6CD}"/>
              </a:ext>
            </a:extLst>
          </p:cNvPr>
          <p:cNvSpPr>
            <a:spLocks noGrp="1"/>
          </p:cNvSpPr>
          <p:nvPr>
            <p:ph type="dt" sz="half" idx="2"/>
          </p:nvPr>
        </p:nvSpPr>
        <p:spPr>
          <a:xfrm>
            <a:off x="10146569" y="6405669"/>
            <a:ext cx="766235" cy="184666"/>
          </a:xfrm>
          <a:prstGeom prst="rect">
            <a:avLst/>
          </a:prstGeom>
        </p:spPr>
        <p:txBody>
          <a:bodyPr vert="horz" wrap="none" lIns="0" tIns="0" rIns="0" bIns="0" rtlCol="0" anchor="ctr">
            <a:spAutoFit/>
          </a:bodyPr>
          <a:lstStyle>
            <a:lvl1pPr algn="r">
              <a:defRPr sz="1200">
                <a:solidFill>
                  <a:schemeClr val="tx2"/>
                </a:solidFill>
                <a:latin typeface="+mn-lt"/>
                <a:cs typeface="Segoe UI Light" panose="020B0502040204020203" pitchFamily="34" charset="0"/>
              </a:defRPr>
            </a:lvl1pPr>
          </a:lstStyle>
          <a:p>
            <a:r>
              <a:rPr lang="nl-NL"/>
              <a:t>11/08/2023</a:t>
            </a:r>
            <a:endParaRPr lang="en-GB" dirty="0"/>
          </a:p>
        </p:txBody>
      </p:sp>
      <p:sp>
        <p:nvSpPr>
          <p:cNvPr id="30" name="Tijdelijke aanduiding voor dianummer 5">
            <a:extLst>
              <a:ext uri="{FF2B5EF4-FFF2-40B4-BE49-F238E27FC236}">
                <a16:creationId xmlns:a16="http://schemas.microsoft.com/office/drawing/2014/main" id="{97B5FD88-660A-4FF5-BB5B-19029FB61217}"/>
              </a:ext>
            </a:extLst>
          </p:cNvPr>
          <p:cNvSpPr>
            <a:spLocks noGrp="1"/>
          </p:cNvSpPr>
          <p:nvPr>
            <p:ph type="sldNum" sz="quarter" idx="4"/>
          </p:nvPr>
        </p:nvSpPr>
        <p:spPr>
          <a:xfrm>
            <a:off x="11178464" y="6405669"/>
            <a:ext cx="291298" cy="184666"/>
          </a:xfrm>
          <a:prstGeom prst="rect">
            <a:avLst/>
          </a:prstGeom>
        </p:spPr>
        <p:txBody>
          <a:bodyPr vert="horz" wrap="none" lIns="0" tIns="0" rIns="0" bIns="0" rtlCol="0" anchor="ctr">
            <a:spAutoFit/>
          </a:bodyPr>
          <a:lstStyle>
            <a:lvl1pPr algn="r">
              <a:defRPr sz="1200" b="1">
                <a:solidFill>
                  <a:schemeClr val="tx2"/>
                </a:solidFill>
                <a:latin typeface="+mj-lt"/>
                <a:cs typeface="Segoe UI Light" panose="020B0502040204020203" pitchFamily="34" charset="0"/>
              </a:defRPr>
            </a:lvl1pPr>
          </a:lstStyle>
          <a:p>
            <a:fld id="{9E843DB9-9987-4157-AB9C-CEA8D7D910BB}" type="slidenum">
              <a:rPr lang="en-GB" smtClean="0"/>
              <a:pPr/>
              <a:t>‹#›</a:t>
            </a:fld>
            <a:endParaRPr lang="en-GB" dirty="0"/>
          </a:p>
        </p:txBody>
      </p:sp>
      <p:sp>
        <p:nvSpPr>
          <p:cNvPr id="4" name="Tekstvak 3">
            <a:extLst>
              <a:ext uri="{FF2B5EF4-FFF2-40B4-BE49-F238E27FC236}">
                <a16:creationId xmlns:a16="http://schemas.microsoft.com/office/drawing/2014/main" id="{A36EA4FA-0B8A-4FA4-3D23-C40FA12DDAC9}"/>
              </a:ext>
            </a:extLst>
          </p:cNvPr>
          <p:cNvSpPr txBox="1"/>
          <p:nvPr userDrawn="1"/>
        </p:nvSpPr>
        <p:spPr>
          <a:xfrm>
            <a:off x="10912804" y="-1278897"/>
            <a:ext cx="1279196"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Primary colors</a:t>
            </a:r>
          </a:p>
        </p:txBody>
      </p:sp>
      <p:grpSp>
        <p:nvGrpSpPr>
          <p:cNvPr id="34" name="Groep 33">
            <a:extLst>
              <a:ext uri="{FF2B5EF4-FFF2-40B4-BE49-F238E27FC236}">
                <a16:creationId xmlns:a16="http://schemas.microsoft.com/office/drawing/2014/main" id="{0B508182-1D94-6963-6E0B-93418D7C8B8D}"/>
              </a:ext>
            </a:extLst>
          </p:cNvPr>
          <p:cNvGrpSpPr/>
          <p:nvPr userDrawn="1"/>
        </p:nvGrpSpPr>
        <p:grpSpPr>
          <a:xfrm>
            <a:off x="11552188" y="-1016102"/>
            <a:ext cx="639812" cy="180000"/>
            <a:chOff x="11552188" y="-1016102"/>
            <a:chExt cx="639812" cy="180000"/>
          </a:xfrm>
        </p:grpSpPr>
        <p:sp>
          <p:nvSpPr>
            <p:cNvPr id="5" name="Rechthoek 4">
              <a:extLst>
                <a:ext uri="{FF2B5EF4-FFF2-40B4-BE49-F238E27FC236}">
                  <a16:creationId xmlns:a16="http://schemas.microsoft.com/office/drawing/2014/main" id="{720EF2DF-3730-F6B5-403F-A5D9B50AA329}"/>
                </a:ext>
              </a:extLst>
            </p:cNvPr>
            <p:cNvSpPr/>
            <p:nvPr userDrawn="1"/>
          </p:nvSpPr>
          <p:spPr>
            <a:xfrm>
              <a:off x="12012000" y="-1016102"/>
              <a:ext cx="180000" cy="18000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Rechthoek 6">
              <a:extLst>
                <a:ext uri="{FF2B5EF4-FFF2-40B4-BE49-F238E27FC236}">
                  <a16:creationId xmlns:a16="http://schemas.microsoft.com/office/drawing/2014/main" id="{23A4CEB5-B6FA-9B7A-B2D0-072AAA09C577}"/>
                </a:ext>
              </a:extLst>
            </p:cNvPr>
            <p:cNvSpPr/>
            <p:nvPr userDrawn="1"/>
          </p:nvSpPr>
          <p:spPr>
            <a:xfrm>
              <a:off x="11782094" y="-1016102"/>
              <a:ext cx="180000" cy="180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 name="Rechthoek 8">
              <a:extLst>
                <a:ext uri="{FF2B5EF4-FFF2-40B4-BE49-F238E27FC236}">
                  <a16:creationId xmlns:a16="http://schemas.microsoft.com/office/drawing/2014/main" id="{E5A8DA9B-2314-02C7-0DB4-B1D5CD8DF2E4}"/>
                </a:ext>
              </a:extLst>
            </p:cNvPr>
            <p:cNvSpPr/>
            <p:nvPr userDrawn="1"/>
          </p:nvSpPr>
          <p:spPr>
            <a:xfrm>
              <a:off x="11552188" y="-1016102"/>
              <a:ext cx="180000" cy="180000"/>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sp>
        <p:nvSpPr>
          <p:cNvPr id="10" name="Tekstvak 9">
            <a:extLst>
              <a:ext uri="{FF2B5EF4-FFF2-40B4-BE49-F238E27FC236}">
                <a16:creationId xmlns:a16="http://schemas.microsoft.com/office/drawing/2014/main" id="{712FF8BF-FF57-497C-6D6E-58F4046DC0E4}"/>
              </a:ext>
            </a:extLst>
          </p:cNvPr>
          <p:cNvSpPr txBox="1"/>
          <p:nvPr userDrawn="1"/>
        </p:nvSpPr>
        <p:spPr>
          <a:xfrm>
            <a:off x="10659528" y="-674002"/>
            <a:ext cx="1532472"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secondary colors</a:t>
            </a:r>
          </a:p>
        </p:txBody>
      </p:sp>
      <p:grpSp>
        <p:nvGrpSpPr>
          <p:cNvPr id="33" name="Groep 32">
            <a:extLst>
              <a:ext uri="{FF2B5EF4-FFF2-40B4-BE49-F238E27FC236}">
                <a16:creationId xmlns:a16="http://schemas.microsoft.com/office/drawing/2014/main" id="{B444FEF0-EF23-9A75-C7DB-63258A64F5A1}"/>
              </a:ext>
            </a:extLst>
          </p:cNvPr>
          <p:cNvGrpSpPr/>
          <p:nvPr userDrawn="1"/>
        </p:nvGrpSpPr>
        <p:grpSpPr>
          <a:xfrm>
            <a:off x="9687884" y="-411207"/>
            <a:ext cx="2504116" cy="180000"/>
            <a:chOff x="9687884" y="-411207"/>
            <a:chExt cx="2504116" cy="180000"/>
          </a:xfrm>
        </p:grpSpPr>
        <p:sp>
          <p:nvSpPr>
            <p:cNvPr id="11" name="Rechthoek 10">
              <a:extLst>
                <a:ext uri="{FF2B5EF4-FFF2-40B4-BE49-F238E27FC236}">
                  <a16:creationId xmlns:a16="http://schemas.microsoft.com/office/drawing/2014/main" id="{F5BB984B-89D0-74F4-7C23-3CB60BB6C322}"/>
                </a:ext>
              </a:extLst>
            </p:cNvPr>
            <p:cNvSpPr/>
            <p:nvPr userDrawn="1"/>
          </p:nvSpPr>
          <p:spPr>
            <a:xfrm>
              <a:off x="12012000" y="-411207"/>
              <a:ext cx="180000" cy="180000"/>
            </a:xfrm>
            <a:prstGeom prst="rect">
              <a:avLst/>
            </a:prstGeom>
            <a:solidFill>
              <a:srgbClr val="009B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4" name="Rechthoek 13">
              <a:extLst>
                <a:ext uri="{FF2B5EF4-FFF2-40B4-BE49-F238E27FC236}">
                  <a16:creationId xmlns:a16="http://schemas.microsoft.com/office/drawing/2014/main" id="{1983FD3B-3516-2897-57E9-D8EFBFF1423C}"/>
                </a:ext>
              </a:extLst>
            </p:cNvPr>
            <p:cNvSpPr/>
            <p:nvPr userDrawn="1"/>
          </p:nvSpPr>
          <p:spPr>
            <a:xfrm>
              <a:off x="11782094" y="-411207"/>
              <a:ext cx="180000" cy="180000"/>
            </a:xfrm>
            <a:prstGeom prst="rect">
              <a:avLst/>
            </a:prstGeom>
            <a:solidFill>
              <a:srgbClr val="6CC24A"/>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9" name="Rechthoek 18">
              <a:extLst>
                <a:ext uri="{FF2B5EF4-FFF2-40B4-BE49-F238E27FC236}">
                  <a16:creationId xmlns:a16="http://schemas.microsoft.com/office/drawing/2014/main" id="{4571E6D2-E9F3-1013-DDA9-BF3005A09B29}"/>
                </a:ext>
              </a:extLst>
            </p:cNvPr>
            <p:cNvSpPr/>
            <p:nvPr userDrawn="1"/>
          </p:nvSpPr>
          <p:spPr>
            <a:xfrm>
              <a:off x="11552188" y="-411207"/>
              <a:ext cx="180000" cy="180000"/>
            </a:xfrm>
            <a:prstGeom prst="rect">
              <a:avLst/>
            </a:prstGeom>
            <a:solidFill>
              <a:srgbClr val="FFB81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2" name="Rechthoek 21">
              <a:extLst>
                <a:ext uri="{FF2B5EF4-FFF2-40B4-BE49-F238E27FC236}">
                  <a16:creationId xmlns:a16="http://schemas.microsoft.com/office/drawing/2014/main" id="{CF1B44D4-9C02-CF5C-268C-96E45AF98657}"/>
                </a:ext>
              </a:extLst>
            </p:cNvPr>
            <p:cNvSpPr/>
            <p:nvPr userDrawn="1"/>
          </p:nvSpPr>
          <p:spPr>
            <a:xfrm>
              <a:off x="11316018" y="-411207"/>
              <a:ext cx="180000" cy="180000"/>
            </a:xfrm>
            <a:prstGeom prst="rect">
              <a:avLst/>
            </a:prstGeom>
            <a:solidFill>
              <a:srgbClr val="EC684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3" name="Rechthoek 22">
              <a:extLst>
                <a:ext uri="{FF2B5EF4-FFF2-40B4-BE49-F238E27FC236}">
                  <a16:creationId xmlns:a16="http://schemas.microsoft.com/office/drawing/2014/main" id="{E2214C65-E16E-D1A0-F56E-A8E35340AF61}"/>
                </a:ext>
              </a:extLst>
            </p:cNvPr>
            <p:cNvSpPr/>
            <p:nvPr userDrawn="1"/>
          </p:nvSpPr>
          <p:spPr>
            <a:xfrm>
              <a:off x="11086112" y="-411207"/>
              <a:ext cx="180000" cy="180000"/>
            </a:xfrm>
            <a:prstGeom prst="rect">
              <a:avLst/>
            </a:prstGeom>
            <a:solidFill>
              <a:srgbClr val="E03C3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4" name="Rechthoek 23">
              <a:extLst>
                <a:ext uri="{FF2B5EF4-FFF2-40B4-BE49-F238E27FC236}">
                  <a16:creationId xmlns:a16="http://schemas.microsoft.com/office/drawing/2014/main" id="{55D9D295-9730-83B0-9A87-AE6384CA7F82}"/>
                </a:ext>
              </a:extLst>
            </p:cNvPr>
            <p:cNvSpPr/>
            <p:nvPr userDrawn="1"/>
          </p:nvSpPr>
          <p:spPr>
            <a:xfrm>
              <a:off x="10856206" y="-411207"/>
              <a:ext cx="180000" cy="180000"/>
            </a:xfrm>
            <a:prstGeom prst="rect">
              <a:avLst/>
            </a:prstGeom>
            <a:solidFill>
              <a:srgbClr val="A5003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5" name="Rechthoek 24">
              <a:extLst>
                <a:ext uri="{FF2B5EF4-FFF2-40B4-BE49-F238E27FC236}">
                  <a16:creationId xmlns:a16="http://schemas.microsoft.com/office/drawing/2014/main" id="{FD3CB985-76FB-1138-7ABB-C2AEA27C3BA6}"/>
                </a:ext>
              </a:extLst>
            </p:cNvPr>
            <p:cNvSpPr/>
            <p:nvPr userDrawn="1"/>
          </p:nvSpPr>
          <p:spPr>
            <a:xfrm>
              <a:off x="10620036" y="-411207"/>
              <a:ext cx="180000" cy="180000"/>
            </a:xfrm>
            <a:prstGeom prst="rect">
              <a:avLst/>
            </a:prstGeom>
            <a:solidFill>
              <a:srgbClr val="EF60A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6" name="Rechthoek 25">
              <a:extLst>
                <a:ext uri="{FF2B5EF4-FFF2-40B4-BE49-F238E27FC236}">
                  <a16:creationId xmlns:a16="http://schemas.microsoft.com/office/drawing/2014/main" id="{3017B0A1-3059-6859-5F3B-486053D198C9}"/>
                </a:ext>
              </a:extLst>
            </p:cNvPr>
            <p:cNvSpPr/>
            <p:nvPr userDrawn="1"/>
          </p:nvSpPr>
          <p:spPr>
            <a:xfrm>
              <a:off x="10383866" y="-411207"/>
              <a:ext cx="180000" cy="180000"/>
            </a:xfrm>
            <a:prstGeom prst="rect">
              <a:avLst/>
            </a:prstGeom>
            <a:solidFill>
              <a:srgbClr val="6F1D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7" name="Rechthoek 26">
              <a:extLst>
                <a:ext uri="{FF2B5EF4-FFF2-40B4-BE49-F238E27FC236}">
                  <a16:creationId xmlns:a16="http://schemas.microsoft.com/office/drawing/2014/main" id="{5DF6D8A2-044B-9B72-D264-D10733D97156}"/>
                </a:ext>
              </a:extLst>
            </p:cNvPr>
            <p:cNvSpPr/>
            <p:nvPr userDrawn="1"/>
          </p:nvSpPr>
          <p:spPr>
            <a:xfrm>
              <a:off x="10153960" y="-411207"/>
              <a:ext cx="180000" cy="180000"/>
            </a:xfrm>
            <a:prstGeom prst="rect">
              <a:avLst/>
            </a:prstGeom>
            <a:solidFill>
              <a:srgbClr val="0076C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1" name="Rechthoek 30">
              <a:extLst>
                <a:ext uri="{FF2B5EF4-FFF2-40B4-BE49-F238E27FC236}">
                  <a16:creationId xmlns:a16="http://schemas.microsoft.com/office/drawing/2014/main" id="{A9F4A9AC-B678-77B2-2E58-722942DB0831}"/>
                </a:ext>
              </a:extLst>
            </p:cNvPr>
            <p:cNvSpPr/>
            <p:nvPr userDrawn="1"/>
          </p:nvSpPr>
          <p:spPr>
            <a:xfrm>
              <a:off x="9924054" y="-411207"/>
              <a:ext cx="180000" cy="180000"/>
            </a:xfrm>
            <a:prstGeom prst="rect">
              <a:avLst/>
            </a:prstGeom>
            <a:solidFill>
              <a:srgbClr val="00B8C8"/>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2" name="Rechthoek 31">
              <a:extLst>
                <a:ext uri="{FF2B5EF4-FFF2-40B4-BE49-F238E27FC236}">
                  <a16:creationId xmlns:a16="http://schemas.microsoft.com/office/drawing/2014/main" id="{4A95EB90-8972-7E8F-BE91-33A15F9A2648}"/>
                </a:ext>
              </a:extLst>
            </p:cNvPr>
            <p:cNvSpPr/>
            <p:nvPr userDrawn="1"/>
          </p:nvSpPr>
          <p:spPr>
            <a:xfrm>
              <a:off x="9687884" y="-411207"/>
              <a:ext cx="180000" cy="180000"/>
            </a:xfrm>
            <a:prstGeom prst="rect">
              <a:avLst/>
            </a:prstGeom>
            <a:solidFill>
              <a:srgbClr val="0C234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grpSp>
        <p:nvGrpSpPr>
          <p:cNvPr id="51" name="Groep 50">
            <a:extLst>
              <a:ext uri="{FF2B5EF4-FFF2-40B4-BE49-F238E27FC236}">
                <a16:creationId xmlns:a16="http://schemas.microsoft.com/office/drawing/2014/main" id="{2FE40E40-1FE1-302C-7401-1188F7C3C956}"/>
              </a:ext>
            </a:extLst>
          </p:cNvPr>
          <p:cNvGrpSpPr/>
          <p:nvPr userDrawn="1"/>
        </p:nvGrpSpPr>
        <p:grpSpPr>
          <a:xfrm>
            <a:off x="721079" y="6216736"/>
            <a:ext cx="961200" cy="381600"/>
            <a:chOff x="2807303" y="2354764"/>
            <a:chExt cx="944974" cy="368527"/>
          </a:xfrm>
        </p:grpSpPr>
        <p:sp>
          <p:nvSpPr>
            <p:cNvPr id="43" name="Vrije vorm: vorm 42">
              <a:extLst>
                <a:ext uri="{FF2B5EF4-FFF2-40B4-BE49-F238E27FC236}">
                  <a16:creationId xmlns:a16="http://schemas.microsoft.com/office/drawing/2014/main" id="{8EAAA39B-E62F-1A64-6EB9-16C279742FC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36236F46-513D-1509-49B4-C9540C747A7E}"/>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59E6BEF-0F0B-1F81-FCB5-7C9DF5D09313}"/>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dirty="0"/>
            </a:p>
          </p:txBody>
        </p:sp>
        <p:sp>
          <p:nvSpPr>
            <p:cNvPr id="46" name="Vrije vorm: vorm 45">
              <a:extLst>
                <a:ext uri="{FF2B5EF4-FFF2-40B4-BE49-F238E27FC236}">
                  <a16:creationId xmlns:a16="http://schemas.microsoft.com/office/drawing/2014/main" id="{E2168793-CECA-2A56-70CA-A2BB97B2C83F}"/>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167B5967-C476-6D97-2D8A-678B164873F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0863CA44-130B-E285-9545-E013062D262E}"/>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BC4A4D97-B586-8C1B-3EB4-EF127E58DA10}"/>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9799722F-EF3D-E27E-3C21-C59FE9D1258A}"/>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4167737445"/>
      </p:ext>
    </p:extLst>
  </p:cSld>
  <p:clrMap bg1="lt1" tx1="dk1" bg2="lt2" tx2="dk2" accent1="accent1" accent2="accent2" accent3="accent3" accent4="accent4" accent5="accent5" accent6="accent6" hlink="hlink" folHlink="folHlink"/>
  <p:sldLayoutIdLst>
    <p:sldLayoutId id="2147483764" r:id="rId1"/>
    <p:sldLayoutId id="2147483766" r:id="rId2"/>
    <p:sldLayoutId id="2147483767" r:id="rId3"/>
    <p:sldLayoutId id="2147483768" r:id="rId4"/>
    <p:sldLayoutId id="2147483769"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p:titleStyle>
    <p:bodyStyle>
      <a:lvl1pPr marL="361950" indent="-361950" algn="l" defTabSz="914400" rtl="0" eaLnBrk="1" latinLnBrk="0" hangingPunct="1">
        <a:lnSpc>
          <a:spcPct val="90000"/>
        </a:lnSpc>
        <a:spcBef>
          <a:spcPts val="200"/>
        </a:spcBef>
        <a:spcAft>
          <a:spcPts val="200"/>
        </a:spcAft>
        <a:buClr>
          <a:schemeClr val="accent1"/>
        </a:buClr>
        <a:buSzPct val="120000"/>
        <a:buFont typeface="Arial" panose="020B0604020202020204" pitchFamily="34" charset="0"/>
        <a:buChar char="•"/>
        <a:defRPr sz="1400" kern="1200">
          <a:solidFill>
            <a:schemeClr val="tx2"/>
          </a:solidFill>
          <a:latin typeface="+mn-lt"/>
          <a:ea typeface="+mn-ea"/>
          <a:cs typeface="+mn-cs"/>
        </a:defRPr>
      </a:lvl1pPr>
      <a:lvl2pPr marL="712788" indent="-350838" algn="l" defTabSz="914400" rtl="0" eaLnBrk="1" latinLnBrk="0" hangingPunct="1">
        <a:lnSpc>
          <a:spcPct val="90000"/>
        </a:lnSpc>
        <a:spcBef>
          <a:spcPts val="200"/>
        </a:spcBef>
        <a:spcAft>
          <a:spcPts val="200"/>
        </a:spcAft>
        <a:buClr>
          <a:schemeClr val="accent1"/>
        </a:buClr>
        <a:buSzPct val="120000"/>
        <a:buFont typeface="Arial" panose="020B0604020202020204" pitchFamily="34" charset="0"/>
        <a:buChar char="•"/>
        <a:tabLst>
          <a:tab pos="712788" algn="l"/>
        </a:tabLst>
        <a:defRPr sz="1400" kern="1200">
          <a:solidFill>
            <a:schemeClr val="tx2"/>
          </a:solidFill>
          <a:latin typeface="+mn-lt"/>
          <a:ea typeface="+mn-ea"/>
          <a:cs typeface="+mn-cs"/>
        </a:defRPr>
      </a:lvl2pPr>
      <a:lvl3pPr marL="0" indent="0" algn="l" defTabSz="914400" rtl="0" eaLnBrk="1" latinLnBrk="0" hangingPunct="1">
        <a:lnSpc>
          <a:spcPct val="90000"/>
        </a:lnSpc>
        <a:spcBef>
          <a:spcPts val="200"/>
        </a:spcBef>
        <a:spcAft>
          <a:spcPts val="200"/>
        </a:spcAft>
        <a:buClr>
          <a:schemeClr val="accent3"/>
        </a:buClr>
        <a:buFont typeface="Segoe UI Light" panose="020B0502040204020203" pitchFamily="34" charset="0"/>
        <a:buNone/>
        <a:defRPr sz="1400" kern="1200">
          <a:solidFill>
            <a:schemeClr val="tx2"/>
          </a:solidFill>
          <a:latin typeface="+mn-lt"/>
          <a:ea typeface="+mn-ea"/>
          <a:cs typeface="+mn-cs"/>
        </a:defRPr>
      </a:lvl3pPr>
      <a:lvl4pPr marL="0" indent="0" algn="l" defTabSz="914400" rtl="0" eaLnBrk="1" latinLnBrk="0" hangingPunct="1">
        <a:lnSpc>
          <a:spcPct val="90000"/>
        </a:lnSpc>
        <a:spcBef>
          <a:spcPts val="200"/>
        </a:spcBef>
        <a:spcAft>
          <a:spcPts val="2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200"/>
        </a:spcBef>
        <a:spcAft>
          <a:spcPts val="200"/>
        </a:spcAft>
        <a:buFont typeface="Arial" panose="020B0604020202020204" pitchFamily="34" charset="0"/>
        <a:buNone/>
        <a:defRPr sz="1600" b="0" kern="1200">
          <a:solidFill>
            <a:schemeClr val="accent1"/>
          </a:solidFill>
          <a:latin typeface="+mj-lt"/>
          <a:ea typeface="+mn-ea"/>
          <a:cs typeface="+mn-cs"/>
        </a:defRPr>
      </a:lvl5pPr>
      <a:lvl6pPr marL="0" indent="0" algn="l" defTabSz="914400" rtl="0" eaLnBrk="1" latinLnBrk="0" hangingPunct="1">
        <a:lnSpc>
          <a:spcPct val="90000"/>
        </a:lnSpc>
        <a:spcBef>
          <a:spcPts val="200"/>
        </a:spcBef>
        <a:spcAft>
          <a:spcPts val="200"/>
        </a:spcAft>
        <a:buClr>
          <a:schemeClr val="accent1"/>
        </a:buClr>
        <a:buFont typeface="Arial" panose="020B0604020202020204" pitchFamily="34" charset="0"/>
        <a:buNone/>
        <a:defRPr sz="14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200"/>
        </a:spcBef>
        <a:spcAft>
          <a:spcPts val="200"/>
        </a:spcAft>
        <a:buClr>
          <a:schemeClr val="accent1"/>
        </a:buClr>
        <a:buFont typeface="+mj-lt"/>
        <a:buAutoNum type="arabicPeriod"/>
        <a:tabLst/>
        <a:defRPr sz="1400" kern="1200">
          <a:solidFill>
            <a:schemeClr val="tx1"/>
          </a:solidFill>
          <a:latin typeface="+mn-lt"/>
          <a:ea typeface="+mn-ea"/>
          <a:cs typeface="+mn-cs"/>
        </a:defRPr>
      </a:lvl7pPr>
      <a:lvl8pPr marL="361950" indent="-361950" algn="l" defTabSz="914400" rtl="0" eaLnBrk="1" latinLnBrk="0" hangingPunct="1">
        <a:lnSpc>
          <a:spcPct val="90000"/>
        </a:lnSpc>
        <a:spcBef>
          <a:spcPts val="200"/>
        </a:spcBef>
        <a:spcAft>
          <a:spcPts val="200"/>
        </a:spcAft>
        <a:buClr>
          <a:schemeClr val="accent1"/>
        </a:buClr>
        <a:buFont typeface="+mj-lt"/>
        <a:buAutoNum type="alphaLcPeriod"/>
        <a:defRPr sz="1400" kern="1200">
          <a:solidFill>
            <a:schemeClr val="tx1"/>
          </a:solidFill>
          <a:latin typeface="+mn-lt"/>
          <a:ea typeface="+mn-ea"/>
          <a:cs typeface="+mn-cs"/>
        </a:defRPr>
      </a:lvl8pPr>
      <a:lvl9pPr marL="0" indent="0" algn="l" defTabSz="914400" rtl="0" eaLnBrk="1" latinLnBrk="0" hangingPunct="1">
        <a:lnSpc>
          <a:spcPct val="90000"/>
        </a:lnSpc>
        <a:spcBef>
          <a:spcPts val="200"/>
        </a:spcBef>
        <a:spcAft>
          <a:spcPts val="200"/>
        </a:spcAft>
        <a:buClr>
          <a:schemeClr val="accent1"/>
        </a:buClr>
        <a:buFont typeface="Arial" panose="020B0604020202020204" pitchFamily="34" charset="0"/>
        <a:buNone/>
        <a:defRPr sz="11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6">
          <p15:clr>
            <a:srgbClr val="5ACBF0"/>
          </p15:clr>
        </p15:guide>
        <p15:guide id="2" pos="453">
          <p15:clr>
            <a:srgbClr val="5ACBF0"/>
          </p15:clr>
        </p15:guide>
        <p15:guide id="3" orient="horz" pos="3780">
          <p15:clr>
            <a:srgbClr val="5ACBF0"/>
          </p15:clr>
        </p15:guide>
        <p15:guide id="6" pos="7226">
          <p15:clr>
            <a:srgbClr val="5ACBF0"/>
          </p15:clr>
        </p15:guide>
        <p15:guide id="9" orient="horz" pos="453">
          <p15:clr>
            <a:srgbClr val="5ACBF0"/>
          </p15:clr>
        </p15:guide>
        <p15:guide id="10" orient="horz" pos="659">
          <p15:clr>
            <a:srgbClr val="5ACBF0"/>
          </p15:clr>
        </p15:guide>
        <p15:guide id="12" orient="horz" pos="4032">
          <p15:clr>
            <a:srgbClr val="A4A3A4"/>
          </p15:clr>
        </p15:guide>
        <p15:guide id="13" pos="7680">
          <p15:clr>
            <a:srgbClr val="F26B43"/>
          </p15:clr>
        </p15:guide>
        <p15:guide id="14" orient="horz" pos="4320">
          <p15:clr>
            <a:srgbClr val="F26B43"/>
          </p15:clr>
        </p15:guide>
        <p15:guide id="15" orient="horz" pos="4151">
          <p15:clr>
            <a:srgbClr val="A4A3A4"/>
          </p15:clr>
        </p15:guide>
        <p15:guide id="16">
          <p15:clr>
            <a:srgbClr val="F26B43"/>
          </p15:clr>
        </p15:guide>
        <p15:guide id="17" orient="horz">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16.jpe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 Id="rId9" Type="http://schemas.openxmlformats.org/officeDocument/2006/relationships/slide" Target="slide6.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4.xml"/><Relationship Id="rId1" Type="http://schemas.openxmlformats.org/officeDocument/2006/relationships/tags" Target="../tags/tag1.xml"/><Relationship Id="rId5" Type="http://schemas.openxmlformats.org/officeDocument/2006/relationships/slide" Target="slide6.xml"/><Relationship Id="rId4" Type="http://schemas.openxmlformats.org/officeDocument/2006/relationships/image" Target="../media/image11.svg"/></Relationships>
</file>

<file path=ppt/slides/_rels/slide1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notesSlide" Target="../notesSlides/notesSlide4.xml"/><Relationship Id="rId7" Type="http://schemas.openxmlformats.org/officeDocument/2006/relationships/image" Target="../media/image20.png"/><Relationship Id="rId2" Type="http://schemas.openxmlformats.org/officeDocument/2006/relationships/slideLayout" Target="../slideLayouts/slideLayout24.xml"/><Relationship Id="rId1" Type="http://schemas.openxmlformats.org/officeDocument/2006/relationships/tags" Target="../tags/tag2.xml"/><Relationship Id="rId6" Type="http://schemas.openxmlformats.org/officeDocument/2006/relationships/slide" Target="slide6.xml"/><Relationship Id="rId5" Type="http://schemas.openxmlformats.org/officeDocument/2006/relationships/image" Target="../media/image11.svg"/><Relationship Id="rId10" Type="http://schemas.openxmlformats.org/officeDocument/2006/relationships/image" Target="../media/image23.svg"/><Relationship Id="rId4" Type="http://schemas.openxmlformats.org/officeDocument/2006/relationships/image" Target="../media/image10.png"/><Relationship Id="rId9"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3" Type="http://schemas.openxmlformats.org/officeDocument/2006/relationships/notesSlide" Target="../notesSlides/notesSlide5.xml"/><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slideLayout" Target="../slideLayouts/slideLayout24.xml"/><Relationship Id="rId1" Type="http://schemas.openxmlformats.org/officeDocument/2006/relationships/tags" Target="../tags/tag3.xml"/><Relationship Id="rId6" Type="http://schemas.openxmlformats.org/officeDocument/2006/relationships/slide" Target="slide6.xml"/><Relationship Id="rId11" Type="http://schemas.openxmlformats.org/officeDocument/2006/relationships/image" Target="../media/image28.png"/><Relationship Id="rId5" Type="http://schemas.openxmlformats.org/officeDocument/2006/relationships/image" Target="../media/image11.svg"/><Relationship Id="rId10" Type="http://schemas.openxmlformats.org/officeDocument/2006/relationships/image" Target="../media/image27.svg"/><Relationship Id="rId4" Type="http://schemas.openxmlformats.org/officeDocument/2006/relationships/image" Target="../media/image10.png"/><Relationship Id="rId9" Type="http://schemas.openxmlformats.org/officeDocument/2006/relationships/image" Target="../media/image26.png"/><Relationship Id="rId14" Type="http://schemas.openxmlformats.org/officeDocument/2006/relationships/image" Target="../media/image31.svg"/></Relationships>
</file>

<file path=ppt/slides/_rels/slide1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notesSlide" Target="../notesSlides/notesSlide6.xml"/><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slide" Target="slide6.xml"/><Relationship Id="rId11" Type="http://schemas.openxmlformats.org/officeDocument/2006/relationships/image" Target="../media/image36.png"/><Relationship Id="rId5" Type="http://schemas.openxmlformats.org/officeDocument/2006/relationships/image" Target="../media/image11.svg"/><Relationship Id="rId10" Type="http://schemas.openxmlformats.org/officeDocument/2006/relationships/image" Target="../media/image35.svg"/><Relationship Id="rId4" Type="http://schemas.openxmlformats.org/officeDocument/2006/relationships/image" Target="../media/image10.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slide" Target="slide17.xml"/><Relationship Id="rId3" Type="http://schemas.openxmlformats.org/officeDocument/2006/relationships/image" Target="../media/image10.png"/><Relationship Id="rId7" Type="http://schemas.openxmlformats.org/officeDocument/2006/relationships/image" Target="../media/image39.png"/><Relationship Id="rId12" Type="http://schemas.openxmlformats.org/officeDocument/2006/relationships/slide" Target="slide16.xml"/><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slide" Target="slide6.xml"/><Relationship Id="rId15" Type="http://schemas.openxmlformats.org/officeDocument/2006/relationships/slide" Target="slide19.xml"/><Relationship Id="rId10" Type="http://schemas.openxmlformats.org/officeDocument/2006/relationships/image" Target="../media/image42.png"/><Relationship Id="rId4" Type="http://schemas.openxmlformats.org/officeDocument/2006/relationships/image" Target="../media/image11.svg"/><Relationship Id="rId9" Type="http://schemas.openxmlformats.org/officeDocument/2006/relationships/image" Target="../media/image41.png"/><Relationship Id="rId14" Type="http://schemas.openxmlformats.org/officeDocument/2006/relationships/slide" Target="slide18.xml"/></Relationships>
</file>

<file path=ppt/slides/_rels/slide16.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44.jpeg"/><Relationship Id="rId7" Type="http://schemas.openxmlformats.org/officeDocument/2006/relationships/image" Target="../media/image10.png"/><Relationship Id="rId12" Type="http://schemas.openxmlformats.org/officeDocument/2006/relationships/slide" Target="slide15.xml"/><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image" Target="../media/image47.jpeg"/><Relationship Id="rId11" Type="http://schemas.openxmlformats.org/officeDocument/2006/relationships/image" Target="../media/image49.svg"/><Relationship Id="rId5" Type="http://schemas.openxmlformats.org/officeDocument/2006/relationships/image" Target="../media/image46.jpeg"/><Relationship Id="rId10" Type="http://schemas.openxmlformats.org/officeDocument/2006/relationships/image" Target="../media/image48.png"/><Relationship Id="rId4" Type="http://schemas.openxmlformats.org/officeDocument/2006/relationships/image" Target="../media/image45.png"/><Relationship Id="rId9" Type="http://schemas.openxmlformats.org/officeDocument/2006/relationships/slide" Target="slide6.xml"/></Relationships>
</file>

<file path=ppt/slides/_rels/slide1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44.jpeg"/><Relationship Id="rId7" Type="http://schemas.openxmlformats.org/officeDocument/2006/relationships/image" Target="../media/image10.png"/><Relationship Id="rId12" Type="http://schemas.openxmlformats.org/officeDocument/2006/relationships/slide" Target="slide15.xml"/><Relationship Id="rId2" Type="http://schemas.openxmlformats.org/officeDocument/2006/relationships/notesSlide" Target="../notesSlides/notesSlide9.xml"/><Relationship Id="rId1" Type="http://schemas.openxmlformats.org/officeDocument/2006/relationships/slideLayout" Target="../slideLayouts/slideLayout31.xml"/><Relationship Id="rId6" Type="http://schemas.openxmlformats.org/officeDocument/2006/relationships/image" Target="../media/image47.jpeg"/><Relationship Id="rId11" Type="http://schemas.openxmlformats.org/officeDocument/2006/relationships/image" Target="../media/image49.svg"/><Relationship Id="rId5" Type="http://schemas.openxmlformats.org/officeDocument/2006/relationships/image" Target="../media/image46.jpeg"/><Relationship Id="rId10" Type="http://schemas.openxmlformats.org/officeDocument/2006/relationships/image" Target="../media/image48.png"/><Relationship Id="rId4" Type="http://schemas.openxmlformats.org/officeDocument/2006/relationships/image" Target="../media/image45.png"/><Relationship Id="rId9" Type="http://schemas.openxmlformats.org/officeDocument/2006/relationships/slide" Target="slide6.xml"/></Relationships>
</file>

<file path=ppt/slides/_rels/slide1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44.jpeg"/><Relationship Id="rId7" Type="http://schemas.openxmlformats.org/officeDocument/2006/relationships/image" Target="../media/image10.png"/><Relationship Id="rId12" Type="http://schemas.openxmlformats.org/officeDocument/2006/relationships/slide" Target="slide15.xml"/><Relationship Id="rId2" Type="http://schemas.openxmlformats.org/officeDocument/2006/relationships/notesSlide" Target="../notesSlides/notesSlide10.xml"/><Relationship Id="rId1" Type="http://schemas.openxmlformats.org/officeDocument/2006/relationships/slideLayout" Target="../slideLayouts/slideLayout31.xml"/><Relationship Id="rId6" Type="http://schemas.openxmlformats.org/officeDocument/2006/relationships/image" Target="../media/image47.jpeg"/><Relationship Id="rId11" Type="http://schemas.openxmlformats.org/officeDocument/2006/relationships/image" Target="../media/image49.svg"/><Relationship Id="rId5" Type="http://schemas.openxmlformats.org/officeDocument/2006/relationships/image" Target="../media/image46.jpeg"/><Relationship Id="rId10" Type="http://schemas.openxmlformats.org/officeDocument/2006/relationships/image" Target="../media/image48.png"/><Relationship Id="rId4" Type="http://schemas.openxmlformats.org/officeDocument/2006/relationships/image" Target="../media/image45.png"/><Relationship Id="rId9" Type="http://schemas.openxmlformats.org/officeDocument/2006/relationships/slide" Target="slide6.xml"/></Relationships>
</file>

<file path=ppt/slides/_rels/slide19.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44.jpeg"/><Relationship Id="rId7" Type="http://schemas.openxmlformats.org/officeDocument/2006/relationships/image" Target="../media/image10.png"/><Relationship Id="rId12" Type="http://schemas.openxmlformats.org/officeDocument/2006/relationships/slide" Target="slide15.xml"/><Relationship Id="rId2" Type="http://schemas.openxmlformats.org/officeDocument/2006/relationships/notesSlide" Target="../notesSlides/notesSlide11.xml"/><Relationship Id="rId1" Type="http://schemas.openxmlformats.org/officeDocument/2006/relationships/slideLayout" Target="../slideLayouts/slideLayout31.xml"/><Relationship Id="rId6" Type="http://schemas.openxmlformats.org/officeDocument/2006/relationships/image" Target="../media/image47.jpeg"/><Relationship Id="rId11" Type="http://schemas.openxmlformats.org/officeDocument/2006/relationships/image" Target="../media/image49.svg"/><Relationship Id="rId5" Type="http://schemas.openxmlformats.org/officeDocument/2006/relationships/image" Target="../media/image46.jpeg"/><Relationship Id="rId10" Type="http://schemas.openxmlformats.org/officeDocument/2006/relationships/image" Target="../media/image48.png"/><Relationship Id="rId4" Type="http://schemas.openxmlformats.org/officeDocument/2006/relationships/image" Target="../media/image45.png"/><Relationship Id="rId9" Type="http://schemas.openxmlformats.org/officeDocument/2006/relationships/slide" Target="slide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8.xml"/><Relationship Id="rId6" Type="http://schemas.openxmlformats.org/officeDocument/2006/relationships/slide" Target="slide6.xml"/><Relationship Id="rId5" Type="http://schemas.openxmlformats.org/officeDocument/2006/relationships/image" Target="../media/image11.svg"/><Relationship Id="rId4" Type="http://schemas.openxmlformats.org/officeDocument/2006/relationships/image" Target="../media/image10.png"/></Relationships>
</file>

<file path=ppt/slides/_rels/slide2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3.jpeg"/><Relationship Id="rId7" Type="http://schemas.openxmlformats.org/officeDocument/2006/relationships/image" Target="../media/image57.jpeg"/><Relationship Id="rId2" Type="http://schemas.openxmlformats.org/officeDocument/2006/relationships/image" Target="../media/image52.jpeg"/><Relationship Id="rId1" Type="http://schemas.openxmlformats.org/officeDocument/2006/relationships/slideLayout" Target="../slideLayouts/slideLayout28.xml"/><Relationship Id="rId6" Type="http://schemas.openxmlformats.org/officeDocument/2006/relationships/image" Target="../media/image56.jpeg"/><Relationship Id="rId5" Type="http://schemas.openxmlformats.org/officeDocument/2006/relationships/image" Target="../media/image55.jpeg"/><Relationship Id="rId10" Type="http://schemas.openxmlformats.org/officeDocument/2006/relationships/slide" Target="slide6.xml"/><Relationship Id="rId4" Type="http://schemas.openxmlformats.org/officeDocument/2006/relationships/image" Target="../media/image54.jpeg"/><Relationship Id="rId9" Type="http://schemas.openxmlformats.org/officeDocument/2006/relationships/image" Target="../media/image11.svg"/></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58.png"/><Relationship Id="rId5" Type="http://schemas.openxmlformats.org/officeDocument/2006/relationships/slide" Target="slide6.xml"/><Relationship Id="rId4" Type="http://schemas.openxmlformats.org/officeDocument/2006/relationships/image" Target="../media/image11.sv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image" Target="../media/image60.png"/><Relationship Id="rId5" Type="http://schemas.openxmlformats.org/officeDocument/2006/relationships/slide" Target="slide6.xml"/><Relationship Id="rId4" Type="http://schemas.openxmlformats.org/officeDocument/2006/relationships/image" Target="../media/image11.svg"/></Relationships>
</file>

<file path=ppt/slides/_rels/slide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24.xml"/><Relationship Id="rId4" Type="http://schemas.openxmlformats.org/officeDocument/2006/relationships/slide" Target="slide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tags" Target="../tags/tag5.xml"/><Relationship Id="rId6" Type="http://schemas.openxmlformats.org/officeDocument/2006/relationships/slide" Target="slide6.xml"/><Relationship Id="rId5" Type="http://schemas.openxmlformats.org/officeDocument/2006/relationships/image" Target="../media/image11.svg"/><Relationship Id="rId4" Type="http://schemas.openxmlformats.org/officeDocument/2006/relationships/image" Target="../media/image10.png"/></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21.xml"/><Relationship Id="rId5" Type="http://schemas.openxmlformats.org/officeDocument/2006/relationships/slide" Target="slide6.xml"/><Relationship Id="rId4" Type="http://schemas.openxmlformats.org/officeDocument/2006/relationships/image" Target="../media/image62.svg"/></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slide" Target="slide6.xml"/><Relationship Id="rId5" Type="http://schemas.openxmlformats.org/officeDocument/2006/relationships/image" Target="../media/image62.svg"/><Relationship Id="rId4" Type="http://schemas.openxmlformats.org/officeDocument/2006/relationships/image" Target="../media/image61.png"/></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50.xml"/><Relationship Id="rId6" Type="http://schemas.openxmlformats.org/officeDocument/2006/relationships/slide" Target="slide6.xml"/><Relationship Id="rId5" Type="http://schemas.openxmlformats.org/officeDocument/2006/relationships/image" Target="../media/image66.sv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68.png"/><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67.jpeg"/><Relationship Id="rId5" Type="http://schemas.openxmlformats.org/officeDocument/2006/relationships/hyperlink" Target="http://www.tudelft.nl/alumni" TargetMode="External"/><Relationship Id="rId4" Type="http://schemas.openxmlformats.org/officeDocument/2006/relationships/hyperlink" Target="mailto:alumnirelations@tudelft.nl"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72.jpg"/><Relationship Id="rId5" Type="http://schemas.openxmlformats.org/officeDocument/2006/relationships/image" Target="../media/image71.jpg"/><Relationship Id="rId4" Type="http://schemas.openxmlformats.org/officeDocument/2006/relationships/image" Target="../media/image70.png"/></Relationships>
</file>

<file path=ppt/slides/_rels/slide31.xml.rels><?xml version="1.0" encoding="UTF-8" standalone="yes"?>
<Relationships xmlns="http://schemas.openxmlformats.org/package/2006/relationships"><Relationship Id="rId3" Type="http://schemas.openxmlformats.org/officeDocument/2006/relationships/hyperlink" Target="mailto:ufonds@tudelft.nl" TargetMode="Externa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68.png"/><Relationship Id="rId5" Type="http://schemas.openxmlformats.org/officeDocument/2006/relationships/image" Target="../media/image73.jpeg"/><Relationship Id="rId4" Type="http://schemas.openxmlformats.org/officeDocument/2006/relationships/hyperlink" Target="http://www.universiteitsfondsdelft.nl/"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24.xml"/><Relationship Id="rId4" Type="http://schemas.openxmlformats.org/officeDocument/2006/relationships/slide" Target="slide6.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openxmlformats.org/officeDocument/2006/relationships/slide" Target="slide6.xml"/><Relationship Id="rId5" Type="http://schemas.openxmlformats.org/officeDocument/2006/relationships/image" Target="../media/image14.sv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3D01DCAA-C39F-ACDA-4844-39618ABDF87B}"/>
              </a:ext>
            </a:extLst>
          </p:cNvPr>
          <p:cNvSpPr>
            <a:spLocks noGrp="1"/>
          </p:cNvSpPr>
          <p:nvPr>
            <p:ph type="title"/>
          </p:nvPr>
        </p:nvSpPr>
        <p:spPr>
          <a:xfrm>
            <a:off x="0" y="-429019"/>
            <a:ext cx="1989968" cy="276999"/>
          </a:xfrm>
        </p:spPr>
        <p:txBody>
          <a:bodyPr/>
          <a:lstStyle/>
          <a:p>
            <a:r>
              <a:rPr lang="en-GB"/>
              <a:t>Title slide + image</a:t>
            </a:r>
            <a:endParaRPr lang="en-GB" dirty="0"/>
          </a:p>
        </p:txBody>
      </p:sp>
      <p:sp>
        <p:nvSpPr>
          <p:cNvPr id="15" name="Tijdelijke aanduiding voor tekst 14">
            <a:extLst>
              <a:ext uri="{FF2B5EF4-FFF2-40B4-BE49-F238E27FC236}">
                <a16:creationId xmlns:a16="http://schemas.microsoft.com/office/drawing/2014/main" id="{A884CDCD-0E44-F407-E5AB-9B0E06B0012B}"/>
              </a:ext>
            </a:extLst>
          </p:cNvPr>
          <p:cNvSpPr>
            <a:spLocks noGrp="1"/>
          </p:cNvSpPr>
          <p:nvPr>
            <p:ph type="body" sz="quarter" idx="10"/>
          </p:nvPr>
        </p:nvSpPr>
        <p:spPr>
          <a:xfrm>
            <a:off x="719138" y="1514538"/>
            <a:ext cx="5865553" cy="666849"/>
          </a:xfrm>
        </p:spPr>
        <p:txBody>
          <a:bodyPr/>
          <a:lstStyle/>
          <a:p>
            <a:r>
              <a:rPr lang="en-GB" dirty="0"/>
              <a:t>Modelling plans</a:t>
            </a:r>
          </a:p>
        </p:txBody>
      </p:sp>
      <p:sp>
        <p:nvSpPr>
          <p:cNvPr id="5" name="Picture Placeholder 4">
            <a:extLst>
              <a:ext uri="{FF2B5EF4-FFF2-40B4-BE49-F238E27FC236}">
                <a16:creationId xmlns:a16="http://schemas.microsoft.com/office/drawing/2014/main" id="{808B82A8-CCA0-45BB-9043-D93FB319B69E}"/>
              </a:ext>
            </a:extLst>
          </p:cNvPr>
          <p:cNvSpPr>
            <a:spLocks noGrp="1"/>
          </p:cNvSpPr>
          <p:nvPr>
            <p:ph type="pic" sz="quarter" idx="13"/>
          </p:nvPr>
        </p:nvSpPr>
        <p:spPr>
          <a:xfrm>
            <a:off x="7308357" y="30947"/>
            <a:ext cx="4883643" cy="6858000"/>
          </a:xfrm>
        </p:spPr>
        <p:txBody>
          <a:bodyPr/>
          <a:lstStyle/>
          <a:p>
            <a:endParaRPr lang="nl-NL"/>
          </a:p>
        </p:txBody>
      </p:sp>
      <p:pic>
        <p:nvPicPr>
          <p:cNvPr id="9" name="image11.jpeg" descr="image11.jpeg">
            <a:extLst>
              <a:ext uri="{FF2B5EF4-FFF2-40B4-BE49-F238E27FC236}">
                <a16:creationId xmlns:a16="http://schemas.microsoft.com/office/drawing/2014/main" id="{03C87BB5-2B72-0668-2310-E7CE2458BD49}"/>
              </a:ext>
            </a:extLst>
          </p:cNvPr>
          <p:cNvPicPr>
            <a:picLocks noChangeAspect="1"/>
          </p:cNvPicPr>
          <p:nvPr/>
        </p:nvPicPr>
        <p:blipFill>
          <a:blip r:embed="rId3"/>
          <a:srcRect l="16710" r="16710"/>
          <a:stretch/>
        </p:blipFill>
        <p:spPr>
          <a:xfrm>
            <a:off x="7308357" y="0"/>
            <a:ext cx="4883643" cy="6858000"/>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10" name="Text Placeholder 3">
            <a:extLst>
              <a:ext uri="{FF2B5EF4-FFF2-40B4-BE49-F238E27FC236}">
                <a16:creationId xmlns:a16="http://schemas.microsoft.com/office/drawing/2014/main" id="{5CB4DA1D-D92D-E580-3CBE-73A9ECD05561}"/>
              </a:ext>
            </a:extLst>
          </p:cNvPr>
          <p:cNvSpPr>
            <a:spLocks noGrp="1"/>
          </p:cNvSpPr>
          <p:nvPr>
            <p:ph type="body" sz="quarter" idx="11"/>
          </p:nvPr>
        </p:nvSpPr>
        <p:spPr>
          <a:xfrm>
            <a:off x="719137" y="2301536"/>
            <a:ext cx="5871541" cy="332399"/>
          </a:xfrm>
        </p:spPr>
        <p:txBody>
          <a:bodyPr/>
          <a:lstStyle/>
          <a:p>
            <a:r>
              <a:rPr lang="nl-NL" dirty="0"/>
              <a:t>Group 29</a:t>
            </a:r>
          </a:p>
        </p:txBody>
      </p:sp>
    </p:spTree>
    <p:extLst>
      <p:ext uri="{BB962C8B-B14F-4D97-AF65-F5344CB8AC3E}">
        <p14:creationId xmlns:p14="http://schemas.microsoft.com/office/powerpoint/2010/main" val="369180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25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EDD9B3F-EDF1-B48D-FE3B-4BE83AB83C5F}"/>
              </a:ext>
            </a:extLst>
          </p:cNvPr>
          <p:cNvSpPr>
            <a:spLocks noGrp="1"/>
          </p:cNvSpPr>
          <p:nvPr>
            <p:ph type="title"/>
          </p:nvPr>
        </p:nvSpPr>
        <p:spPr/>
        <p:txBody>
          <a:bodyPr/>
          <a:lstStyle/>
          <a:p>
            <a:r>
              <a:rPr lang="nl-NL" dirty="0" err="1"/>
              <a:t>History</a:t>
            </a:r>
            <a:endParaRPr lang="nl-NL" dirty="0"/>
          </a:p>
        </p:txBody>
      </p:sp>
      <p:sp>
        <p:nvSpPr>
          <p:cNvPr id="3" name="Rectangle 13">
            <a:extLst>
              <a:ext uri="{FF2B5EF4-FFF2-40B4-BE49-F238E27FC236}">
                <a16:creationId xmlns:a16="http://schemas.microsoft.com/office/drawing/2014/main" id="{1F4B34D7-432B-51DA-7CCD-E80769A5452C}"/>
              </a:ext>
            </a:extLst>
          </p:cNvPr>
          <p:cNvSpPr/>
          <p:nvPr/>
        </p:nvSpPr>
        <p:spPr>
          <a:xfrm>
            <a:off x="3503286" y="2857075"/>
            <a:ext cx="2505814" cy="369332"/>
          </a:xfrm>
          <a:prstGeom prst="rect">
            <a:avLst/>
          </a:prstGeom>
        </p:spPr>
        <p:txBody>
          <a:bodyPr wrap="square">
            <a:spAutoFit/>
          </a:bodyPr>
          <a:lstStyle/>
          <a:p>
            <a:pPr algn="ctr"/>
            <a:r>
              <a:rPr lang="en-US" dirty="0">
                <a:solidFill>
                  <a:schemeClr val="tx2"/>
                </a:solidFill>
              </a:rPr>
              <a:t>Polytechnic School</a:t>
            </a:r>
          </a:p>
        </p:txBody>
      </p:sp>
      <p:sp>
        <p:nvSpPr>
          <p:cNvPr id="4" name="Rectangle 17">
            <a:extLst>
              <a:ext uri="{FF2B5EF4-FFF2-40B4-BE49-F238E27FC236}">
                <a16:creationId xmlns:a16="http://schemas.microsoft.com/office/drawing/2014/main" id="{18F60A7A-F3BA-B660-CC80-62CB1B7D53A4}"/>
              </a:ext>
            </a:extLst>
          </p:cNvPr>
          <p:cNvSpPr/>
          <p:nvPr/>
        </p:nvSpPr>
        <p:spPr>
          <a:xfrm>
            <a:off x="9138757" y="2857075"/>
            <a:ext cx="1974475" cy="369332"/>
          </a:xfrm>
          <a:prstGeom prst="rect">
            <a:avLst/>
          </a:prstGeom>
        </p:spPr>
        <p:txBody>
          <a:bodyPr wrap="square">
            <a:spAutoFit/>
          </a:bodyPr>
          <a:lstStyle/>
          <a:p>
            <a:pPr algn="ctr"/>
            <a:r>
              <a:rPr lang="en-US" dirty="0">
                <a:solidFill>
                  <a:schemeClr val="tx2"/>
                </a:solidFill>
              </a:rPr>
              <a:t>TU Delft</a:t>
            </a:r>
          </a:p>
        </p:txBody>
      </p:sp>
      <p:sp>
        <p:nvSpPr>
          <p:cNvPr id="27" name="Rectangle 12">
            <a:extLst>
              <a:ext uri="{FF2B5EF4-FFF2-40B4-BE49-F238E27FC236}">
                <a16:creationId xmlns:a16="http://schemas.microsoft.com/office/drawing/2014/main" id="{DAEE6347-1C5B-4E19-A9A6-19BDE5C00DEC}"/>
              </a:ext>
            </a:extLst>
          </p:cNvPr>
          <p:cNvSpPr/>
          <p:nvPr/>
        </p:nvSpPr>
        <p:spPr>
          <a:xfrm>
            <a:off x="718459" y="4119057"/>
            <a:ext cx="2677534" cy="369332"/>
          </a:xfrm>
          <a:prstGeom prst="rect">
            <a:avLst/>
          </a:prstGeom>
        </p:spPr>
        <p:txBody>
          <a:bodyPr wrap="square">
            <a:spAutoFit/>
          </a:bodyPr>
          <a:lstStyle/>
          <a:p>
            <a:pPr algn="ctr"/>
            <a:r>
              <a:rPr lang="en-US" dirty="0">
                <a:solidFill>
                  <a:schemeClr val="tx2"/>
                </a:solidFill>
              </a:rPr>
              <a:t>Royal Academy</a:t>
            </a:r>
          </a:p>
        </p:txBody>
      </p:sp>
      <p:sp>
        <p:nvSpPr>
          <p:cNvPr id="29" name="Rectangle 15">
            <a:extLst>
              <a:ext uri="{FF2B5EF4-FFF2-40B4-BE49-F238E27FC236}">
                <a16:creationId xmlns:a16="http://schemas.microsoft.com/office/drawing/2014/main" id="{F41575E4-4842-6E54-F969-65C54E29427B}"/>
              </a:ext>
            </a:extLst>
          </p:cNvPr>
          <p:cNvSpPr/>
          <p:nvPr/>
        </p:nvSpPr>
        <p:spPr>
          <a:xfrm>
            <a:off x="6093923" y="4119057"/>
            <a:ext cx="2686789" cy="646331"/>
          </a:xfrm>
          <a:prstGeom prst="rect">
            <a:avLst/>
          </a:prstGeom>
        </p:spPr>
        <p:txBody>
          <a:bodyPr wrap="square">
            <a:spAutoFit/>
          </a:bodyPr>
          <a:lstStyle/>
          <a:p>
            <a:pPr algn="ctr"/>
            <a:r>
              <a:rPr lang="en-US" dirty="0">
                <a:solidFill>
                  <a:schemeClr val="tx2"/>
                </a:solidFill>
              </a:rPr>
              <a:t>Delft Institute of Technology</a:t>
            </a:r>
          </a:p>
        </p:txBody>
      </p:sp>
      <p:grpSp>
        <p:nvGrpSpPr>
          <p:cNvPr id="79" name="Groep 78">
            <a:extLst>
              <a:ext uri="{FF2B5EF4-FFF2-40B4-BE49-F238E27FC236}">
                <a16:creationId xmlns:a16="http://schemas.microsoft.com/office/drawing/2014/main" id="{6A8410C4-4D56-6AF1-42DC-4C07AECDE593}"/>
              </a:ext>
            </a:extLst>
          </p:cNvPr>
          <p:cNvGrpSpPr/>
          <p:nvPr/>
        </p:nvGrpSpPr>
        <p:grpSpPr>
          <a:xfrm>
            <a:off x="708673" y="3210086"/>
            <a:ext cx="10762603" cy="983994"/>
            <a:chOff x="708673" y="3210086"/>
            <a:chExt cx="10762603" cy="983994"/>
          </a:xfrm>
        </p:grpSpPr>
        <p:grpSp>
          <p:nvGrpSpPr>
            <p:cNvPr id="54" name="Groep 53">
              <a:extLst>
                <a:ext uri="{FF2B5EF4-FFF2-40B4-BE49-F238E27FC236}">
                  <a16:creationId xmlns:a16="http://schemas.microsoft.com/office/drawing/2014/main" id="{D2078311-52BE-1DE6-4CE7-E2A3F1A1AFB4}"/>
                </a:ext>
              </a:extLst>
            </p:cNvPr>
            <p:cNvGrpSpPr/>
            <p:nvPr/>
          </p:nvGrpSpPr>
          <p:grpSpPr>
            <a:xfrm>
              <a:off x="718458" y="3356079"/>
              <a:ext cx="10752818" cy="694482"/>
              <a:chOff x="718458" y="3310359"/>
              <a:chExt cx="10752818" cy="694482"/>
            </a:xfrm>
          </p:grpSpPr>
          <p:sp>
            <p:nvSpPr>
              <p:cNvPr id="37" name="Rechthoek 36">
                <a:extLst>
                  <a:ext uri="{FF2B5EF4-FFF2-40B4-BE49-F238E27FC236}">
                    <a16:creationId xmlns:a16="http://schemas.microsoft.com/office/drawing/2014/main" id="{B4A84BFE-D62B-6C44-6F78-4010CC468C56}"/>
                  </a:ext>
                </a:extLst>
              </p:cNvPr>
              <p:cNvSpPr/>
              <p:nvPr/>
            </p:nvSpPr>
            <p:spPr>
              <a:xfrm>
                <a:off x="718458" y="3310359"/>
                <a:ext cx="2690564" cy="694482"/>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4" name="Rechthoek 43">
                <a:extLst>
                  <a:ext uri="{FF2B5EF4-FFF2-40B4-BE49-F238E27FC236}">
                    <a16:creationId xmlns:a16="http://schemas.microsoft.com/office/drawing/2014/main" id="{7BFCAD8D-0D53-FF2A-3090-B52AA10CFEAF}"/>
                  </a:ext>
                </a:extLst>
              </p:cNvPr>
              <p:cNvSpPr/>
              <p:nvPr/>
            </p:nvSpPr>
            <p:spPr>
              <a:xfrm>
                <a:off x="3410911" y="3310359"/>
                <a:ext cx="2690564" cy="694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5" name="Rechthoek 44">
                <a:extLst>
                  <a:ext uri="{FF2B5EF4-FFF2-40B4-BE49-F238E27FC236}">
                    <a16:creationId xmlns:a16="http://schemas.microsoft.com/office/drawing/2014/main" id="{CC9FD55F-0186-8818-2ECA-A3C28F8F2E3C}"/>
                  </a:ext>
                </a:extLst>
              </p:cNvPr>
              <p:cNvSpPr/>
              <p:nvPr/>
            </p:nvSpPr>
            <p:spPr>
              <a:xfrm>
                <a:off x="6093923" y="3310359"/>
                <a:ext cx="2690564" cy="694482"/>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6" name="Rechthoek 45">
                <a:extLst>
                  <a:ext uri="{FF2B5EF4-FFF2-40B4-BE49-F238E27FC236}">
                    <a16:creationId xmlns:a16="http://schemas.microsoft.com/office/drawing/2014/main" id="{F8588F84-006B-B870-6828-EA6C0089B6F4}"/>
                  </a:ext>
                </a:extLst>
              </p:cNvPr>
              <p:cNvSpPr/>
              <p:nvPr/>
            </p:nvSpPr>
            <p:spPr>
              <a:xfrm>
                <a:off x="8780712" y="3310359"/>
                <a:ext cx="2690564" cy="694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50" name="Vrije vorm: vorm 49">
                <a:extLst>
                  <a:ext uri="{FF2B5EF4-FFF2-40B4-BE49-F238E27FC236}">
                    <a16:creationId xmlns:a16="http://schemas.microsoft.com/office/drawing/2014/main" id="{BD6BF359-BC45-9BD0-9971-52DEFEB4C2F0}"/>
                  </a:ext>
                </a:extLst>
              </p:cNvPr>
              <p:cNvSpPr>
                <a:spLocks/>
              </p:cNvSpPr>
              <p:nvPr/>
            </p:nvSpPr>
            <p:spPr>
              <a:xfrm>
                <a:off x="718458" y="3310359"/>
                <a:ext cx="3262450" cy="615465"/>
              </a:xfrm>
              <a:custGeom>
                <a:avLst/>
                <a:gdLst>
                  <a:gd name="connsiteX0" fmla="*/ 0 w 3262450"/>
                  <a:gd name="connsiteY0" fmla="*/ 0 h 615465"/>
                  <a:gd name="connsiteX1" fmla="*/ 1155712 w 3262450"/>
                  <a:gd name="connsiteY1" fmla="*/ 0 h 615465"/>
                  <a:gd name="connsiteX2" fmla="*/ 1155712 w 3262450"/>
                  <a:gd name="connsiteY2" fmla="*/ 35831 h 615465"/>
                  <a:gd name="connsiteX3" fmla="*/ 1259067 w 3262450"/>
                  <a:gd name="connsiteY3" fmla="*/ 35831 h 615465"/>
                  <a:gd name="connsiteX4" fmla="*/ 1259067 w 3262450"/>
                  <a:gd name="connsiteY4" fmla="*/ 0 h 615465"/>
                  <a:gd name="connsiteX5" fmla="*/ 2414778 w 3262450"/>
                  <a:gd name="connsiteY5" fmla="*/ 0 h 615465"/>
                  <a:gd name="connsiteX6" fmla="*/ 2414778 w 3262450"/>
                  <a:gd name="connsiteY6" fmla="*/ 35831 h 615465"/>
                  <a:gd name="connsiteX7" fmla="*/ 2518131 w 3262450"/>
                  <a:gd name="connsiteY7" fmla="*/ 35831 h 615465"/>
                  <a:gd name="connsiteX8" fmla="*/ 2518131 w 3262450"/>
                  <a:gd name="connsiteY8" fmla="*/ 0 h 615465"/>
                  <a:gd name="connsiteX9" fmla="*/ 3262450 w 3262450"/>
                  <a:gd name="connsiteY9" fmla="*/ 0 h 615465"/>
                  <a:gd name="connsiteX10" fmla="*/ 2741498 w 3262450"/>
                  <a:gd name="connsiteY10" fmla="*/ 75713 h 615465"/>
                  <a:gd name="connsiteX11" fmla="*/ 2518131 w 3262450"/>
                  <a:gd name="connsiteY11" fmla="*/ 110538 h 615465"/>
                  <a:gd name="connsiteX12" fmla="*/ 2518131 w 3262450"/>
                  <a:gd name="connsiteY12" fmla="*/ 81550 h 615465"/>
                  <a:gd name="connsiteX13" fmla="*/ 2414778 w 3262450"/>
                  <a:gd name="connsiteY13" fmla="*/ 81550 h 615465"/>
                  <a:gd name="connsiteX14" fmla="*/ 2414778 w 3262450"/>
                  <a:gd name="connsiteY14" fmla="*/ 126652 h 615465"/>
                  <a:gd name="connsiteX15" fmla="*/ 2140564 w 3262450"/>
                  <a:gd name="connsiteY15" fmla="*/ 169405 h 615465"/>
                  <a:gd name="connsiteX16" fmla="*/ 1259274 w 3262450"/>
                  <a:gd name="connsiteY16" fmla="*/ 326438 h 615465"/>
                  <a:gd name="connsiteX17" fmla="*/ 1259067 w 3262450"/>
                  <a:gd name="connsiteY17" fmla="*/ 326480 h 615465"/>
                  <a:gd name="connsiteX18" fmla="*/ 1259067 w 3262450"/>
                  <a:gd name="connsiteY18" fmla="*/ 81550 h 615465"/>
                  <a:gd name="connsiteX19" fmla="*/ 1155712 w 3262450"/>
                  <a:gd name="connsiteY19" fmla="*/ 81550 h 615465"/>
                  <a:gd name="connsiteX20" fmla="*/ 1155712 w 3262450"/>
                  <a:gd name="connsiteY20" fmla="*/ 347466 h 615465"/>
                  <a:gd name="connsiteX21" fmla="*/ 972658 w 3262450"/>
                  <a:gd name="connsiteY21" fmla="*/ 384635 h 615465"/>
                  <a:gd name="connsiteX22" fmla="*/ 412824 w 3262450"/>
                  <a:gd name="connsiteY22" fmla="*/ 511989 h 615465"/>
                  <a:gd name="connsiteX23" fmla="*/ 11867 w 3262450"/>
                  <a:gd name="connsiteY23" fmla="*/ 612411 h 615465"/>
                  <a:gd name="connsiteX24" fmla="*/ 0 w 3262450"/>
                  <a:gd name="connsiteY24" fmla="*/ 615465 h 615465"/>
                  <a:gd name="connsiteX0" fmla="*/ 0 w 3262450"/>
                  <a:gd name="connsiteY0" fmla="*/ 0 h 615465"/>
                  <a:gd name="connsiteX1" fmla="*/ 1155712 w 3262450"/>
                  <a:gd name="connsiteY1" fmla="*/ 0 h 615465"/>
                  <a:gd name="connsiteX2" fmla="*/ 1259067 w 3262450"/>
                  <a:gd name="connsiteY2" fmla="*/ 35831 h 615465"/>
                  <a:gd name="connsiteX3" fmla="*/ 1259067 w 3262450"/>
                  <a:gd name="connsiteY3" fmla="*/ 0 h 615465"/>
                  <a:gd name="connsiteX4" fmla="*/ 2414778 w 3262450"/>
                  <a:gd name="connsiteY4" fmla="*/ 0 h 615465"/>
                  <a:gd name="connsiteX5" fmla="*/ 2414778 w 3262450"/>
                  <a:gd name="connsiteY5" fmla="*/ 35831 h 615465"/>
                  <a:gd name="connsiteX6" fmla="*/ 2518131 w 3262450"/>
                  <a:gd name="connsiteY6" fmla="*/ 35831 h 615465"/>
                  <a:gd name="connsiteX7" fmla="*/ 2518131 w 3262450"/>
                  <a:gd name="connsiteY7" fmla="*/ 0 h 615465"/>
                  <a:gd name="connsiteX8" fmla="*/ 3262450 w 3262450"/>
                  <a:gd name="connsiteY8" fmla="*/ 0 h 615465"/>
                  <a:gd name="connsiteX9" fmla="*/ 2741498 w 3262450"/>
                  <a:gd name="connsiteY9" fmla="*/ 75713 h 615465"/>
                  <a:gd name="connsiteX10" fmla="*/ 2518131 w 3262450"/>
                  <a:gd name="connsiteY10" fmla="*/ 110538 h 615465"/>
                  <a:gd name="connsiteX11" fmla="*/ 2518131 w 3262450"/>
                  <a:gd name="connsiteY11" fmla="*/ 81550 h 615465"/>
                  <a:gd name="connsiteX12" fmla="*/ 2414778 w 3262450"/>
                  <a:gd name="connsiteY12" fmla="*/ 81550 h 615465"/>
                  <a:gd name="connsiteX13" fmla="*/ 2414778 w 3262450"/>
                  <a:gd name="connsiteY13" fmla="*/ 126652 h 615465"/>
                  <a:gd name="connsiteX14" fmla="*/ 2140564 w 3262450"/>
                  <a:gd name="connsiteY14" fmla="*/ 169405 h 615465"/>
                  <a:gd name="connsiteX15" fmla="*/ 1259274 w 3262450"/>
                  <a:gd name="connsiteY15" fmla="*/ 326438 h 615465"/>
                  <a:gd name="connsiteX16" fmla="*/ 1259067 w 3262450"/>
                  <a:gd name="connsiteY16" fmla="*/ 326480 h 615465"/>
                  <a:gd name="connsiteX17" fmla="*/ 1259067 w 3262450"/>
                  <a:gd name="connsiteY17" fmla="*/ 81550 h 615465"/>
                  <a:gd name="connsiteX18" fmla="*/ 1155712 w 3262450"/>
                  <a:gd name="connsiteY18" fmla="*/ 81550 h 615465"/>
                  <a:gd name="connsiteX19" fmla="*/ 1155712 w 3262450"/>
                  <a:gd name="connsiteY19" fmla="*/ 347466 h 615465"/>
                  <a:gd name="connsiteX20" fmla="*/ 972658 w 3262450"/>
                  <a:gd name="connsiteY20" fmla="*/ 384635 h 615465"/>
                  <a:gd name="connsiteX21" fmla="*/ 412824 w 3262450"/>
                  <a:gd name="connsiteY21" fmla="*/ 511989 h 615465"/>
                  <a:gd name="connsiteX22" fmla="*/ 11867 w 3262450"/>
                  <a:gd name="connsiteY22" fmla="*/ 612411 h 615465"/>
                  <a:gd name="connsiteX23" fmla="*/ 0 w 3262450"/>
                  <a:gd name="connsiteY23" fmla="*/ 615465 h 615465"/>
                  <a:gd name="connsiteX24" fmla="*/ 0 w 3262450"/>
                  <a:gd name="connsiteY24" fmla="*/ 0 h 615465"/>
                  <a:gd name="connsiteX0" fmla="*/ 0 w 3262450"/>
                  <a:gd name="connsiteY0" fmla="*/ 0 h 615465"/>
                  <a:gd name="connsiteX1" fmla="*/ 1259067 w 3262450"/>
                  <a:gd name="connsiteY1" fmla="*/ 35831 h 615465"/>
                  <a:gd name="connsiteX2" fmla="*/ 1259067 w 3262450"/>
                  <a:gd name="connsiteY2" fmla="*/ 0 h 615465"/>
                  <a:gd name="connsiteX3" fmla="*/ 2414778 w 3262450"/>
                  <a:gd name="connsiteY3" fmla="*/ 0 h 615465"/>
                  <a:gd name="connsiteX4" fmla="*/ 2414778 w 3262450"/>
                  <a:gd name="connsiteY4" fmla="*/ 35831 h 615465"/>
                  <a:gd name="connsiteX5" fmla="*/ 2518131 w 3262450"/>
                  <a:gd name="connsiteY5" fmla="*/ 35831 h 615465"/>
                  <a:gd name="connsiteX6" fmla="*/ 2518131 w 3262450"/>
                  <a:gd name="connsiteY6" fmla="*/ 0 h 615465"/>
                  <a:gd name="connsiteX7" fmla="*/ 3262450 w 3262450"/>
                  <a:gd name="connsiteY7" fmla="*/ 0 h 615465"/>
                  <a:gd name="connsiteX8" fmla="*/ 2741498 w 3262450"/>
                  <a:gd name="connsiteY8" fmla="*/ 75713 h 615465"/>
                  <a:gd name="connsiteX9" fmla="*/ 2518131 w 3262450"/>
                  <a:gd name="connsiteY9" fmla="*/ 110538 h 615465"/>
                  <a:gd name="connsiteX10" fmla="*/ 2518131 w 3262450"/>
                  <a:gd name="connsiteY10" fmla="*/ 81550 h 615465"/>
                  <a:gd name="connsiteX11" fmla="*/ 2414778 w 3262450"/>
                  <a:gd name="connsiteY11" fmla="*/ 81550 h 615465"/>
                  <a:gd name="connsiteX12" fmla="*/ 2414778 w 3262450"/>
                  <a:gd name="connsiteY12" fmla="*/ 126652 h 615465"/>
                  <a:gd name="connsiteX13" fmla="*/ 2140564 w 3262450"/>
                  <a:gd name="connsiteY13" fmla="*/ 169405 h 615465"/>
                  <a:gd name="connsiteX14" fmla="*/ 1259274 w 3262450"/>
                  <a:gd name="connsiteY14" fmla="*/ 326438 h 615465"/>
                  <a:gd name="connsiteX15" fmla="*/ 1259067 w 3262450"/>
                  <a:gd name="connsiteY15" fmla="*/ 326480 h 615465"/>
                  <a:gd name="connsiteX16" fmla="*/ 1259067 w 3262450"/>
                  <a:gd name="connsiteY16" fmla="*/ 81550 h 615465"/>
                  <a:gd name="connsiteX17" fmla="*/ 1155712 w 3262450"/>
                  <a:gd name="connsiteY17" fmla="*/ 81550 h 615465"/>
                  <a:gd name="connsiteX18" fmla="*/ 1155712 w 3262450"/>
                  <a:gd name="connsiteY18" fmla="*/ 347466 h 615465"/>
                  <a:gd name="connsiteX19" fmla="*/ 972658 w 3262450"/>
                  <a:gd name="connsiteY19" fmla="*/ 384635 h 615465"/>
                  <a:gd name="connsiteX20" fmla="*/ 412824 w 3262450"/>
                  <a:gd name="connsiteY20" fmla="*/ 511989 h 615465"/>
                  <a:gd name="connsiteX21" fmla="*/ 11867 w 3262450"/>
                  <a:gd name="connsiteY21" fmla="*/ 612411 h 615465"/>
                  <a:gd name="connsiteX22" fmla="*/ 0 w 3262450"/>
                  <a:gd name="connsiteY22" fmla="*/ 615465 h 615465"/>
                  <a:gd name="connsiteX23" fmla="*/ 0 w 3262450"/>
                  <a:gd name="connsiteY23" fmla="*/ 0 h 615465"/>
                  <a:gd name="connsiteX0" fmla="*/ 0 w 3262450"/>
                  <a:gd name="connsiteY0" fmla="*/ 0 h 615465"/>
                  <a:gd name="connsiteX1" fmla="*/ 1259067 w 3262450"/>
                  <a:gd name="connsiteY1" fmla="*/ 35831 h 615465"/>
                  <a:gd name="connsiteX2" fmla="*/ 2414778 w 3262450"/>
                  <a:gd name="connsiteY2" fmla="*/ 0 h 615465"/>
                  <a:gd name="connsiteX3" fmla="*/ 2414778 w 3262450"/>
                  <a:gd name="connsiteY3" fmla="*/ 35831 h 615465"/>
                  <a:gd name="connsiteX4" fmla="*/ 2518131 w 3262450"/>
                  <a:gd name="connsiteY4" fmla="*/ 35831 h 615465"/>
                  <a:gd name="connsiteX5" fmla="*/ 2518131 w 3262450"/>
                  <a:gd name="connsiteY5" fmla="*/ 0 h 615465"/>
                  <a:gd name="connsiteX6" fmla="*/ 3262450 w 3262450"/>
                  <a:gd name="connsiteY6" fmla="*/ 0 h 615465"/>
                  <a:gd name="connsiteX7" fmla="*/ 2741498 w 3262450"/>
                  <a:gd name="connsiteY7" fmla="*/ 75713 h 615465"/>
                  <a:gd name="connsiteX8" fmla="*/ 2518131 w 3262450"/>
                  <a:gd name="connsiteY8" fmla="*/ 110538 h 615465"/>
                  <a:gd name="connsiteX9" fmla="*/ 2518131 w 3262450"/>
                  <a:gd name="connsiteY9" fmla="*/ 81550 h 615465"/>
                  <a:gd name="connsiteX10" fmla="*/ 2414778 w 3262450"/>
                  <a:gd name="connsiteY10" fmla="*/ 81550 h 615465"/>
                  <a:gd name="connsiteX11" fmla="*/ 2414778 w 3262450"/>
                  <a:gd name="connsiteY11" fmla="*/ 126652 h 615465"/>
                  <a:gd name="connsiteX12" fmla="*/ 2140564 w 3262450"/>
                  <a:gd name="connsiteY12" fmla="*/ 169405 h 615465"/>
                  <a:gd name="connsiteX13" fmla="*/ 1259274 w 3262450"/>
                  <a:gd name="connsiteY13" fmla="*/ 326438 h 615465"/>
                  <a:gd name="connsiteX14" fmla="*/ 1259067 w 3262450"/>
                  <a:gd name="connsiteY14" fmla="*/ 326480 h 615465"/>
                  <a:gd name="connsiteX15" fmla="*/ 1259067 w 3262450"/>
                  <a:gd name="connsiteY15" fmla="*/ 81550 h 615465"/>
                  <a:gd name="connsiteX16" fmla="*/ 1155712 w 3262450"/>
                  <a:gd name="connsiteY16" fmla="*/ 81550 h 615465"/>
                  <a:gd name="connsiteX17" fmla="*/ 1155712 w 3262450"/>
                  <a:gd name="connsiteY17" fmla="*/ 347466 h 615465"/>
                  <a:gd name="connsiteX18" fmla="*/ 972658 w 3262450"/>
                  <a:gd name="connsiteY18" fmla="*/ 384635 h 615465"/>
                  <a:gd name="connsiteX19" fmla="*/ 412824 w 3262450"/>
                  <a:gd name="connsiteY19" fmla="*/ 511989 h 615465"/>
                  <a:gd name="connsiteX20" fmla="*/ 11867 w 3262450"/>
                  <a:gd name="connsiteY20" fmla="*/ 612411 h 615465"/>
                  <a:gd name="connsiteX21" fmla="*/ 0 w 3262450"/>
                  <a:gd name="connsiteY21" fmla="*/ 615465 h 615465"/>
                  <a:gd name="connsiteX22" fmla="*/ 0 w 3262450"/>
                  <a:gd name="connsiteY22" fmla="*/ 0 h 615465"/>
                  <a:gd name="connsiteX0" fmla="*/ 0 w 3262450"/>
                  <a:gd name="connsiteY0" fmla="*/ 0 h 615465"/>
                  <a:gd name="connsiteX1" fmla="*/ 2414778 w 3262450"/>
                  <a:gd name="connsiteY1" fmla="*/ 0 h 615465"/>
                  <a:gd name="connsiteX2" fmla="*/ 2414778 w 3262450"/>
                  <a:gd name="connsiteY2" fmla="*/ 35831 h 615465"/>
                  <a:gd name="connsiteX3" fmla="*/ 2518131 w 3262450"/>
                  <a:gd name="connsiteY3" fmla="*/ 35831 h 615465"/>
                  <a:gd name="connsiteX4" fmla="*/ 2518131 w 3262450"/>
                  <a:gd name="connsiteY4" fmla="*/ 0 h 615465"/>
                  <a:gd name="connsiteX5" fmla="*/ 3262450 w 3262450"/>
                  <a:gd name="connsiteY5" fmla="*/ 0 h 615465"/>
                  <a:gd name="connsiteX6" fmla="*/ 2741498 w 3262450"/>
                  <a:gd name="connsiteY6" fmla="*/ 75713 h 615465"/>
                  <a:gd name="connsiteX7" fmla="*/ 2518131 w 3262450"/>
                  <a:gd name="connsiteY7" fmla="*/ 110538 h 615465"/>
                  <a:gd name="connsiteX8" fmla="*/ 2518131 w 3262450"/>
                  <a:gd name="connsiteY8" fmla="*/ 81550 h 615465"/>
                  <a:gd name="connsiteX9" fmla="*/ 2414778 w 3262450"/>
                  <a:gd name="connsiteY9" fmla="*/ 81550 h 615465"/>
                  <a:gd name="connsiteX10" fmla="*/ 2414778 w 3262450"/>
                  <a:gd name="connsiteY10" fmla="*/ 126652 h 615465"/>
                  <a:gd name="connsiteX11" fmla="*/ 2140564 w 3262450"/>
                  <a:gd name="connsiteY11" fmla="*/ 169405 h 615465"/>
                  <a:gd name="connsiteX12" fmla="*/ 1259274 w 3262450"/>
                  <a:gd name="connsiteY12" fmla="*/ 326438 h 615465"/>
                  <a:gd name="connsiteX13" fmla="*/ 1259067 w 3262450"/>
                  <a:gd name="connsiteY13" fmla="*/ 326480 h 615465"/>
                  <a:gd name="connsiteX14" fmla="*/ 1259067 w 3262450"/>
                  <a:gd name="connsiteY14" fmla="*/ 81550 h 615465"/>
                  <a:gd name="connsiteX15" fmla="*/ 1155712 w 3262450"/>
                  <a:gd name="connsiteY15" fmla="*/ 81550 h 615465"/>
                  <a:gd name="connsiteX16" fmla="*/ 1155712 w 3262450"/>
                  <a:gd name="connsiteY16" fmla="*/ 347466 h 615465"/>
                  <a:gd name="connsiteX17" fmla="*/ 972658 w 3262450"/>
                  <a:gd name="connsiteY17" fmla="*/ 384635 h 615465"/>
                  <a:gd name="connsiteX18" fmla="*/ 412824 w 3262450"/>
                  <a:gd name="connsiteY18" fmla="*/ 511989 h 615465"/>
                  <a:gd name="connsiteX19" fmla="*/ 11867 w 3262450"/>
                  <a:gd name="connsiteY19" fmla="*/ 612411 h 615465"/>
                  <a:gd name="connsiteX20" fmla="*/ 0 w 3262450"/>
                  <a:gd name="connsiteY20" fmla="*/ 615465 h 615465"/>
                  <a:gd name="connsiteX21" fmla="*/ 0 w 3262450"/>
                  <a:gd name="connsiteY21" fmla="*/ 0 h 615465"/>
                  <a:gd name="connsiteX0" fmla="*/ 0 w 3262450"/>
                  <a:gd name="connsiteY0" fmla="*/ 0 h 615465"/>
                  <a:gd name="connsiteX1" fmla="*/ 2414778 w 3262450"/>
                  <a:gd name="connsiteY1" fmla="*/ 0 h 615465"/>
                  <a:gd name="connsiteX2" fmla="*/ 2518131 w 3262450"/>
                  <a:gd name="connsiteY2" fmla="*/ 35831 h 615465"/>
                  <a:gd name="connsiteX3" fmla="*/ 2518131 w 3262450"/>
                  <a:gd name="connsiteY3" fmla="*/ 0 h 615465"/>
                  <a:gd name="connsiteX4" fmla="*/ 3262450 w 3262450"/>
                  <a:gd name="connsiteY4" fmla="*/ 0 h 615465"/>
                  <a:gd name="connsiteX5" fmla="*/ 2741498 w 3262450"/>
                  <a:gd name="connsiteY5" fmla="*/ 75713 h 615465"/>
                  <a:gd name="connsiteX6" fmla="*/ 2518131 w 3262450"/>
                  <a:gd name="connsiteY6" fmla="*/ 110538 h 615465"/>
                  <a:gd name="connsiteX7" fmla="*/ 2518131 w 3262450"/>
                  <a:gd name="connsiteY7" fmla="*/ 81550 h 615465"/>
                  <a:gd name="connsiteX8" fmla="*/ 2414778 w 3262450"/>
                  <a:gd name="connsiteY8" fmla="*/ 81550 h 615465"/>
                  <a:gd name="connsiteX9" fmla="*/ 2414778 w 3262450"/>
                  <a:gd name="connsiteY9" fmla="*/ 126652 h 615465"/>
                  <a:gd name="connsiteX10" fmla="*/ 2140564 w 3262450"/>
                  <a:gd name="connsiteY10" fmla="*/ 169405 h 615465"/>
                  <a:gd name="connsiteX11" fmla="*/ 1259274 w 3262450"/>
                  <a:gd name="connsiteY11" fmla="*/ 326438 h 615465"/>
                  <a:gd name="connsiteX12" fmla="*/ 1259067 w 3262450"/>
                  <a:gd name="connsiteY12" fmla="*/ 326480 h 615465"/>
                  <a:gd name="connsiteX13" fmla="*/ 1259067 w 3262450"/>
                  <a:gd name="connsiteY13" fmla="*/ 81550 h 615465"/>
                  <a:gd name="connsiteX14" fmla="*/ 1155712 w 3262450"/>
                  <a:gd name="connsiteY14" fmla="*/ 81550 h 615465"/>
                  <a:gd name="connsiteX15" fmla="*/ 1155712 w 3262450"/>
                  <a:gd name="connsiteY15" fmla="*/ 347466 h 615465"/>
                  <a:gd name="connsiteX16" fmla="*/ 972658 w 3262450"/>
                  <a:gd name="connsiteY16" fmla="*/ 384635 h 615465"/>
                  <a:gd name="connsiteX17" fmla="*/ 412824 w 3262450"/>
                  <a:gd name="connsiteY17" fmla="*/ 511989 h 615465"/>
                  <a:gd name="connsiteX18" fmla="*/ 11867 w 3262450"/>
                  <a:gd name="connsiteY18" fmla="*/ 612411 h 615465"/>
                  <a:gd name="connsiteX19" fmla="*/ 0 w 3262450"/>
                  <a:gd name="connsiteY19" fmla="*/ 615465 h 615465"/>
                  <a:gd name="connsiteX20" fmla="*/ 0 w 3262450"/>
                  <a:gd name="connsiteY20" fmla="*/ 0 h 615465"/>
                  <a:gd name="connsiteX0" fmla="*/ 0 w 3262450"/>
                  <a:gd name="connsiteY0" fmla="*/ 0 h 615465"/>
                  <a:gd name="connsiteX1" fmla="*/ 2518131 w 3262450"/>
                  <a:gd name="connsiteY1" fmla="*/ 35831 h 615465"/>
                  <a:gd name="connsiteX2" fmla="*/ 2518131 w 3262450"/>
                  <a:gd name="connsiteY2" fmla="*/ 0 h 615465"/>
                  <a:gd name="connsiteX3" fmla="*/ 3262450 w 3262450"/>
                  <a:gd name="connsiteY3" fmla="*/ 0 h 615465"/>
                  <a:gd name="connsiteX4" fmla="*/ 2741498 w 3262450"/>
                  <a:gd name="connsiteY4" fmla="*/ 75713 h 615465"/>
                  <a:gd name="connsiteX5" fmla="*/ 2518131 w 3262450"/>
                  <a:gd name="connsiteY5" fmla="*/ 110538 h 615465"/>
                  <a:gd name="connsiteX6" fmla="*/ 2518131 w 3262450"/>
                  <a:gd name="connsiteY6" fmla="*/ 81550 h 615465"/>
                  <a:gd name="connsiteX7" fmla="*/ 2414778 w 3262450"/>
                  <a:gd name="connsiteY7" fmla="*/ 81550 h 615465"/>
                  <a:gd name="connsiteX8" fmla="*/ 2414778 w 3262450"/>
                  <a:gd name="connsiteY8" fmla="*/ 126652 h 615465"/>
                  <a:gd name="connsiteX9" fmla="*/ 2140564 w 3262450"/>
                  <a:gd name="connsiteY9" fmla="*/ 169405 h 615465"/>
                  <a:gd name="connsiteX10" fmla="*/ 1259274 w 3262450"/>
                  <a:gd name="connsiteY10" fmla="*/ 326438 h 615465"/>
                  <a:gd name="connsiteX11" fmla="*/ 1259067 w 3262450"/>
                  <a:gd name="connsiteY11" fmla="*/ 326480 h 615465"/>
                  <a:gd name="connsiteX12" fmla="*/ 1259067 w 3262450"/>
                  <a:gd name="connsiteY12" fmla="*/ 81550 h 615465"/>
                  <a:gd name="connsiteX13" fmla="*/ 1155712 w 3262450"/>
                  <a:gd name="connsiteY13" fmla="*/ 81550 h 615465"/>
                  <a:gd name="connsiteX14" fmla="*/ 1155712 w 3262450"/>
                  <a:gd name="connsiteY14" fmla="*/ 347466 h 615465"/>
                  <a:gd name="connsiteX15" fmla="*/ 972658 w 3262450"/>
                  <a:gd name="connsiteY15" fmla="*/ 384635 h 615465"/>
                  <a:gd name="connsiteX16" fmla="*/ 412824 w 3262450"/>
                  <a:gd name="connsiteY16" fmla="*/ 511989 h 615465"/>
                  <a:gd name="connsiteX17" fmla="*/ 11867 w 3262450"/>
                  <a:gd name="connsiteY17" fmla="*/ 612411 h 615465"/>
                  <a:gd name="connsiteX18" fmla="*/ 0 w 3262450"/>
                  <a:gd name="connsiteY18" fmla="*/ 615465 h 615465"/>
                  <a:gd name="connsiteX19" fmla="*/ 0 w 3262450"/>
                  <a:gd name="connsiteY19" fmla="*/ 0 h 615465"/>
                  <a:gd name="connsiteX0" fmla="*/ 0 w 3262450"/>
                  <a:gd name="connsiteY0" fmla="*/ 0 h 615465"/>
                  <a:gd name="connsiteX1" fmla="*/ 2518131 w 3262450"/>
                  <a:gd name="connsiteY1" fmla="*/ 35831 h 615465"/>
                  <a:gd name="connsiteX2" fmla="*/ 3262450 w 3262450"/>
                  <a:gd name="connsiteY2" fmla="*/ 0 h 615465"/>
                  <a:gd name="connsiteX3" fmla="*/ 2741498 w 3262450"/>
                  <a:gd name="connsiteY3" fmla="*/ 75713 h 615465"/>
                  <a:gd name="connsiteX4" fmla="*/ 2518131 w 3262450"/>
                  <a:gd name="connsiteY4" fmla="*/ 110538 h 615465"/>
                  <a:gd name="connsiteX5" fmla="*/ 2518131 w 3262450"/>
                  <a:gd name="connsiteY5" fmla="*/ 81550 h 615465"/>
                  <a:gd name="connsiteX6" fmla="*/ 2414778 w 3262450"/>
                  <a:gd name="connsiteY6" fmla="*/ 81550 h 615465"/>
                  <a:gd name="connsiteX7" fmla="*/ 2414778 w 3262450"/>
                  <a:gd name="connsiteY7" fmla="*/ 126652 h 615465"/>
                  <a:gd name="connsiteX8" fmla="*/ 2140564 w 3262450"/>
                  <a:gd name="connsiteY8" fmla="*/ 169405 h 615465"/>
                  <a:gd name="connsiteX9" fmla="*/ 1259274 w 3262450"/>
                  <a:gd name="connsiteY9" fmla="*/ 326438 h 615465"/>
                  <a:gd name="connsiteX10" fmla="*/ 1259067 w 3262450"/>
                  <a:gd name="connsiteY10" fmla="*/ 326480 h 615465"/>
                  <a:gd name="connsiteX11" fmla="*/ 1259067 w 3262450"/>
                  <a:gd name="connsiteY11" fmla="*/ 81550 h 615465"/>
                  <a:gd name="connsiteX12" fmla="*/ 1155712 w 3262450"/>
                  <a:gd name="connsiteY12" fmla="*/ 81550 h 615465"/>
                  <a:gd name="connsiteX13" fmla="*/ 1155712 w 3262450"/>
                  <a:gd name="connsiteY13" fmla="*/ 347466 h 615465"/>
                  <a:gd name="connsiteX14" fmla="*/ 972658 w 3262450"/>
                  <a:gd name="connsiteY14" fmla="*/ 384635 h 615465"/>
                  <a:gd name="connsiteX15" fmla="*/ 412824 w 3262450"/>
                  <a:gd name="connsiteY15" fmla="*/ 511989 h 615465"/>
                  <a:gd name="connsiteX16" fmla="*/ 11867 w 3262450"/>
                  <a:gd name="connsiteY16" fmla="*/ 612411 h 615465"/>
                  <a:gd name="connsiteX17" fmla="*/ 0 w 3262450"/>
                  <a:gd name="connsiteY17" fmla="*/ 615465 h 615465"/>
                  <a:gd name="connsiteX18" fmla="*/ 0 w 3262450"/>
                  <a:gd name="connsiteY18"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518131 w 3262450"/>
                  <a:gd name="connsiteY4" fmla="*/ 81550 h 615465"/>
                  <a:gd name="connsiteX5" fmla="*/ 2414778 w 3262450"/>
                  <a:gd name="connsiteY5" fmla="*/ 81550 h 615465"/>
                  <a:gd name="connsiteX6" fmla="*/ 2414778 w 3262450"/>
                  <a:gd name="connsiteY6" fmla="*/ 126652 h 615465"/>
                  <a:gd name="connsiteX7" fmla="*/ 2140564 w 3262450"/>
                  <a:gd name="connsiteY7" fmla="*/ 169405 h 615465"/>
                  <a:gd name="connsiteX8" fmla="*/ 1259274 w 3262450"/>
                  <a:gd name="connsiteY8" fmla="*/ 326438 h 615465"/>
                  <a:gd name="connsiteX9" fmla="*/ 1259067 w 3262450"/>
                  <a:gd name="connsiteY9" fmla="*/ 326480 h 615465"/>
                  <a:gd name="connsiteX10" fmla="*/ 1259067 w 3262450"/>
                  <a:gd name="connsiteY10" fmla="*/ 81550 h 615465"/>
                  <a:gd name="connsiteX11" fmla="*/ 1155712 w 3262450"/>
                  <a:gd name="connsiteY11" fmla="*/ 81550 h 615465"/>
                  <a:gd name="connsiteX12" fmla="*/ 1155712 w 3262450"/>
                  <a:gd name="connsiteY12" fmla="*/ 347466 h 615465"/>
                  <a:gd name="connsiteX13" fmla="*/ 972658 w 3262450"/>
                  <a:gd name="connsiteY13" fmla="*/ 384635 h 615465"/>
                  <a:gd name="connsiteX14" fmla="*/ 412824 w 3262450"/>
                  <a:gd name="connsiteY14" fmla="*/ 511989 h 615465"/>
                  <a:gd name="connsiteX15" fmla="*/ 11867 w 3262450"/>
                  <a:gd name="connsiteY15" fmla="*/ 612411 h 615465"/>
                  <a:gd name="connsiteX16" fmla="*/ 0 w 3262450"/>
                  <a:gd name="connsiteY16" fmla="*/ 615465 h 615465"/>
                  <a:gd name="connsiteX17" fmla="*/ 0 w 3262450"/>
                  <a:gd name="connsiteY17"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81550 h 615465"/>
                  <a:gd name="connsiteX5" fmla="*/ 2414778 w 3262450"/>
                  <a:gd name="connsiteY5" fmla="*/ 126652 h 615465"/>
                  <a:gd name="connsiteX6" fmla="*/ 2140564 w 3262450"/>
                  <a:gd name="connsiteY6" fmla="*/ 169405 h 615465"/>
                  <a:gd name="connsiteX7" fmla="*/ 1259274 w 3262450"/>
                  <a:gd name="connsiteY7" fmla="*/ 326438 h 615465"/>
                  <a:gd name="connsiteX8" fmla="*/ 1259067 w 3262450"/>
                  <a:gd name="connsiteY8" fmla="*/ 326480 h 615465"/>
                  <a:gd name="connsiteX9" fmla="*/ 1259067 w 3262450"/>
                  <a:gd name="connsiteY9" fmla="*/ 81550 h 615465"/>
                  <a:gd name="connsiteX10" fmla="*/ 1155712 w 3262450"/>
                  <a:gd name="connsiteY10" fmla="*/ 81550 h 615465"/>
                  <a:gd name="connsiteX11" fmla="*/ 1155712 w 3262450"/>
                  <a:gd name="connsiteY11" fmla="*/ 347466 h 615465"/>
                  <a:gd name="connsiteX12" fmla="*/ 972658 w 3262450"/>
                  <a:gd name="connsiteY12" fmla="*/ 384635 h 615465"/>
                  <a:gd name="connsiteX13" fmla="*/ 412824 w 3262450"/>
                  <a:gd name="connsiteY13" fmla="*/ 511989 h 615465"/>
                  <a:gd name="connsiteX14" fmla="*/ 11867 w 3262450"/>
                  <a:gd name="connsiteY14" fmla="*/ 612411 h 615465"/>
                  <a:gd name="connsiteX15" fmla="*/ 0 w 3262450"/>
                  <a:gd name="connsiteY15" fmla="*/ 615465 h 615465"/>
                  <a:gd name="connsiteX16" fmla="*/ 0 w 3262450"/>
                  <a:gd name="connsiteY16"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259067 w 3262450"/>
                  <a:gd name="connsiteY8" fmla="*/ 81550 h 615465"/>
                  <a:gd name="connsiteX9" fmla="*/ 1155712 w 3262450"/>
                  <a:gd name="connsiteY9" fmla="*/ 81550 h 615465"/>
                  <a:gd name="connsiteX10" fmla="*/ 1155712 w 3262450"/>
                  <a:gd name="connsiteY10" fmla="*/ 347466 h 615465"/>
                  <a:gd name="connsiteX11" fmla="*/ 972658 w 3262450"/>
                  <a:gd name="connsiteY11" fmla="*/ 384635 h 615465"/>
                  <a:gd name="connsiteX12" fmla="*/ 412824 w 3262450"/>
                  <a:gd name="connsiteY12" fmla="*/ 511989 h 615465"/>
                  <a:gd name="connsiteX13" fmla="*/ 11867 w 3262450"/>
                  <a:gd name="connsiteY13" fmla="*/ 612411 h 615465"/>
                  <a:gd name="connsiteX14" fmla="*/ 0 w 3262450"/>
                  <a:gd name="connsiteY14" fmla="*/ 615465 h 615465"/>
                  <a:gd name="connsiteX15" fmla="*/ 0 w 3262450"/>
                  <a:gd name="connsiteY15"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81550 h 615465"/>
                  <a:gd name="connsiteX9" fmla="*/ 1155712 w 3262450"/>
                  <a:gd name="connsiteY9" fmla="*/ 347466 h 615465"/>
                  <a:gd name="connsiteX10" fmla="*/ 972658 w 3262450"/>
                  <a:gd name="connsiteY10" fmla="*/ 384635 h 615465"/>
                  <a:gd name="connsiteX11" fmla="*/ 412824 w 3262450"/>
                  <a:gd name="connsiteY11" fmla="*/ 511989 h 615465"/>
                  <a:gd name="connsiteX12" fmla="*/ 11867 w 3262450"/>
                  <a:gd name="connsiteY12" fmla="*/ 612411 h 615465"/>
                  <a:gd name="connsiteX13" fmla="*/ 0 w 3262450"/>
                  <a:gd name="connsiteY13" fmla="*/ 615465 h 615465"/>
                  <a:gd name="connsiteX14" fmla="*/ 0 w 3262450"/>
                  <a:gd name="connsiteY14"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347466 h 615465"/>
                  <a:gd name="connsiteX9" fmla="*/ 972658 w 3262450"/>
                  <a:gd name="connsiteY9" fmla="*/ 384635 h 615465"/>
                  <a:gd name="connsiteX10" fmla="*/ 412824 w 3262450"/>
                  <a:gd name="connsiteY10" fmla="*/ 511989 h 615465"/>
                  <a:gd name="connsiteX11" fmla="*/ 11867 w 3262450"/>
                  <a:gd name="connsiteY11" fmla="*/ 612411 h 615465"/>
                  <a:gd name="connsiteX12" fmla="*/ 0 w 3262450"/>
                  <a:gd name="connsiteY12" fmla="*/ 615465 h 615465"/>
                  <a:gd name="connsiteX13" fmla="*/ 0 w 3262450"/>
                  <a:gd name="connsiteY13" fmla="*/ 0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2450" h="615465">
                    <a:moveTo>
                      <a:pt x="0" y="0"/>
                    </a:moveTo>
                    <a:lnTo>
                      <a:pt x="3262450" y="0"/>
                    </a:lnTo>
                    <a:lnTo>
                      <a:pt x="2741498" y="75713"/>
                    </a:lnTo>
                    <a:lnTo>
                      <a:pt x="2518131" y="110538"/>
                    </a:lnTo>
                    <a:lnTo>
                      <a:pt x="2414778" y="126652"/>
                    </a:lnTo>
                    <a:lnTo>
                      <a:pt x="2140564" y="169405"/>
                    </a:lnTo>
                    <a:cubicBezTo>
                      <a:pt x="1842332" y="218087"/>
                      <a:pt x="1547900" y="269886"/>
                      <a:pt x="1259274" y="326438"/>
                    </a:cubicBezTo>
                    <a:lnTo>
                      <a:pt x="1259067" y="326480"/>
                    </a:lnTo>
                    <a:lnTo>
                      <a:pt x="1155712" y="347466"/>
                    </a:lnTo>
                    <a:lnTo>
                      <a:pt x="972658" y="384635"/>
                    </a:lnTo>
                    <a:cubicBezTo>
                      <a:pt x="782969" y="424570"/>
                      <a:pt x="596160" y="466860"/>
                      <a:pt x="412824" y="511989"/>
                    </a:cubicBezTo>
                    <a:lnTo>
                      <a:pt x="11867" y="612411"/>
                    </a:lnTo>
                    <a:lnTo>
                      <a:pt x="0" y="615465"/>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51" name="Vrije vorm: vorm 50">
                <a:extLst>
                  <a:ext uri="{FF2B5EF4-FFF2-40B4-BE49-F238E27FC236}">
                    <a16:creationId xmlns:a16="http://schemas.microsoft.com/office/drawing/2014/main" id="{7BB31450-346F-397D-0343-6EEF314C97B7}"/>
                  </a:ext>
                </a:extLst>
              </p:cNvPr>
              <p:cNvSpPr>
                <a:spLocks/>
              </p:cNvSpPr>
              <p:nvPr/>
            </p:nvSpPr>
            <p:spPr>
              <a:xfrm rot="10800000">
                <a:off x="8208826" y="3389375"/>
                <a:ext cx="3262450" cy="615465"/>
              </a:xfrm>
              <a:custGeom>
                <a:avLst/>
                <a:gdLst>
                  <a:gd name="connsiteX0" fmla="*/ 0 w 3262450"/>
                  <a:gd name="connsiteY0" fmla="*/ 0 h 615465"/>
                  <a:gd name="connsiteX1" fmla="*/ 1155712 w 3262450"/>
                  <a:gd name="connsiteY1" fmla="*/ 0 h 615465"/>
                  <a:gd name="connsiteX2" fmla="*/ 1155712 w 3262450"/>
                  <a:gd name="connsiteY2" fmla="*/ 35831 h 615465"/>
                  <a:gd name="connsiteX3" fmla="*/ 1259067 w 3262450"/>
                  <a:gd name="connsiteY3" fmla="*/ 35831 h 615465"/>
                  <a:gd name="connsiteX4" fmla="*/ 1259067 w 3262450"/>
                  <a:gd name="connsiteY4" fmla="*/ 0 h 615465"/>
                  <a:gd name="connsiteX5" fmla="*/ 2414778 w 3262450"/>
                  <a:gd name="connsiteY5" fmla="*/ 0 h 615465"/>
                  <a:gd name="connsiteX6" fmla="*/ 2414778 w 3262450"/>
                  <a:gd name="connsiteY6" fmla="*/ 35831 h 615465"/>
                  <a:gd name="connsiteX7" fmla="*/ 2518131 w 3262450"/>
                  <a:gd name="connsiteY7" fmla="*/ 35831 h 615465"/>
                  <a:gd name="connsiteX8" fmla="*/ 2518131 w 3262450"/>
                  <a:gd name="connsiteY8" fmla="*/ 0 h 615465"/>
                  <a:gd name="connsiteX9" fmla="*/ 3262450 w 3262450"/>
                  <a:gd name="connsiteY9" fmla="*/ 0 h 615465"/>
                  <a:gd name="connsiteX10" fmla="*/ 2741498 w 3262450"/>
                  <a:gd name="connsiteY10" fmla="*/ 75713 h 615465"/>
                  <a:gd name="connsiteX11" fmla="*/ 2518131 w 3262450"/>
                  <a:gd name="connsiteY11" fmla="*/ 110538 h 615465"/>
                  <a:gd name="connsiteX12" fmla="*/ 2518131 w 3262450"/>
                  <a:gd name="connsiteY12" fmla="*/ 81550 h 615465"/>
                  <a:gd name="connsiteX13" fmla="*/ 2414778 w 3262450"/>
                  <a:gd name="connsiteY13" fmla="*/ 81550 h 615465"/>
                  <a:gd name="connsiteX14" fmla="*/ 2414778 w 3262450"/>
                  <a:gd name="connsiteY14" fmla="*/ 126652 h 615465"/>
                  <a:gd name="connsiteX15" fmla="*/ 2140564 w 3262450"/>
                  <a:gd name="connsiteY15" fmla="*/ 169405 h 615465"/>
                  <a:gd name="connsiteX16" fmla="*/ 1259274 w 3262450"/>
                  <a:gd name="connsiteY16" fmla="*/ 326438 h 615465"/>
                  <a:gd name="connsiteX17" fmla="*/ 1259067 w 3262450"/>
                  <a:gd name="connsiteY17" fmla="*/ 326480 h 615465"/>
                  <a:gd name="connsiteX18" fmla="*/ 1259067 w 3262450"/>
                  <a:gd name="connsiteY18" fmla="*/ 81550 h 615465"/>
                  <a:gd name="connsiteX19" fmla="*/ 1155712 w 3262450"/>
                  <a:gd name="connsiteY19" fmla="*/ 81550 h 615465"/>
                  <a:gd name="connsiteX20" fmla="*/ 1155712 w 3262450"/>
                  <a:gd name="connsiteY20" fmla="*/ 347466 h 615465"/>
                  <a:gd name="connsiteX21" fmla="*/ 972658 w 3262450"/>
                  <a:gd name="connsiteY21" fmla="*/ 384635 h 615465"/>
                  <a:gd name="connsiteX22" fmla="*/ 412824 w 3262450"/>
                  <a:gd name="connsiteY22" fmla="*/ 511989 h 615465"/>
                  <a:gd name="connsiteX23" fmla="*/ 11867 w 3262450"/>
                  <a:gd name="connsiteY23" fmla="*/ 612411 h 615465"/>
                  <a:gd name="connsiteX24" fmla="*/ 0 w 3262450"/>
                  <a:gd name="connsiteY24" fmla="*/ 615465 h 615465"/>
                  <a:gd name="connsiteX0" fmla="*/ 0 w 3262450"/>
                  <a:gd name="connsiteY0" fmla="*/ 0 h 615465"/>
                  <a:gd name="connsiteX1" fmla="*/ 1155712 w 3262450"/>
                  <a:gd name="connsiteY1" fmla="*/ 0 h 615465"/>
                  <a:gd name="connsiteX2" fmla="*/ 1259067 w 3262450"/>
                  <a:gd name="connsiteY2" fmla="*/ 35831 h 615465"/>
                  <a:gd name="connsiteX3" fmla="*/ 1259067 w 3262450"/>
                  <a:gd name="connsiteY3" fmla="*/ 0 h 615465"/>
                  <a:gd name="connsiteX4" fmla="*/ 2414778 w 3262450"/>
                  <a:gd name="connsiteY4" fmla="*/ 0 h 615465"/>
                  <a:gd name="connsiteX5" fmla="*/ 2414778 w 3262450"/>
                  <a:gd name="connsiteY5" fmla="*/ 35831 h 615465"/>
                  <a:gd name="connsiteX6" fmla="*/ 2518131 w 3262450"/>
                  <a:gd name="connsiteY6" fmla="*/ 35831 h 615465"/>
                  <a:gd name="connsiteX7" fmla="*/ 2518131 w 3262450"/>
                  <a:gd name="connsiteY7" fmla="*/ 0 h 615465"/>
                  <a:gd name="connsiteX8" fmla="*/ 3262450 w 3262450"/>
                  <a:gd name="connsiteY8" fmla="*/ 0 h 615465"/>
                  <a:gd name="connsiteX9" fmla="*/ 2741498 w 3262450"/>
                  <a:gd name="connsiteY9" fmla="*/ 75713 h 615465"/>
                  <a:gd name="connsiteX10" fmla="*/ 2518131 w 3262450"/>
                  <a:gd name="connsiteY10" fmla="*/ 110538 h 615465"/>
                  <a:gd name="connsiteX11" fmla="*/ 2518131 w 3262450"/>
                  <a:gd name="connsiteY11" fmla="*/ 81550 h 615465"/>
                  <a:gd name="connsiteX12" fmla="*/ 2414778 w 3262450"/>
                  <a:gd name="connsiteY12" fmla="*/ 81550 h 615465"/>
                  <a:gd name="connsiteX13" fmla="*/ 2414778 w 3262450"/>
                  <a:gd name="connsiteY13" fmla="*/ 126652 h 615465"/>
                  <a:gd name="connsiteX14" fmla="*/ 2140564 w 3262450"/>
                  <a:gd name="connsiteY14" fmla="*/ 169405 h 615465"/>
                  <a:gd name="connsiteX15" fmla="*/ 1259274 w 3262450"/>
                  <a:gd name="connsiteY15" fmla="*/ 326438 h 615465"/>
                  <a:gd name="connsiteX16" fmla="*/ 1259067 w 3262450"/>
                  <a:gd name="connsiteY16" fmla="*/ 326480 h 615465"/>
                  <a:gd name="connsiteX17" fmla="*/ 1259067 w 3262450"/>
                  <a:gd name="connsiteY17" fmla="*/ 81550 h 615465"/>
                  <a:gd name="connsiteX18" fmla="*/ 1155712 w 3262450"/>
                  <a:gd name="connsiteY18" fmla="*/ 81550 h 615465"/>
                  <a:gd name="connsiteX19" fmla="*/ 1155712 w 3262450"/>
                  <a:gd name="connsiteY19" fmla="*/ 347466 h 615465"/>
                  <a:gd name="connsiteX20" fmla="*/ 972658 w 3262450"/>
                  <a:gd name="connsiteY20" fmla="*/ 384635 h 615465"/>
                  <a:gd name="connsiteX21" fmla="*/ 412824 w 3262450"/>
                  <a:gd name="connsiteY21" fmla="*/ 511989 h 615465"/>
                  <a:gd name="connsiteX22" fmla="*/ 11867 w 3262450"/>
                  <a:gd name="connsiteY22" fmla="*/ 612411 h 615465"/>
                  <a:gd name="connsiteX23" fmla="*/ 0 w 3262450"/>
                  <a:gd name="connsiteY23" fmla="*/ 615465 h 615465"/>
                  <a:gd name="connsiteX24" fmla="*/ 0 w 3262450"/>
                  <a:gd name="connsiteY24" fmla="*/ 0 h 615465"/>
                  <a:gd name="connsiteX0" fmla="*/ 0 w 3262450"/>
                  <a:gd name="connsiteY0" fmla="*/ 0 h 615465"/>
                  <a:gd name="connsiteX1" fmla="*/ 1259067 w 3262450"/>
                  <a:gd name="connsiteY1" fmla="*/ 35831 h 615465"/>
                  <a:gd name="connsiteX2" fmla="*/ 1259067 w 3262450"/>
                  <a:gd name="connsiteY2" fmla="*/ 0 h 615465"/>
                  <a:gd name="connsiteX3" fmla="*/ 2414778 w 3262450"/>
                  <a:gd name="connsiteY3" fmla="*/ 0 h 615465"/>
                  <a:gd name="connsiteX4" fmla="*/ 2414778 w 3262450"/>
                  <a:gd name="connsiteY4" fmla="*/ 35831 h 615465"/>
                  <a:gd name="connsiteX5" fmla="*/ 2518131 w 3262450"/>
                  <a:gd name="connsiteY5" fmla="*/ 35831 h 615465"/>
                  <a:gd name="connsiteX6" fmla="*/ 2518131 w 3262450"/>
                  <a:gd name="connsiteY6" fmla="*/ 0 h 615465"/>
                  <a:gd name="connsiteX7" fmla="*/ 3262450 w 3262450"/>
                  <a:gd name="connsiteY7" fmla="*/ 0 h 615465"/>
                  <a:gd name="connsiteX8" fmla="*/ 2741498 w 3262450"/>
                  <a:gd name="connsiteY8" fmla="*/ 75713 h 615465"/>
                  <a:gd name="connsiteX9" fmla="*/ 2518131 w 3262450"/>
                  <a:gd name="connsiteY9" fmla="*/ 110538 h 615465"/>
                  <a:gd name="connsiteX10" fmla="*/ 2518131 w 3262450"/>
                  <a:gd name="connsiteY10" fmla="*/ 81550 h 615465"/>
                  <a:gd name="connsiteX11" fmla="*/ 2414778 w 3262450"/>
                  <a:gd name="connsiteY11" fmla="*/ 81550 h 615465"/>
                  <a:gd name="connsiteX12" fmla="*/ 2414778 w 3262450"/>
                  <a:gd name="connsiteY12" fmla="*/ 126652 h 615465"/>
                  <a:gd name="connsiteX13" fmla="*/ 2140564 w 3262450"/>
                  <a:gd name="connsiteY13" fmla="*/ 169405 h 615465"/>
                  <a:gd name="connsiteX14" fmla="*/ 1259274 w 3262450"/>
                  <a:gd name="connsiteY14" fmla="*/ 326438 h 615465"/>
                  <a:gd name="connsiteX15" fmla="*/ 1259067 w 3262450"/>
                  <a:gd name="connsiteY15" fmla="*/ 326480 h 615465"/>
                  <a:gd name="connsiteX16" fmla="*/ 1259067 w 3262450"/>
                  <a:gd name="connsiteY16" fmla="*/ 81550 h 615465"/>
                  <a:gd name="connsiteX17" fmla="*/ 1155712 w 3262450"/>
                  <a:gd name="connsiteY17" fmla="*/ 81550 h 615465"/>
                  <a:gd name="connsiteX18" fmla="*/ 1155712 w 3262450"/>
                  <a:gd name="connsiteY18" fmla="*/ 347466 h 615465"/>
                  <a:gd name="connsiteX19" fmla="*/ 972658 w 3262450"/>
                  <a:gd name="connsiteY19" fmla="*/ 384635 h 615465"/>
                  <a:gd name="connsiteX20" fmla="*/ 412824 w 3262450"/>
                  <a:gd name="connsiteY20" fmla="*/ 511989 h 615465"/>
                  <a:gd name="connsiteX21" fmla="*/ 11867 w 3262450"/>
                  <a:gd name="connsiteY21" fmla="*/ 612411 h 615465"/>
                  <a:gd name="connsiteX22" fmla="*/ 0 w 3262450"/>
                  <a:gd name="connsiteY22" fmla="*/ 615465 h 615465"/>
                  <a:gd name="connsiteX23" fmla="*/ 0 w 3262450"/>
                  <a:gd name="connsiteY23" fmla="*/ 0 h 615465"/>
                  <a:gd name="connsiteX0" fmla="*/ 0 w 3262450"/>
                  <a:gd name="connsiteY0" fmla="*/ 0 h 615465"/>
                  <a:gd name="connsiteX1" fmla="*/ 1259067 w 3262450"/>
                  <a:gd name="connsiteY1" fmla="*/ 35831 h 615465"/>
                  <a:gd name="connsiteX2" fmla="*/ 2414778 w 3262450"/>
                  <a:gd name="connsiteY2" fmla="*/ 0 h 615465"/>
                  <a:gd name="connsiteX3" fmla="*/ 2414778 w 3262450"/>
                  <a:gd name="connsiteY3" fmla="*/ 35831 h 615465"/>
                  <a:gd name="connsiteX4" fmla="*/ 2518131 w 3262450"/>
                  <a:gd name="connsiteY4" fmla="*/ 35831 h 615465"/>
                  <a:gd name="connsiteX5" fmla="*/ 2518131 w 3262450"/>
                  <a:gd name="connsiteY5" fmla="*/ 0 h 615465"/>
                  <a:gd name="connsiteX6" fmla="*/ 3262450 w 3262450"/>
                  <a:gd name="connsiteY6" fmla="*/ 0 h 615465"/>
                  <a:gd name="connsiteX7" fmla="*/ 2741498 w 3262450"/>
                  <a:gd name="connsiteY7" fmla="*/ 75713 h 615465"/>
                  <a:gd name="connsiteX8" fmla="*/ 2518131 w 3262450"/>
                  <a:gd name="connsiteY8" fmla="*/ 110538 h 615465"/>
                  <a:gd name="connsiteX9" fmla="*/ 2518131 w 3262450"/>
                  <a:gd name="connsiteY9" fmla="*/ 81550 h 615465"/>
                  <a:gd name="connsiteX10" fmla="*/ 2414778 w 3262450"/>
                  <a:gd name="connsiteY10" fmla="*/ 81550 h 615465"/>
                  <a:gd name="connsiteX11" fmla="*/ 2414778 w 3262450"/>
                  <a:gd name="connsiteY11" fmla="*/ 126652 h 615465"/>
                  <a:gd name="connsiteX12" fmla="*/ 2140564 w 3262450"/>
                  <a:gd name="connsiteY12" fmla="*/ 169405 h 615465"/>
                  <a:gd name="connsiteX13" fmla="*/ 1259274 w 3262450"/>
                  <a:gd name="connsiteY13" fmla="*/ 326438 h 615465"/>
                  <a:gd name="connsiteX14" fmla="*/ 1259067 w 3262450"/>
                  <a:gd name="connsiteY14" fmla="*/ 326480 h 615465"/>
                  <a:gd name="connsiteX15" fmla="*/ 1259067 w 3262450"/>
                  <a:gd name="connsiteY15" fmla="*/ 81550 h 615465"/>
                  <a:gd name="connsiteX16" fmla="*/ 1155712 w 3262450"/>
                  <a:gd name="connsiteY16" fmla="*/ 81550 h 615465"/>
                  <a:gd name="connsiteX17" fmla="*/ 1155712 w 3262450"/>
                  <a:gd name="connsiteY17" fmla="*/ 347466 h 615465"/>
                  <a:gd name="connsiteX18" fmla="*/ 972658 w 3262450"/>
                  <a:gd name="connsiteY18" fmla="*/ 384635 h 615465"/>
                  <a:gd name="connsiteX19" fmla="*/ 412824 w 3262450"/>
                  <a:gd name="connsiteY19" fmla="*/ 511989 h 615465"/>
                  <a:gd name="connsiteX20" fmla="*/ 11867 w 3262450"/>
                  <a:gd name="connsiteY20" fmla="*/ 612411 h 615465"/>
                  <a:gd name="connsiteX21" fmla="*/ 0 w 3262450"/>
                  <a:gd name="connsiteY21" fmla="*/ 615465 h 615465"/>
                  <a:gd name="connsiteX22" fmla="*/ 0 w 3262450"/>
                  <a:gd name="connsiteY22" fmla="*/ 0 h 615465"/>
                  <a:gd name="connsiteX0" fmla="*/ 0 w 3262450"/>
                  <a:gd name="connsiteY0" fmla="*/ 0 h 615465"/>
                  <a:gd name="connsiteX1" fmla="*/ 2414778 w 3262450"/>
                  <a:gd name="connsiteY1" fmla="*/ 0 h 615465"/>
                  <a:gd name="connsiteX2" fmla="*/ 2414778 w 3262450"/>
                  <a:gd name="connsiteY2" fmla="*/ 35831 h 615465"/>
                  <a:gd name="connsiteX3" fmla="*/ 2518131 w 3262450"/>
                  <a:gd name="connsiteY3" fmla="*/ 35831 h 615465"/>
                  <a:gd name="connsiteX4" fmla="*/ 2518131 w 3262450"/>
                  <a:gd name="connsiteY4" fmla="*/ 0 h 615465"/>
                  <a:gd name="connsiteX5" fmla="*/ 3262450 w 3262450"/>
                  <a:gd name="connsiteY5" fmla="*/ 0 h 615465"/>
                  <a:gd name="connsiteX6" fmla="*/ 2741498 w 3262450"/>
                  <a:gd name="connsiteY6" fmla="*/ 75713 h 615465"/>
                  <a:gd name="connsiteX7" fmla="*/ 2518131 w 3262450"/>
                  <a:gd name="connsiteY7" fmla="*/ 110538 h 615465"/>
                  <a:gd name="connsiteX8" fmla="*/ 2518131 w 3262450"/>
                  <a:gd name="connsiteY8" fmla="*/ 81550 h 615465"/>
                  <a:gd name="connsiteX9" fmla="*/ 2414778 w 3262450"/>
                  <a:gd name="connsiteY9" fmla="*/ 81550 h 615465"/>
                  <a:gd name="connsiteX10" fmla="*/ 2414778 w 3262450"/>
                  <a:gd name="connsiteY10" fmla="*/ 126652 h 615465"/>
                  <a:gd name="connsiteX11" fmla="*/ 2140564 w 3262450"/>
                  <a:gd name="connsiteY11" fmla="*/ 169405 h 615465"/>
                  <a:gd name="connsiteX12" fmla="*/ 1259274 w 3262450"/>
                  <a:gd name="connsiteY12" fmla="*/ 326438 h 615465"/>
                  <a:gd name="connsiteX13" fmla="*/ 1259067 w 3262450"/>
                  <a:gd name="connsiteY13" fmla="*/ 326480 h 615465"/>
                  <a:gd name="connsiteX14" fmla="*/ 1259067 w 3262450"/>
                  <a:gd name="connsiteY14" fmla="*/ 81550 h 615465"/>
                  <a:gd name="connsiteX15" fmla="*/ 1155712 w 3262450"/>
                  <a:gd name="connsiteY15" fmla="*/ 81550 h 615465"/>
                  <a:gd name="connsiteX16" fmla="*/ 1155712 w 3262450"/>
                  <a:gd name="connsiteY16" fmla="*/ 347466 h 615465"/>
                  <a:gd name="connsiteX17" fmla="*/ 972658 w 3262450"/>
                  <a:gd name="connsiteY17" fmla="*/ 384635 h 615465"/>
                  <a:gd name="connsiteX18" fmla="*/ 412824 w 3262450"/>
                  <a:gd name="connsiteY18" fmla="*/ 511989 h 615465"/>
                  <a:gd name="connsiteX19" fmla="*/ 11867 w 3262450"/>
                  <a:gd name="connsiteY19" fmla="*/ 612411 h 615465"/>
                  <a:gd name="connsiteX20" fmla="*/ 0 w 3262450"/>
                  <a:gd name="connsiteY20" fmla="*/ 615465 h 615465"/>
                  <a:gd name="connsiteX21" fmla="*/ 0 w 3262450"/>
                  <a:gd name="connsiteY21" fmla="*/ 0 h 615465"/>
                  <a:gd name="connsiteX0" fmla="*/ 0 w 3262450"/>
                  <a:gd name="connsiteY0" fmla="*/ 0 h 615465"/>
                  <a:gd name="connsiteX1" fmla="*/ 2414778 w 3262450"/>
                  <a:gd name="connsiteY1" fmla="*/ 0 h 615465"/>
                  <a:gd name="connsiteX2" fmla="*/ 2518131 w 3262450"/>
                  <a:gd name="connsiteY2" fmla="*/ 35831 h 615465"/>
                  <a:gd name="connsiteX3" fmla="*/ 2518131 w 3262450"/>
                  <a:gd name="connsiteY3" fmla="*/ 0 h 615465"/>
                  <a:gd name="connsiteX4" fmla="*/ 3262450 w 3262450"/>
                  <a:gd name="connsiteY4" fmla="*/ 0 h 615465"/>
                  <a:gd name="connsiteX5" fmla="*/ 2741498 w 3262450"/>
                  <a:gd name="connsiteY5" fmla="*/ 75713 h 615465"/>
                  <a:gd name="connsiteX6" fmla="*/ 2518131 w 3262450"/>
                  <a:gd name="connsiteY6" fmla="*/ 110538 h 615465"/>
                  <a:gd name="connsiteX7" fmla="*/ 2518131 w 3262450"/>
                  <a:gd name="connsiteY7" fmla="*/ 81550 h 615465"/>
                  <a:gd name="connsiteX8" fmla="*/ 2414778 w 3262450"/>
                  <a:gd name="connsiteY8" fmla="*/ 81550 h 615465"/>
                  <a:gd name="connsiteX9" fmla="*/ 2414778 w 3262450"/>
                  <a:gd name="connsiteY9" fmla="*/ 126652 h 615465"/>
                  <a:gd name="connsiteX10" fmla="*/ 2140564 w 3262450"/>
                  <a:gd name="connsiteY10" fmla="*/ 169405 h 615465"/>
                  <a:gd name="connsiteX11" fmla="*/ 1259274 w 3262450"/>
                  <a:gd name="connsiteY11" fmla="*/ 326438 h 615465"/>
                  <a:gd name="connsiteX12" fmla="*/ 1259067 w 3262450"/>
                  <a:gd name="connsiteY12" fmla="*/ 326480 h 615465"/>
                  <a:gd name="connsiteX13" fmla="*/ 1259067 w 3262450"/>
                  <a:gd name="connsiteY13" fmla="*/ 81550 h 615465"/>
                  <a:gd name="connsiteX14" fmla="*/ 1155712 w 3262450"/>
                  <a:gd name="connsiteY14" fmla="*/ 81550 h 615465"/>
                  <a:gd name="connsiteX15" fmla="*/ 1155712 w 3262450"/>
                  <a:gd name="connsiteY15" fmla="*/ 347466 h 615465"/>
                  <a:gd name="connsiteX16" fmla="*/ 972658 w 3262450"/>
                  <a:gd name="connsiteY16" fmla="*/ 384635 h 615465"/>
                  <a:gd name="connsiteX17" fmla="*/ 412824 w 3262450"/>
                  <a:gd name="connsiteY17" fmla="*/ 511989 h 615465"/>
                  <a:gd name="connsiteX18" fmla="*/ 11867 w 3262450"/>
                  <a:gd name="connsiteY18" fmla="*/ 612411 h 615465"/>
                  <a:gd name="connsiteX19" fmla="*/ 0 w 3262450"/>
                  <a:gd name="connsiteY19" fmla="*/ 615465 h 615465"/>
                  <a:gd name="connsiteX20" fmla="*/ 0 w 3262450"/>
                  <a:gd name="connsiteY20" fmla="*/ 0 h 615465"/>
                  <a:gd name="connsiteX0" fmla="*/ 0 w 3262450"/>
                  <a:gd name="connsiteY0" fmla="*/ 0 h 615465"/>
                  <a:gd name="connsiteX1" fmla="*/ 2518131 w 3262450"/>
                  <a:gd name="connsiteY1" fmla="*/ 35831 h 615465"/>
                  <a:gd name="connsiteX2" fmla="*/ 2518131 w 3262450"/>
                  <a:gd name="connsiteY2" fmla="*/ 0 h 615465"/>
                  <a:gd name="connsiteX3" fmla="*/ 3262450 w 3262450"/>
                  <a:gd name="connsiteY3" fmla="*/ 0 h 615465"/>
                  <a:gd name="connsiteX4" fmla="*/ 2741498 w 3262450"/>
                  <a:gd name="connsiteY4" fmla="*/ 75713 h 615465"/>
                  <a:gd name="connsiteX5" fmla="*/ 2518131 w 3262450"/>
                  <a:gd name="connsiteY5" fmla="*/ 110538 h 615465"/>
                  <a:gd name="connsiteX6" fmla="*/ 2518131 w 3262450"/>
                  <a:gd name="connsiteY6" fmla="*/ 81550 h 615465"/>
                  <a:gd name="connsiteX7" fmla="*/ 2414778 w 3262450"/>
                  <a:gd name="connsiteY7" fmla="*/ 81550 h 615465"/>
                  <a:gd name="connsiteX8" fmla="*/ 2414778 w 3262450"/>
                  <a:gd name="connsiteY8" fmla="*/ 126652 h 615465"/>
                  <a:gd name="connsiteX9" fmla="*/ 2140564 w 3262450"/>
                  <a:gd name="connsiteY9" fmla="*/ 169405 h 615465"/>
                  <a:gd name="connsiteX10" fmla="*/ 1259274 w 3262450"/>
                  <a:gd name="connsiteY10" fmla="*/ 326438 h 615465"/>
                  <a:gd name="connsiteX11" fmla="*/ 1259067 w 3262450"/>
                  <a:gd name="connsiteY11" fmla="*/ 326480 h 615465"/>
                  <a:gd name="connsiteX12" fmla="*/ 1259067 w 3262450"/>
                  <a:gd name="connsiteY12" fmla="*/ 81550 h 615465"/>
                  <a:gd name="connsiteX13" fmla="*/ 1155712 w 3262450"/>
                  <a:gd name="connsiteY13" fmla="*/ 81550 h 615465"/>
                  <a:gd name="connsiteX14" fmla="*/ 1155712 w 3262450"/>
                  <a:gd name="connsiteY14" fmla="*/ 347466 h 615465"/>
                  <a:gd name="connsiteX15" fmla="*/ 972658 w 3262450"/>
                  <a:gd name="connsiteY15" fmla="*/ 384635 h 615465"/>
                  <a:gd name="connsiteX16" fmla="*/ 412824 w 3262450"/>
                  <a:gd name="connsiteY16" fmla="*/ 511989 h 615465"/>
                  <a:gd name="connsiteX17" fmla="*/ 11867 w 3262450"/>
                  <a:gd name="connsiteY17" fmla="*/ 612411 h 615465"/>
                  <a:gd name="connsiteX18" fmla="*/ 0 w 3262450"/>
                  <a:gd name="connsiteY18" fmla="*/ 615465 h 615465"/>
                  <a:gd name="connsiteX19" fmla="*/ 0 w 3262450"/>
                  <a:gd name="connsiteY19" fmla="*/ 0 h 615465"/>
                  <a:gd name="connsiteX0" fmla="*/ 0 w 3262450"/>
                  <a:gd name="connsiteY0" fmla="*/ 0 h 615465"/>
                  <a:gd name="connsiteX1" fmla="*/ 2518131 w 3262450"/>
                  <a:gd name="connsiteY1" fmla="*/ 35831 h 615465"/>
                  <a:gd name="connsiteX2" fmla="*/ 3262450 w 3262450"/>
                  <a:gd name="connsiteY2" fmla="*/ 0 h 615465"/>
                  <a:gd name="connsiteX3" fmla="*/ 2741498 w 3262450"/>
                  <a:gd name="connsiteY3" fmla="*/ 75713 h 615465"/>
                  <a:gd name="connsiteX4" fmla="*/ 2518131 w 3262450"/>
                  <a:gd name="connsiteY4" fmla="*/ 110538 h 615465"/>
                  <a:gd name="connsiteX5" fmla="*/ 2518131 w 3262450"/>
                  <a:gd name="connsiteY5" fmla="*/ 81550 h 615465"/>
                  <a:gd name="connsiteX6" fmla="*/ 2414778 w 3262450"/>
                  <a:gd name="connsiteY6" fmla="*/ 81550 h 615465"/>
                  <a:gd name="connsiteX7" fmla="*/ 2414778 w 3262450"/>
                  <a:gd name="connsiteY7" fmla="*/ 126652 h 615465"/>
                  <a:gd name="connsiteX8" fmla="*/ 2140564 w 3262450"/>
                  <a:gd name="connsiteY8" fmla="*/ 169405 h 615465"/>
                  <a:gd name="connsiteX9" fmla="*/ 1259274 w 3262450"/>
                  <a:gd name="connsiteY9" fmla="*/ 326438 h 615465"/>
                  <a:gd name="connsiteX10" fmla="*/ 1259067 w 3262450"/>
                  <a:gd name="connsiteY10" fmla="*/ 326480 h 615465"/>
                  <a:gd name="connsiteX11" fmla="*/ 1259067 w 3262450"/>
                  <a:gd name="connsiteY11" fmla="*/ 81550 h 615465"/>
                  <a:gd name="connsiteX12" fmla="*/ 1155712 w 3262450"/>
                  <a:gd name="connsiteY12" fmla="*/ 81550 h 615465"/>
                  <a:gd name="connsiteX13" fmla="*/ 1155712 w 3262450"/>
                  <a:gd name="connsiteY13" fmla="*/ 347466 h 615465"/>
                  <a:gd name="connsiteX14" fmla="*/ 972658 w 3262450"/>
                  <a:gd name="connsiteY14" fmla="*/ 384635 h 615465"/>
                  <a:gd name="connsiteX15" fmla="*/ 412824 w 3262450"/>
                  <a:gd name="connsiteY15" fmla="*/ 511989 h 615465"/>
                  <a:gd name="connsiteX16" fmla="*/ 11867 w 3262450"/>
                  <a:gd name="connsiteY16" fmla="*/ 612411 h 615465"/>
                  <a:gd name="connsiteX17" fmla="*/ 0 w 3262450"/>
                  <a:gd name="connsiteY17" fmla="*/ 615465 h 615465"/>
                  <a:gd name="connsiteX18" fmla="*/ 0 w 3262450"/>
                  <a:gd name="connsiteY18"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518131 w 3262450"/>
                  <a:gd name="connsiteY4" fmla="*/ 81550 h 615465"/>
                  <a:gd name="connsiteX5" fmla="*/ 2414778 w 3262450"/>
                  <a:gd name="connsiteY5" fmla="*/ 81550 h 615465"/>
                  <a:gd name="connsiteX6" fmla="*/ 2414778 w 3262450"/>
                  <a:gd name="connsiteY6" fmla="*/ 126652 h 615465"/>
                  <a:gd name="connsiteX7" fmla="*/ 2140564 w 3262450"/>
                  <a:gd name="connsiteY7" fmla="*/ 169405 h 615465"/>
                  <a:gd name="connsiteX8" fmla="*/ 1259274 w 3262450"/>
                  <a:gd name="connsiteY8" fmla="*/ 326438 h 615465"/>
                  <a:gd name="connsiteX9" fmla="*/ 1259067 w 3262450"/>
                  <a:gd name="connsiteY9" fmla="*/ 326480 h 615465"/>
                  <a:gd name="connsiteX10" fmla="*/ 1259067 w 3262450"/>
                  <a:gd name="connsiteY10" fmla="*/ 81550 h 615465"/>
                  <a:gd name="connsiteX11" fmla="*/ 1155712 w 3262450"/>
                  <a:gd name="connsiteY11" fmla="*/ 81550 h 615465"/>
                  <a:gd name="connsiteX12" fmla="*/ 1155712 w 3262450"/>
                  <a:gd name="connsiteY12" fmla="*/ 347466 h 615465"/>
                  <a:gd name="connsiteX13" fmla="*/ 972658 w 3262450"/>
                  <a:gd name="connsiteY13" fmla="*/ 384635 h 615465"/>
                  <a:gd name="connsiteX14" fmla="*/ 412824 w 3262450"/>
                  <a:gd name="connsiteY14" fmla="*/ 511989 h 615465"/>
                  <a:gd name="connsiteX15" fmla="*/ 11867 w 3262450"/>
                  <a:gd name="connsiteY15" fmla="*/ 612411 h 615465"/>
                  <a:gd name="connsiteX16" fmla="*/ 0 w 3262450"/>
                  <a:gd name="connsiteY16" fmla="*/ 615465 h 615465"/>
                  <a:gd name="connsiteX17" fmla="*/ 0 w 3262450"/>
                  <a:gd name="connsiteY17"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81550 h 615465"/>
                  <a:gd name="connsiteX5" fmla="*/ 2414778 w 3262450"/>
                  <a:gd name="connsiteY5" fmla="*/ 126652 h 615465"/>
                  <a:gd name="connsiteX6" fmla="*/ 2140564 w 3262450"/>
                  <a:gd name="connsiteY6" fmla="*/ 169405 h 615465"/>
                  <a:gd name="connsiteX7" fmla="*/ 1259274 w 3262450"/>
                  <a:gd name="connsiteY7" fmla="*/ 326438 h 615465"/>
                  <a:gd name="connsiteX8" fmla="*/ 1259067 w 3262450"/>
                  <a:gd name="connsiteY8" fmla="*/ 326480 h 615465"/>
                  <a:gd name="connsiteX9" fmla="*/ 1259067 w 3262450"/>
                  <a:gd name="connsiteY9" fmla="*/ 81550 h 615465"/>
                  <a:gd name="connsiteX10" fmla="*/ 1155712 w 3262450"/>
                  <a:gd name="connsiteY10" fmla="*/ 81550 h 615465"/>
                  <a:gd name="connsiteX11" fmla="*/ 1155712 w 3262450"/>
                  <a:gd name="connsiteY11" fmla="*/ 347466 h 615465"/>
                  <a:gd name="connsiteX12" fmla="*/ 972658 w 3262450"/>
                  <a:gd name="connsiteY12" fmla="*/ 384635 h 615465"/>
                  <a:gd name="connsiteX13" fmla="*/ 412824 w 3262450"/>
                  <a:gd name="connsiteY13" fmla="*/ 511989 h 615465"/>
                  <a:gd name="connsiteX14" fmla="*/ 11867 w 3262450"/>
                  <a:gd name="connsiteY14" fmla="*/ 612411 h 615465"/>
                  <a:gd name="connsiteX15" fmla="*/ 0 w 3262450"/>
                  <a:gd name="connsiteY15" fmla="*/ 615465 h 615465"/>
                  <a:gd name="connsiteX16" fmla="*/ 0 w 3262450"/>
                  <a:gd name="connsiteY16"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259067 w 3262450"/>
                  <a:gd name="connsiteY8" fmla="*/ 81550 h 615465"/>
                  <a:gd name="connsiteX9" fmla="*/ 1155712 w 3262450"/>
                  <a:gd name="connsiteY9" fmla="*/ 81550 h 615465"/>
                  <a:gd name="connsiteX10" fmla="*/ 1155712 w 3262450"/>
                  <a:gd name="connsiteY10" fmla="*/ 347466 h 615465"/>
                  <a:gd name="connsiteX11" fmla="*/ 972658 w 3262450"/>
                  <a:gd name="connsiteY11" fmla="*/ 384635 h 615465"/>
                  <a:gd name="connsiteX12" fmla="*/ 412824 w 3262450"/>
                  <a:gd name="connsiteY12" fmla="*/ 511989 h 615465"/>
                  <a:gd name="connsiteX13" fmla="*/ 11867 w 3262450"/>
                  <a:gd name="connsiteY13" fmla="*/ 612411 h 615465"/>
                  <a:gd name="connsiteX14" fmla="*/ 0 w 3262450"/>
                  <a:gd name="connsiteY14" fmla="*/ 615465 h 615465"/>
                  <a:gd name="connsiteX15" fmla="*/ 0 w 3262450"/>
                  <a:gd name="connsiteY15"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81550 h 615465"/>
                  <a:gd name="connsiteX9" fmla="*/ 1155712 w 3262450"/>
                  <a:gd name="connsiteY9" fmla="*/ 347466 h 615465"/>
                  <a:gd name="connsiteX10" fmla="*/ 972658 w 3262450"/>
                  <a:gd name="connsiteY10" fmla="*/ 384635 h 615465"/>
                  <a:gd name="connsiteX11" fmla="*/ 412824 w 3262450"/>
                  <a:gd name="connsiteY11" fmla="*/ 511989 h 615465"/>
                  <a:gd name="connsiteX12" fmla="*/ 11867 w 3262450"/>
                  <a:gd name="connsiteY12" fmla="*/ 612411 h 615465"/>
                  <a:gd name="connsiteX13" fmla="*/ 0 w 3262450"/>
                  <a:gd name="connsiteY13" fmla="*/ 615465 h 615465"/>
                  <a:gd name="connsiteX14" fmla="*/ 0 w 3262450"/>
                  <a:gd name="connsiteY14"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347466 h 615465"/>
                  <a:gd name="connsiteX9" fmla="*/ 972658 w 3262450"/>
                  <a:gd name="connsiteY9" fmla="*/ 384635 h 615465"/>
                  <a:gd name="connsiteX10" fmla="*/ 412824 w 3262450"/>
                  <a:gd name="connsiteY10" fmla="*/ 511989 h 615465"/>
                  <a:gd name="connsiteX11" fmla="*/ 11867 w 3262450"/>
                  <a:gd name="connsiteY11" fmla="*/ 612411 h 615465"/>
                  <a:gd name="connsiteX12" fmla="*/ 0 w 3262450"/>
                  <a:gd name="connsiteY12" fmla="*/ 615465 h 615465"/>
                  <a:gd name="connsiteX13" fmla="*/ 0 w 3262450"/>
                  <a:gd name="connsiteY13" fmla="*/ 0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2450" h="615465">
                    <a:moveTo>
                      <a:pt x="0" y="0"/>
                    </a:moveTo>
                    <a:lnTo>
                      <a:pt x="3262450" y="0"/>
                    </a:lnTo>
                    <a:lnTo>
                      <a:pt x="2741498" y="75713"/>
                    </a:lnTo>
                    <a:lnTo>
                      <a:pt x="2518131" y="110538"/>
                    </a:lnTo>
                    <a:lnTo>
                      <a:pt x="2414778" y="126652"/>
                    </a:lnTo>
                    <a:lnTo>
                      <a:pt x="2140564" y="169405"/>
                    </a:lnTo>
                    <a:cubicBezTo>
                      <a:pt x="1842332" y="218087"/>
                      <a:pt x="1547900" y="269886"/>
                      <a:pt x="1259274" y="326438"/>
                    </a:cubicBezTo>
                    <a:lnTo>
                      <a:pt x="1259067" y="326480"/>
                    </a:lnTo>
                    <a:lnTo>
                      <a:pt x="1155712" y="347466"/>
                    </a:lnTo>
                    <a:lnTo>
                      <a:pt x="972658" y="384635"/>
                    </a:lnTo>
                    <a:cubicBezTo>
                      <a:pt x="782969" y="424570"/>
                      <a:pt x="596160" y="466860"/>
                      <a:pt x="412824" y="511989"/>
                    </a:cubicBezTo>
                    <a:lnTo>
                      <a:pt x="11867" y="612411"/>
                    </a:lnTo>
                    <a:lnTo>
                      <a:pt x="0" y="615465"/>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55" name="TextBox 8">
              <a:extLst>
                <a:ext uri="{FF2B5EF4-FFF2-40B4-BE49-F238E27FC236}">
                  <a16:creationId xmlns:a16="http://schemas.microsoft.com/office/drawing/2014/main" id="{60795031-EED6-CB47-E720-625C5786E490}"/>
                </a:ext>
              </a:extLst>
            </p:cNvPr>
            <p:cNvSpPr txBox="1"/>
            <p:nvPr/>
          </p:nvSpPr>
          <p:spPr>
            <a:xfrm>
              <a:off x="708673" y="3609305"/>
              <a:ext cx="2690564" cy="584775"/>
            </a:xfrm>
            <a:prstGeom prst="rect">
              <a:avLst/>
            </a:prstGeom>
            <a:noFill/>
          </p:spPr>
          <p:txBody>
            <a:bodyPr wrap="square" rtlCol="0">
              <a:spAutoFit/>
            </a:bodyPr>
            <a:lstStyle/>
            <a:p>
              <a:pPr algn="ctr"/>
              <a:r>
                <a:rPr lang="en-US" sz="3200" b="1" dirty="0">
                  <a:solidFill>
                    <a:schemeClr val="bg1"/>
                  </a:solidFill>
                </a:rPr>
                <a:t>1842-1864</a:t>
              </a:r>
            </a:p>
          </p:txBody>
        </p:sp>
        <p:sp>
          <p:nvSpPr>
            <p:cNvPr id="56" name="TextBox 8">
              <a:extLst>
                <a:ext uri="{FF2B5EF4-FFF2-40B4-BE49-F238E27FC236}">
                  <a16:creationId xmlns:a16="http://schemas.microsoft.com/office/drawing/2014/main" id="{A09FD096-DBC4-46F2-3842-601037192C4F}"/>
                </a:ext>
              </a:extLst>
            </p:cNvPr>
            <p:cNvSpPr txBox="1"/>
            <p:nvPr/>
          </p:nvSpPr>
          <p:spPr>
            <a:xfrm>
              <a:off x="3395993" y="3210086"/>
              <a:ext cx="2690564" cy="584775"/>
            </a:xfrm>
            <a:prstGeom prst="rect">
              <a:avLst/>
            </a:prstGeom>
            <a:noFill/>
          </p:spPr>
          <p:txBody>
            <a:bodyPr wrap="square" rtlCol="0">
              <a:spAutoFit/>
            </a:bodyPr>
            <a:lstStyle/>
            <a:p>
              <a:pPr algn="ctr"/>
              <a:r>
                <a:rPr lang="en-US" sz="3200" b="1" dirty="0">
                  <a:solidFill>
                    <a:schemeClr val="bg1"/>
                  </a:solidFill>
                </a:rPr>
                <a:t>1864-1905</a:t>
              </a:r>
            </a:p>
          </p:txBody>
        </p:sp>
        <p:sp>
          <p:nvSpPr>
            <p:cNvPr id="57" name="TextBox 8">
              <a:extLst>
                <a:ext uri="{FF2B5EF4-FFF2-40B4-BE49-F238E27FC236}">
                  <a16:creationId xmlns:a16="http://schemas.microsoft.com/office/drawing/2014/main" id="{0D400D30-208F-3058-A3F2-B9622686505B}"/>
                </a:ext>
              </a:extLst>
            </p:cNvPr>
            <p:cNvSpPr txBox="1"/>
            <p:nvPr/>
          </p:nvSpPr>
          <p:spPr>
            <a:xfrm>
              <a:off x="6083313" y="3609305"/>
              <a:ext cx="2690564" cy="584775"/>
            </a:xfrm>
            <a:prstGeom prst="rect">
              <a:avLst/>
            </a:prstGeom>
            <a:noFill/>
          </p:spPr>
          <p:txBody>
            <a:bodyPr wrap="square" rtlCol="0">
              <a:spAutoFit/>
            </a:bodyPr>
            <a:lstStyle/>
            <a:p>
              <a:pPr algn="ctr"/>
              <a:r>
                <a:rPr lang="en-US" sz="3200" b="1" dirty="0">
                  <a:solidFill>
                    <a:schemeClr val="bg1"/>
                  </a:solidFill>
                </a:rPr>
                <a:t>1905-1986</a:t>
              </a:r>
            </a:p>
          </p:txBody>
        </p:sp>
        <p:sp>
          <p:nvSpPr>
            <p:cNvPr id="58" name="TextBox 8">
              <a:extLst>
                <a:ext uri="{FF2B5EF4-FFF2-40B4-BE49-F238E27FC236}">
                  <a16:creationId xmlns:a16="http://schemas.microsoft.com/office/drawing/2014/main" id="{6CC607AA-BBAA-3FEE-720C-EF7FBDD56228}"/>
                </a:ext>
              </a:extLst>
            </p:cNvPr>
            <p:cNvSpPr txBox="1"/>
            <p:nvPr/>
          </p:nvSpPr>
          <p:spPr>
            <a:xfrm>
              <a:off x="8770633" y="3210086"/>
              <a:ext cx="2690564" cy="584775"/>
            </a:xfrm>
            <a:prstGeom prst="rect">
              <a:avLst/>
            </a:prstGeom>
            <a:noFill/>
          </p:spPr>
          <p:txBody>
            <a:bodyPr wrap="square" rtlCol="0">
              <a:spAutoFit/>
            </a:bodyPr>
            <a:lstStyle/>
            <a:p>
              <a:pPr algn="ctr"/>
              <a:r>
                <a:rPr lang="en-US" sz="3200" b="1" dirty="0">
                  <a:solidFill>
                    <a:schemeClr val="bg1"/>
                  </a:solidFill>
                </a:rPr>
                <a:t>1986-NOW</a:t>
              </a:r>
            </a:p>
          </p:txBody>
        </p:sp>
      </p:grpSp>
      <p:sp>
        <p:nvSpPr>
          <p:cNvPr id="61" name="Rechthoek 60">
            <a:extLst>
              <a:ext uri="{FF2B5EF4-FFF2-40B4-BE49-F238E27FC236}">
                <a16:creationId xmlns:a16="http://schemas.microsoft.com/office/drawing/2014/main" id="{BE2A1E0C-EE19-3B9F-21BD-90CA54EC3214}"/>
              </a:ext>
            </a:extLst>
          </p:cNvPr>
          <p:cNvSpPr/>
          <p:nvPr/>
        </p:nvSpPr>
        <p:spPr>
          <a:xfrm>
            <a:off x="3410911" y="4050560"/>
            <a:ext cx="2690564" cy="1707149"/>
          </a:xfrm>
          <a:prstGeom prst="rect">
            <a:avLst/>
          </a:prstGeom>
          <a:blipFill>
            <a:blip r:embed="rId3"/>
            <a:srcRect/>
            <a:stretch>
              <a:fillRect t="-10313" b="-207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63" name="Rechthoek 62">
            <a:extLst>
              <a:ext uri="{FF2B5EF4-FFF2-40B4-BE49-F238E27FC236}">
                <a16:creationId xmlns:a16="http://schemas.microsoft.com/office/drawing/2014/main" id="{544896A8-BC47-BEBA-B1AE-87114CB02079}"/>
              </a:ext>
            </a:extLst>
          </p:cNvPr>
          <p:cNvSpPr/>
          <p:nvPr/>
        </p:nvSpPr>
        <p:spPr>
          <a:xfrm>
            <a:off x="8780712" y="4050560"/>
            <a:ext cx="2690564" cy="1707149"/>
          </a:xfrm>
          <a:prstGeom prst="rect">
            <a:avLst/>
          </a:prstGeom>
          <a:blipFill>
            <a:blip r:embed="rId4"/>
            <a:srcRect/>
            <a:stretch>
              <a:fillRect t="-40681" b="-8771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68" name="Rechthoek 67">
            <a:extLst>
              <a:ext uri="{FF2B5EF4-FFF2-40B4-BE49-F238E27FC236}">
                <a16:creationId xmlns:a16="http://schemas.microsoft.com/office/drawing/2014/main" id="{9B777774-50C1-15DC-0EC4-6ED6F5871096}"/>
              </a:ext>
            </a:extLst>
          </p:cNvPr>
          <p:cNvSpPr/>
          <p:nvPr/>
        </p:nvSpPr>
        <p:spPr>
          <a:xfrm>
            <a:off x="718458" y="1645920"/>
            <a:ext cx="2690564" cy="1710159"/>
          </a:xfrm>
          <a:prstGeom prst="rect">
            <a:avLst/>
          </a:prstGeom>
          <a:blipFill>
            <a:blip r:embed="rId5"/>
            <a:srcRect/>
            <a:stretch>
              <a:fillRect l="-6690" t="-51031" r="-6690" b="-13178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0" name="Rechthoek 69">
            <a:extLst>
              <a:ext uri="{FF2B5EF4-FFF2-40B4-BE49-F238E27FC236}">
                <a16:creationId xmlns:a16="http://schemas.microsoft.com/office/drawing/2014/main" id="{0CCD73E2-039F-35D7-A423-463BB561EAF1}"/>
              </a:ext>
            </a:extLst>
          </p:cNvPr>
          <p:cNvSpPr/>
          <p:nvPr/>
        </p:nvSpPr>
        <p:spPr>
          <a:xfrm>
            <a:off x="6093923" y="1645920"/>
            <a:ext cx="2690564" cy="1710159"/>
          </a:xfrm>
          <a:prstGeom prst="rect">
            <a:avLst/>
          </a:prstGeom>
          <a:blipFill>
            <a:blip r:embed="rId6"/>
            <a:stretch>
              <a:fillRect l="-5291" t="-11523" r="-5291" b="-3338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2" name="Tijdelijke aanduiding voor dianummer 71">
            <a:extLst>
              <a:ext uri="{FF2B5EF4-FFF2-40B4-BE49-F238E27FC236}">
                <a16:creationId xmlns:a16="http://schemas.microsoft.com/office/drawing/2014/main" id="{414D6A56-E7E1-C86F-BC9A-01CCF9BB03DB}"/>
              </a:ext>
            </a:extLst>
          </p:cNvPr>
          <p:cNvSpPr>
            <a:spLocks noGrp="1"/>
          </p:cNvSpPr>
          <p:nvPr>
            <p:ph type="sldNum" sz="quarter" idx="20"/>
          </p:nvPr>
        </p:nvSpPr>
        <p:spPr/>
        <p:txBody>
          <a:bodyPr/>
          <a:lstStyle/>
          <a:p>
            <a:fld id="{9E843DB9-9987-4157-AB9C-CEA8D7D910BB}" type="slidenum">
              <a:rPr lang="en-GB" smtClean="0"/>
              <a:pPr/>
              <a:t>10</a:t>
            </a:fld>
            <a:endParaRPr lang="en-GB" dirty="0"/>
          </a:p>
        </p:txBody>
      </p:sp>
      <p:grpSp>
        <p:nvGrpSpPr>
          <p:cNvPr id="76" name="HYPER HOME">
            <a:extLst>
              <a:ext uri="{FF2B5EF4-FFF2-40B4-BE49-F238E27FC236}">
                <a16:creationId xmlns:a16="http://schemas.microsoft.com/office/drawing/2014/main" id="{7C90C350-5284-F85A-DFAE-1F3C16CA2951}"/>
              </a:ext>
            </a:extLst>
          </p:cNvPr>
          <p:cNvGrpSpPr/>
          <p:nvPr/>
        </p:nvGrpSpPr>
        <p:grpSpPr>
          <a:xfrm>
            <a:off x="11460480" y="0"/>
            <a:ext cx="731520" cy="731520"/>
            <a:chOff x="11460480" y="0"/>
            <a:chExt cx="731520" cy="731520"/>
          </a:xfrm>
        </p:grpSpPr>
        <p:pic>
          <p:nvPicPr>
            <p:cNvPr id="77" name="Graphic 76">
              <a:extLst>
                <a:ext uri="{FF2B5EF4-FFF2-40B4-BE49-F238E27FC236}">
                  <a16:creationId xmlns:a16="http://schemas.microsoft.com/office/drawing/2014/main" id="{5425137F-5015-B0EB-5697-1CF417CCB7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78" name="Rechthoek 77">
              <a:hlinkClick r:id="rId9" action="ppaction://hlinksldjump"/>
              <a:extLst>
                <a:ext uri="{FF2B5EF4-FFF2-40B4-BE49-F238E27FC236}">
                  <a16:creationId xmlns:a16="http://schemas.microsoft.com/office/drawing/2014/main" id="{D9501943-69C1-6C2D-97B4-0BF054599746}"/>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158961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1000" fill="hold"/>
                                        <p:tgtEl>
                                          <p:spTgt spid="79"/>
                                        </p:tgtEl>
                                        <p:attrNameLst>
                                          <p:attrName>ppt_x</p:attrName>
                                        </p:attrNameLst>
                                      </p:cBhvr>
                                      <p:tavLst>
                                        <p:tav tm="0">
                                          <p:val>
                                            <p:strVal val="0-#ppt_w/2"/>
                                          </p:val>
                                        </p:tav>
                                        <p:tav tm="100000">
                                          <p:val>
                                            <p:strVal val="#ppt_x"/>
                                          </p:val>
                                        </p:tav>
                                      </p:tavLst>
                                    </p:anim>
                                    <p:anim calcmode="lin" valueType="num">
                                      <p:cBhvr additive="base">
                                        <p:cTn id="8" dur="1000" fill="hold"/>
                                        <p:tgtEl>
                                          <p:spTgt spid="79"/>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7" presetClass="entr" presetSubtype="4" fill="hold" grpId="0" nodeType="afterEffect">
                                  <p:stCondLst>
                                    <p:cond delay="0"/>
                                  </p:stCondLst>
                                  <p:childTnLst>
                                    <p:set>
                                      <p:cBhvr>
                                        <p:cTn id="11" dur="1" fill="hold">
                                          <p:stCondLst>
                                            <p:cond delay="0"/>
                                          </p:stCondLst>
                                        </p:cTn>
                                        <p:tgtEl>
                                          <p:spTgt spid="68"/>
                                        </p:tgtEl>
                                        <p:attrNameLst>
                                          <p:attrName>style.visibility</p:attrName>
                                        </p:attrNameLst>
                                      </p:cBhvr>
                                      <p:to>
                                        <p:strVal val="visible"/>
                                      </p:to>
                                    </p:set>
                                    <p:anim calcmode="lin" valueType="num">
                                      <p:cBhvr>
                                        <p:cTn id="12" dur="500" fill="hold"/>
                                        <p:tgtEl>
                                          <p:spTgt spid="68"/>
                                        </p:tgtEl>
                                        <p:attrNameLst>
                                          <p:attrName>ppt_x</p:attrName>
                                        </p:attrNameLst>
                                      </p:cBhvr>
                                      <p:tavLst>
                                        <p:tav tm="0">
                                          <p:val>
                                            <p:strVal val="#ppt_x"/>
                                          </p:val>
                                        </p:tav>
                                        <p:tav tm="100000">
                                          <p:val>
                                            <p:strVal val="#ppt_x"/>
                                          </p:val>
                                        </p:tav>
                                      </p:tavLst>
                                    </p:anim>
                                    <p:anim calcmode="lin" valueType="num">
                                      <p:cBhvr>
                                        <p:cTn id="13" dur="500" fill="hold"/>
                                        <p:tgtEl>
                                          <p:spTgt spid="68"/>
                                        </p:tgtEl>
                                        <p:attrNameLst>
                                          <p:attrName>ppt_y</p:attrName>
                                        </p:attrNameLst>
                                      </p:cBhvr>
                                      <p:tavLst>
                                        <p:tav tm="0">
                                          <p:val>
                                            <p:strVal val="#ppt_y+#ppt_h/2"/>
                                          </p:val>
                                        </p:tav>
                                        <p:tav tm="100000">
                                          <p:val>
                                            <p:strVal val="#ppt_y"/>
                                          </p:val>
                                        </p:tav>
                                      </p:tavLst>
                                    </p:anim>
                                    <p:anim calcmode="lin" valueType="num">
                                      <p:cBhvr>
                                        <p:cTn id="14" dur="500" fill="hold"/>
                                        <p:tgtEl>
                                          <p:spTgt spid="68"/>
                                        </p:tgtEl>
                                        <p:attrNameLst>
                                          <p:attrName>ppt_w</p:attrName>
                                        </p:attrNameLst>
                                      </p:cBhvr>
                                      <p:tavLst>
                                        <p:tav tm="0">
                                          <p:val>
                                            <p:strVal val="#ppt_w"/>
                                          </p:val>
                                        </p:tav>
                                        <p:tav tm="100000">
                                          <p:val>
                                            <p:strVal val="#ppt_w"/>
                                          </p:val>
                                        </p:tav>
                                      </p:tavLst>
                                    </p:anim>
                                    <p:anim calcmode="lin" valueType="num">
                                      <p:cBhvr>
                                        <p:cTn id="15" dur="500" fill="hold"/>
                                        <p:tgtEl>
                                          <p:spTgt spid="68"/>
                                        </p:tgtEl>
                                        <p:attrNameLst>
                                          <p:attrName>ppt_h</p:attrName>
                                        </p:attrNameLst>
                                      </p:cBhvr>
                                      <p:tavLst>
                                        <p:tav tm="0">
                                          <p:val>
                                            <p:fltVal val="0"/>
                                          </p:val>
                                        </p:tav>
                                        <p:tav tm="100000">
                                          <p:val>
                                            <p:strVal val="#ppt_h"/>
                                          </p:val>
                                        </p:tav>
                                      </p:tavLst>
                                    </p:anim>
                                  </p:childTnLst>
                                </p:cTn>
                              </p:par>
                              <p:par>
                                <p:cTn id="16" presetID="10" presetClass="entr" presetSubtype="0"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childTnLst>
                          </p:cTn>
                        </p:par>
                        <p:par>
                          <p:cTn id="19" fill="hold">
                            <p:stCondLst>
                              <p:cond delay="1500"/>
                            </p:stCondLst>
                            <p:childTnLst>
                              <p:par>
                                <p:cTn id="20" presetID="17" presetClass="entr" presetSubtype="1" fill="hold" grpId="0" nodeType="afterEffect">
                                  <p:stCondLst>
                                    <p:cond delay="0"/>
                                  </p:stCondLst>
                                  <p:childTnLst>
                                    <p:set>
                                      <p:cBhvr>
                                        <p:cTn id="21" dur="1" fill="hold">
                                          <p:stCondLst>
                                            <p:cond delay="0"/>
                                          </p:stCondLst>
                                        </p:cTn>
                                        <p:tgtEl>
                                          <p:spTgt spid="61"/>
                                        </p:tgtEl>
                                        <p:attrNameLst>
                                          <p:attrName>style.visibility</p:attrName>
                                        </p:attrNameLst>
                                      </p:cBhvr>
                                      <p:to>
                                        <p:strVal val="visible"/>
                                      </p:to>
                                    </p:set>
                                    <p:anim calcmode="lin" valueType="num">
                                      <p:cBhvr>
                                        <p:cTn id="22" dur="500" fill="hold"/>
                                        <p:tgtEl>
                                          <p:spTgt spid="61"/>
                                        </p:tgtEl>
                                        <p:attrNameLst>
                                          <p:attrName>ppt_x</p:attrName>
                                        </p:attrNameLst>
                                      </p:cBhvr>
                                      <p:tavLst>
                                        <p:tav tm="0">
                                          <p:val>
                                            <p:strVal val="#ppt_x"/>
                                          </p:val>
                                        </p:tav>
                                        <p:tav tm="100000">
                                          <p:val>
                                            <p:strVal val="#ppt_x"/>
                                          </p:val>
                                        </p:tav>
                                      </p:tavLst>
                                    </p:anim>
                                    <p:anim calcmode="lin" valueType="num">
                                      <p:cBhvr>
                                        <p:cTn id="23" dur="500" fill="hold"/>
                                        <p:tgtEl>
                                          <p:spTgt spid="61"/>
                                        </p:tgtEl>
                                        <p:attrNameLst>
                                          <p:attrName>ppt_y</p:attrName>
                                        </p:attrNameLst>
                                      </p:cBhvr>
                                      <p:tavLst>
                                        <p:tav tm="0">
                                          <p:val>
                                            <p:strVal val="#ppt_y-#ppt_h/2"/>
                                          </p:val>
                                        </p:tav>
                                        <p:tav tm="100000">
                                          <p:val>
                                            <p:strVal val="#ppt_y"/>
                                          </p:val>
                                        </p:tav>
                                      </p:tavLst>
                                    </p:anim>
                                    <p:anim calcmode="lin" valueType="num">
                                      <p:cBhvr>
                                        <p:cTn id="24" dur="500" fill="hold"/>
                                        <p:tgtEl>
                                          <p:spTgt spid="61"/>
                                        </p:tgtEl>
                                        <p:attrNameLst>
                                          <p:attrName>ppt_w</p:attrName>
                                        </p:attrNameLst>
                                      </p:cBhvr>
                                      <p:tavLst>
                                        <p:tav tm="0">
                                          <p:val>
                                            <p:strVal val="#ppt_w"/>
                                          </p:val>
                                        </p:tav>
                                        <p:tav tm="100000">
                                          <p:val>
                                            <p:strVal val="#ppt_w"/>
                                          </p:val>
                                        </p:tav>
                                      </p:tavLst>
                                    </p:anim>
                                    <p:anim calcmode="lin" valueType="num">
                                      <p:cBhvr>
                                        <p:cTn id="25" dur="500" fill="hold"/>
                                        <p:tgtEl>
                                          <p:spTgt spid="61"/>
                                        </p:tgtEl>
                                        <p:attrNameLst>
                                          <p:attrName>ppt_h</p:attrName>
                                        </p:attrNameLst>
                                      </p:cBhvr>
                                      <p:tavLst>
                                        <p:tav tm="0">
                                          <p:val>
                                            <p:fltVal val="0"/>
                                          </p:val>
                                        </p:tav>
                                        <p:tav tm="100000">
                                          <p:val>
                                            <p:strVal val="#ppt_h"/>
                                          </p:val>
                                        </p:tav>
                                      </p:tavLst>
                                    </p:anim>
                                  </p:childTnLst>
                                </p:cTn>
                              </p:par>
                              <p:par>
                                <p:cTn id="26" presetID="10" presetClass="entr" presetSubtype="0"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par>
                          <p:cTn id="29" fill="hold">
                            <p:stCondLst>
                              <p:cond delay="2000"/>
                            </p:stCondLst>
                            <p:childTnLst>
                              <p:par>
                                <p:cTn id="30" presetID="17" presetClass="entr" presetSubtype="4" fill="hold" grpId="0" nodeType="afterEffect">
                                  <p:stCondLst>
                                    <p:cond delay="0"/>
                                  </p:stCondLst>
                                  <p:childTnLst>
                                    <p:set>
                                      <p:cBhvr>
                                        <p:cTn id="31" dur="1" fill="hold">
                                          <p:stCondLst>
                                            <p:cond delay="0"/>
                                          </p:stCondLst>
                                        </p:cTn>
                                        <p:tgtEl>
                                          <p:spTgt spid="70"/>
                                        </p:tgtEl>
                                        <p:attrNameLst>
                                          <p:attrName>style.visibility</p:attrName>
                                        </p:attrNameLst>
                                      </p:cBhvr>
                                      <p:to>
                                        <p:strVal val="visible"/>
                                      </p:to>
                                    </p:set>
                                    <p:anim calcmode="lin" valueType="num">
                                      <p:cBhvr>
                                        <p:cTn id="32" dur="500" fill="hold"/>
                                        <p:tgtEl>
                                          <p:spTgt spid="70"/>
                                        </p:tgtEl>
                                        <p:attrNameLst>
                                          <p:attrName>ppt_x</p:attrName>
                                        </p:attrNameLst>
                                      </p:cBhvr>
                                      <p:tavLst>
                                        <p:tav tm="0">
                                          <p:val>
                                            <p:strVal val="#ppt_x"/>
                                          </p:val>
                                        </p:tav>
                                        <p:tav tm="100000">
                                          <p:val>
                                            <p:strVal val="#ppt_x"/>
                                          </p:val>
                                        </p:tav>
                                      </p:tavLst>
                                    </p:anim>
                                    <p:anim calcmode="lin" valueType="num">
                                      <p:cBhvr>
                                        <p:cTn id="33" dur="500" fill="hold"/>
                                        <p:tgtEl>
                                          <p:spTgt spid="70"/>
                                        </p:tgtEl>
                                        <p:attrNameLst>
                                          <p:attrName>ppt_y</p:attrName>
                                        </p:attrNameLst>
                                      </p:cBhvr>
                                      <p:tavLst>
                                        <p:tav tm="0">
                                          <p:val>
                                            <p:strVal val="#ppt_y+#ppt_h/2"/>
                                          </p:val>
                                        </p:tav>
                                        <p:tav tm="100000">
                                          <p:val>
                                            <p:strVal val="#ppt_y"/>
                                          </p:val>
                                        </p:tav>
                                      </p:tavLst>
                                    </p:anim>
                                    <p:anim calcmode="lin" valueType="num">
                                      <p:cBhvr>
                                        <p:cTn id="34" dur="500" fill="hold"/>
                                        <p:tgtEl>
                                          <p:spTgt spid="70"/>
                                        </p:tgtEl>
                                        <p:attrNameLst>
                                          <p:attrName>ppt_w</p:attrName>
                                        </p:attrNameLst>
                                      </p:cBhvr>
                                      <p:tavLst>
                                        <p:tav tm="0">
                                          <p:val>
                                            <p:strVal val="#ppt_w"/>
                                          </p:val>
                                        </p:tav>
                                        <p:tav tm="100000">
                                          <p:val>
                                            <p:strVal val="#ppt_w"/>
                                          </p:val>
                                        </p:tav>
                                      </p:tavLst>
                                    </p:anim>
                                    <p:anim calcmode="lin" valueType="num">
                                      <p:cBhvr>
                                        <p:cTn id="35" dur="500" fill="hold"/>
                                        <p:tgtEl>
                                          <p:spTgt spid="70"/>
                                        </p:tgtEl>
                                        <p:attrNameLst>
                                          <p:attrName>ppt_h</p:attrName>
                                        </p:attrNameLst>
                                      </p:cBhvr>
                                      <p:tavLst>
                                        <p:tav tm="0">
                                          <p:val>
                                            <p:fltVal val="0"/>
                                          </p:val>
                                        </p:tav>
                                        <p:tav tm="100000">
                                          <p:val>
                                            <p:strVal val="#ppt_h"/>
                                          </p:val>
                                        </p:tav>
                                      </p:tavLst>
                                    </p:anim>
                                  </p:childTnLst>
                                </p:cTn>
                              </p:par>
                              <p:par>
                                <p:cTn id="36" presetID="10" presetClass="entr" presetSubtype="0" fill="hold" grpId="0" nodeType="with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par>
                          <p:cTn id="39" fill="hold">
                            <p:stCondLst>
                              <p:cond delay="2500"/>
                            </p:stCondLst>
                            <p:childTnLst>
                              <p:par>
                                <p:cTn id="40" presetID="17" presetClass="entr" presetSubtype="1" fill="hold" grpId="0" nodeType="afterEffect">
                                  <p:stCondLst>
                                    <p:cond delay="0"/>
                                  </p:stCondLst>
                                  <p:childTnLst>
                                    <p:set>
                                      <p:cBhvr>
                                        <p:cTn id="41" dur="1" fill="hold">
                                          <p:stCondLst>
                                            <p:cond delay="0"/>
                                          </p:stCondLst>
                                        </p:cTn>
                                        <p:tgtEl>
                                          <p:spTgt spid="63"/>
                                        </p:tgtEl>
                                        <p:attrNameLst>
                                          <p:attrName>style.visibility</p:attrName>
                                        </p:attrNameLst>
                                      </p:cBhvr>
                                      <p:to>
                                        <p:strVal val="visible"/>
                                      </p:to>
                                    </p:set>
                                    <p:anim calcmode="lin" valueType="num">
                                      <p:cBhvr>
                                        <p:cTn id="42" dur="500" fill="hold"/>
                                        <p:tgtEl>
                                          <p:spTgt spid="63"/>
                                        </p:tgtEl>
                                        <p:attrNameLst>
                                          <p:attrName>ppt_x</p:attrName>
                                        </p:attrNameLst>
                                      </p:cBhvr>
                                      <p:tavLst>
                                        <p:tav tm="0">
                                          <p:val>
                                            <p:strVal val="#ppt_x"/>
                                          </p:val>
                                        </p:tav>
                                        <p:tav tm="100000">
                                          <p:val>
                                            <p:strVal val="#ppt_x"/>
                                          </p:val>
                                        </p:tav>
                                      </p:tavLst>
                                    </p:anim>
                                    <p:anim calcmode="lin" valueType="num">
                                      <p:cBhvr>
                                        <p:cTn id="43" dur="500" fill="hold"/>
                                        <p:tgtEl>
                                          <p:spTgt spid="63"/>
                                        </p:tgtEl>
                                        <p:attrNameLst>
                                          <p:attrName>ppt_y</p:attrName>
                                        </p:attrNameLst>
                                      </p:cBhvr>
                                      <p:tavLst>
                                        <p:tav tm="0">
                                          <p:val>
                                            <p:strVal val="#ppt_y-#ppt_h/2"/>
                                          </p:val>
                                        </p:tav>
                                        <p:tav tm="100000">
                                          <p:val>
                                            <p:strVal val="#ppt_y"/>
                                          </p:val>
                                        </p:tav>
                                      </p:tavLst>
                                    </p:anim>
                                    <p:anim calcmode="lin" valueType="num">
                                      <p:cBhvr>
                                        <p:cTn id="44" dur="500" fill="hold"/>
                                        <p:tgtEl>
                                          <p:spTgt spid="63"/>
                                        </p:tgtEl>
                                        <p:attrNameLst>
                                          <p:attrName>ppt_w</p:attrName>
                                        </p:attrNameLst>
                                      </p:cBhvr>
                                      <p:tavLst>
                                        <p:tav tm="0">
                                          <p:val>
                                            <p:strVal val="#ppt_w"/>
                                          </p:val>
                                        </p:tav>
                                        <p:tav tm="100000">
                                          <p:val>
                                            <p:strVal val="#ppt_w"/>
                                          </p:val>
                                        </p:tav>
                                      </p:tavLst>
                                    </p:anim>
                                    <p:anim calcmode="lin" valueType="num">
                                      <p:cBhvr>
                                        <p:cTn id="45" dur="500" fill="hold"/>
                                        <p:tgtEl>
                                          <p:spTgt spid="63"/>
                                        </p:tgtEl>
                                        <p:attrNameLst>
                                          <p:attrName>ppt_h</p:attrName>
                                        </p:attrNameLst>
                                      </p:cBhvr>
                                      <p:tavLst>
                                        <p:tav tm="0">
                                          <p:val>
                                            <p:fltVal val="0"/>
                                          </p:val>
                                        </p:tav>
                                        <p:tav tm="100000">
                                          <p:val>
                                            <p:strVal val="#ppt_h"/>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4"/>
                                        </p:tgtEl>
                                        <p:attrNameLst>
                                          <p:attrName>style.visibility</p:attrName>
                                        </p:attrNameLst>
                                      </p:cBhvr>
                                      <p:to>
                                        <p:strVal val="visible"/>
                                      </p:to>
                                    </p:set>
                                    <p:animEffect transition="in" filter="fade">
                                      <p:cBhvr>
                                        <p:cTn id="4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27" grpId="0"/>
      <p:bldP spid="29" grpId="0"/>
      <p:bldP spid="61" grpId="0" animBg="1"/>
      <p:bldP spid="63" grpId="0" animBg="1"/>
      <p:bldP spid="68" grpId="0" animBg="1"/>
      <p:bldP spid="7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VORM">
            <a:extLst>
              <a:ext uri="{FF2B5EF4-FFF2-40B4-BE49-F238E27FC236}">
                <a16:creationId xmlns:a16="http://schemas.microsoft.com/office/drawing/2014/main" id="{C95413B2-A431-1F21-1E48-6EDC74EB7727}"/>
              </a:ext>
            </a:extLst>
          </p:cNvPr>
          <p:cNvGrpSpPr/>
          <p:nvPr/>
        </p:nvGrpSpPr>
        <p:grpSpPr>
          <a:xfrm>
            <a:off x="12550759" y="-1"/>
            <a:ext cx="8373762" cy="6857999"/>
            <a:chOff x="3818239" y="-1"/>
            <a:chExt cx="8373762" cy="6857999"/>
          </a:xfrm>
        </p:grpSpPr>
        <p:sp>
          <p:nvSpPr>
            <p:cNvPr id="15" name="Rechthoek 14">
              <a:extLst>
                <a:ext uri="{FF2B5EF4-FFF2-40B4-BE49-F238E27FC236}">
                  <a16:creationId xmlns:a16="http://schemas.microsoft.com/office/drawing/2014/main" id="{80E432FE-892D-6934-B672-A1F3BDF8B8A3}"/>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8" name="Vrije vorm 17">
              <a:extLst>
                <a:ext uri="{FF2B5EF4-FFF2-40B4-BE49-F238E27FC236}">
                  <a16:creationId xmlns:a16="http://schemas.microsoft.com/office/drawing/2014/main" id="{059A8816-5F14-9C5A-8690-D6C90D3C9D75}"/>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1</a:t>
            </a:fld>
            <a:endParaRPr lang="en-GB" dirty="0"/>
          </a:p>
        </p:txBody>
      </p:sp>
      <p:sp>
        <p:nvSpPr>
          <p:cNvPr id="2" name="Rechthoek 1">
            <a:extLst>
              <a:ext uri="{FF2B5EF4-FFF2-40B4-BE49-F238E27FC236}">
                <a16:creationId xmlns:a16="http://schemas.microsoft.com/office/drawing/2014/main" id="{36102112-C438-D13C-6335-326E6F2420A1}"/>
              </a:ext>
            </a:extLst>
          </p:cNvPr>
          <p:cNvSpPr>
            <a:spLocks/>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nvGrpSpPr>
          <p:cNvPr id="3" name="Groep 2">
            <a:extLst>
              <a:ext uri="{FF2B5EF4-FFF2-40B4-BE49-F238E27FC236}">
                <a16:creationId xmlns:a16="http://schemas.microsoft.com/office/drawing/2014/main" id="{3E21F999-9BE4-73A4-CEC3-8DB27FA1FE2D}"/>
              </a:ext>
            </a:extLst>
          </p:cNvPr>
          <p:cNvGrpSpPr>
            <a:grpSpLocks/>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5452533" y="2030785"/>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2</a:t>
            </a:r>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custDataLst>
      <p:tags r:id="rId1"/>
    </p:custDataLst>
    <p:extLst>
      <p:ext uri="{BB962C8B-B14F-4D97-AF65-F5344CB8AC3E}">
        <p14:creationId xmlns:p14="http://schemas.microsoft.com/office/powerpoint/2010/main" val="126842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25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2</a:t>
            </a:fld>
            <a:endParaRPr lang="en-GB" dirty="0"/>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3531417"/>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Global </a:t>
            </a:r>
            <a:r>
              <a:rPr lang="nl-NL" b="1" i="1" dirty="0" err="1">
                <a:solidFill>
                  <a:schemeClr val="tx1"/>
                </a:solidFill>
                <a:cs typeface="Arial" panose="020B0604020202020204" pitchFamily="34" charset="0"/>
              </a:rPr>
              <a:t>challenges</a:t>
            </a:r>
            <a:r>
              <a:rPr lang="nl-NL" b="1" i="1" dirty="0">
                <a:solidFill>
                  <a:schemeClr val="tx1"/>
                </a:solidFill>
                <a:cs typeface="Arial" panose="020B0604020202020204" pitchFamily="34" charset="0"/>
              </a:rPr>
              <a:t>:</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climate</a:t>
            </a:r>
            <a:r>
              <a:rPr lang="nl-NL" dirty="0">
                <a:solidFill>
                  <a:schemeClr val="tx1"/>
                </a:solidFill>
                <a:cs typeface="Arial" panose="020B0604020202020204" pitchFamily="34" charset="0"/>
              </a:rPr>
              <a:t>, energy </a:t>
            </a:r>
            <a:r>
              <a:rPr lang="nl-NL" dirty="0" err="1">
                <a:solidFill>
                  <a:schemeClr val="tx1"/>
                </a:solidFill>
                <a:cs typeface="Arial" panose="020B0604020202020204" pitchFamily="34" charset="0"/>
              </a:rPr>
              <a:t>transition</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urban</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growth</a:t>
            </a:r>
            <a:r>
              <a:rPr lang="nl-NL" dirty="0">
                <a:solidFill>
                  <a:schemeClr val="tx1"/>
                </a:solidFill>
                <a:cs typeface="Arial" panose="020B0604020202020204" pitchFamily="34" charset="0"/>
              </a:rPr>
              <a:t>, digital </a:t>
            </a:r>
            <a:br>
              <a:rPr lang="nl-NL" dirty="0">
                <a:solidFill>
                  <a:schemeClr val="tx1"/>
                </a:solidFill>
                <a:cs typeface="Arial" panose="020B0604020202020204" pitchFamily="34" charset="0"/>
              </a:rPr>
            </a:br>
            <a:r>
              <a:rPr lang="nl-NL" dirty="0">
                <a:solidFill>
                  <a:schemeClr val="tx1"/>
                </a:solidFill>
                <a:cs typeface="Arial" panose="020B0604020202020204" pitchFamily="34" charset="0"/>
              </a:rPr>
              <a:t>society, health</a:t>
            </a: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42464" y="3652872"/>
            <a:ext cx="786567"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2297107"/>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dirty="0">
                <a:solidFill>
                  <a:schemeClr val="tx1"/>
                </a:solidFill>
                <a:cs typeface="Arial" panose="020B0604020202020204" pitchFamily="34" charset="0"/>
              </a:rPr>
              <a:t>TU Delft: </a:t>
            </a:r>
            <a:r>
              <a:rPr lang="nl-NL" b="1" i="1" dirty="0">
                <a:solidFill>
                  <a:schemeClr val="tx1"/>
                </a:solidFill>
                <a:cs typeface="Arial" panose="020B0604020202020204" pitchFamily="34" charset="0"/>
              </a:rPr>
              <a:t>'Impact </a:t>
            </a:r>
            <a:r>
              <a:rPr lang="nl-NL" b="1" i="1" dirty="0" err="1">
                <a:solidFill>
                  <a:schemeClr val="tx1"/>
                </a:solidFill>
                <a:cs typeface="Arial" panose="020B0604020202020204" pitchFamily="34" charset="0"/>
              </a:rPr>
              <a:t>for</a:t>
            </a:r>
            <a:r>
              <a:rPr lang="nl-NL" b="1" i="1" dirty="0">
                <a:solidFill>
                  <a:schemeClr val="tx1"/>
                </a:solidFill>
                <a:cs typeface="Arial" panose="020B0604020202020204" pitchFamily="34" charset="0"/>
              </a:rPr>
              <a:t> a </a:t>
            </a:r>
            <a:br>
              <a:rPr lang="nl-NL" b="1" i="1" dirty="0">
                <a:solidFill>
                  <a:schemeClr val="tx1"/>
                </a:solidFill>
                <a:cs typeface="Arial" panose="020B0604020202020204" pitchFamily="34" charset="0"/>
              </a:rPr>
            </a:br>
            <a:r>
              <a:rPr lang="nl-NL" b="1" i="1" dirty="0" err="1">
                <a:solidFill>
                  <a:schemeClr val="tx1"/>
                </a:solidFill>
                <a:cs typeface="Arial" panose="020B0604020202020204" pitchFamily="34" charset="0"/>
              </a:rPr>
              <a:t>better</a:t>
            </a:r>
            <a:r>
              <a:rPr lang="nl-NL" b="1" i="1" dirty="0">
                <a:solidFill>
                  <a:schemeClr val="tx1"/>
                </a:solidFill>
                <a:cs typeface="Arial" panose="020B0604020202020204" pitchFamily="34" charset="0"/>
              </a:rPr>
              <a:t> society’</a:t>
            </a:r>
            <a:endParaRPr lang="en-US" dirty="0">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742464" y="2418562"/>
            <a:ext cx="786567" cy="786567"/>
          </a:xfrm>
          <a:prstGeom prst="rect">
            <a:avLst/>
          </a:prstGeom>
        </p:spPr>
      </p:pic>
    </p:spTree>
    <p:custDataLst>
      <p:tags r:id="rId1"/>
    </p:custDataLst>
    <p:extLst>
      <p:ext uri="{BB962C8B-B14F-4D97-AF65-F5344CB8AC3E}">
        <p14:creationId xmlns:p14="http://schemas.microsoft.com/office/powerpoint/2010/main" val="340405386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3</a:t>
            </a:fld>
            <a:endParaRPr lang="en-GB" dirty="0"/>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2391433"/>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err="1">
                <a:solidFill>
                  <a:schemeClr val="tx1"/>
                </a:solidFill>
                <a:cs typeface="Arial" panose="020B0604020202020204" pitchFamily="34" charset="0"/>
              </a:rPr>
              <a:t>Multidisciplinary</a:t>
            </a:r>
            <a:r>
              <a:rPr lang="nl-NL" dirty="0">
                <a:solidFill>
                  <a:schemeClr val="tx1"/>
                </a:solidFill>
                <a:cs typeface="Arial" panose="020B0604020202020204" pitchFamily="34" charset="0"/>
              </a:rPr>
              <a:t> approach </a:t>
            </a:r>
            <a:r>
              <a:rPr lang="nl-NL" dirty="0" err="1">
                <a:solidFill>
                  <a:schemeClr val="tx1"/>
                </a:solidFill>
                <a:cs typeface="Arial" panose="020B0604020202020204" pitchFamily="34" charset="0"/>
              </a:rPr>
              <a:t>with</a:t>
            </a:r>
            <a:r>
              <a:rPr lang="nl-NL" dirty="0">
                <a:solidFill>
                  <a:schemeClr val="tx1"/>
                </a:solidFill>
                <a:cs typeface="Arial" panose="020B0604020202020204" pitchFamily="34" charset="0"/>
              </a:rPr>
              <a:t> </a:t>
            </a:r>
            <a:br>
              <a:rPr lang="nl-NL" dirty="0">
                <a:solidFill>
                  <a:schemeClr val="tx1"/>
                </a:solidFill>
                <a:cs typeface="Arial" panose="020B0604020202020204" pitchFamily="34" charset="0"/>
              </a:rPr>
            </a:br>
            <a:r>
              <a:rPr lang="nl-NL" dirty="0">
                <a:solidFill>
                  <a:schemeClr val="tx1"/>
                </a:solidFill>
                <a:cs typeface="Arial" panose="020B0604020202020204" pitchFamily="34" charset="0"/>
              </a:rPr>
              <a:t>diverse </a:t>
            </a:r>
            <a:r>
              <a:rPr lang="nl-NL" dirty="0" err="1">
                <a:solidFill>
                  <a:schemeClr val="tx1"/>
                </a:solidFill>
                <a:cs typeface="Arial" panose="020B0604020202020204" pitchFamily="34" charset="0"/>
              </a:rPr>
              <a:t>perspectives</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and</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interests</a:t>
            </a:r>
            <a:endParaRPr lang="en-US" dirty="0">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45" r="45"/>
          <a:stretch/>
        </p:blipFill>
        <p:spPr>
          <a:xfrm>
            <a:off x="6742464" y="2512888"/>
            <a:ext cx="785865"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1157123"/>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Delft approach: </a:t>
            </a:r>
            <a:r>
              <a:rPr lang="nl-NL" dirty="0" err="1">
                <a:solidFill>
                  <a:schemeClr val="tx1"/>
                </a:solidFill>
                <a:cs typeface="Arial" panose="020B0604020202020204" pitchFamily="34" charset="0"/>
              </a:rPr>
              <a:t>solid</a:t>
            </a:r>
            <a:r>
              <a:rPr lang="nl-NL" dirty="0">
                <a:solidFill>
                  <a:schemeClr val="tx1"/>
                </a:solidFill>
                <a:cs typeface="Arial" panose="020B0604020202020204" pitchFamily="34" charset="0"/>
              </a:rPr>
              <a:t>, hands-on, </a:t>
            </a:r>
            <a:r>
              <a:rPr lang="nl-NL" dirty="0" err="1">
                <a:solidFill>
                  <a:schemeClr val="tx1"/>
                </a:solidFill>
                <a:cs typeface="Arial" panose="020B0604020202020204" pitchFamily="34" charset="0"/>
              </a:rPr>
              <a:t>pragmatic</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innovative</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with</a:t>
            </a:r>
            <a:r>
              <a:rPr lang="nl-NL" dirty="0">
                <a:solidFill>
                  <a:schemeClr val="tx1"/>
                </a:solidFill>
                <a:cs typeface="Arial" panose="020B0604020202020204" pitchFamily="34" charset="0"/>
              </a:rPr>
              <a:t> courage, </a:t>
            </a:r>
            <a:br>
              <a:rPr lang="nl-NL" dirty="0">
                <a:solidFill>
                  <a:schemeClr val="tx1"/>
                </a:solidFill>
                <a:cs typeface="Arial" panose="020B0604020202020204" pitchFamily="34" charset="0"/>
              </a:rPr>
            </a:br>
            <a:r>
              <a:rPr lang="nl-NL" dirty="0">
                <a:solidFill>
                  <a:schemeClr val="tx1"/>
                </a:solidFill>
                <a:cs typeface="Arial" panose="020B0604020202020204" pitchFamily="34" charset="0"/>
              </a:rPr>
              <a:t>out-of-</a:t>
            </a:r>
            <a:r>
              <a:rPr lang="nl-NL" dirty="0" err="1">
                <a:solidFill>
                  <a:schemeClr val="tx1"/>
                </a:solidFill>
                <a:cs typeface="Arial" panose="020B0604020202020204" pitchFamily="34" charset="0"/>
              </a:rPr>
              <a:t>the</a:t>
            </a:r>
            <a:r>
              <a:rPr lang="nl-NL" dirty="0">
                <a:solidFill>
                  <a:schemeClr val="tx1"/>
                </a:solidFill>
                <a:cs typeface="Arial" panose="020B0604020202020204" pitchFamily="34" charset="0"/>
              </a:rPr>
              <a:t>-box </a:t>
            </a:r>
            <a:r>
              <a:rPr lang="nl-NL" dirty="0" err="1">
                <a:solidFill>
                  <a:schemeClr val="tx1"/>
                </a:solidFill>
                <a:cs typeface="Arial" panose="020B0604020202020204" pitchFamily="34" charset="0"/>
              </a:rPr>
              <a:t>and</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socially</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involved</a:t>
            </a:r>
            <a:endParaRPr lang="en-US" dirty="0">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45" r="89" b="-45"/>
          <a:stretch/>
        </p:blipFill>
        <p:spPr>
          <a:xfrm>
            <a:off x="6742464" y="1278578"/>
            <a:ext cx="785164" cy="786567"/>
          </a:xfrm>
          <a:prstGeom prst="rect">
            <a:avLst/>
          </a:prstGeom>
        </p:spPr>
      </p:pic>
      <p:sp>
        <p:nvSpPr>
          <p:cNvPr id="16" name="Rechthoek 15">
            <a:extLst>
              <a:ext uri="{FF2B5EF4-FFF2-40B4-BE49-F238E27FC236}">
                <a16:creationId xmlns:a16="http://schemas.microsoft.com/office/drawing/2014/main" id="{2C396967-75E2-BC42-C45F-725CE5CB3345}"/>
              </a:ext>
            </a:extLst>
          </p:cNvPr>
          <p:cNvSpPr/>
          <p:nvPr/>
        </p:nvSpPr>
        <p:spPr>
          <a:xfrm>
            <a:off x="6582719" y="354236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en-US" b="1" i="1" dirty="0">
                <a:solidFill>
                  <a:schemeClr val="tx1"/>
                </a:solidFill>
                <a:cs typeface="Arial" panose="020B0604020202020204" pitchFamily="34" charset="0"/>
              </a:rPr>
              <a:t>Future-proof</a:t>
            </a:r>
            <a:r>
              <a:rPr lang="en-US" dirty="0">
                <a:solidFill>
                  <a:schemeClr val="tx1"/>
                </a:solidFill>
                <a:cs typeface="Arial" panose="020B0604020202020204" pitchFamily="34" charset="0"/>
              </a:rPr>
              <a:t> solutions</a:t>
            </a:r>
          </a:p>
        </p:txBody>
      </p:sp>
      <p:pic>
        <p:nvPicPr>
          <p:cNvPr id="17" name="Graphic 16">
            <a:extLst>
              <a:ext uri="{FF2B5EF4-FFF2-40B4-BE49-F238E27FC236}">
                <a16:creationId xmlns:a16="http://schemas.microsoft.com/office/drawing/2014/main" id="{B241CEE6-99EB-C300-2297-84912E4777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78" r="78"/>
          <a:stretch/>
        </p:blipFill>
        <p:spPr>
          <a:xfrm>
            <a:off x="6742464" y="3663819"/>
            <a:ext cx="785342" cy="786567"/>
          </a:xfrm>
          <a:prstGeom prst="rect">
            <a:avLst/>
          </a:prstGeom>
        </p:spPr>
      </p:pic>
      <p:sp>
        <p:nvSpPr>
          <p:cNvPr id="18" name="Rechthoek 17">
            <a:extLst>
              <a:ext uri="{FF2B5EF4-FFF2-40B4-BE49-F238E27FC236}">
                <a16:creationId xmlns:a16="http://schemas.microsoft.com/office/drawing/2014/main" id="{BF64BDC0-80A4-A9DE-2D16-062EB890A3D4}"/>
              </a:ext>
            </a:extLst>
          </p:cNvPr>
          <p:cNvSpPr/>
          <p:nvPr/>
        </p:nvSpPr>
        <p:spPr>
          <a:xfrm>
            <a:off x="6582719" y="4694432"/>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err="1">
                <a:solidFill>
                  <a:schemeClr val="tx1"/>
                </a:solidFill>
                <a:cs typeface="Arial" panose="020B0604020202020204" pitchFamily="34" charset="0"/>
              </a:rPr>
              <a:t>Collaboration</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with</a:t>
            </a:r>
            <a:r>
              <a:rPr lang="nl-NL" dirty="0">
                <a:solidFill>
                  <a:schemeClr val="tx1"/>
                </a:solidFill>
                <a:cs typeface="Arial" panose="020B0604020202020204" pitchFamily="34" charset="0"/>
              </a:rPr>
              <a:t> partners</a:t>
            </a:r>
            <a:endParaRPr lang="en-US" dirty="0">
              <a:solidFill>
                <a:schemeClr val="tx1"/>
              </a:solidFill>
              <a:cs typeface="Arial" panose="020B0604020202020204" pitchFamily="34" charset="0"/>
            </a:endParaRPr>
          </a:p>
        </p:txBody>
      </p:sp>
      <p:pic>
        <p:nvPicPr>
          <p:cNvPr id="20" name="Graphic 19">
            <a:extLst>
              <a:ext uri="{FF2B5EF4-FFF2-40B4-BE49-F238E27FC236}">
                <a16:creationId xmlns:a16="http://schemas.microsoft.com/office/drawing/2014/main" id="{845AC22E-91A7-9AAC-DF2D-8FA2FDE71F8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67" r="67"/>
          <a:stretch/>
        </p:blipFill>
        <p:spPr>
          <a:xfrm>
            <a:off x="6742464" y="4815887"/>
            <a:ext cx="785517" cy="786567"/>
          </a:xfrm>
          <a:prstGeom prst="rect">
            <a:avLst/>
          </a:prstGeom>
        </p:spPr>
      </p:pic>
    </p:spTree>
    <p:custDataLst>
      <p:tags r:id="rId1"/>
    </p:custDataLst>
    <p:extLst>
      <p:ext uri="{BB962C8B-B14F-4D97-AF65-F5344CB8AC3E}">
        <p14:creationId xmlns:p14="http://schemas.microsoft.com/office/powerpoint/2010/main" val="105513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par>
                                <p:cTn id="23" presetID="2" presetClass="entr" presetSubtype="2" decel="100000" fill="hold" grpId="0" nodeType="withEffect">
                                  <p:stCondLst>
                                    <p:cond delay="10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1000" fill="hold"/>
                                        <p:tgtEl>
                                          <p:spTgt spid="16"/>
                                        </p:tgtEl>
                                        <p:attrNameLst>
                                          <p:attrName>ppt_x</p:attrName>
                                        </p:attrNameLst>
                                      </p:cBhvr>
                                      <p:tavLst>
                                        <p:tav tm="0">
                                          <p:val>
                                            <p:strVal val="1+#ppt_w/2"/>
                                          </p:val>
                                        </p:tav>
                                        <p:tav tm="100000">
                                          <p:val>
                                            <p:strVal val="#ppt_x"/>
                                          </p:val>
                                        </p:tav>
                                      </p:tavLst>
                                    </p:anim>
                                    <p:anim calcmode="lin" valueType="num">
                                      <p:cBhvr additive="base">
                                        <p:cTn id="26" dur="1000" fill="hold"/>
                                        <p:tgtEl>
                                          <p:spTgt spid="16"/>
                                        </p:tgtEl>
                                        <p:attrNameLst>
                                          <p:attrName>ppt_y</p:attrName>
                                        </p:attrNameLst>
                                      </p:cBhvr>
                                      <p:tavLst>
                                        <p:tav tm="0">
                                          <p:val>
                                            <p:strVal val="#ppt_y"/>
                                          </p:val>
                                        </p:tav>
                                        <p:tav tm="100000">
                                          <p:val>
                                            <p:strVal val="#ppt_y"/>
                                          </p:val>
                                        </p:tav>
                                      </p:tavLst>
                                    </p:anim>
                                  </p:childTnLst>
                                </p:cTn>
                              </p:par>
                              <p:par>
                                <p:cTn id="27" presetID="55" presetClass="entr" presetSubtype="0" fill="hold" nodeType="withEffect">
                                  <p:stCondLst>
                                    <p:cond delay="125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strVal val="#ppt_w*0.70"/>
                                          </p:val>
                                        </p:tav>
                                        <p:tav tm="100000">
                                          <p:val>
                                            <p:strVal val="#ppt_w"/>
                                          </p:val>
                                        </p:tav>
                                      </p:tavLst>
                                    </p:anim>
                                    <p:anim calcmode="lin" valueType="num">
                                      <p:cBhvr>
                                        <p:cTn id="30" dur="500" fill="hold"/>
                                        <p:tgtEl>
                                          <p:spTgt spid="17"/>
                                        </p:tgtEl>
                                        <p:attrNameLst>
                                          <p:attrName>ppt_h</p:attrName>
                                        </p:attrNameLst>
                                      </p:cBhvr>
                                      <p:tavLst>
                                        <p:tav tm="0">
                                          <p:val>
                                            <p:strVal val="#ppt_h"/>
                                          </p:val>
                                        </p:tav>
                                        <p:tav tm="100000">
                                          <p:val>
                                            <p:strVal val="#ppt_h"/>
                                          </p:val>
                                        </p:tav>
                                      </p:tavLst>
                                    </p:anim>
                                    <p:animEffect transition="in" filter="fade">
                                      <p:cBhvr>
                                        <p:cTn id="31" dur="500"/>
                                        <p:tgtEl>
                                          <p:spTgt spid="17"/>
                                        </p:tgtEl>
                                      </p:cBhvr>
                                    </p:animEffect>
                                  </p:childTnLst>
                                </p:cTn>
                              </p:par>
                              <p:par>
                                <p:cTn id="32" presetID="2" presetClass="entr" presetSubtype="2" decel="100000" fill="hold" grpId="0" nodeType="withEffect">
                                  <p:stCondLst>
                                    <p:cond delay="1500"/>
                                  </p:stCondLst>
                                  <p:childTnLst>
                                    <p:set>
                                      <p:cBhvr>
                                        <p:cTn id="33" dur="1" fill="hold">
                                          <p:stCondLst>
                                            <p:cond delay="0"/>
                                          </p:stCondLst>
                                        </p:cTn>
                                        <p:tgtEl>
                                          <p:spTgt spid="18"/>
                                        </p:tgtEl>
                                        <p:attrNameLst>
                                          <p:attrName>style.visibility</p:attrName>
                                        </p:attrNameLst>
                                      </p:cBhvr>
                                      <p:to>
                                        <p:strVal val="visible"/>
                                      </p:to>
                                    </p:set>
                                    <p:anim calcmode="lin" valueType="num">
                                      <p:cBhvr additive="base">
                                        <p:cTn id="34" dur="1000" fill="hold"/>
                                        <p:tgtEl>
                                          <p:spTgt spid="18"/>
                                        </p:tgtEl>
                                        <p:attrNameLst>
                                          <p:attrName>ppt_x</p:attrName>
                                        </p:attrNameLst>
                                      </p:cBhvr>
                                      <p:tavLst>
                                        <p:tav tm="0">
                                          <p:val>
                                            <p:strVal val="1+#ppt_w/2"/>
                                          </p:val>
                                        </p:tav>
                                        <p:tav tm="100000">
                                          <p:val>
                                            <p:strVal val="#ppt_x"/>
                                          </p:val>
                                        </p:tav>
                                      </p:tavLst>
                                    </p:anim>
                                    <p:anim calcmode="lin" valueType="num">
                                      <p:cBhvr additive="base">
                                        <p:cTn id="35" dur="1000" fill="hold"/>
                                        <p:tgtEl>
                                          <p:spTgt spid="18"/>
                                        </p:tgtEl>
                                        <p:attrNameLst>
                                          <p:attrName>ppt_y</p:attrName>
                                        </p:attrNameLst>
                                      </p:cBhvr>
                                      <p:tavLst>
                                        <p:tav tm="0">
                                          <p:val>
                                            <p:strVal val="#ppt_y"/>
                                          </p:val>
                                        </p:tav>
                                        <p:tav tm="100000">
                                          <p:val>
                                            <p:strVal val="#ppt_y"/>
                                          </p:val>
                                        </p:tav>
                                      </p:tavLst>
                                    </p:anim>
                                  </p:childTnLst>
                                </p:cTn>
                              </p:par>
                              <p:par>
                                <p:cTn id="36" presetID="55" presetClass="entr" presetSubtype="0" fill="hold" nodeType="withEffect">
                                  <p:stCondLst>
                                    <p:cond delay="175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strVal val="#ppt_w*0.70"/>
                                          </p:val>
                                        </p:tav>
                                        <p:tav tm="100000">
                                          <p:val>
                                            <p:strVal val="#ppt_w"/>
                                          </p:val>
                                        </p:tav>
                                      </p:tavLst>
                                    </p:anim>
                                    <p:anim calcmode="lin" valueType="num">
                                      <p:cBhvr>
                                        <p:cTn id="39" dur="500" fill="hold"/>
                                        <p:tgtEl>
                                          <p:spTgt spid="20"/>
                                        </p:tgtEl>
                                        <p:attrNameLst>
                                          <p:attrName>ppt_h</p:attrName>
                                        </p:attrNameLst>
                                      </p:cBhvr>
                                      <p:tavLst>
                                        <p:tav tm="0">
                                          <p:val>
                                            <p:strVal val="#ppt_h"/>
                                          </p:val>
                                        </p:tav>
                                        <p:tav tm="100000">
                                          <p:val>
                                            <p:strVal val="#ppt_h"/>
                                          </p:val>
                                        </p:tav>
                                      </p:tavLst>
                                    </p:anim>
                                    <p:animEffect transition="in" filter="fade">
                                      <p:cBhvr>
                                        <p:cTn id="4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P spid="16"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4</a:t>
            </a:fld>
            <a:endParaRPr lang="en-GB" dirty="0"/>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295662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dirty="0">
                <a:solidFill>
                  <a:schemeClr val="tx1"/>
                </a:solidFill>
                <a:cs typeface="Arial" panose="020B0604020202020204" pitchFamily="34" charset="0"/>
              </a:rPr>
              <a:t>World-class in </a:t>
            </a:r>
            <a:r>
              <a:rPr lang="nl-NL" b="1" i="1" dirty="0">
                <a:solidFill>
                  <a:schemeClr val="tx1"/>
                </a:solidFill>
                <a:cs typeface="Arial" panose="020B0604020202020204" pitchFamily="34" charset="0"/>
              </a:rPr>
              <a:t>research</a:t>
            </a:r>
            <a:r>
              <a:rPr lang="nl-NL" dirty="0">
                <a:solidFill>
                  <a:schemeClr val="tx1"/>
                </a:solidFill>
                <a:cs typeface="Arial" panose="020B0604020202020204" pitchFamily="34" charset="0"/>
              </a:rPr>
              <a:t>, </a:t>
            </a:r>
            <a:r>
              <a:rPr lang="nl-NL" b="1" i="1" dirty="0" err="1">
                <a:solidFill>
                  <a:schemeClr val="tx1"/>
                </a:solidFill>
                <a:cs typeface="Arial" panose="020B0604020202020204" pitchFamily="34" charset="0"/>
              </a:rPr>
              <a:t>education</a:t>
            </a:r>
            <a:r>
              <a:rPr lang="nl-NL" dirty="0">
                <a:solidFill>
                  <a:schemeClr val="tx1"/>
                </a:solidFill>
                <a:cs typeface="Arial" panose="020B0604020202020204" pitchFamily="34" charset="0"/>
              </a:rPr>
              <a:t> </a:t>
            </a:r>
            <a:br>
              <a:rPr lang="nl-NL" dirty="0">
                <a:solidFill>
                  <a:schemeClr val="tx1"/>
                </a:solidFill>
                <a:cs typeface="Arial" panose="020B0604020202020204" pitchFamily="34" charset="0"/>
              </a:rPr>
            </a:br>
            <a:r>
              <a:rPr lang="nl-NL" dirty="0" err="1">
                <a:solidFill>
                  <a:schemeClr val="tx1"/>
                </a:solidFill>
                <a:cs typeface="Arial" panose="020B0604020202020204" pitchFamily="34" charset="0"/>
              </a:rPr>
              <a:t>and</a:t>
            </a:r>
            <a:r>
              <a:rPr lang="nl-NL" dirty="0">
                <a:solidFill>
                  <a:schemeClr val="tx1"/>
                </a:solidFill>
                <a:cs typeface="Arial" panose="020B0604020202020204" pitchFamily="34" charset="0"/>
              </a:rPr>
              <a:t> </a:t>
            </a:r>
            <a:r>
              <a:rPr lang="nl-NL" b="1" i="1" dirty="0" err="1">
                <a:solidFill>
                  <a:schemeClr val="tx1"/>
                </a:solidFill>
                <a:cs typeface="Arial" panose="020B0604020202020204" pitchFamily="34" charset="0"/>
              </a:rPr>
              <a:t>innovation</a:t>
            </a:r>
            <a:endParaRPr lang="en-US" b="1" i="1" dirty="0">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67" r="67"/>
          <a:stretch/>
        </p:blipFill>
        <p:spPr>
          <a:xfrm>
            <a:off x="6742464" y="3078079"/>
            <a:ext cx="785517"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172231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dirty="0" err="1">
                <a:solidFill>
                  <a:schemeClr val="tx1"/>
                </a:solidFill>
                <a:cs typeface="Arial" panose="020B0604020202020204" pitchFamily="34" charset="0"/>
              </a:rPr>
              <a:t>Ambitious</a:t>
            </a:r>
            <a:r>
              <a:rPr lang="nl-NL" dirty="0">
                <a:solidFill>
                  <a:schemeClr val="tx1"/>
                </a:solidFill>
                <a:cs typeface="Arial" panose="020B0604020202020204" pitchFamily="34" charset="0"/>
              </a:rPr>
              <a:t> commitment </a:t>
            </a:r>
            <a:r>
              <a:rPr lang="nl-NL" dirty="0" err="1">
                <a:solidFill>
                  <a:schemeClr val="tx1"/>
                </a:solidFill>
                <a:cs typeface="Arial" panose="020B0604020202020204" pitchFamily="34" charset="0"/>
              </a:rPr>
              <a:t>to</a:t>
            </a:r>
            <a:r>
              <a:rPr lang="nl-NL" dirty="0">
                <a:solidFill>
                  <a:schemeClr val="tx1"/>
                </a:solidFill>
                <a:cs typeface="Arial" panose="020B0604020202020204" pitchFamily="34" charset="0"/>
              </a:rPr>
              <a:t> </a:t>
            </a:r>
            <a:br>
              <a:rPr lang="nl-NL" dirty="0">
                <a:solidFill>
                  <a:schemeClr val="tx1"/>
                </a:solidFill>
                <a:cs typeface="Arial" panose="020B0604020202020204" pitchFamily="34" charset="0"/>
              </a:rPr>
            </a:br>
            <a:r>
              <a:rPr lang="nl-NL" b="1" i="1" dirty="0" err="1">
                <a:solidFill>
                  <a:schemeClr val="tx1"/>
                </a:solidFill>
                <a:cs typeface="Arial" panose="020B0604020202020204" pitchFamily="34" charset="0"/>
              </a:rPr>
              <a:t>positive</a:t>
            </a:r>
            <a:r>
              <a:rPr lang="nl-NL" b="1" i="1" dirty="0">
                <a:solidFill>
                  <a:schemeClr val="tx1"/>
                </a:solidFill>
                <a:cs typeface="Arial" panose="020B0604020202020204" pitchFamily="34" charset="0"/>
              </a:rPr>
              <a:t> change</a:t>
            </a:r>
            <a:endParaRPr lang="en-US" b="1" i="1" dirty="0">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89" r="89"/>
          <a:stretch/>
        </p:blipFill>
        <p:spPr>
          <a:xfrm>
            <a:off x="6742464" y="1843769"/>
            <a:ext cx="785160" cy="786567"/>
          </a:xfrm>
          <a:prstGeom prst="rect">
            <a:avLst/>
          </a:prstGeom>
        </p:spPr>
      </p:pic>
      <p:sp>
        <p:nvSpPr>
          <p:cNvPr id="16" name="Rechthoek 15">
            <a:extLst>
              <a:ext uri="{FF2B5EF4-FFF2-40B4-BE49-F238E27FC236}">
                <a16:creationId xmlns:a16="http://schemas.microsoft.com/office/drawing/2014/main" id="{2C396967-75E2-BC42-C45F-725CE5CB3345}"/>
              </a:ext>
            </a:extLst>
          </p:cNvPr>
          <p:cNvSpPr/>
          <p:nvPr/>
        </p:nvSpPr>
        <p:spPr>
          <a:xfrm>
            <a:off x="6582719" y="4107555"/>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Focus</a:t>
            </a:r>
            <a:r>
              <a:rPr lang="nl-NL" dirty="0">
                <a:solidFill>
                  <a:schemeClr val="tx1"/>
                </a:solidFill>
                <a:cs typeface="Arial" panose="020B0604020202020204" pitchFamily="34" charset="0"/>
              </a:rPr>
              <a:t> </a:t>
            </a:r>
            <a:r>
              <a:rPr lang="en-US" dirty="0">
                <a:solidFill>
                  <a:schemeClr val="tx1"/>
                </a:solidFill>
                <a:cs typeface="Arial" panose="020B0604020202020204" pitchFamily="34" charset="0"/>
              </a:rPr>
              <a:t> on the big social issues </a:t>
            </a:r>
          </a:p>
          <a:p>
            <a:pPr>
              <a:buClr>
                <a:schemeClr val="bg1"/>
              </a:buClr>
            </a:pPr>
            <a:r>
              <a:rPr lang="en-US" dirty="0">
                <a:solidFill>
                  <a:schemeClr val="tx1"/>
                </a:solidFill>
                <a:cs typeface="Arial" panose="020B0604020202020204" pitchFamily="34" charset="0"/>
              </a:rPr>
              <a:t>of this century. </a:t>
            </a:r>
          </a:p>
        </p:txBody>
      </p:sp>
      <p:pic>
        <p:nvPicPr>
          <p:cNvPr id="17" name="Graphic 16">
            <a:extLst>
              <a:ext uri="{FF2B5EF4-FFF2-40B4-BE49-F238E27FC236}">
                <a16:creationId xmlns:a16="http://schemas.microsoft.com/office/drawing/2014/main" id="{B241CEE6-99EB-C300-2297-84912E4777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67" r="67"/>
          <a:stretch/>
        </p:blipFill>
        <p:spPr>
          <a:xfrm>
            <a:off x="6742464" y="4229010"/>
            <a:ext cx="785517" cy="786567"/>
          </a:xfrm>
          <a:prstGeom prst="rect">
            <a:avLst/>
          </a:prstGeom>
        </p:spPr>
      </p:pic>
    </p:spTree>
    <p:custDataLst>
      <p:tags r:id="rId1"/>
    </p:custDataLst>
    <p:extLst>
      <p:ext uri="{BB962C8B-B14F-4D97-AF65-F5344CB8AC3E}">
        <p14:creationId xmlns:p14="http://schemas.microsoft.com/office/powerpoint/2010/main" val="389329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par>
                                <p:cTn id="23" presetID="2" presetClass="entr" presetSubtype="2" decel="100000" fill="hold" grpId="0" nodeType="withEffect">
                                  <p:stCondLst>
                                    <p:cond delay="10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1000" fill="hold"/>
                                        <p:tgtEl>
                                          <p:spTgt spid="16"/>
                                        </p:tgtEl>
                                        <p:attrNameLst>
                                          <p:attrName>ppt_x</p:attrName>
                                        </p:attrNameLst>
                                      </p:cBhvr>
                                      <p:tavLst>
                                        <p:tav tm="0">
                                          <p:val>
                                            <p:strVal val="1+#ppt_w/2"/>
                                          </p:val>
                                        </p:tav>
                                        <p:tav tm="100000">
                                          <p:val>
                                            <p:strVal val="#ppt_x"/>
                                          </p:val>
                                        </p:tav>
                                      </p:tavLst>
                                    </p:anim>
                                    <p:anim calcmode="lin" valueType="num">
                                      <p:cBhvr additive="base">
                                        <p:cTn id="26" dur="1000" fill="hold"/>
                                        <p:tgtEl>
                                          <p:spTgt spid="16"/>
                                        </p:tgtEl>
                                        <p:attrNameLst>
                                          <p:attrName>ppt_y</p:attrName>
                                        </p:attrNameLst>
                                      </p:cBhvr>
                                      <p:tavLst>
                                        <p:tav tm="0">
                                          <p:val>
                                            <p:strVal val="#ppt_y"/>
                                          </p:val>
                                        </p:tav>
                                        <p:tav tm="100000">
                                          <p:val>
                                            <p:strVal val="#ppt_y"/>
                                          </p:val>
                                        </p:tav>
                                      </p:tavLst>
                                    </p:anim>
                                  </p:childTnLst>
                                </p:cTn>
                              </p:par>
                              <p:par>
                                <p:cTn id="27" presetID="55" presetClass="entr" presetSubtype="0" fill="hold" nodeType="withEffect">
                                  <p:stCondLst>
                                    <p:cond delay="125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strVal val="#ppt_w*0.70"/>
                                          </p:val>
                                        </p:tav>
                                        <p:tav tm="100000">
                                          <p:val>
                                            <p:strVal val="#ppt_w"/>
                                          </p:val>
                                        </p:tav>
                                      </p:tavLst>
                                    </p:anim>
                                    <p:anim calcmode="lin" valueType="num">
                                      <p:cBhvr>
                                        <p:cTn id="30" dur="500" fill="hold"/>
                                        <p:tgtEl>
                                          <p:spTgt spid="17"/>
                                        </p:tgtEl>
                                        <p:attrNameLst>
                                          <p:attrName>ppt_h</p:attrName>
                                        </p:attrNameLst>
                                      </p:cBhvr>
                                      <p:tavLst>
                                        <p:tav tm="0">
                                          <p:val>
                                            <p:strVal val="#ppt_h"/>
                                          </p:val>
                                        </p:tav>
                                        <p:tav tm="100000">
                                          <p:val>
                                            <p:strVal val="#ppt_h"/>
                                          </p:val>
                                        </p:tav>
                                      </p:tavLst>
                                    </p:anim>
                                    <p:animEffect transition="in" filter="fade">
                                      <p:cBhvr>
                                        <p:cTn id="3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P spid="1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2A3FEFF-5B3C-C9EA-277D-BE6722809908}"/>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15</a:t>
            </a:fld>
            <a:endParaRPr lang="en-GB" dirty="0"/>
          </a:p>
        </p:txBody>
      </p:sp>
      <p:sp>
        <p:nvSpPr>
          <p:cNvPr id="3" name="Titel 2">
            <a:extLst>
              <a:ext uri="{FF2B5EF4-FFF2-40B4-BE49-F238E27FC236}">
                <a16:creationId xmlns:a16="http://schemas.microsoft.com/office/drawing/2014/main" id="{7022A70A-F207-37DD-D7D4-0C67DD168BC9}"/>
              </a:ext>
            </a:extLst>
          </p:cNvPr>
          <p:cNvSpPr>
            <a:spLocks noGrp="1"/>
          </p:cNvSpPr>
          <p:nvPr>
            <p:ph type="title"/>
          </p:nvPr>
        </p:nvSpPr>
        <p:spPr>
          <a:xfrm>
            <a:off x="718666" y="722454"/>
            <a:ext cx="10752610" cy="323409"/>
          </a:xfrm>
        </p:spPr>
        <p:txBody>
          <a:bodyPr/>
          <a:lstStyle/>
          <a:p>
            <a:r>
              <a:rPr lang="nl-NL" dirty="0"/>
              <a:t>4 </a:t>
            </a:r>
            <a:r>
              <a:rPr lang="nl-NL" dirty="0" err="1"/>
              <a:t>societal</a:t>
            </a:r>
            <a:r>
              <a:rPr lang="nl-NL" dirty="0"/>
              <a:t> </a:t>
            </a:r>
            <a:r>
              <a:rPr lang="nl-NL" dirty="0" err="1"/>
              <a:t>themes</a:t>
            </a:r>
            <a:endParaRPr lang="nl-NL" dirty="0"/>
          </a:p>
        </p:txBody>
      </p:sp>
      <p:grpSp>
        <p:nvGrpSpPr>
          <p:cNvPr id="4" name="HYPER HOME">
            <a:extLst>
              <a:ext uri="{FF2B5EF4-FFF2-40B4-BE49-F238E27FC236}">
                <a16:creationId xmlns:a16="http://schemas.microsoft.com/office/drawing/2014/main" id="{6ACAEC69-0695-F8C2-93FD-DA7E228143B4}"/>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7075D810-717F-CBE3-0445-A3DC2059911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7" name="Rechthoek 6">
              <a:hlinkClick r:id="rId5" action="ppaction://hlinksldjump"/>
              <a:extLst>
                <a:ext uri="{FF2B5EF4-FFF2-40B4-BE49-F238E27FC236}">
                  <a16:creationId xmlns:a16="http://schemas.microsoft.com/office/drawing/2014/main" id="{8322492B-2EE3-EA3C-16B8-61784C2E7049}"/>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29" name="Groep 28">
            <a:extLst>
              <a:ext uri="{FF2B5EF4-FFF2-40B4-BE49-F238E27FC236}">
                <a16:creationId xmlns:a16="http://schemas.microsoft.com/office/drawing/2014/main" id="{E13178C1-E1AA-7967-682A-0D6AD19FB4D5}"/>
              </a:ext>
            </a:extLst>
          </p:cNvPr>
          <p:cNvGrpSpPr/>
          <p:nvPr/>
        </p:nvGrpSpPr>
        <p:grpSpPr>
          <a:xfrm>
            <a:off x="718665" y="1565274"/>
            <a:ext cx="2553446" cy="4438651"/>
            <a:chOff x="718665" y="1565274"/>
            <a:chExt cx="2553446" cy="4438651"/>
          </a:xfrm>
        </p:grpSpPr>
        <p:pic>
          <p:nvPicPr>
            <p:cNvPr id="22" name="image12.jpeg">
              <a:extLst>
                <a:ext uri="{FF2B5EF4-FFF2-40B4-BE49-F238E27FC236}">
                  <a16:creationId xmlns:a16="http://schemas.microsoft.com/office/drawing/2014/main" id="{097DC6B6-4925-5E39-9E65-1B38045FDEE8}"/>
                </a:ext>
              </a:extLst>
            </p:cNvPr>
            <p:cNvPicPr>
              <a:picLocks noChangeAspect="1"/>
            </p:cNvPicPr>
            <p:nvPr/>
          </p:nvPicPr>
          <p:blipFill>
            <a:blip r:embed="rId6">
              <a:extLst>
                <a:ext uri="{28A0092B-C50C-407E-A947-70E740481C1C}">
                  <a14:useLocalDpi xmlns:a14="http://schemas.microsoft.com/office/drawing/2010/main" val="0"/>
                </a:ext>
              </a:extLst>
            </a:blip>
            <a:srcRect l="25436" r="25436"/>
            <a:stretch/>
          </p:blipFill>
          <p:spPr>
            <a:xfrm>
              <a:off x="719138" y="1565274"/>
              <a:ext cx="2552973"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23" name="Tekstvak 22">
              <a:extLst>
                <a:ext uri="{FF2B5EF4-FFF2-40B4-BE49-F238E27FC236}">
                  <a16:creationId xmlns:a16="http://schemas.microsoft.com/office/drawing/2014/main" id="{8791A254-C0C9-7471-4426-3E94478D4957}"/>
                </a:ext>
              </a:extLst>
            </p:cNvPr>
            <p:cNvSpPr txBox="1"/>
            <p:nvPr/>
          </p:nvSpPr>
          <p:spPr>
            <a:xfrm>
              <a:off x="718665" y="5151120"/>
              <a:ext cx="2552701" cy="852805"/>
            </a:xfrm>
            <a:prstGeom prst="rect">
              <a:avLst/>
            </a:prstGeom>
            <a:solidFill>
              <a:srgbClr val="00B8C8"/>
            </a:solidFill>
          </p:spPr>
          <p:txBody>
            <a:bodyPr wrap="square" lIns="216000" tIns="144000" rIns="36000" bIns="144000" rtlCol="0" anchor="b" anchorCtr="0">
              <a:normAutofit/>
            </a:bodyPr>
            <a:lstStyle/>
            <a:p>
              <a:pPr>
                <a:lnSpc>
                  <a:spcPct val="90000"/>
                </a:lnSpc>
                <a:spcBef>
                  <a:spcPts val="600"/>
                </a:spcBef>
                <a:spcAft>
                  <a:spcPts val="600"/>
                </a:spcAft>
              </a:pPr>
              <a:r>
                <a:rPr lang="en-US" sz="2000" dirty="0">
                  <a:solidFill>
                    <a:schemeClr val="bg1"/>
                  </a:solidFill>
                </a:rPr>
                <a:t>Health</a:t>
              </a:r>
              <a:endParaRPr lang="en-US" dirty="0">
                <a:solidFill>
                  <a:schemeClr val="bg1"/>
                </a:solidFill>
              </a:endParaRPr>
            </a:p>
          </p:txBody>
        </p:sp>
        <p:pic>
          <p:nvPicPr>
            <p:cNvPr id="24" name="Graphic 23">
              <a:extLst>
                <a:ext uri="{FF2B5EF4-FFF2-40B4-BE49-F238E27FC236}">
                  <a16:creationId xmlns:a16="http://schemas.microsoft.com/office/drawing/2014/main" id="{70EE0178-5ED8-A806-ECF6-E64F5DC1C4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34640" y="5562600"/>
              <a:ext cx="304800" cy="304800"/>
            </a:xfrm>
            <a:prstGeom prst="rect">
              <a:avLst/>
            </a:prstGeom>
          </p:spPr>
        </p:pic>
      </p:grpSp>
      <p:grpSp>
        <p:nvGrpSpPr>
          <p:cNvPr id="35" name="Groep 34">
            <a:extLst>
              <a:ext uri="{FF2B5EF4-FFF2-40B4-BE49-F238E27FC236}">
                <a16:creationId xmlns:a16="http://schemas.microsoft.com/office/drawing/2014/main" id="{FE541FD3-97D0-0F95-9D6C-E72D39B0282A}"/>
              </a:ext>
            </a:extLst>
          </p:cNvPr>
          <p:cNvGrpSpPr/>
          <p:nvPr/>
        </p:nvGrpSpPr>
        <p:grpSpPr>
          <a:xfrm>
            <a:off x="3452029" y="1565274"/>
            <a:ext cx="2553484" cy="4438651"/>
            <a:chOff x="3452029" y="1565274"/>
            <a:chExt cx="2553484" cy="4438651"/>
          </a:xfrm>
        </p:grpSpPr>
        <p:pic>
          <p:nvPicPr>
            <p:cNvPr id="32" name="image14.jpeg">
              <a:extLst>
                <a:ext uri="{FF2B5EF4-FFF2-40B4-BE49-F238E27FC236}">
                  <a16:creationId xmlns:a16="http://schemas.microsoft.com/office/drawing/2014/main" id="{9425D74B-B9B9-3D9A-BCB3-F7A64A70E3AA}"/>
                </a:ext>
              </a:extLst>
            </p:cNvPr>
            <p:cNvPicPr>
              <a:picLocks noChangeAspect="1"/>
            </p:cNvPicPr>
            <p:nvPr/>
          </p:nvPicPr>
          <p:blipFill rotWithShape="1">
            <a:blip r:embed="rId9">
              <a:extLst>
                <a:ext uri="{28A0092B-C50C-407E-A947-70E740481C1C}">
                  <a14:useLocalDpi xmlns:a14="http://schemas.microsoft.com/office/drawing/2010/main" val="0"/>
                </a:ext>
              </a:extLst>
            </a:blip>
            <a:srcRect l="6011" r="44891"/>
            <a:stretch/>
          </p:blipFill>
          <p:spPr>
            <a:xfrm>
              <a:off x="3452029" y="1565274"/>
              <a:ext cx="2551424"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33" name="Tekstvak 32">
              <a:extLst>
                <a:ext uri="{FF2B5EF4-FFF2-40B4-BE49-F238E27FC236}">
                  <a16:creationId xmlns:a16="http://schemas.microsoft.com/office/drawing/2014/main" id="{B0E1AFE7-29DF-269C-C01A-0761A2DD8FDD}"/>
                </a:ext>
              </a:extLst>
            </p:cNvPr>
            <p:cNvSpPr txBox="1"/>
            <p:nvPr/>
          </p:nvSpPr>
          <p:spPr>
            <a:xfrm>
              <a:off x="3452812" y="5151120"/>
              <a:ext cx="2552701" cy="852805"/>
            </a:xfrm>
            <a:prstGeom prst="rect">
              <a:avLst/>
            </a:prstGeom>
            <a:solidFill>
              <a:srgbClr val="0076C2"/>
            </a:solidFill>
          </p:spPr>
          <p:txBody>
            <a:bodyPr wrap="square" lIns="216000" tIns="144000" rIns="36000" bIns="144000" rtlCol="0" anchor="b" anchorCtr="0">
              <a:normAutofit/>
            </a:bodyPr>
            <a:lstStyle/>
            <a:p>
              <a:pPr>
                <a:lnSpc>
                  <a:spcPct val="90000"/>
                </a:lnSpc>
                <a:spcBef>
                  <a:spcPts val="600"/>
                </a:spcBef>
                <a:spcAft>
                  <a:spcPts val="600"/>
                </a:spcAft>
              </a:pPr>
              <a:r>
                <a:rPr lang="en-US" sz="2000" dirty="0">
                  <a:solidFill>
                    <a:schemeClr val="bg1"/>
                  </a:solidFill>
                </a:rPr>
                <a:t>Climate </a:t>
              </a:r>
              <a:br>
                <a:rPr lang="en-US" sz="2000" dirty="0">
                  <a:solidFill>
                    <a:schemeClr val="bg1"/>
                  </a:solidFill>
                </a:rPr>
              </a:br>
              <a:r>
                <a:rPr lang="en-US" sz="2000" dirty="0">
                  <a:solidFill>
                    <a:schemeClr val="bg1"/>
                  </a:solidFill>
                </a:rPr>
                <a:t>&amp; Energy</a:t>
              </a:r>
              <a:endParaRPr lang="en-US" dirty="0">
                <a:solidFill>
                  <a:schemeClr val="bg1"/>
                </a:solidFill>
              </a:endParaRPr>
            </a:p>
          </p:txBody>
        </p:sp>
        <p:pic>
          <p:nvPicPr>
            <p:cNvPr id="34" name="Graphic 33">
              <a:extLst>
                <a:ext uri="{FF2B5EF4-FFF2-40B4-BE49-F238E27FC236}">
                  <a16:creationId xmlns:a16="http://schemas.microsoft.com/office/drawing/2014/main" id="{BAC9433A-97A5-8E1A-2B56-E20651F59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77840" y="5562600"/>
              <a:ext cx="304800" cy="304800"/>
            </a:xfrm>
            <a:prstGeom prst="rect">
              <a:avLst/>
            </a:prstGeom>
          </p:spPr>
        </p:pic>
      </p:grpSp>
      <p:grpSp>
        <p:nvGrpSpPr>
          <p:cNvPr id="41" name="Groep 40">
            <a:extLst>
              <a:ext uri="{FF2B5EF4-FFF2-40B4-BE49-F238E27FC236}">
                <a16:creationId xmlns:a16="http://schemas.microsoft.com/office/drawing/2014/main" id="{356DC75E-3905-5F3F-9716-65DABBD459C7}"/>
              </a:ext>
            </a:extLst>
          </p:cNvPr>
          <p:cNvGrpSpPr/>
          <p:nvPr/>
        </p:nvGrpSpPr>
        <p:grpSpPr>
          <a:xfrm>
            <a:off x="6184899" y="1565274"/>
            <a:ext cx="2552701" cy="4438651"/>
            <a:chOff x="6184899" y="1565274"/>
            <a:chExt cx="2552701" cy="4438651"/>
          </a:xfrm>
        </p:grpSpPr>
        <p:pic>
          <p:nvPicPr>
            <p:cNvPr id="38" name="image13.jpeg">
              <a:extLst>
                <a:ext uri="{FF2B5EF4-FFF2-40B4-BE49-F238E27FC236}">
                  <a16:creationId xmlns:a16="http://schemas.microsoft.com/office/drawing/2014/main" id="{C7D01FAC-A8B1-648A-9D2A-97F2CF3E56BA}"/>
                </a:ext>
              </a:extLst>
            </p:cNvPr>
            <p:cNvPicPr>
              <a:picLocks noChangeAspect="1"/>
            </p:cNvPicPr>
            <p:nvPr/>
          </p:nvPicPr>
          <p:blipFill rotWithShape="1">
            <a:blip r:embed="rId10">
              <a:extLst>
                <a:ext uri="{28A0092B-C50C-407E-A947-70E740481C1C}">
                  <a14:useLocalDpi xmlns:a14="http://schemas.microsoft.com/office/drawing/2010/main" val="0"/>
                </a:ext>
              </a:extLst>
            </a:blip>
            <a:srcRect l="39438" r="11464"/>
            <a:stretch/>
          </p:blipFill>
          <p:spPr>
            <a:xfrm>
              <a:off x="6184920" y="1565274"/>
              <a:ext cx="2551424"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39" name="Tekstvak 38">
              <a:extLst>
                <a:ext uri="{FF2B5EF4-FFF2-40B4-BE49-F238E27FC236}">
                  <a16:creationId xmlns:a16="http://schemas.microsoft.com/office/drawing/2014/main" id="{EB4135DB-EDA6-DA4D-A9E5-FDBBC95550FC}"/>
                </a:ext>
              </a:extLst>
            </p:cNvPr>
            <p:cNvSpPr txBox="1"/>
            <p:nvPr/>
          </p:nvSpPr>
          <p:spPr>
            <a:xfrm>
              <a:off x="6184899" y="5151120"/>
              <a:ext cx="2552701" cy="852805"/>
            </a:xfrm>
            <a:prstGeom prst="rect">
              <a:avLst/>
            </a:prstGeom>
            <a:solidFill>
              <a:schemeClr val="accent1"/>
            </a:solidFill>
          </p:spPr>
          <p:txBody>
            <a:bodyPr wrap="square" lIns="216000" tIns="144000" rIns="36000" bIns="144000" rtlCol="0" anchor="b" anchorCtr="0">
              <a:normAutofit/>
            </a:bodyPr>
            <a:lstStyle/>
            <a:p>
              <a:pPr>
                <a:lnSpc>
                  <a:spcPct val="90000"/>
                </a:lnSpc>
                <a:spcBef>
                  <a:spcPts val="600"/>
                </a:spcBef>
                <a:spcAft>
                  <a:spcPts val="600"/>
                </a:spcAft>
              </a:pPr>
              <a:r>
                <a:rPr lang="en-US" sz="2000" dirty="0">
                  <a:solidFill>
                    <a:schemeClr val="bg1"/>
                  </a:solidFill>
                </a:rPr>
                <a:t>Digital </a:t>
              </a:r>
              <a:br>
                <a:rPr lang="en-US" sz="2000" dirty="0">
                  <a:solidFill>
                    <a:schemeClr val="bg1"/>
                  </a:solidFill>
                </a:rPr>
              </a:br>
              <a:r>
                <a:rPr lang="en-US" sz="2000" dirty="0">
                  <a:solidFill>
                    <a:schemeClr val="bg1"/>
                  </a:solidFill>
                </a:rPr>
                <a:t>Society</a:t>
              </a:r>
              <a:endParaRPr lang="en-US" dirty="0">
                <a:solidFill>
                  <a:schemeClr val="bg1"/>
                </a:solidFill>
              </a:endParaRPr>
            </a:p>
          </p:txBody>
        </p:sp>
        <p:pic>
          <p:nvPicPr>
            <p:cNvPr id="40" name="Graphic 39">
              <a:extLst>
                <a:ext uri="{FF2B5EF4-FFF2-40B4-BE49-F238E27FC236}">
                  <a16:creationId xmlns:a16="http://schemas.microsoft.com/office/drawing/2014/main" id="{F72D5DED-25C0-2943-9294-5E71F97254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36280" y="5562600"/>
              <a:ext cx="304800" cy="304800"/>
            </a:xfrm>
            <a:prstGeom prst="rect">
              <a:avLst/>
            </a:prstGeom>
          </p:spPr>
        </p:pic>
      </p:grpSp>
      <p:grpSp>
        <p:nvGrpSpPr>
          <p:cNvPr id="47" name="Groep 46">
            <a:extLst>
              <a:ext uri="{FF2B5EF4-FFF2-40B4-BE49-F238E27FC236}">
                <a16:creationId xmlns:a16="http://schemas.microsoft.com/office/drawing/2014/main" id="{D4E9527D-3498-08D2-2C86-C9BD21ECC9B8}"/>
              </a:ext>
            </a:extLst>
          </p:cNvPr>
          <p:cNvGrpSpPr/>
          <p:nvPr/>
        </p:nvGrpSpPr>
        <p:grpSpPr>
          <a:xfrm>
            <a:off x="8917812" y="1565274"/>
            <a:ext cx="2553935" cy="4438651"/>
            <a:chOff x="8917812" y="1565274"/>
            <a:chExt cx="2553935" cy="4438651"/>
          </a:xfrm>
        </p:grpSpPr>
        <p:pic>
          <p:nvPicPr>
            <p:cNvPr id="44" name="image11.jpeg">
              <a:extLst>
                <a:ext uri="{FF2B5EF4-FFF2-40B4-BE49-F238E27FC236}">
                  <a16:creationId xmlns:a16="http://schemas.microsoft.com/office/drawing/2014/main" id="{51D7F3C4-69F8-8DE5-7319-B50B7DD98BCA}"/>
                </a:ext>
              </a:extLst>
            </p:cNvPr>
            <p:cNvPicPr>
              <a:picLocks noChangeAspect="1"/>
            </p:cNvPicPr>
            <p:nvPr/>
          </p:nvPicPr>
          <p:blipFill>
            <a:blip r:embed="rId11">
              <a:extLst>
                <a:ext uri="{28A0092B-C50C-407E-A947-70E740481C1C}">
                  <a14:useLocalDpi xmlns:a14="http://schemas.microsoft.com/office/drawing/2010/main" val="0"/>
                </a:ext>
              </a:extLst>
            </a:blip>
            <a:srcRect l="25434" r="25434"/>
            <a:stretch/>
          </p:blipFill>
          <p:spPr>
            <a:xfrm>
              <a:off x="8917812" y="1565274"/>
              <a:ext cx="2553169"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45" name="Tekstvak 44">
              <a:extLst>
                <a:ext uri="{FF2B5EF4-FFF2-40B4-BE49-F238E27FC236}">
                  <a16:creationId xmlns:a16="http://schemas.microsoft.com/office/drawing/2014/main" id="{E7E50E69-6355-9725-D8DA-F6826F4E154F}"/>
                </a:ext>
              </a:extLst>
            </p:cNvPr>
            <p:cNvSpPr txBox="1"/>
            <p:nvPr/>
          </p:nvSpPr>
          <p:spPr>
            <a:xfrm>
              <a:off x="8919046" y="5151120"/>
              <a:ext cx="2552701" cy="852805"/>
            </a:xfrm>
            <a:prstGeom prst="rect">
              <a:avLst/>
            </a:prstGeom>
            <a:solidFill>
              <a:srgbClr val="00B8C8"/>
            </a:solidFill>
          </p:spPr>
          <p:txBody>
            <a:bodyPr wrap="square" lIns="216000" tIns="144000" rIns="36000" bIns="144000" rtlCol="0" anchor="b" anchorCtr="0">
              <a:noAutofit/>
            </a:bodyPr>
            <a:lstStyle/>
            <a:p>
              <a:pPr>
                <a:lnSpc>
                  <a:spcPct val="90000"/>
                </a:lnSpc>
                <a:spcBef>
                  <a:spcPts val="600"/>
                </a:spcBef>
                <a:spcAft>
                  <a:spcPts val="600"/>
                </a:spcAft>
              </a:pPr>
              <a:r>
                <a:rPr lang="en-US" sz="2000" dirty="0">
                  <a:solidFill>
                    <a:schemeClr val="bg1"/>
                  </a:solidFill>
                </a:rPr>
                <a:t>Resilient Cities </a:t>
              </a:r>
              <a:br>
                <a:rPr lang="en-US" sz="2000" dirty="0">
                  <a:solidFill>
                    <a:schemeClr val="bg1"/>
                  </a:solidFill>
                </a:rPr>
              </a:br>
              <a:r>
                <a:rPr lang="en-US" sz="2000" dirty="0">
                  <a:solidFill>
                    <a:schemeClr val="bg1"/>
                  </a:solidFill>
                </a:rPr>
                <a:t>&amp; Mobility</a:t>
              </a:r>
            </a:p>
          </p:txBody>
        </p:sp>
        <p:pic>
          <p:nvPicPr>
            <p:cNvPr id="46" name="Graphic 45">
              <a:extLst>
                <a:ext uri="{FF2B5EF4-FFF2-40B4-BE49-F238E27FC236}">
                  <a16:creationId xmlns:a16="http://schemas.microsoft.com/office/drawing/2014/main" id="{63DAC285-ACB1-421E-40F8-B708E6AD42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49000" y="5562600"/>
              <a:ext cx="304800" cy="304800"/>
            </a:xfrm>
            <a:prstGeom prst="rect">
              <a:avLst/>
            </a:prstGeom>
          </p:spPr>
        </p:pic>
      </p:grpSp>
      <p:sp>
        <p:nvSpPr>
          <p:cNvPr id="8" name="Hyper">
            <a:hlinkClick r:id="rId12" action="ppaction://hlinksldjump"/>
            <a:extLst>
              <a:ext uri="{FF2B5EF4-FFF2-40B4-BE49-F238E27FC236}">
                <a16:creationId xmlns:a16="http://schemas.microsoft.com/office/drawing/2014/main" id="{AC3A9ED9-08BB-3586-BC10-6FF3B4BB26FB}"/>
              </a:ext>
            </a:extLst>
          </p:cNvPr>
          <p:cNvSpPr/>
          <p:nvPr/>
        </p:nvSpPr>
        <p:spPr>
          <a:xfrm>
            <a:off x="6250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8" name="Hyper">
            <a:hlinkClick r:id="rId13" action="ppaction://hlinksldjump"/>
            <a:extLst>
              <a:ext uri="{FF2B5EF4-FFF2-40B4-BE49-F238E27FC236}">
                <a16:creationId xmlns:a16="http://schemas.microsoft.com/office/drawing/2014/main" id="{6D867510-5162-36C5-1961-576A4CB651AC}"/>
              </a:ext>
            </a:extLst>
          </p:cNvPr>
          <p:cNvSpPr/>
          <p:nvPr/>
        </p:nvSpPr>
        <p:spPr>
          <a:xfrm>
            <a:off x="33682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9" name="Hyper">
            <a:hlinkClick r:id="rId14" action="ppaction://hlinksldjump"/>
            <a:extLst>
              <a:ext uri="{FF2B5EF4-FFF2-40B4-BE49-F238E27FC236}">
                <a16:creationId xmlns:a16="http://schemas.microsoft.com/office/drawing/2014/main" id="{998A4B15-E558-8D16-CF90-D242DFB37533}"/>
              </a:ext>
            </a:extLst>
          </p:cNvPr>
          <p:cNvSpPr/>
          <p:nvPr/>
        </p:nvSpPr>
        <p:spPr>
          <a:xfrm>
            <a:off x="609616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50" name="Hyper">
            <a:hlinkClick r:id="rId15" action="ppaction://hlinksldjump"/>
            <a:extLst>
              <a:ext uri="{FF2B5EF4-FFF2-40B4-BE49-F238E27FC236}">
                <a16:creationId xmlns:a16="http://schemas.microsoft.com/office/drawing/2014/main" id="{8DAB9E35-F6AD-0E14-6505-4A6307B4A4FF}"/>
              </a:ext>
            </a:extLst>
          </p:cNvPr>
          <p:cNvSpPr/>
          <p:nvPr/>
        </p:nvSpPr>
        <p:spPr>
          <a:xfrm>
            <a:off x="89308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Tree>
    <p:extLst>
      <p:ext uri="{BB962C8B-B14F-4D97-AF65-F5344CB8AC3E}">
        <p14:creationId xmlns:p14="http://schemas.microsoft.com/office/powerpoint/2010/main" val="360629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1000" fill="hold"/>
                                        <p:tgtEl>
                                          <p:spTgt spid="29"/>
                                        </p:tgtEl>
                                        <p:attrNameLst>
                                          <p:attrName>ppt_x</p:attrName>
                                        </p:attrNameLst>
                                      </p:cBhvr>
                                      <p:tavLst>
                                        <p:tav tm="0">
                                          <p:val>
                                            <p:strVal val="#ppt_x"/>
                                          </p:val>
                                        </p:tav>
                                        <p:tav tm="100000">
                                          <p:val>
                                            <p:strVal val="#ppt_x"/>
                                          </p:val>
                                        </p:tav>
                                      </p:tavLst>
                                    </p:anim>
                                    <p:anim calcmode="lin" valueType="num">
                                      <p:cBhvr additive="base">
                                        <p:cTn id="8" dur="1000" fill="hold"/>
                                        <p:tgtEl>
                                          <p:spTgt spid="29"/>
                                        </p:tgtEl>
                                        <p:attrNameLst>
                                          <p:attrName>ppt_y</p:attrName>
                                        </p:attrNameLst>
                                      </p:cBhvr>
                                      <p:tavLst>
                                        <p:tav tm="0">
                                          <p:val>
                                            <p:strVal val="1+#ppt_h/2"/>
                                          </p:val>
                                        </p:tav>
                                        <p:tav tm="100000">
                                          <p:val>
                                            <p:strVal val="#ppt_y"/>
                                          </p:val>
                                        </p:tav>
                                      </p:tavLst>
                                    </p:anim>
                                  </p:childTnLst>
                                </p:cTn>
                              </p:par>
                              <p:par>
                                <p:cTn id="9" presetID="6" presetClass="emph" presetSubtype="0" autoRev="1" fill="hold" nodeType="withEffect">
                                  <p:stCondLst>
                                    <p:cond delay="1500"/>
                                  </p:stCondLst>
                                  <p:childTnLst>
                                    <p:animScale>
                                      <p:cBhvr>
                                        <p:cTn id="10" dur="400" fill="hold"/>
                                        <p:tgtEl>
                                          <p:spTgt spid="29"/>
                                        </p:tgtEl>
                                      </p:cBhvr>
                                      <p:by x="103000" y="103000"/>
                                    </p:animScale>
                                  </p:childTnLst>
                                </p:cTn>
                              </p:par>
                              <p:par>
                                <p:cTn id="11" presetID="2" presetClass="entr" presetSubtype="4" decel="100000" fill="hold" nodeType="withEffect">
                                  <p:stCondLst>
                                    <p:cond delay="250"/>
                                  </p:stCondLst>
                                  <p:childTnLst>
                                    <p:set>
                                      <p:cBhvr>
                                        <p:cTn id="12" dur="1" fill="hold">
                                          <p:stCondLst>
                                            <p:cond delay="0"/>
                                          </p:stCondLst>
                                        </p:cTn>
                                        <p:tgtEl>
                                          <p:spTgt spid="35"/>
                                        </p:tgtEl>
                                        <p:attrNameLst>
                                          <p:attrName>style.visibility</p:attrName>
                                        </p:attrNameLst>
                                      </p:cBhvr>
                                      <p:to>
                                        <p:strVal val="visible"/>
                                      </p:to>
                                    </p:set>
                                    <p:anim calcmode="lin" valueType="num">
                                      <p:cBhvr additive="base">
                                        <p:cTn id="13" dur="1000" fill="hold"/>
                                        <p:tgtEl>
                                          <p:spTgt spid="35"/>
                                        </p:tgtEl>
                                        <p:attrNameLst>
                                          <p:attrName>ppt_x</p:attrName>
                                        </p:attrNameLst>
                                      </p:cBhvr>
                                      <p:tavLst>
                                        <p:tav tm="0">
                                          <p:val>
                                            <p:strVal val="#ppt_x"/>
                                          </p:val>
                                        </p:tav>
                                        <p:tav tm="100000">
                                          <p:val>
                                            <p:strVal val="#ppt_x"/>
                                          </p:val>
                                        </p:tav>
                                      </p:tavLst>
                                    </p:anim>
                                    <p:anim calcmode="lin" valueType="num">
                                      <p:cBhvr additive="base">
                                        <p:cTn id="14" dur="1000" fill="hold"/>
                                        <p:tgtEl>
                                          <p:spTgt spid="35"/>
                                        </p:tgtEl>
                                        <p:attrNameLst>
                                          <p:attrName>ppt_y</p:attrName>
                                        </p:attrNameLst>
                                      </p:cBhvr>
                                      <p:tavLst>
                                        <p:tav tm="0">
                                          <p:val>
                                            <p:strVal val="1+#ppt_h/2"/>
                                          </p:val>
                                        </p:tav>
                                        <p:tav tm="100000">
                                          <p:val>
                                            <p:strVal val="#ppt_y"/>
                                          </p:val>
                                        </p:tav>
                                      </p:tavLst>
                                    </p:anim>
                                  </p:childTnLst>
                                </p:cTn>
                              </p:par>
                              <p:par>
                                <p:cTn id="15" presetID="6" presetClass="emph" presetSubtype="0" autoRev="1" fill="hold" nodeType="withEffect">
                                  <p:stCondLst>
                                    <p:cond delay="1750"/>
                                  </p:stCondLst>
                                  <p:childTnLst>
                                    <p:animScale>
                                      <p:cBhvr>
                                        <p:cTn id="16" dur="400" fill="hold"/>
                                        <p:tgtEl>
                                          <p:spTgt spid="35"/>
                                        </p:tgtEl>
                                      </p:cBhvr>
                                      <p:by x="103000" y="103000"/>
                                    </p:animScale>
                                  </p:childTnLst>
                                </p:cTn>
                              </p:par>
                              <p:par>
                                <p:cTn id="17" presetID="2" presetClass="entr" presetSubtype="4" decel="100000" fill="hold" nodeType="withEffect">
                                  <p:stCondLst>
                                    <p:cond delay="500"/>
                                  </p:stCondLst>
                                  <p:childTnLst>
                                    <p:set>
                                      <p:cBhvr>
                                        <p:cTn id="18" dur="1" fill="hold">
                                          <p:stCondLst>
                                            <p:cond delay="0"/>
                                          </p:stCondLst>
                                        </p:cTn>
                                        <p:tgtEl>
                                          <p:spTgt spid="41"/>
                                        </p:tgtEl>
                                        <p:attrNameLst>
                                          <p:attrName>style.visibility</p:attrName>
                                        </p:attrNameLst>
                                      </p:cBhvr>
                                      <p:to>
                                        <p:strVal val="visible"/>
                                      </p:to>
                                    </p:set>
                                    <p:anim calcmode="lin" valueType="num">
                                      <p:cBhvr additive="base">
                                        <p:cTn id="19" dur="1000" fill="hold"/>
                                        <p:tgtEl>
                                          <p:spTgt spid="41"/>
                                        </p:tgtEl>
                                        <p:attrNameLst>
                                          <p:attrName>ppt_x</p:attrName>
                                        </p:attrNameLst>
                                      </p:cBhvr>
                                      <p:tavLst>
                                        <p:tav tm="0">
                                          <p:val>
                                            <p:strVal val="#ppt_x"/>
                                          </p:val>
                                        </p:tav>
                                        <p:tav tm="100000">
                                          <p:val>
                                            <p:strVal val="#ppt_x"/>
                                          </p:val>
                                        </p:tav>
                                      </p:tavLst>
                                    </p:anim>
                                    <p:anim calcmode="lin" valueType="num">
                                      <p:cBhvr additive="base">
                                        <p:cTn id="20" dur="1000" fill="hold"/>
                                        <p:tgtEl>
                                          <p:spTgt spid="41"/>
                                        </p:tgtEl>
                                        <p:attrNameLst>
                                          <p:attrName>ppt_y</p:attrName>
                                        </p:attrNameLst>
                                      </p:cBhvr>
                                      <p:tavLst>
                                        <p:tav tm="0">
                                          <p:val>
                                            <p:strVal val="1+#ppt_h/2"/>
                                          </p:val>
                                        </p:tav>
                                        <p:tav tm="100000">
                                          <p:val>
                                            <p:strVal val="#ppt_y"/>
                                          </p:val>
                                        </p:tav>
                                      </p:tavLst>
                                    </p:anim>
                                  </p:childTnLst>
                                </p:cTn>
                              </p:par>
                              <p:par>
                                <p:cTn id="21" presetID="6" presetClass="emph" presetSubtype="0" autoRev="1" fill="hold" nodeType="withEffect">
                                  <p:stCondLst>
                                    <p:cond delay="2000"/>
                                  </p:stCondLst>
                                  <p:childTnLst>
                                    <p:animScale>
                                      <p:cBhvr>
                                        <p:cTn id="22" dur="400" fill="hold"/>
                                        <p:tgtEl>
                                          <p:spTgt spid="41"/>
                                        </p:tgtEl>
                                      </p:cBhvr>
                                      <p:by x="103000" y="103000"/>
                                    </p:animScale>
                                  </p:childTnLst>
                                </p:cTn>
                              </p:par>
                              <p:par>
                                <p:cTn id="23" presetID="2" presetClass="entr" presetSubtype="4" decel="100000" fill="hold" nodeType="withEffect">
                                  <p:stCondLst>
                                    <p:cond delay="750"/>
                                  </p:stCondLst>
                                  <p:childTnLst>
                                    <p:set>
                                      <p:cBhvr>
                                        <p:cTn id="24" dur="1" fill="hold">
                                          <p:stCondLst>
                                            <p:cond delay="0"/>
                                          </p:stCondLst>
                                        </p:cTn>
                                        <p:tgtEl>
                                          <p:spTgt spid="47"/>
                                        </p:tgtEl>
                                        <p:attrNameLst>
                                          <p:attrName>style.visibility</p:attrName>
                                        </p:attrNameLst>
                                      </p:cBhvr>
                                      <p:to>
                                        <p:strVal val="visible"/>
                                      </p:to>
                                    </p:set>
                                    <p:anim calcmode="lin" valueType="num">
                                      <p:cBhvr additive="base">
                                        <p:cTn id="25" dur="1000" fill="hold"/>
                                        <p:tgtEl>
                                          <p:spTgt spid="47"/>
                                        </p:tgtEl>
                                        <p:attrNameLst>
                                          <p:attrName>ppt_x</p:attrName>
                                        </p:attrNameLst>
                                      </p:cBhvr>
                                      <p:tavLst>
                                        <p:tav tm="0">
                                          <p:val>
                                            <p:strVal val="#ppt_x"/>
                                          </p:val>
                                        </p:tav>
                                        <p:tav tm="100000">
                                          <p:val>
                                            <p:strVal val="#ppt_x"/>
                                          </p:val>
                                        </p:tav>
                                      </p:tavLst>
                                    </p:anim>
                                    <p:anim calcmode="lin" valueType="num">
                                      <p:cBhvr additive="base">
                                        <p:cTn id="26" dur="1000" fill="hold"/>
                                        <p:tgtEl>
                                          <p:spTgt spid="47"/>
                                        </p:tgtEl>
                                        <p:attrNameLst>
                                          <p:attrName>ppt_y</p:attrName>
                                        </p:attrNameLst>
                                      </p:cBhvr>
                                      <p:tavLst>
                                        <p:tav tm="0">
                                          <p:val>
                                            <p:strVal val="1+#ppt_h/2"/>
                                          </p:val>
                                        </p:tav>
                                        <p:tav tm="100000">
                                          <p:val>
                                            <p:strVal val="#ppt_y"/>
                                          </p:val>
                                        </p:tav>
                                      </p:tavLst>
                                    </p:anim>
                                  </p:childTnLst>
                                </p:cTn>
                              </p:par>
                              <p:par>
                                <p:cTn id="27" presetID="6" presetClass="emph" presetSubtype="0" autoRev="1" fill="hold" nodeType="withEffect">
                                  <p:stCondLst>
                                    <p:cond delay="2250"/>
                                  </p:stCondLst>
                                  <p:childTnLst>
                                    <p:animScale>
                                      <p:cBhvr>
                                        <p:cTn id="28" dur="400" fill="hold"/>
                                        <p:tgtEl>
                                          <p:spTgt spid="47"/>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3" name="image11.jpeg">
            <a:extLst>
              <a:ext uri="{FF2B5EF4-FFF2-40B4-BE49-F238E27FC236}">
                <a16:creationId xmlns:a16="http://schemas.microsoft.com/office/drawing/2014/main" id="{0B449887-0372-7DA0-1D2A-BC6F579A5CB4}"/>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3817938" y="719138"/>
            <a:ext cx="7649866" cy="5281612"/>
          </a:xfrm>
          <a:prstGeom prst="rect">
            <a:avLst/>
          </a:prstGeom>
          <a:noFill/>
          <a:ln w="12700" cap="flat">
            <a:noFill/>
            <a:miter lim="400000"/>
          </a:ln>
          <a:effectLst/>
        </p:spPr>
      </p:pic>
      <p:pic>
        <p:nvPicPr>
          <p:cNvPr id="34" name="image11.jpeg">
            <a:extLst>
              <a:ext uri="{FF2B5EF4-FFF2-40B4-BE49-F238E27FC236}">
                <a16:creationId xmlns:a16="http://schemas.microsoft.com/office/drawing/2014/main" id="{BF3004C3-30A6-8FD8-1786-D07E4E261676}"/>
              </a:ext>
            </a:extLst>
          </p:cNvPr>
          <p:cNvPicPr>
            <a:picLocks noChangeAspect="1"/>
          </p:cNvPicPr>
          <p:nvPr/>
        </p:nvPicPr>
        <p:blipFill>
          <a:blip r:embed="rId4">
            <a:extLst>
              <a:ext uri="{28A0092B-C50C-407E-A947-70E740481C1C}">
                <a14:useLocalDpi xmlns:a14="http://schemas.microsoft.com/office/drawing/2010/main" val="0"/>
              </a:ext>
            </a:extLst>
          </a:blip>
          <a:srcRect l="812" r="812"/>
          <a:stretch/>
        </p:blipFill>
        <p:spPr>
          <a:xfrm flipH="1">
            <a:off x="3817938" y="719138"/>
            <a:ext cx="7649866" cy="5281612"/>
          </a:xfrm>
          <a:prstGeom prst="rect">
            <a:avLst/>
          </a:prstGeom>
          <a:noFill/>
          <a:ln w="12700" cap="flat">
            <a:noFill/>
            <a:miter lim="400000"/>
          </a:ln>
          <a:effectLst/>
        </p:spPr>
      </p:pic>
      <p:pic>
        <p:nvPicPr>
          <p:cNvPr id="35" name="image11.jpeg">
            <a:extLst>
              <a:ext uri="{FF2B5EF4-FFF2-40B4-BE49-F238E27FC236}">
                <a16:creationId xmlns:a16="http://schemas.microsoft.com/office/drawing/2014/main" id="{BBBF7E78-FC65-B153-AE84-683CB002B4F4}"/>
              </a:ext>
            </a:extLst>
          </p:cNvPr>
          <p:cNvPicPr>
            <a:picLocks noChangeAspect="1"/>
          </p:cNvPicPr>
          <p:nvPr/>
        </p:nvPicPr>
        <p:blipFill>
          <a:blip r:embed="rId5">
            <a:extLst>
              <a:ext uri="{28A0092B-C50C-407E-A947-70E740481C1C}">
                <a14:useLocalDpi xmlns:a14="http://schemas.microsoft.com/office/drawing/2010/main" val="0"/>
              </a:ext>
            </a:extLst>
          </a:blip>
          <a:srcRect l="1793" r="1793"/>
          <a:stretch/>
        </p:blipFill>
        <p:spPr>
          <a:xfrm>
            <a:off x="3817938" y="719138"/>
            <a:ext cx="7649866" cy="5281612"/>
          </a:xfrm>
          <a:prstGeom prst="rect">
            <a:avLst/>
          </a:prstGeo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6</a:t>
            </a:fld>
            <a:endParaRPr lang="en-GB" dirty="0"/>
          </a:p>
        </p:txBody>
      </p:sp>
      <p:pic>
        <p:nvPicPr>
          <p:cNvPr id="4" name="image11.jpeg">
            <a:extLst>
              <a:ext uri="{FF2B5EF4-FFF2-40B4-BE49-F238E27FC236}">
                <a16:creationId xmlns:a16="http://schemas.microsoft.com/office/drawing/2014/main" id="{F3C35106-595E-B74D-968E-8DAE450A6EB9}"/>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t="1178" b="1178"/>
          <a:stretch/>
        </p:blipFill>
        <p:spPr>
          <a:xfrm>
            <a:off x="3817938" y="719138"/>
            <a:ext cx="7650867" cy="5281612"/>
          </a:xfrm>
          <a:noFill/>
          <a:ln w="12700" cap="flat">
            <a:noFill/>
            <a:miter lim="400000"/>
          </a:ln>
          <a:effectLst/>
        </p:spPr>
      </p:pic>
      <p:sp>
        <p:nvSpPr>
          <p:cNvPr id="11" name="Tekstvak 10">
            <a:extLst>
              <a:ext uri="{FF2B5EF4-FFF2-40B4-BE49-F238E27FC236}">
                <a16:creationId xmlns:a16="http://schemas.microsoft.com/office/drawing/2014/main" id="{BCAF89AC-C263-1544-64E7-AFF50666E225}"/>
              </a:ext>
            </a:extLst>
          </p:cNvPr>
          <p:cNvSpPr txBox="1"/>
          <p:nvPr/>
        </p:nvSpPr>
        <p:spPr>
          <a:xfrm>
            <a:off x="71866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Health care transformation: towards a resilient, inclusive and affordable system. Topics: digitalization, future of work in healthcare &amp; prevention.</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718665"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US" sz="1600" dirty="0">
                <a:solidFill>
                  <a:schemeClr val="bg1"/>
                </a:solidFill>
              </a:rPr>
              <a:t>Unique 'TUD way' in the health domain: combination of disciplines engineering-science-design &amp; health ecosystem (Rotterdam region/convergence).</a:t>
            </a:r>
            <a:endParaRPr lang="nl-NL" sz="1600" dirty="0">
              <a:solidFill>
                <a:schemeClr val="bg1"/>
              </a:solidFill>
            </a:endParaRPr>
          </a:p>
        </p:txBody>
      </p:sp>
      <p:sp>
        <p:nvSpPr>
          <p:cNvPr id="24" name="Tekstvak 23">
            <a:extLst>
              <a:ext uri="{FF2B5EF4-FFF2-40B4-BE49-F238E27FC236}">
                <a16:creationId xmlns:a16="http://schemas.microsoft.com/office/drawing/2014/main" id="{3A746C27-5D3D-21A6-76FA-DF12363ADD6B}"/>
              </a:ext>
            </a:extLst>
          </p:cNvPr>
          <p:cNvSpPr txBox="1"/>
          <p:nvPr/>
        </p:nvSpPr>
        <p:spPr>
          <a:xfrm>
            <a:off x="71866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ircularity in healthcare system. Topics: </a:t>
            </a:r>
            <a:br>
              <a:rPr lang="en-GB" sz="1600" dirty="0">
                <a:solidFill>
                  <a:schemeClr val="bg1"/>
                </a:solidFill>
              </a:rPr>
            </a:br>
            <a:r>
              <a:rPr lang="en-GB" sz="1600" dirty="0" err="1">
                <a:solidFill>
                  <a:schemeClr val="bg1"/>
                </a:solidFill>
              </a:rPr>
              <a:t>recycable</a:t>
            </a:r>
            <a:r>
              <a:rPr lang="en-GB" sz="1600" dirty="0">
                <a:solidFill>
                  <a:schemeClr val="bg1"/>
                </a:solidFill>
              </a:rPr>
              <a:t>, reusable surgical instruments and </a:t>
            </a:r>
            <a:br>
              <a:rPr lang="en-GB" sz="1600" dirty="0">
                <a:solidFill>
                  <a:schemeClr val="bg1"/>
                </a:solidFill>
              </a:rPr>
            </a:br>
            <a:r>
              <a:rPr lang="en-GB" sz="1600" dirty="0">
                <a:solidFill>
                  <a:schemeClr val="bg1"/>
                </a:solidFill>
              </a:rPr>
              <a:t>affordable &amp; sustainable tools.</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718666"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Health</a:t>
            </a:r>
          </a:p>
        </p:txBody>
      </p:sp>
      <p:sp>
        <p:nvSpPr>
          <p:cNvPr id="12" name="Tekstvak 11">
            <a:extLst>
              <a:ext uri="{FF2B5EF4-FFF2-40B4-BE49-F238E27FC236}">
                <a16:creationId xmlns:a16="http://schemas.microsoft.com/office/drawing/2014/main" id="{5EE92A47-BD1F-B6CD-7E53-FB105F55B6DE}"/>
              </a:ext>
            </a:extLst>
          </p:cNvPr>
          <p:cNvSpPr txBox="1"/>
          <p:nvPr/>
        </p:nvSpPr>
        <p:spPr>
          <a:xfrm>
            <a:off x="12351300"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limate change is a worldwide phenomenon. We prepare for the risks and work on innovations which will stop its devastating course, both regionally and across the world.</a:t>
            </a:r>
          </a:p>
        </p:txBody>
      </p:sp>
      <p:sp>
        <p:nvSpPr>
          <p:cNvPr id="13" name="Tekstvak 12">
            <a:extLst>
              <a:ext uri="{FF2B5EF4-FFF2-40B4-BE49-F238E27FC236}">
                <a16:creationId xmlns:a16="http://schemas.microsoft.com/office/drawing/2014/main" id="{BC2C6AB5-1CF5-0CC4-961E-9B7EB7256F6A}"/>
              </a:ext>
            </a:extLst>
          </p:cNvPr>
          <p:cNvSpPr txBox="1"/>
          <p:nvPr/>
        </p:nvSpPr>
        <p:spPr>
          <a:xfrm>
            <a:off x="14210580"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We pool the knowledge needed to create </a:t>
            </a:r>
            <a:br>
              <a:rPr lang="en-GB" sz="1600" dirty="0">
                <a:solidFill>
                  <a:schemeClr val="bg1"/>
                </a:solidFill>
              </a:rPr>
            </a:br>
            <a:r>
              <a:rPr lang="en-GB" sz="1600" dirty="0">
                <a:solidFill>
                  <a:schemeClr val="bg1"/>
                </a:solidFill>
              </a:rPr>
              <a:t>a better understanding of climate and work </a:t>
            </a:r>
            <a:br>
              <a:rPr lang="en-GB" sz="1600" dirty="0">
                <a:solidFill>
                  <a:schemeClr val="bg1"/>
                </a:solidFill>
              </a:rPr>
            </a:br>
            <a:r>
              <a:rPr lang="en-GB" sz="1600" dirty="0">
                <a:solidFill>
                  <a:schemeClr val="bg1"/>
                </a:solidFill>
              </a:rPr>
              <a:t>on a faster energy transition. </a:t>
            </a:r>
          </a:p>
        </p:txBody>
      </p:sp>
      <p:sp>
        <p:nvSpPr>
          <p:cNvPr id="28" name="Tekstvak 27">
            <a:extLst>
              <a:ext uri="{FF2B5EF4-FFF2-40B4-BE49-F238E27FC236}">
                <a16:creationId xmlns:a16="http://schemas.microsoft.com/office/drawing/2014/main" id="{2E43BF32-DD6A-344B-93C8-E14A3AA927EC}"/>
              </a:ext>
            </a:extLst>
          </p:cNvPr>
          <p:cNvSpPr txBox="1"/>
          <p:nvPr/>
        </p:nvSpPr>
        <p:spPr>
          <a:xfrm>
            <a:off x="15902220"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TU Delft aims to be operating in a completely sustainable manner. All activities on and from the campus will then be carbon neutral, circular, climate adaptive and contributing to the quality of life for its users and for nature.</a:t>
            </a:r>
          </a:p>
        </p:txBody>
      </p:sp>
      <p:sp>
        <p:nvSpPr>
          <p:cNvPr id="29" name="Titel 2">
            <a:extLst>
              <a:ext uri="{FF2B5EF4-FFF2-40B4-BE49-F238E27FC236}">
                <a16:creationId xmlns:a16="http://schemas.microsoft.com/office/drawing/2014/main" id="{A9375514-1818-F22B-E803-86D8A45A1042}"/>
              </a:ext>
            </a:extLst>
          </p:cNvPr>
          <p:cNvSpPr txBox="1">
            <a:spLocks/>
          </p:cNvSpPr>
          <p:nvPr/>
        </p:nvSpPr>
        <p:spPr>
          <a:xfrm>
            <a:off x="15210282"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err="1">
                <a:solidFill>
                  <a:schemeClr val="accent1"/>
                </a:solidFill>
              </a:rPr>
              <a:t>Climate</a:t>
            </a:r>
            <a:r>
              <a:rPr lang="nl-NL" sz="1400" dirty="0">
                <a:solidFill>
                  <a:schemeClr val="accent1"/>
                </a:solidFill>
              </a:rPr>
              <a:t> &amp; Energy</a:t>
            </a:r>
          </a:p>
        </p:txBody>
      </p:sp>
      <p:grpSp>
        <p:nvGrpSpPr>
          <p:cNvPr id="3" name="HYPER HOME">
            <a:extLst>
              <a:ext uri="{FF2B5EF4-FFF2-40B4-BE49-F238E27FC236}">
                <a16:creationId xmlns:a16="http://schemas.microsoft.com/office/drawing/2014/main" id="{34467D04-4BF5-EABF-ABBF-B15AC5824EC4}"/>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C39E7BE1-E950-7EC7-705A-AEE5A5B4F8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7" name="Rechthoek 6">
              <a:hlinkClick r:id="rId9" action="ppaction://hlinksldjump"/>
              <a:extLst>
                <a:ext uri="{FF2B5EF4-FFF2-40B4-BE49-F238E27FC236}">
                  <a16:creationId xmlns:a16="http://schemas.microsoft.com/office/drawing/2014/main" id="{CA7C2B57-35CD-65EC-7638-1670ADFA5B5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16" name="HYPER HOME">
            <a:extLst>
              <a:ext uri="{FF2B5EF4-FFF2-40B4-BE49-F238E27FC236}">
                <a16:creationId xmlns:a16="http://schemas.microsoft.com/office/drawing/2014/main" id="{8AB3E1BC-9AD8-34F0-A590-8BD0DCC85E4D}"/>
              </a:ext>
            </a:extLst>
          </p:cNvPr>
          <p:cNvGrpSpPr/>
          <p:nvPr/>
        </p:nvGrpSpPr>
        <p:grpSpPr>
          <a:xfrm>
            <a:off x="11460480" y="513080"/>
            <a:ext cx="731520" cy="416560"/>
            <a:chOff x="11460480" y="157480"/>
            <a:chExt cx="731520" cy="416560"/>
          </a:xfrm>
        </p:grpSpPr>
        <p:pic>
          <p:nvPicPr>
            <p:cNvPr id="17" name="Graphic 16">
              <a:extLst>
                <a:ext uri="{FF2B5EF4-FFF2-40B4-BE49-F238E27FC236}">
                  <a16:creationId xmlns:a16="http://schemas.microsoft.com/office/drawing/2014/main" id="{2AFC9B0B-53D8-3A8C-3DDC-1CA30E17A44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18" name="Rechthoek 17">
              <a:hlinkClick r:id="rId12" action="ppaction://hlinksldjump"/>
              <a:extLst>
                <a:ext uri="{FF2B5EF4-FFF2-40B4-BE49-F238E27FC236}">
                  <a16:creationId xmlns:a16="http://schemas.microsoft.com/office/drawing/2014/main" id="{62E343D0-74FB-16CE-CCC4-58B7C7B18C55}"/>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05739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0-#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1000" fill="hold"/>
                                        <p:tgtEl>
                                          <p:spTgt spid="24"/>
                                        </p:tgtEl>
                                        <p:attrNameLst>
                                          <p:attrName>ppt_x</p:attrName>
                                        </p:attrNameLst>
                                      </p:cBhvr>
                                      <p:tavLst>
                                        <p:tav tm="0">
                                          <p:val>
                                            <p:strVal val="0-#ppt_w/2"/>
                                          </p:val>
                                        </p:tav>
                                        <p:tav tm="100000">
                                          <p:val>
                                            <p:strVal val="#ppt_x"/>
                                          </p:val>
                                        </p:tav>
                                      </p:tavLst>
                                    </p:anim>
                                    <p:anim calcmode="lin" valueType="num">
                                      <p:cBhvr additive="base">
                                        <p:cTn id="16" dur="1000" fill="hold"/>
                                        <p:tgtEl>
                                          <p:spTgt spid="2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1000" fill="hold"/>
                                        <p:tgtEl>
                                          <p:spTgt spid="4"/>
                                        </p:tgtEl>
                                        <p:attrNameLst>
                                          <p:attrName>ppt_x</p:attrName>
                                        </p:attrNameLst>
                                      </p:cBhvr>
                                      <p:tavLst>
                                        <p:tav tm="0">
                                          <p:val>
                                            <p:strVal val="1+#ppt_w/2"/>
                                          </p:val>
                                        </p:tav>
                                        <p:tav tm="100000">
                                          <p:val>
                                            <p:strVal val="#ppt_x"/>
                                          </p:val>
                                        </p:tav>
                                      </p:tavLst>
                                    </p:anim>
                                    <p:anim calcmode="lin" valueType="num">
                                      <p:cBhvr additive="base">
                                        <p:cTn id="20" dur="1000" fill="hold"/>
                                        <p:tgtEl>
                                          <p:spTgt spid="4"/>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1" presetClass="entr" presetSubtype="0" fill="hold" nodeType="afterEffect">
                                  <p:stCondLst>
                                    <p:cond delay="0"/>
                                  </p:stCondLst>
                                  <p:childTnLst>
                                    <p:set>
                                      <p:cBhvr>
                                        <p:cTn id="23" dur="1" fill="hold">
                                          <p:stCondLst>
                                            <p:cond delay="0"/>
                                          </p:stCondLst>
                                        </p:cTn>
                                        <p:tgtEl>
                                          <p:spTgt spid="33"/>
                                        </p:tgtEl>
                                        <p:attrNameLst>
                                          <p:attrName>style.visibility</p:attrName>
                                        </p:attrNameLst>
                                      </p:cBhvr>
                                      <p:to>
                                        <p:strVal val="visible"/>
                                      </p:to>
                                    </p:set>
                                  </p:childTnLst>
                                </p:cTn>
                              </p:par>
                            </p:childTnLst>
                          </p:cTn>
                        </p:par>
                        <p:par>
                          <p:cTn id="24" fill="hold">
                            <p:stCondLst>
                              <p:cond delay="1500"/>
                            </p:stCondLst>
                            <p:childTnLst>
                              <p:par>
                                <p:cTn id="25" presetID="1" presetClass="entr" presetSubtype="0"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par>
                          <p:cTn id="27" fill="hold">
                            <p:stCondLst>
                              <p:cond delay="1500"/>
                            </p:stCondLst>
                            <p:childTnLst>
                              <p:par>
                                <p:cTn id="28" presetID="1" presetClass="entr" presetSubtype="0" fill="hold" nodeType="afterEffect">
                                  <p:stCondLst>
                                    <p:cond delay="0"/>
                                  </p:stCondLst>
                                  <p:childTnLst>
                                    <p:set>
                                      <p:cBhvr>
                                        <p:cTn id="29"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9" grpId="0" animBg="1"/>
      <p:bldP spid="24"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 name="image11.jpeg">
            <a:extLst>
              <a:ext uri="{FF2B5EF4-FFF2-40B4-BE49-F238E27FC236}">
                <a16:creationId xmlns:a16="http://schemas.microsoft.com/office/drawing/2014/main" id="{2E8FE33D-EDF3-01CF-1122-67CB68AAABE3}"/>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724196" y="719138"/>
            <a:ext cx="7649866" cy="5281612"/>
          </a:xfrm>
          <a:prstGeom prst="rect">
            <a:avLst/>
          </a:prstGeom>
          <a:noFill/>
          <a:ln w="12700" cap="flat">
            <a:noFill/>
            <a:miter lim="400000"/>
          </a:ln>
          <a:effectLst/>
        </p:spPr>
      </p:pic>
      <p:pic>
        <p:nvPicPr>
          <p:cNvPr id="32" name="image11.jpeg">
            <a:extLst>
              <a:ext uri="{FF2B5EF4-FFF2-40B4-BE49-F238E27FC236}">
                <a16:creationId xmlns:a16="http://schemas.microsoft.com/office/drawing/2014/main" id="{09553A76-4E2F-EDDC-41F8-B15DADB37E2D}"/>
              </a:ext>
            </a:extLst>
          </p:cNvPr>
          <p:cNvPicPr>
            <a:picLocks noChangeAspect="1"/>
          </p:cNvPicPr>
          <p:nvPr/>
        </p:nvPicPr>
        <p:blipFill>
          <a:blip r:embed="rId4">
            <a:extLst>
              <a:ext uri="{28A0092B-C50C-407E-A947-70E740481C1C}">
                <a14:useLocalDpi xmlns:a14="http://schemas.microsoft.com/office/drawing/2010/main" val="0"/>
              </a:ext>
            </a:extLst>
          </a:blip>
          <a:srcRect l="812" r="812"/>
          <a:stretch/>
        </p:blipFill>
        <p:spPr>
          <a:xfrm flipH="1">
            <a:off x="724196" y="719138"/>
            <a:ext cx="7649866" cy="5281612"/>
          </a:xfrm>
          <a:prstGeom prst="rect">
            <a:avLst/>
          </a:prstGeom>
          <a:noFill/>
          <a:ln w="12700" cap="flat">
            <a:noFill/>
            <a:miter lim="400000"/>
          </a:ln>
          <a:effectLst/>
        </p:spPr>
      </p:pic>
      <p:pic>
        <p:nvPicPr>
          <p:cNvPr id="31" name="image11.jpeg">
            <a:extLst>
              <a:ext uri="{FF2B5EF4-FFF2-40B4-BE49-F238E27FC236}">
                <a16:creationId xmlns:a16="http://schemas.microsoft.com/office/drawing/2014/main" id="{2DF23706-016F-F257-32F4-A2A7BB993EC2}"/>
              </a:ext>
            </a:extLst>
          </p:cNvPr>
          <p:cNvPicPr>
            <a:picLocks noChangeAspect="1"/>
          </p:cNvPicPr>
          <p:nvPr/>
        </p:nvPicPr>
        <p:blipFill>
          <a:blip r:embed="rId5">
            <a:extLst>
              <a:ext uri="{28A0092B-C50C-407E-A947-70E740481C1C}">
                <a14:useLocalDpi xmlns:a14="http://schemas.microsoft.com/office/drawing/2010/main" val="0"/>
              </a:ext>
            </a:extLst>
          </a:blip>
          <a:srcRect l="1793" r="1793"/>
          <a:stretch/>
        </p:blipFill>
        <p:spPr>
          <a:xfrm>
            <a:off x="724196" y="719138"/>
            <a:ext cx="7649866" cy="5281612"/>
          </a:xfrm>
          <a:prstGeom prst="rect">
            <a:avLst/>
          </a:prstGeom>
          <a:noFill/>
          <a:ln w="12700" cap="flat">
            <a:noFill/>
            <a:miter lim="400000"/>
          </a:ln>
          <a:effectLst/>
        </p:spPr>
      </p:pic>
      <p:pic>
        <p:nvPicPr>
          <p:cNvPr id="33" name="image11.jpeg">
            <a:extLst>
              <a:ext uri="{FF2B5EF4-FFF2-40B4-BE49-F238E27FC236}">
                <a16:creationId xmlns:a16="http://schemas.microsoft.com/office/drawing/2014/main" id="{BE81F4C1-AFCE-0A94-B1F0-15DA473BD74B}"/>
              </a:ext>
            </a:extLst>
          </p:cNvPr>
          <p:cNvPicPr>
            <a:picLocks noGrp="1" noChangeAspect="1"/>
          </p:cNvPicPr>
          <p:nvPr>
            <p:ph type="pic" sz="quarter" idx="13"/>
          </p:nvPr>
        </p:nvPicPr>
        <p:blipFill>
          <a:blip r:embed="rId6">
            <a:alphaModFix amt="0"/>
            <a:extLst>
              <a:ext uri="{28A0092B-C50C-407E-A947-70E740481C1C}">
                <a14:useLocalDpi xmlns:a14="http://schemas.microsoft.com/office/drawing/2010/main" val="0"/>
              </a:ext>
            </a:extLst>
          </a:blip>
          <a:srcRect t="1178" b="1178"/>
          <a:stretch/>
        </p:blipFill>
        <p:spPr>
          <a:xfrm>
            <a:off x="724196" y="719138"/>
            <a:ext cx="7650867" cy="5281612"/>
          </a:xfrm>
          <a:noFill/>
          <a:ln w="12700" cap="flat">
            <a:noFill/>
            <a:miter lim="400000"/>
          </a:ln>
          <a:effectLst/>
        </p:spPr>
      </p:pic>
      <p:sp>
        <p:nvSpPr>
          <p:cNvPr id="45" name="Tekstvak 44">
            <a:extLst>
              <a:ext uri="{FF2B5EF4-FFF2-40B4-BE49-F238E27FC236}">
                <a16:creationId xmlns:a16="http://schemas.microsoft.com/office/drawing/2014/main" id="{FD5628D4-C899-5B40-DA3E-9ACFB1D229B1}"/>
              </a:ext>
            </a:extLst>
          </p:cNvPr>
          <p:cNvSpPr txBox="1"/>
          <p:nvPr/>
        </p:nvSpPr>
        <p:spPr>
          <a:xfrm>
            <a:off x="-883681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Health care transformation: towards a resilient, inclusive and affordable system. Topics: digitalization, future of work in healthcare &amp; prevention</a:t>
            </a:r>
          </a:p>
        </p:txBody>
      </p:sp>
      <p:sp>
        <p:nvSpPr>
          <p:cNvPr id="46" name="Tekstvak 45">
            <a:extLst>
              <a:ext uri="{FF2B5EF4-FFF2-40B4-BE49-F238E27FC236}">
                <a16:creationId xmlns:a16="http://schemas.microsoft.com/office/drawing/2014/main" id="{37F556D1-AB99-BC26-9E47-25CA20D9D0EF}"/>
              </a:ext>
            </a:extLst>
          </p:cNvPr>
          <p:cNvSpPr txBox="1"/>
          <p:nvPr/>
        </p:nvSpPr>
        <p:spPr>
          <a:xfrm>
            <a:off x="-7312815"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Precision </a:t>
            </a:r>
            <a:r>
              <a:rPr lang="nl-NL" sz="1600" dirty="0" err="1">
                <a:solidFill>
                  <a:schemeClr val="bg1"/>
                </a:solidFill>
              </a:rPr>
              <a:t>Medicine</a:t>
            </a:r>
            <a:r>
              <a:rPr lang="nl-NL" sz="1600" dirty="0">
                <a:solidFill>
                  <a:schemeClr val="bg1"/>
                </a:solidFill>
              </a:rPr>
              <a:t>. Topics: </a:t>
            </a:r>
            <a:r>
              <a:rPr lang="nl-NL" sz="1600" dirty="0" err="1">
                <a:solidFill>
                  <a:schemeClr val="bg1"/>
                </a:solidFill>
              </a:rPr>
              <a:t>neurotech</a:t>
            </a:r>
            <a:r>
              <a:rPr lang="nl-NL" sz="1600" dirty="0">
                <a:solidFill>
                  <a:schemeClr val="bg1"/>
                </a:solidFill>
              </a:rPr>
              <a:t>, </a:t>
            </a:r>
            <a:r>
              <a:rPr lang="nl-NL" sz="1600" dirty="0" err="1">
                <a:solidFill>
                  <a:schemeClr val="bg1"/>
                </a:solidFill>
              </a:rPr>
              <a:t>nanotechnologies</a:t>
            </a:r>
            <a:r>
              <a:rPr lang="nl-NL" sz="1600" dirty="0">
                <a:solidFill>
                  <a:schemeClr val="bg1"/>
                </a:solidFill>
              </a:rPr>
              <a:t>, </a:t>
            </a:r>
            <a:r>
              <a:rPr lang="nl-NL" sz="1600" dirty="0" err="1">
                <a:solidFill>
                  <a:schemeClr val="bg1"/>
                </a:solidFill>
              </a:rPr>
              <a:t>medical</a:t>
            </a:r>
            <a:r>
              <a:rPr lang="nl-NL" sz="1600" dirty="0">
                <a:solidFill>
                  <a:schemeClr val="bg1"/>
                </a:solidFill>
              </a:rPr>
              <a:t> </a:t>
            </a:r>
            <a:r>
              <a:rPr lang="nl-NL" sz="1600" dirty="0" err="1">
                <a:solidFill>
                  <a:schemeClr val="bg1"/>
                </a:solidFill>
              </a:rPr>
              <a:t>implants</a:t>
            </a:r>
            <a:r>
              <a:rPr lang="nl-NL" sz="1600" dirty="0">
                <a:solidFill>
                  <a:schemeClr val="bg1"/>
                </a:solidFill>
              </a:rPr>
              <a:t>, imaging </a:t>
            </a:r>
            <a:r>
              <a:rPr lang="nl-NL" sz="1600" dirty="0" err="1">
                <a:solidFill>
                  <a:schemeClr val="bg1"/>
                </a:solidFill>
              </a:rPr>
              <a:t>technologies</a:t>
            </a:r>
            <a:r>
              <a:rPr lang="nl-NL" sz="1600" dirty="0">
                <a:solidFill>
                  <a:schemeClr val="bg1"/>
                </a:solidFill>
              </a:rPr>
              <a:t>, sensors</a:t>
            </a:r>
          </a:p>
        </p:txBody>
      </p:sp>
      <p:sp>
        <p:nvSpPr>
          <p:cNvPr id="47" name="Tekstvak 46">
            <a:extLst>
              <a:ext uri="{FF2B5EF4-FFF2-40B4-BE49-F238E27FC236}">
                <a16:creationId xmlns:a16="http://schemas.microsoft.com/office/drawing/2014/main" id="{07E2B5CB-DC6C-89B1-410A-2A8CBF5F89BF}"/>
              </a:ext>
            </a:extLst>
          </p:cNvPr>
          <p:cNvSpPr txBox="1"/>
          <p:nvPr/>
        </p:nvSpPr>
        <p:spPr>
          <a:xfrm>
            <a:off x="-6052584"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ircularity in /of healthcare system. Topics: </a:t>
            </a:r>
            <a:br>
              <a:rPr lang="en-GB" sz="1600" dirty="0">
                <a:solidFill>
                  <a:schemeClr val="bg1"/>
                </a:solidFill>
              </a:rPr>
            </a:br>
            <a:r>
              <a:rPr lang="en-GB" sz="1600" dirty="0" err="1">
                <a:solidFill>
                  <a:schemeClr val="bg1"/>
                </a:solidFill>
              </a:rPr>
              <a:t>recycable</a:t>
            </a:r>
            <a:r>
              <a:rPr lang="en-GB" sz="1600" dirty="0">
                <a:solidFill>
                  <a:schemeClr val="bg1"/>
                </a:solidFill>
              </a:rPr>
              <a:t>, reusable surgical tools and </a:t>
            </a:r>
            <a:br>
              <a:rPr lang="en-GB" sz="1600" dirty="0">
                <a:solidFill>
                  <a:schemeClr val="bg1"/>
                </a:solidFill>
              </a:rPr>
            </a:br>
            <a:r>
              <a:rPr lang="en-GB" sz="1600" dirty="0">
                <a:solidFill>
                  <a:schemeClr val="bg1"/>
                </a:solidFill>
              </a:rPr>
              <a:t>affordable &amp; sustainable devices</a:t>
            </a:r>
          </a:p>
        </p:txBody>
      </p:sp>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7</a:t>
            </a:fld>
            <a:endParaRPr lang="en-GB" dirty="0"/>
          </a:p>
        </p:txBody>
      </p:sp>
      <p:sp>
        <p:nvSpPr>
          <p:cNvPr id="11" name="Tekstvak 10">
            <a:extLst>
              <a:ext uri="{FF2B5EF4-FFF2-40B4-BE49-F238E27FC236}">
                <a16:creationId xmlns:a16="http://schemas.microsoft.com/office/drawing/2014/main" id="{BCAF89AC-C263-1544-64E7-AFF50666E225}"/>
              </a:ext>
            </a:extLst>
          </p:cNvPr>
          <p:cNvSpPr txBox="1"/>
          <p:nvPr/>
        </p:nvSpPr>
        <p:spPr>
          <a:xfrm>
            <a:off x="5750422"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limate change is a worldwide phenomenon. We prepare for the risks and work on innovations which will stop its devastating course, both regionally and across the world.</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5750422"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We pool the knowledge needed to create </a:t>
            </a:r>
            <a:br>
              <a:rPr lang="en-GB" sz="1600" dirty="0">
                <a:solidFill>
                  <a:schemeClr val="bg1"/>
                </a:solidFill>
              </a:rPr>
            </a:br>
            <a:r>
              <a:rPr lang="en-GB" sz="1600" dirty="0">
                <a:solidFill>
                  <a:schemeClr val="bg1"/>
                </a:solidFill>
              </a:rPr>
              <a:t>a better understanding of climate and work </a:t>
            </a:r>
            <a:br>
              <a:rPr lang="en-GB" sz="1600" dirty="0">
                <a:solidFill>
                  <a:schemeClr val="bg1"/>
                </a:solidFill>
              </a:rPr>
            </a:br>
            <a:r>
              <a:rPr lang="en-GB" sz="1600" dirty="0">
                <a:solidFill>
                  <a:schemeClr val="bg1"/>
                </a:solidFill>
              </a:rPr>
              <a:t>on a faster energy transition.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5750422"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TU Delft aims to be operating in a completely sustainable manner by 2030. All activities on and from the campus will then be carbon neutral, circular, climate adaptive and contribute to the quality of life for her users and for nature.</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860940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err="1">
                <a:solidFill>
                  <a:schemeClr val="accent1"/>
                </a:solidFill>
              </a:rPr>
              <a:t>Climate</a:t>
            </a:r>
            <a:r>
              <a:rPr lang="nl-NL" sz="1400" dirty="0">
                <a:solidFill>
                  <a:schemeClr val="accent1"/>
                </a:solidFill>
              </a:rPr>
              <a:t> &amp; Energy</a:t>
            </a:r>
          </a:p>
        </p:txBody>
      </p:sp>
      <p:sp>
        <p:nvSpPr>
          <p:cNvPr id="20" name="Titel 2">
            <a:extLst>
              <a:ext uri="{FF2B5EF4-FFF2-40B4-BE49-F238E27FC236}">
                <a16:creationId xmlns:a16="http://schemas.microsoft.com/office/drawing/2014/main" id="{238E4793-1960-1DDC-52F5-CE4C336A570E}"/>
              </a:ext>
            </a:extLst>
          </p:cNvPr>
          <p:cNvSpPr txBox="1">
            <a:spLocks/>
          </p:cNvSpPr>
          <p:nvPr/>
        </p:nvSpPr>
        <p:spPr>
          <a:xfrm>
            <a:off x="-580405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Health</a:t>
            </a:r>
          </a:p>
        </p:txBody>
      </p:sp>
      <p:sp>
        <p:nvSpPr>
          <p:cNvPr id="37" name="Titel 2">
            <a:extLst>
              <a:ext uri="{FF2B5EF4-FFF2-40B4-BE49-F238E27FC236}">
                <a16:creationId xmlns:a16="http://schemas.microsoft.com/office/drawing/2014/main" id="{6BF87556-8EEA-CF1F-CD6D-A721E6A708C4}"/>
              </a:ext>
            </a:extLst>
          </p:cNvPr>
          <p:cNvSpPr txBox="1">
            <a:spLocks/>
          </p:cNvSpPr>
          <p:nvPr/>
        </p:nvSpPr>
        <p:spPr>
          <a:xfrm>
            <a:off x="-580405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Digital Society</a:t>
            </a:r>
          </a:p>
        </p:txBody>
      </p:sp>
      <p:sp>
        <p:nvSpPr>
          <p:cNvPr id="48" name="Tekstvak 47">
            <a:extLst>
              <a:ext uri="{FF2B5EF4-FFF2-40B4-BE49-F238E27FC236}">
                <a16:creationId xmlns:a16="http://schemas.microsoft.com/office/drawing/2014/main" id="{4C1287B0-A79A-433A-5440-860312230277}"/>
              </a:ext>
            </a:extLst>
          </p:cNvPr>
          <p:cNvSpPr txBox="1"/>
          <p:nvPr/>
        </p:nvSpPr>
        <p:spPr>
          <a:xfrm>
            <a:off x="-8836314" y="1219200"/>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AI &amp; algorithms: </a:t>
            </a:r>
            <a:br>
              <a:rPr lang="en-GB" sz="1600" dirty="0">
                <a:solidFill>
                  <a:schemeClr val="bg1"/>
                </a:solidFill>
              </a:rPr>
            </a:br>
            <a:r>
              <a:rPr lang="en-GB" sz="1600" dirty="0">
                <a:solidFill>
                  <a:schemeClr val="bg1"/>
                </a:solidFill>
              </a:rPr>
              <a:t>just, responsible and inclusive</a:t>
            </a:r>
          </a:p>
        </p:txBody>
      </p:sp>
      <p:sp>
        <p:nvSpPr>
          <p:cNvPr id="49" name="Tekstvak 48">
            <a:extLst>
              <a:ext uri="{FF2B5EF4-FFF2-40B4-BE49-F238E27FC236}">
                <a16:creationId xmlns:a16="http://schemas.microsoft.com/office/drawing/2014/main" id="{F1833D4D-0AAB-5AED-2435-DE3DBCC7E593}"/>
              </a:ext>
            </a:extLst>
          </p:cNvPr>
          <p:cNvSpPr txBox="1"/>
          <p:nvPr/>
        </p:nvSpPr>
        <p:spPr>
          <a:xfrm>
            <a:off x="-7364904" y="2713926"/>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hips &amp; hardware: </a:t>
            </a:r>
            <a:br>
              <a:rPr lang="en-GB" sz="1600" dirty="0">
                <a:solidFill>
                  <a:schemeClr val="bg1"/>
                </a:solidFill>
              </a:rPr>
            </a:br>
            <a:r>
              <a:rPr lang="en-GB" sz="1600" dirty="0">
                <a:solidFill>
                  <a:schemeClr val="bg1"/>
                </a:solidFill>
              </a:rPr>
              <a:t>energy and material efficient</a:t>
            </a:r>
          </a:p>
        </p:txBody>
      </p:sp>
      <p:sp>
        <p:nvSpPr>
          <p:cNvPr id="50" name="Tekstvak 49">
            <a:extLst>
              <a:ext uri="{FF2B5EF4-FFF2-40B4-BE49-F238E27FC236}">
                <a16:creationId xmlns:a16="http://schemas.microsoft.com/office/drawing/2014/main" id="{BD2A2297-6A53-104F-26ED-47FDA2655199}"/>
              </a:ext>
            </a:extLst>
          </p:cNvPr>
          <p:cNvSpPr txBox="1"/>
          <p:nvPr/>
        </p:nvSpPr>
        <p:spPr>
          <a:xfrm>
            <a:off x="-6053585" y="4208326"/>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Drones &amp; </a:t>
            </a:r>
            <a:r>
              <a:rPr lang="nl-NL" sz="1600" dirty="0" err="1">
                <a:solidFill>
                  <a:schemeClr val="bg1"/>
                </a:solidFill>
              </a:rPr>
              <a:t>robotics</a:t>
            </a:r>
            <a:r>
              <a:rPr lang="nl-NL" sz="1600" dirty="0">
                <a:solidFill>
                  <a:schemeClr val="bg1"/>
                </a:solidFill>
              </a:rPr>
              <a:t>: </a:t>
            </a:r>
            <a:br>
              <a:rPr lang="nl-NL" sz="1600" dirty="0">
                <a:solidFill>
                  <a:schemeClr val="bg1"/>
                </a:solidFill>
              </a:rPr>
            </a:br>
            <a:r>
              <a:rPr lang="nl-NL" sz="1600" dirty="0">
                <a:solidFill>
                  <a:schemeClr val="bg1"/>
                </a:solidFill>
              </a:rPr>
              <a:t>human-</a:t>
            </a:r>
            <a:r>
              <a:rPr lang="nl-NL" sz="1600" dirty="0" err="1">
                <a:solidFill>
                  <a:schemeClr val="bg1"/>
                </a:solidFill>
              </a:rPr>
              <a:t>centered</a:t>
            </a:r>
            <a:r>
              <a:rPr lang="nl-NL" sz="1600" dirty="0">
                <a:solidFill>
                  <a:schemeClr val="bg1"/>
                </a:solidFill>
              </a:rPr>
              <a:t> development</a:t>
            </a:r>
          </a:p>
        </p:txBody>
      </p:sp>
      <p:grpSp>
        <p:nvGrpSpPr>
          <p:cNvPr id="3" name="HYPER HOME">
            <a:extLst>
              <a:ext uri="{FF2B5EF4-FFF2-40B4-BE49-F238E27FC236}">
                <a16:creationId xmlns:a16="http://schemas.microsoft.com/office/drawing/2014/main" id="{A10D3D7A-390E-A487-8B68-E9984B4FA2B5}"/>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488DE098-25AA-85AE-1957-530D8D8D59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6" name="Rechthoek 5">
              <a:hlinkClick r:id="rId9" action="ppaction://hlinksldjump"/>
              <a:extLst>
                <a:ext uri="{FF2B5EF4-FFF2-40B4-BE49-F238E27FC236}">
                  <a16:creationId xmlns:a16="http://schemas.microsoft.com/office/drawing/2014/main" id="{67CC9DCD-510D-E18E-03EE-7418CCC03E9C}"/>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13" name="HYPER HOME">
            <a:extLst>
              <a:ext uri="{FF2B5EF4-FFF2-40B4-BE49-F238E27FC236}">
                <a16:creationId xmlns:a16="http://schemas.microsoft.com/office/drawing/2014/main" id="{69D65BDC-DF6B-2D54-D149-1E83D1CE94DB}"/>
              </a:ext>
            </a:extLst>
          </p:cNvPr>
          <p:cNvGrpSpPr/>
          <p:nvPr/>
        </p:nvGrpSpPr>
        <p:grpSpPr>
          <a:xfrm>
            <a:off x="11460480" y="513080"/>
            <a:ext cx="731520" cy="416560"/>
            <a:chOff x="11460480" y="157480"/>
            <a:chExt cx="731520" cy="416560"/>
          </a:xfrm>
        </p:grpSpPr>
        <p:pic>
          <p:nvPicPr>
            <p:cNvPr id="14" name="Graphic 13">
              <a:extLst>
                <a:ext uri="{FF2B5EF4-FFF2-40B4-BE49-F238E27FC236}">
                  <a16:creationId xmlns:a16="http://schemas.microsoft.com/office/drawing/2014/main" id="{9F8F8E9F-20EF-3446-FDFE-47972A68F88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15" name="Rechthoek 14">
              <a:hlinkClick r:id="rId12" action="ppaction://hlinksldjump"/>
              <a:extLst>
                <a:ext uri="{FF2B5EF4-FFF2-40B4-BE49-F238E27FC236}">
                  <a16:creationId xmlns:a16="http://schemas.microsoft.com/office/drawing/2014/main" id="{9E82B039-E6C1-245F-7EC7-55D08A9D33DA}"/>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164836722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image11.jpeg">
            <a:extLst>
              <a:ext uri="{FF2B5EF4-FFF2-40B4-BE49-F238E27FC236}">
                <a16:creationId xmlns:a16="http://schemas.microsoft.com/office/drawing/2014/main" id="{33C8E7BF-895D-F748-FFC4-2EA00CF5593F}"/>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3818895" y="719138"/>
            <a:ext cx="7649866" cy="5281612"/>
          </a:xfrm>
          <a:prstGeom prst="rect">
            <a:avLst/>
          </a:prstGeom>
          <a:noFill/>
          <a:ln w="12700" cap="flat">
            <a:noFill/>
            <a:miter lim="400000"/>
          </a:ln>
          <a:effectLst/>
        </p:spPr>
      </p:pic>
      <p:pic>
        <p:nvPicPr>
          <p:cNvPr id="21" name="image11.jpeg">
            <a:extLst>
              <a:ext uri="{FF2B5EF4-FFF2-40B4-BE49-F238E27FC236}">
                <a16:creationId xmlns:a16="http://schemas.microsoft.com/office/drawing/2014/main" id="{EDE9576F-A9BE-AE3F-6AF9-BF4EF4B1FEFC}"/>
              </a:ext>
            </a:extLst>
          </p:cNvPr>
          <p:cNvPicPr>
            <a:picLocks noChangeAspect="1"/>
          </p:cNvPicPr>
          <p:nvPr/>
        </p:nvPicPr>
        <p:blipFill>
          <a:blip r:embed="rId4">
            <a:extLst>
              <a:ext uri="{28A0092B-C50C-407E-A947-70E740481C1C}">
                <a14:useLocalDpi xmlns:a14="http://schemas.microsoft.com/office/drawing/2010/main" val="0"/>
              </a:ext>
            </a:extLst>
          </a:blip>
          <a:srcRect l="812" r="812"/>
          <a:stretch/>
        </p:blipFill>
        <p:spPr>
          <a:xfrm flipH="1">
            <a:off x="3818895" y="719138"/>
            <a:ext cx="7649866" cy="5281612"/>
          </a:xfrm>
          <a:prstGeom prst="rect">
            <a:avLst/>
          </a:prstGeom>
          <a:noFill/>
          <a:ln w="12700" cap="flat">
            <a:noFill/>
            <a:miter lim="400000"/>
          </a:ln>
          <a:effectLst/>
        </p:spPr>
      </p:pic>
      <p:pic>
        <p:nvPicPr>
          <p:cNvPr id="22" name="image11.jpeg">
            <a:extLst>
              <a:ext uri="{FF2B5EF4-FFF2-40B4-BE49-F238E27FC236}">
                <a16:creationId xmlns:a16="http://schemas.microsoft.com/office/drawing/2014/main" id="{8BD0333D-14F2-C8D0-B369-5EC3CC404617}"/>
              </a:ext>
            </a:extLst>
          </p:cNvPr>
          <p:cNvPicPr>
            <a:picLocks noChangeAspect="1"/>
          </p:cNvPicPr>
          <p:nvPr/>
        </p:nvPicPr>
        <p:blipFill>
          <a:blip r:embed="rId5">
            <a:alphaModFix amt="0"/>
            <a:extLst>
              <a:ext uri="{28A0092B-C50C-407E-A947-70E740481C1C}">
                <a14:useLocalDpi xmlns:a14="http://schemas.microsoft.com/office/drawing/2010/main" val="0"/>
              </a:ext>
            </a:extLst>
          </a:blip>
          <a:srcRect l="1793" r="1793"/>
          <a:stretch/>
        </p:blipFill>
        <p:spPr>
          <a:xfrm>
            <a:off x="3818895" y="719138"/>
            <a:ext cx="7649866" cy="5281612"/>
          </a:xfrm>
          <a:prstGeom prst="rect">
            <a:avLst/>
          </a:prstGeom>
          <a:noFill/>
          <a:ln w="12700" cap="flat">
            <a:noFill/>
            <a:miter lim="400000"/>
          </a:ln>
          <a:effectLst/>
        </p:spPr>
      </p:pic>
      <p:pic>
        <p:nvPicPr>
          <p:cNvPr id="23" name="image11.jpeg">
            <a:extLst>
              <a:ext uri="{FF2B5EF4-FFF2-40B4-BE49-F238E27FC236}">
                <a16:creationId xmlns:a16="http://schemas.microsoft.com/office/drawing/2014/main" id="{15227F36-DE6A-F33C-6191-0202D987D2C0}"/>
              </a:ext>
            </a:extLst>
          </p:cNvPr>
          <p:cNvPicPr>
            <a:picLocks noGrp="1" noChangeAspect="1"/>
          </p:cNvPicPr>
          <p:nvPr>
            <p:ph type="pic" sz="quarter" idx="13"/>
          </p:nvPr>
        </p:nvPicPr>
        <p:blipFill>
          <a:blip r:embed="rId6">
            <a:alphaModFix amt="0"/>
            <a:extLst>
              <a:ext uri="{28A0092B-C50C-407E-A947-70E740481C1C}">
                <a14:useLocalDpi xmlns:a14="http://schemas.microsoft.com/office/drawing/2010/main" val="0"/>
              </a:ext>
            </a:extLst>
          </a:blip>
          <a:srcRect t="1178" b="1178"/>
          <a:stretch/>
        </p:blipFill>
        <p:spPr>
          <a:xfrm>
            <a:off x="3818895"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8</a:t>
            </a:fld>
            <a:endParaRPr lang="en-GB" dirty="0"/>
          </a:p>
        </p:txBody>
      </p:sp>
      <p:sp>
        <p:nvSpPr>
          <p:cNvPr id="11" name="Tekstvak 10">
            <a:extLst>
              <a:ext uri="{FF2B5EF4-FFF2-40B4-BE49-F238E27FC236}">
                <a16:creationId xmlns:a16="http://schemas.microsoft.com/office/drawing/2014/main" id="{BCAF89AC-C263-1544-64E7-AFF50666E225}"/>
              </a:ext>
            </a:extLst>
          </p:cNvPr>
          <p:cNvSpPr txBox="1"/>
          <p:nvPr/>
        </p:nvSpPr>
        <p:spPr>
          <a:xfrm>
            <a:off x="71866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US" sz="1600" dirty="0">
                <a:solidFill>
                  <a:schemeClr val="bg1"/>
                </a:solidFill>
              </a:rPr>
              <a:t>We are in a new digital society. But how do we design them as responsibly, inclusively, sustainably and safely as possible?</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718665"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US" sz="1600" dirty="0">
                <a:solidFill>
                  <a:schemeClr val="bg1"/>
                </a:solidFill>
              </a:rPr>
              <a:t>Our research, education and innovation in this area includes fundamental technologies, such as AI, Quantum, Microelectronics, Robotics, Drones &amp; Cybersecurity.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71866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US" sz="1600" dirty="0">
                <a:solidFill>
                  <a:schemeClr val="bg1"/>
                </a:solidFill>
              </a:rPr>
              <a:t>At TU Delft, </a:t>
            </a:r>
            <a:r>
              <a:rPr lang="en-US" sz="1600" dirty="0" err="1">
                <a:solidFill>
                  <a:schemeClr val="bg1"/>
                </a:solidFill>
              </a:rPr>
              <a:t>wedont</a:t>
            </a:r>
            <a:r>
              <a:rPr lang="en-US" sz="1600" dirty="0">
                <a:solidFill>
                  <a:schemeClr val="bg1"/>
                </a:solidFill>
              </a:rPr>
              <a:t> just invent and design these digital technologies. We actually work with them ourselves, with a strong emphasis on their social applications. In the Netherlands and across Europe.</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718666"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Digital Society</a:t>
            </a:r>
          </a:p>
        </p:txBody>
      </p:sp>
      <p:grpSp>
        <p:nvGrpSpPr>
          <p:cNvPr id="3" name="HYPER HOME">
            <a:extLst>
              <a:ext uri="{FF2B5EF4-FFF2-40B4-BE49-F238E27FC236}">
                <a16:creationId xmlns:a16="http://schemas.microsoft.com/office/drawing/2014/main" id="{BC55FD7F-5432-93A1-3B25-03A3B30F0DCE}"/>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BF652B44-4C9F-2023-D23C-6F06D24F0D5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6" name="Rechthoek 5">
              <a:hlinkClick r:id="rId9" action="ppaction://hlinksldjump"/>
              <a:extLst>
                <a:ext uri="{FF2B5EF4-FFF2-40B4-BE49-F238E27FC236}">
                  <a16:creationId xmlns:a16="http://schemas.microsoft.com/office/drawing/2014/main" id="{66254C05-3D2D-B627-81F9-7911F1EBC04D}"/>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18" name="HYPER HOME">
            <a:extLst>
              <a:ext uri="{FF2B5EF4-FFF2-40B4-BE49-F238E27FC236}">
                <a16:creationId xmlns:a16="http://schemas.microsoft.com/office/drawing/2014/main" id="{A253678D-647F-C791-BA0C-1C5F19B9198A}"/>
              </a:ext>
            </a:extLst>
          </p:cNvPr>
          <p:cNvGrpSpPr/>
          <p:nvPr/>
        </p:nvGrpSpPr>
        <p:grpSpPr>
          <a:xfrm>
            <a:off x="11460480" y="513080"/>
            <a:ext cx="731520" cy="416560"/>
            <a:chOff x="11460480" y="157480"/>
            <a:chExt cx="731520" cy="416560"/>
          </a:xfrm>
        </p:grpSpPr>
        <p:pic>
          <p:nvPicPr>
            <p:cNvPr id="25" name="Graphic 24">
              <a:extLst>
                <a:ext uri="{FF2B5EF4-FFF2-40B4-BE49-F238E27FC236}">
                  <a16:creationId xmlns:a16="http://schemas.microsoft.com/office/drawing/2014/main" id="{0F316A89-6F23-D6D4-AA06-DD9CEC9718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26" name="Rechthoek 25">
              <a:hlinkClick r:id="rId12" action="ppaction://hlinksldjump"/>
              <a:extLst>
                <a:ext uri="{FF2B5EF4-FFF2-40B4-BE49-F238E27FC236}">
                  <a16:creationId xmlns:a16="http://schemas.microsoft.com/office/drawing/2014/main" id="{F4008456-98C9-C259-FE1B-5F19DD8097D5}"/>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58787889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image11.jpeg">
            <a:extLst>
              <a:ext uri="{FF2B5EF4-FFF2-40B4-BE49-F238E27FC236}">
                <a16:creationId xmlns:a16="http://schemas.microsoft.com/office/drawing/2014/main" id="{1B4BA8B7-D687-042C-1EF9-73B8F487EB1B}"/>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723615" y="719138"/>
            <a:ext cx="7649866" cy="5281612"/>
          </a:xfrm>
          <a:prstGeom prst="rect">
            <a:avLst/>
          </a:prstGeom>
          <a:noFill/>
          <a:ln w="12700" cap="flat">
            <a:noFill/>
            <a:miter lim="400000"/>
          </a:ln>
          <a:effectLst/>
        </p:spPr>
      </p:pic>
      <p:pic>
        <p:nvPicPr>
          <p:cNvPr id="32" name="image11.jpeg">
            <a:extLst>
              <a:ext uri="{FF2B5EF4-FFF2-40B4-BE49-F238E27FC236}">
                <a16:creationId xmlns:a16="http://schemas.microsoft.com/office/drawing/2014/main" id="{BD4A2995-64D6-2FC5-F661-BF343B364953}"/>
              </a:ext>
            </a:extLst>
          </p:cNvPr>
          <p:cNvPicPr>
            <a:picLocks noChangeAspect="1"/>
          </p:cNvPicPr>
          <p:nvPr/>
        </p:nvPicPr>
        <p:blipFill>
          <a:blip r:embed="rId4">
            <a:alphaModFix amt="0"/>
            <a:extLst>
              <a:ext uri="{28A0092B-C50C-407E-A947-70E740481C1C}">
                <a14:useLocalDpi xmlns:a14="http://schemas.microsoft.com/office/drawing/2010/main" val="0"/>
              </a:ext>
            </a:extLst>
          </a:blip>
          <a:srcRect l="812" r="812"/>
          <a:stretch/>
        </p:blipFill>
        <p:spPr>
          <a:xfrm flipH="1">
            <a:off x="723615" y="719138"/>
            <a:ext cx="7649866" cy="5281612"/>
          </a:xfrm>
          <a:prstGeom prst="rect">
            <a:avLst/>
          </a:prstGeom>
          <a:noFill/>
          <a:ln w="12700" cap="flat">
            <a:noFill/>
            <a:miter lim="400000"/>
          </a:ln>
          <a:effectLst/>
        </p:spPr>
      </p:pic>
      <p:pic>
        <p:nvPicPr>
          <p:cNvPr id="33" name="image11.jpeg">
            <a:extLst>
              <a:ext uri="{FF2B5EF4-FFF2-40B4-BE49-F238E27FC236}">
                <a16:creationId xmlns:a16="http://schemas.microsoft.com/office/drawing/2014/main" id="{E7E2F734-5EA4-9CA9-F60D-8B890A29ACBC}"/>
              </a:ext>
            </a:extLst>
          </p:cNvPr>
          <p:cNvPicPr>
            <a:picLocks noChangeAspect="1"/>
          </p:cNvPicPr>
          <p:nvPr/>
        </p:nvPicPr>
        <p:blipFill>
          <a:blip r:embed="rId5">
            <a:alphaModFix amt="0"/>
            <a:extLst>
              <a:ext uri="{28A0092B-C50C-407E-A947-70E740481C1C}">
                <a14:useLocalDpi xmlns:a14="http://schemas.microsoft.com/office/drawing/2010/main" val="0"/>
              </a:ext>
            </a:extLst>
          </a:blip>
          <a:srcRect l="1793" r="1793"/>
          <a:stretch/>
        </p:blipFill>
        <p:spPr>
          <a:xfrm>
            <a:off x="723615" y="719138"/>
            <a:ext cx="7649866" cy="5281612"/>
          </a:xfrm>
          <a:prstGeom prst="rect">
            <a:avLst/>
          </a:prstGeom>
          <a:noFill/>
          <a:ln w="12700" cap="flat">
            <a:noFill/>
            <a:miter lim="400000"/>
          </a:ln>
          <a:effectLst/>
        </p:spPr>
      </p:pic>
      <p:pic>
        <p:nvPicPr>
          <p:cNvPr id="34" name="image11.jpeg">
            <a:extLst>
              <a:ext uri="{FF2B5EF4-FFF2-40B4-BE49-F238E27FC236}">
                <a16:creationId xmlns:a16="http://schemas.microsoft.com/office/drawing/2014/main" id="{A9DE5274-B022-C05E-28C7-147D8334E919}"/>
              </a:ext>
            </a:extLst>
          </p:cNvPr>
          <p:cNvPicPr>
            <a:picLocks noGrp="1" noChangeAspect="1"/>
          </p:cNvPicPr>
          <p:nvPr>
            <p:ph type="pic" sz="quarter" idx="13"/>
          </p:nvPr>
        </p:nvPicPr>
        <p:blipFill>
          <a:blip r:embed="rId6">
            <a:alphaModFix amt="0"/>
            <a:extLst>
              <a:ext uri="{28A0092B-C50C-407E-A947-70E740481C1C}">
                <a14:useLocalDpi xmlns:a14="http://schemas.microsoft.com/office/drawing/2010/main" val="0"/>
              </a:ext>
            </a:extLst>
          </a:blip>
          <a:srcRect t="1178" b="1178"/>
          <a:stretch/>
        </p:blipFill>
        <p:spPr>
          <a:xfrm>
            <a:off x="723615"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9</a:t>
            </a:fld>
            <a:endParaRPr lang="en-GB" dirty="0"/>
          </a:p>
        </p:txBody>
      </p:sp>
      <p:sp>
        <p:nvSpPr>
          <p:cNvPr id="11" name="Tekstvak 10">
            <a:extLst>
              <a:ext uri="{FF2B5EF4-FFF2-40B4-BE49-F238E27FC236}">
                <a16:creationId xmlns:a16="http://schemas.microsoft.com/office/drawing/2014/main" id="{BCAF89AC-C263-1544-64E7-AFF50666E225}"/>
              </a:ext>
            </a:extLst>
          </p:cNvPr>
          <p:cNvSpPr txBox="1"/>
          <p:nvPr/>
        </p:nvSpPr>
        <p:spPr>
          <a:xfrm>
            <a:off x="5751003"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limate change, population growth and increasing inequality are pushing cities and infrastructure to </a:t>
            </a:r>
            <a:br>
              <a:rPr lang="en-GB" sz="1600" dirty="0">
                <a:solidFill>
                  <a:schemeClr val="bg1"/>
                </a:solidFill>
              </a:rPr>
            </a:br>
            <a:r>
              <a:rPr lang="en-GB" sz="1600" dirty="0">
                <a:solidFill>
                  <a:schemeClr val="bg1"/>
                </a:solidFill>
              </a:rPr>
              <a:t>breaking point. </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5751003"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Our research and innovation help to engineer resilient cities and to make urban mobility smart and sustainable.</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5751003"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In partnership with government agencies, businesses </a:t>
            </a:r>
            <a:br>
              <a:rPr lang="en-GB" sz="1600" dirty="0">
                <a:solidFill>
                  <a:schemeClr val="bg1"/>
                </a:solidFill>
              </a:rPr>
            </a:br>
            <a:r>
              <a:rPr lang="en-GB" sz="1600" dirty="0">
                <a:solidFill>
                  <a:schemeClr val="bg1"/>
                </a:solidFill>
              </a:rPr>
              <a:t>and citizens we research and develop technological solutions and test and implement groundbreaking innovations in buildings, on roads, in cities and in the air.</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860940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err="1">
                <a:solidFill>
                  <a:schemeClr val="accent1"/>
                </a:solidFill>
              </a:rPr>
              <a:t>Resilient</a:t>
            </a:r>
            <a:r>
              <a:rPr lang="nl-NL" sz="1400" dirty="0">
                <a:solidFill>
                  <a:schemeClr val="accent1"/>
                </a:solidFill>
              </a:rPr>
              <a:t> </a:t>
            </a:r>
            <a:r>
              <a:rPr lang="nl-NL" sz="1400" dirty="0" err="1">
                <a:solidFill>
                  <a:schemeClr val="accent1"/>
                </a:solidFill>
              </a:rPr>
              <a:t>Cities</a:t>
            </a:r>
            <a:r>
              <a:rPr lang="nl-NL" sz="1400" dirty="0">
                <a:solidFill>
                  <a:schemeClr val="accent1"/>
                </a:solidFill>
              </a:rPr>
              <a:t> &amp; </a:t>
            </a:r>
            <a:r>
              <a:rPr lang="nl-NL" sz="1400" dirty="0" err="1">
                <a:solidFill>
                  <a:schemeClr val="accent1"/>
                </a:solidFill>
              </a:rPr>
              <a:t>Mobility</a:t>
            </a:r>
            <a:endParaRPr lang="nl-NL" sz="1400" dirty="0">
              <a:solidFill>
                <a:schemeClr val="accent1"/>
              </a:solidFill>
            </a:endParaRPr>
          </a:p>
        </p:txBody>
      </p:sp>
      <p:sp>
        <p:nvSpPr>
          <p:cNvPr id="30" name="Titel 2">
            <a:extLst>
              <a:ext uri="{FF2B5EF4-FFF2-40B4-BE49-F238E27FC236}">
                <a16:creationId xmlns:a16="http://schemas.microsoft.com/office/drawing/2014/main" id="{38B9F512-1236-5EC4-94FC-1F12B4DDAB84}"/>
              </a:ext>
            </a:extLst>
          </p:cNvPr>
          <p:cNvSpPr txBox="1">
            <a:spLocks/>
          </p:cNvSpPr>
          <p:nvPr/>
        </p:nvSpPr>
        <p:spPr>
          <a:xfrm>
            <a:off x="-580405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Digital Society</a:t>
            </a:r>
          </a:p>
        </p:txBody>
      </p:sp>
      <p:sp>
        <p:nvSpPr>
          <p:cNvPr id="35" name="Tekstvak 34">
            <a:extLst>
              <a:ext uri="{FF2B5EF4-FFF2-40B4-BE49-F238E27FC236}">
                <a16:creationId xmlns:a16="http://schemas.microsoft.com/office/drawing/2014/main" id="{52AD624C-6FA6-DD92-F106-59C0EF6D69B2}"/>
              </a:ext>
            </a:extLst>
          </p:cNvPr>
          <p:cNvSpPr txBox="1"/>
          <p:nvPr/>
        </p:nvSpPr>
        <p:spPr>
          <a:xfrm>
            <a:off x="-8836314"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AI &amp; algorithms: </a:t>
            </a:r>
            <a:br>
              <a:rPr lang="en-GB" sz="1600" dirty="0">
                <a:solidFill>
                  <a:schemeClr val="bg1"/>
                </a:solidFill>
              </a:rPr>
            </a:br>
            <a:r>
              <a:rPr lang="en-GB" sz="1600" dirty="0">
                <a:solidFill>
                  <a:schemeClr val="bg1"/>
                </a:solidFill>
              </a:rPr>
              <a:t>just, responsible and inclusive</a:t>
            </a:r>
          </a:p>
        </p:txBody>
      </p:sp>
      <p:sp>
        <p:nvSpPr>
          <p:cNvPr id="36" name="Tekstvak 35">
            <a:extLst>
              <a:ext uri="{FF2B5EF4-FFF2-40B4-BE49-F238E27FC236}">
                <a16:creationId xmlns:a16="http://schemas.microsoft.com/office/drawing/2014/main" id="{795EB8B6-693B-E351-F0B1-99D3B908B71E}"/>
              </a:ext>
            </a:extLst>
          </p:cNvPr>
          <p:cNvSpPr txBox="1"/>
          <p:nvPr/>
        </p:nvSpPr>
        <p:spPr>
          <a:xfrm>
            <a:off x="-7364904"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hips &amp; hardware: </a:t>
            </a:r>
            <a:br>
              <a:rPr lang="en-GB" sz="1600" dirty="0">
                <a:solidFill>
                  <a:schemeClr val="bg1"/>
                </a:solidFill>
              </a:rPr>
            </a:br>
            <a:r>
              <a:rPr lang="en-GB" sz="1600" dirty="0">
                <a:solidFill>
                  <a:schemeClr val="bg1"/>
                </a:solidFill>
              </a:rPr>
              <a:t>energy and material efficient</a:t>
            </a:r>
          </a:p>
        </p:txBody>
      </p:sp>
      <p:sp>
        <p:nvSpPr>
          <p:cNvPr id="37" name="Tekstvak 36">
            <a:extLst>
              <a:ext uri="{FF2B5EF4-FFF2-40B4-BE49-F238E27FC236}">
                <a16:creationId xmlns:a16="http://schemas.microsoft.com/office/drawing/2014/main" id="{49F1F84F-631D-5E8D-FC7F-773D7FD6E7DA}"/>
              </a:ext>
            </a:extLst>
          </p:cNvPr>
          <p:cNvSpPr txBox="1"/>
          <p:nvPr/>
        </p:nvSpPr>
        <p:spPr>
          <a:xfrm>
            <a:off x="-605358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Drones &amp; </a:t>
            </a:r>
            <a:r>
              <a:rPr lang="nl-NL" sz="1600" dirty="0" err="1">
                <a:solidFill>
                  <a:schemeClr val="bg1"/>
                </a:solidFill>
              </a:rPr>
              <a:t>robotics</a:t>
            </a:r>
            <a:r>
              <a:rPr lang="nl-NL" sz="1600" dirty="0">
                <a:solidFill>
                  <a:schemeClr val="bg1"/>
                </a:solidFill>
              </a:rPr>
              <a:t>: </a:t>
            </a:r>
            <a:br>
              <a:rPr lang="nl-NL" sz="1600" dirty="0">
                <a:solidFill>
                  <a:schemeClr val="bg1"/>
                </a:solidFill>
              </a:rPr>
            </a:br>
            <a:r>
              <a:rPr lang="nl-NL" sz="1600" dirty="0">
                <a:solidFill>
                  <a:schemeClr val="bg1"/>
                </a:solidFill>
              </a:rPr>
              <a:t>human-</a:t>
            </a:r>
            <a:r>
              <a:rPr lang="nl-NL" sz="1600" dirty="0" err="1">
                <a:solidFill>
                  <a:schemeClr val="bg1"/>
                </a:solidFill>
              </a:rPr>
              <a:t>centered</a:t>
            </a:r>
            <a:r>
              <a:rPr lang="nl-NL" sz="1600" dirty="0">
                <a:solidFill>
                  <a:schemeClr val="bg1"/>
                </a:solidFill>
              </a:rPr>
              <a:t> development</a:t>
            </a:r>
          </a:p>
        </p:txBody>
      </p:sp>
      <p:grpSp>
        <p:nvGrpSpPr>
          <p:cNvPr id="3" name="HYPER HOME">
            <a:extLst>
              <a:ext uri="{FF2B5EF4-FFF2-40B4-BE49-F238E27FC236}">
                <a16:creationId xmlns:a16="http://schemas.microsoft.com/office/drawing/2014/main" id="{A92A7976-D5AC-E94A-C920-6C701F245B92}"/>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50F9D9DF-644E-BDDE-81B7-57A39C4FD4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6" name="Rechthoek 5">
              <a:hlinkClick r:id="rId9" action="ppaction://hlinksldjump"/>
              <a:extLst>
                <a:ext uri="{FF2B5EF4-FFF2-40B4-BE49-F238E27FC236}">
                  <a16:creationId xmlns:a16="http://schemas.microsoft.com/office/drawing/2014/main" id="{43AF4231-A107-A2D3-335D-4AFDA841ABD2}"/>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13" name="HYPER HOME">
            <a:extLst>
              <a:ext uri="{FF2B5EF4-FFF2-40B4-BE49-F238E27FC236}">
                <a16:creationId xmlns:a16="http://schemas.microsoft.com/office/drawing/2014/main" id="{42E57D76-7E96-E0F7-73F2-5D8F42C0B8D2}"/>
              </a:ext>
            </a:extLst>
          </p:cNvPr>
          <p:cNvGrpSpPr/>
          <p:nvPr/>
        </p:nvGrpSpPr>
        <p:grpSpPr>
          <a:xfrm>
            <a:off x="11460480" y="513080"/>
            <a:ext cx="731520" cy="416560"/>
            <a:chOff x="11460480" y="157480"/>
            <a:chExt cx="731520" cy="416560"/>
          </a:xfrm>
        </p:grpSpPr>
        <p:pic>
          <p:nvPicPr>
            <p:cNvPr id="14" name="Graphic 13">
              <a:extLst>
                <a:ext uri="{FF2B5EF4-FFF2-40B4-BE49-F238E27FC236}">
                  <a16:creationId xmlns:a16="http://schemas.microsoft.com/office/drawing/2014/main" id="{D58206EE-20BD-FCC5-92F0-4313D8154FD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15" name="Rechthoek 14">
              <a:hlinkClick r:id="rId12" action="ppaction://hlinksldjump"/>
              <a:extLst>
                <a:ext uri="{FF2B5EF4-FFF2-40B4-BE49-F238E27FC236}">
                  <a16:creationId xmlns:a16="http://schemas.microsoft.com/office/drawing/2014/main" id="{A5D76203-DA42-5FD1-11EC-BB68B134DB21}"/>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302609659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atum 4">
            <a:extLst>
              <a:ext uri="{FF2B5EF4-FFF2-40B4-BE49-F238E27FC236}">
                <a16:creationId xmlns:a16="http://schemas.microsoft.com/office/drawing/2014/main" id="{46048444-EDC0-9904-6E67-9C9BD353A184}"/>
              </a:ext>
            </a:extLst>
          </p:cNvPr>
          <p:cNvSpPr>
            <a:spLocks noGrp="1"/>
          </p:cNvSpPr>
          <p:nvPr>
            <p:ph type="dt" sz="half" idx="18"/>
          </p:nvPr>
        </p:nvSpPr>
        <p:spPr/>
        <p:txBody>
          <a:bodyPr/>
          <a:lstStyle/>
          <a:p>
            <a:fld id="{3CE15C60-F995-4DBC-A165-2BFB850D2869}" type="datetime1">
              <a:rPr lang="nl-NL" smtClean="0"/>
              <a:t>13-3-2025</a:t>
            </a:fld>
            <a:endParaRPr lang="en-GB" dirty="0"/>
          </a:p>
        </p:txBody>
      </p:sp>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p:txBody>
          <a:bodyPr/>
          <a:lstStyle/>
          <a:p>
            <a:r>
              <a:rPr lang="en-GB" dirty="0"/>
              <a:t>Agenda | 5x</a:t>
            </a:r>
          </a:p>
        </p:txBody>
      </p:sp>
      <p:grpSp>
        <p:nvGrpSpPr>
          <p:cNvPr id="102" name="Groep 101">
            <a:extLst>
              <a:ext uri="{FF2B5EF4-FFF2-40B4-BE49-F238E27FC236}">
                <a16:creationId xmlns:a16="http://schemas.microsoft.com/office/drawing/2014/main" id="{89F50DFF-151E-4F7A-4793-B47395F0F729}"/>
              </a:ext>
            </a:extLst>
          </p:cNvPr>
          <p:cNvGrpSpPr>
            <a:grpSpLocks/>
          </p:cNvGrpSpPr>
          <p:nvPr/>
        </p:nvGrpSpPr>
        <p:grpSpPr>
          <a:xfrm>
            <a:off x="718666" y="1565275"/>
            <a:ext cx="2006493" cy="4435475"/>
            <a:chOff x="718666" y="1565275"/>
            <a:chExt cx="2006493" cy="4435475"/>
          </a:xfrm>
        </p:grpSpPr>
        <p:sp>
          <p:nvSpPr>
            <p:cNvPr id="16" name="Rechthoek 15">
              <a:extLst>
                <a:ext uri="{FF2B5EF4-FFF2-40B4-BE49-F238E27FC236}">
                  <a16:creationId xmlns:a16="http://schemas.microsoft.com/office/drawing/2014/main" id="{3106877B-A59E-8F9F-812F-360977BDB671}"/>
                </a:ext>
              </a:extLst>
            </p:cNvPr>
            <p:cNvSpPr>
              <a:spLocks/>
            </p:cNvSpPr>
            <p:nvPr/>
          </p:nvSpPr>
          <p:spPr>
            <a:xfrm>
              <a:off x="719138" y="1565275"/>
              <a:ext cx="2006020" cy="4435475"/>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3" name="Vrije vorm: vorm 92">
              <a:extLst>
                <a:ext uri="{FF2B5EF4-FFF2-40B4-BE49-F238E27FC236}">
                  <a16:creationId xmlns:a16="http://schemas.microsoft.com/office/drawing/2014/main" id="{076957FC-0D3C-A426-04FA-FE759524CE8D}"/>
                </a:ext>
              </a:extLst>
            </p:cNvPr>
            <p:cNvSpPr>
              <a:spLocks/>
            </p:cNvSpPr>
            <p:nvPr/>
          </p:nvSpPr>
          <p:spPr>
            <a:xfrm>
              <a:off x="719138" y="1565276"/>
              <a:ext cx="2006021" cy="1981445"/>
            </a:xfrm>
            <a:custGeom>
              <a:avLst/>
              <a:gdLst>
                <a:gd name="connsiteX0" fmla="*/ 0 w 2006021"/>
                <a:gd name="connsiteY0" fmla="*/ 0 h 1981445"/>
                <a:gd name="connsiteX1" fmla="*/ 2006021 w 2006021"/>
                <a:gd name="connsiteY1" fmla="*/ 0 h 1981445"/>
                <a:gd name="connsiteX2" fmla="*/ 2006021 w 2006021"/>
                <a:gd name="connsiteY2" fmla="*/ 1118642 h 1981445"/>
                <a:gd name="connsiteX3" fmla="*/ 1688285 w 2006021"/>
                <a:gd name="connsiteY3" fmla="*/ 1238305 h 1981445"/>
                <a:gd name="connsiteX4" fmla="*/ 716556 w 2006021"/>
                <a:gd name="connsiteY4" fmla="*/ 1648311 h 1981445"/>
                <a:gd name="connsiteX5" fmla="*/ 20598 w 2006021"/>
                <a:gd name="connsiteY5" fmla="*/ 1971611 h 1981445"/>
                <a:gd name="connsiteX6" fmla="*/ 0 w 2006021"/>
                <a:gd name="connsiteY6" fmla="*/ 1981445 h 198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21" h="1981445">
                  <a:moveTo>
                    <a:pt x="0" y="0"/>
                  </a:moveTo>
                  <a:lnTo>
                    <a:pt x="2006021" y="0"/>
                  </a:lnTo>
                  <a:lnTo>
                    <a:pt x="2006021" y="1118642"/>
                  </a:lnTo>
                  <a:lnTo>
                    <a:pt x="1688285" y="1238305"/>
                  </a:lnTo>
                  <a:cubicBezTo>
                    <a:pt x="1359035" y="1366872"/>
                    <a:pt x="1034782" y="1503021"/>
                    <a:pt x="716556" y="1648311"/>
                  </a:cubicBezTo>
                  <a:cubicBezTo>
                    <a:pt x="508259" y="1743533"/>
                    <a:pt x="274769" y="1851087"/>
                    <a:pt x="20598" y="1971611"/>
                  </a:cubicBezTo>
                  <a:lnTo>
                    <a:pt x="0" y="1981445"/>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17" name="Tijdelijke aanduiding voor tekst 5">
              <a:extLst>
                <a:ext uri="{FF2B5EF4-FFF2-40B4-BE49-F238E27FC236}">
                  <a16:creationId xmlns:a16="http://schemas.microsoft.com/office/drawing/2014/main" id="{73E5A8A4-6123-780F-E6FF-76D376B6BD1E}"/>
                </a:ext>
              </a:extLst>
            </p:cNvPr>
            <p:cNvSpPr txBox="1">
              <a:spLocks/>
            </p:cNvSpPr>
            <p:nvPr/>
          </p:nvSpPr>
          <p:spPr>
            <a:xfrm>
              <a:off x="718666"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Baseline model description</a:t>
              </a:r>
            </a:p>
          </p:txBody>
        </p:sp>
        <p:sp>
          <p:nvSpPr>
            <p:cNvPr id="18" name="Tijdelijke aanduiding voor tekst 5">
              <a:extLst>
                <a:ext uri="{FF2B5EF4-FFF2-40B4-BE49-F238E27FC236}">
                  <a16:creationId xmlns:a16="http://schemas.microsoft.com/office/drawing/2014/main" id="{C8361F20-BE85-0246-8967-2B81B0F52501}"/>
                </a:ext>
              </a:extLst>
            </p:cNvPr>
            <p:cNvSpPr txBox="1">
              <a:spLocks/>
            </p:cNvSpPr>
            <p:nvPr/>
          </p:nvSpPr>
          <p:spPr>
            <a:xfrm>
              <a:off x="718666"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1</a:t>
              </a:r>
            </a:p>
          </p:txBody>
        </p:sp>
        <p:cxnSp>
          <p:nvCxnSpPr>
            <p:cNvPr id="20" name="Rechte verbindingslijn 19">
              <a:extLst>
                <a:ext uri="{FF2B5EF4-FFF2-40B4-BE49-F238E27FC236}">
                  <a16:creationId xmlns:a16="http://schemas.microsoft.com/office/drawing/2014/main" id="{ADCE83FF-970B-7257-76DC-2ACE57F0E91B}"/>
                </a:ext>
              </a:extLst>
            </p:cNvPr>
            <p:cNvCxnSpPr>
              <a:cxnSpLocks/>
            </p:cNvCxnSpPr>
            <p:nvPr/>
          </p:nvCxnSpPr>
          <p:spPr>
            <a:xfrm>
              <a:off x="902208"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nvGrpSpPr>
          <p:cNvPr id="101" name="Groep 100">
            <a:extLst>
              <a:ext uri="{FF2B5EF4-FFF2-40B4-BE49-F238E27FC236}">
                <a16:creationId xmlns:a16="http://schemas.microsoft.com/office/drawing/2014/main" id="{36E63200-8E07-ECCC-07A5-5FF5054D92A4}"/>
              </a:ext>
            </a:extLst>
          </p:cNvPr>
          <p:cNvGrpSpPr>
            <a:grpSpLocks/>
          </p:cNvGrpSpPr>
          <p:nvPr/>
        </p:nvGrpSpPr>
        <p:grpSpPr>
          <a:xfrm>
            <a:off x="2904082" y="1565275"/>
            <a:ext cx="2006493" cy="4435475"/>
            <a:chOff x="2904082" y="1565275"/>
            <a:chExt cx="2006493" cy="4435475"/>
          </a:xfrm>
        </p:grpSpPr>
        <p:sp>
          <p:nvSpPr>
            <p:cNvPr id="25" name="Rechthoek 24">
              <a:extLst>
                <a:ext uri="{FF2B5EF4-FFF2-40B4-BE49-F238E27FC236}">
                  <a16:creationId xmlns:a16="http://schemas.microsoft.com/office/drawing/2014/main" id="{6CE3A1CE-9B2A-6C45-82D2-74755B2D260B}"/>
                </a:ext>
              </a:extLst>
            </p:cNvPr>
            <p:cNvSpPr>
              <a:spLocks/>
            </p:cNvSpPr>
            <p:nvPr/>
          </p:nvSpPr>
          <p:spPr>
            <a:xfrm>
              <a:off x="2904554" y="1565275"/>
              <a:ext cx="2006020" cy="4435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4" name="Vrije vorm: vorm 93">
              <a:extLst>
                <a:ext uri="{FF2B5EF4-FFF2-40B4-BE49-F238E27FC236}">
                  <a16:creationId xmlns:a16="http://schemas.microsoft.com/office/drawing/2014/main" id="{02121E8F-68EE-A7A9-9D7F-E5E15C3210EB}"/>
                </a:ext>
              </a:extLst>
            </p:cNvPr>
            <p:cNvSpPr>
              <a:spLocks/>
            </p:cNvSpPr>
            <p:nvPr/>
          </p:nvSpPr>
          <p:spPr>
            <a:xfrm>
              <a:off x="2904556" y="1565276"/>
              <a:ext cx="2006019" cy="1051080"/>
            </a:xfrm>
            <a:custGeom>
              <a:avLst/>
              <a:gdLst>
                <a:gd name="connsiteX0" fmla="*/ 0 w 2006019"/>
                <a:gd name="connsiteY0" fmla="*/ 0 h 1051080"/>
                <a:gd name="connsiteX1" fmla="*/ 2006019 w 2006019"/>
                <a:gd name="connsiteY1" fmla="*/ 0 h 1051080"/>
                <a:gd name="connsiteX2" fmla="*/ 2006019 w 2006019"/>
                <a:gd name="connsiteY2" fmla="*/ 407746 h 1051080"/>
                <a:gd name="connsiteX3" fmla="*/ 1530053 w 2006019"/>
                <a:gd name="connsiteY3" fmla="*/ 545388 h 1051080"/>
                <a:gd name="connsiteX4" fmla="*/ 359 w 2006019"/>
                <a:gd name="connsiteY4" fmla="*/ 1050944 h 1051080"/>
                <a:gd name="connsiteX5" fmla="*/ 0 w 2006019"/>
                <a:gd name="connsiteY5" fmla="*/ 1051080 h 105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019" h="1051080">
                  <a:moveTo>
                    <a:pt x="0" y="0"/>
                  </a:moveTo>
                  <a:lnTo>
                    <a:pt x="2006019" y="0"/>
                  </a:lnTo>
                  <a:lnTo>
                    <a:pt x="2006019" y="407746"/>
                  </a:lnTo>
                  <a:lnTo>
                    <a:pt x="1530053" y="545388"/>
                  </a:lnTo>
                  <a:cubicBezTo>
                    <a:pt x="1012399" y="702117"/>
                    <a:pt x="501340" y="868880"/>
                    <a:pt x="359" y="1050944"/>
                  </a:cubicBezTo>
                  <a:lnTo>
                    <a:pt x="0" y="105108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26" name="Tijdelijke aanduiding voor tekst 5">
              <a:extLst>
                <a:ext uri="{FF2B5EF4-FFF2-40B4-BE49-F238E27FC236}">
                  <a16:creationId xmlns:a16="http://schemas.microsoft.com/office/drawing/2014/main" id="{893B5E17-D903-A68E-3E5D-112C5BE170B7}"/>
                </a:ext>
              </a:extLst>
            </p:cNvPr>
            <p:cNvSpPr txBox="1">
              <a:spLocks/>
            </p:cNvSpPr>
            <p:nvPr/>
          </p:nvSpPr>
          <p:spPr>
            <a:xfrm>
              <a:off x="2904082"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Functionalities baseline model</a:t>
              </a:r>
            </a:p>
          </p:txBody>
        </p:sp>
        <p:sp>
          <p:nvSpPr>
            <p:cNvPr id="27" name="Tijdelijke aanduiding voor tekst 5">
              <a:extLst>
                <a:ext uri="{FF2B5EF4-FFF2-40B4-BE49-F238E27FC236}">
                  <a16:creationId xmlns:a16="http://schemas.microsoft.com/office/drawing/2014/main" id="{18CD8C9B-DB4A-FB6F-1009-D317C94DEF89}"/>
                </a:ext>
              </a:extLst>
            </p:cNvPr>
            <p:cNvSpPr txBox="1">
              <a:spLocks/>
            </p:cNvSpPr>
            <p:nvPr/>
          </p:nvSpPr>
          <p:spPr>
            <a:xfrm>
              <a:off x="2904082"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2</a:t>
              </a:r>
            </a:p>
          </p:txBody>
        </p:sp>
        <p:cxnSp>
          <p:nvCxnSpPr>
            <p:cNvPr id="28" name="Rechte verbindingslijn 27">
              <a:extLst>
                <a:ext uri="{FF2B5EF4-FFF2-40B4-BE49-F238E27FC236}">
                  <a16:creationId xmlns:a16="http://schemas.microsoft.com/office/drawing/2014/main" id="{67505EDC-1D6C-3AA8-7966-FB02DEE04F07}"/>
                </a:ext>
              </a:extLst>
            </p:cNvPr>
            <p:cNvCxnSpPr>
              <a:cxnSpLocks/>
            </p:cNvCxnSpPr>
            <p:nvPr/>
          </p:nvCxnSpPr>
          <p:spPr>
            <a:xfrm>
              <a:off x="3087624"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nvGrpSpPr>
          <p:cNvPr id="100" name="Groep 99">
            <a:extLst>
              <a:ext uri="{FF2B5EF4-FFF2-40B4-BE49-F238E27FC236}">
                <a16:creationId xmlns:a16="http://schemas.microsoft.com/office/drawing/2014/main" id="{71FC05E7-DE70-4906-A44A-95E4EDDC0DCB}"/>
              </a:ext>
            </a:extLst>
          </p:cNvPr>
          <p:cNvGrpSpPr>
            <a:grpSpLocks/>
          </p:cNvGrpSpPr>
          <p:nvPr/>
        </p:nvGrpSpPr>
        <p:grpSpPr>
          <a:xfrm>
            <a:off x="5089498" y="1565275"/>
            <a:ext cx="2006492" cy="4435475"/>
            <a:chOff x="5089498" y="1565275"/>
            <a:chExt cx="2006492" cy="4435475"/>
          </a:xfrm>
        </p:grpSpPr>
        <p:sp>
          <p:nvSpPr>
            <p:cNvPr id="30" name="Rechthoek 29">
              <a:extLst>
                <a:ext uri="{FF2B5EF4-FFF2-40B4-BE49-F238E27FC236}">
                  <a16:creationId xmlns:a16="http://schemas.microsoft.com/office/drawing/2014/main" id="{EE796A4C-A8FF-D18D-D097-7275CCA8B1AE}"/>
                </a:ext>
              </a:extLst>
            </p:cNvPr>
            <p:cNvSpPr>
              <a:spLocks/>
            </p:cNvSpPr>
            <p:nvPr/>
          </p:nvSpPr>
          <p:spPr>
            <a:xfrm>
              <a:off x="5089970" y="1565275"/>
              <a:ext cx="2006020" cy="4435475"/>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5" name="Vrije vorm: vorm 94">
              <a:extLst>
                <a:ext uri="{FF2B5EF4-FFF2-40B4-BE49-F238E27FC236}">
                  <a16:creationId xmlns:a16="http://schemas.microsoft.com/office/drawing/2014/main" id="{074B4F5A-824D-937F-F478-9409522D837C}"/>
                </a:ext>
              </a:extLst>
            </p:cNvPr>
            <p:cNvSpPr>
              <a:spLocks/>
            </p:cNvSpPr>
            <p:nvPr/>
          </p:nvSpPr>
          <p:spPr>
            <a:xfrm>
              <a:off x="5089971" y="1565276"/>
              <a:ext cx="1291947" cy="355868"/>
            </a:xfrm>
            <a:custGeom>
              <a:avLst/>
              <a:gdLst>
                <a:gd name="connsiteX0" fmla="*/ 0 w 1291947"/>
                <a:gd name="connsiteY0" fmla="*/ 0 h 355868"/>
                <a:gd name="connsiteX1" fmla="*/ 1291947 w 1291947"/>
                <a:gd name="connsiteY1" fmla="*/ 0 h 355868"/>
                <a:gd name="connsiteX2" fmla="*/ 387707 w 1291947"/>
                <a:gd name="connsiteY2" fmla="*/ 243750 h 355868"/>
                <a:gd name="connsiteX3" fmla="*/ 0 w 1291947"/>
                <a:gd name="connsiteY3" fmla="*/ 355868 h 355868"/>
              </a:gdLst>
              <a:ahLst/>
              <a:cxnLst>
                <a:cxn ang="0">
                  <a:pos x="connsiteX0" y="connsiteY0"/>
                </a:cxn>
                <a:cxn ang="0">
                  <a:pos x="connsiteX1" y="connsiteY1"/>
                </a:cxn>
                <a:cxn ang="0">
                  <a:pos x="connsiteX2" y="connsiteY2"/>
                </a:cxn>
                <a:cxn ang="0">
                  <a:pos x="connsiteX3" y="connsiteY3"/>
                </a:cxn>
              </a:cxnLst>
              <a:rect l="l" t="t" r="r" b="b"/>
              <a:pathLst>
                <a:path w="1291947" h="355868">
                  <a:moveTo>
                    <a:pt x="0" y="0"/>
                  </a:moveTo>
                  <a:lnTo>
                    <a:pt x="1291947" y="0"/>
                  </a:lnTo>
                  <a:lnTo>
                    <a:pt x="387707" y="243750"/>
                  </a:lnTo>
                  <a:lnTo>
                    <a:pt x="0" y="355868"/>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1" name="Tijdelijke aanduiding voor tekst 5">
              <a:extLst>
                <a:ext uri="{FF2B5EF4-FFF2-40B4-BE49-F238E27FC236}">
                  <a16:creationId xmlns:a16="http://schemas.microsoft.com/office/drawing/2014/main" id="{67811ACB-BFC8-D28A-C47E-C513BE439A50}"/>
                </a:ext>
              </a:extLst>
            </p:cNvPr>
            <p:cNvSpPr txBox="1">
              <a:spLocks/>
            </p:cNvSpPr>
            <p:nvPr/>
          </p:nvSpPr>
          <p:spPr>
            <a:xfrm>
              <a:off x="5089498"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Extended model description</a:t>
              </a:r>
            </a:p>
          </p:txBody>
        </p:sp>
        <p:sp>
          <p:nvSpPr>
            <p:cNvPr id="32" name="Tijdelijke aanduiding voor tekst 5">
              <a:extLst>
                <a:ext uri="{FF2B5EF4-FFF2-40B4-BE49-F238E27FC236}">
                  <a16:creationId xmlns:a16="http://schemas.microsoft.com/office/drawing/2014/main" id="{8054991A-C327-7F79-2E21-1C0154C33C17}"/>
                </a:ext>
              </a:extLst>
            </p:cNvPr>
            <p:cNvSpPr txBox="1">
              <a:spLocks/>
            </p:cNvSpPr>
            <p:nvPr/>
          </p:nvSpPr>
          <p:spPr>
            <a:xfrm>
              <a:off x="5089498"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3</a:t>
              </a:r>
            </a:p>
          </p:txBody>
        </p:sp>
        <p:cxnSp>
          <p:nvCxnSpPr>
            <p:cNvPr id="33" name="Rechte verbindingslijn 32">
              <a:extLst>
                <a:ext uri="{FF2B5EF4-FFF2-40B4-BE49-F238E27FC236}">
                  <a16:creationId xmlns:a16="http://schemas.microsoft.com/office/drawing/2014/main" id="{CE1B8DBE-C918-BE69-7EAF-CB96164AB539}"/>
                </a:ext>
              </a:extLst>
            </p:cNvPr>
            <p:cNvCxnSpPr>
              <a:cxnSpLocks/>
            </p:cNvCxnSpPr>
            <p:nvPr/>
          </p:nvCxnSpPr>
          <p:spPr>
            <a:xfrm>
              <a:off x="5273040"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nvGrpSpPr>
          <p:cNvPr id="99" name="Groep 98">
            <a:extLst>
              <a:ext uri="{FF2B5EF4-FFF2-40B4-BE49-F238E27FC236}">
                <a16:creationId xmlns:a16="http://schemas.microsoft.com/office/drawing/2014/main" id="{7A096906-1459-E392-45F7-6FAA20A8078A}"/>
              </a:ext>
            </a:extLst>
          </p:cNvPr>
          <p:cNvGrpSpPr>
            <a:grpSpLocks/>
          </p:cNvGrpSpPr>
          <p:nvPr/>
        </p:nvGrpSpPr>
        <p:grpSpPr>
          <a:xfrm>
            <a:off x="7274914" y="1565275"/>
            <a:ext cx="2006493" cy="4435476"/>
            <a:chOff x="7274914" y="1565275"/>
            <a:chExt cx="2006493" cy="4435476"/>
          </a:xfrm>
        </p:grpSpPr>
        <p:sp>
          <p:nvSpPr>
            <p:cNvPr id="35" name="Rechthoek 34">
              <a:extLst>
                <a:ext uri="{FF2B5EF4-FFF2-40B4-BE49-F238E27FC236}">
                  <a16:creationId xmlns:a16="http://schemas.microsoft.com/office/drawing/2014/main" id="{EB110895-A715-C918-C9FF-A9A3BE2006A3}"/>
                </a:ext>
              </a:extLst>
            </p:cNvPr>
            <p:cNvSpPr>
              <a:spLocks/>
            </p:cNvSpPr>
            <p:nvPr/>
          </p:nvSpPr>
          <p:spPr>
            <a:xfrm>
              <a:off x="7275386" y="1565275"/>
              <a:ext cx="2006020" cy="4435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6" name="Vrije vorm: vorm 95">
              <a:extLst>
                <a:ext uri="{FF2B5EF4-FFF2-40B4-BE49-F238E27FC236}">
                  <a16:creationId xmlns:a16="http://schemas.microsoft.com/office/drawing/2014/main" id="{19E4EE7E-4959-1DF3-8B29-FCDA14089EC8}"/>
                </a:ext>
              </a:extLst>
            </p:cNvPr>
            <p:cNvSpPr>
              <a:spLocks/>
            </p:cNvSpPr>
            <p:nvPr/>
          </p:nvSpPr>
          <p:spPr>
            <a:xfrm>
              <a:off x="8183876" y="4879493"/>
              <a:ext cx="1097531" cy="1121258"/>
            </a:xfrm>
            <a:custGeom>
              <a:avLst/>
              <a:gdLst>
                <a:gd name="connsiteX0" fmla="*/ 1097531 w 1097531"/>
                <a:gd name="connsiteY0" fmla="*/ 0 h 1121258"/>
                <a:gd name="connsiteX1" fmla="*/ 1097531 w 1097531"/>
                <a:gd name="connsiteY1" fmla="*/ 1121258 h 1121258"/>
                <a:gd name="connsiteX2" fmla="*/ 0 w 1097531"/>
                <a:gd name="connsiteY2" fmla="*/ 1121258 h 1121258"/>
                <a:gd name="connsiteX3" fmla="*/ 53105 w 1097531"/>
                <a:gd name="connsiteY3" fmla="*/ 1057326 h 1121258"/>
                <a:gd name="connsiteX4" fmla="*/ 739103 w 1097531"/>
                <a:gd name="connsiteY4" fmla="*/ 333526 h 112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31" h="1121258">
                  <a:moveTo>
                    <a:pt x="1097531" y="0"/>
                  </a:moveTo>
                  <a:lnTo>
                    <a:pt x="1097531" y="1121258"/>
                  </a:lnTo>
                  <a:lnTo>
                    <a:pt x="0" y="1121258"/>
                  </a:lnTo>
                  <a:lnTo>
                    <a:pt x="53105" y="1057326"/>
                  </a:lnTo>
                  <a:cubicBezTo>
                    <a:pt x="261098" y="814185"/>
                    <a:pt x="491210" y="572985"/>
                    <a:pt x="739103" y="333526"/>
                  </a:cubicBez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6" name="Tijdelijke aanduiding voor tekst 5">
              <a:extLst>
                <a:ext uri="{FF2B5EF4-FFF2-40B4-BE49-F238E27FC236}">
                  <a16:creationId xmlns:a16="http://schemas.microsoft.com/office/drawing/2014/main" id="{DD76365C-529A-020E-8A28-5CEFD80AAFE9}"/>
                </a:ext>
              </a:extLst>
            </p:cNvPr>
            <p:cNvSpPr txBox="1">
              <a:spLocks/>
            </p:cNvSpPr>
            <p:nvPr/>
          </p:nvSpPr>
          <p:spPr>
            <a:xfrm>
              <a:off x="7274914"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Functionalities extended model</a:t>
              </a:r>
            </a:p>
          </p:txBody>
        </p:sp>
        <p:sp>
          <p:nvSpPr>
            <p:cNvPr id="37" name="Tijdelijke aanduiding voor tekst 5">
              <a:extLst>
                <a:ext uri="{FF2B5EF4-FFF2-40B4-BE49-F238E27FC236}">
                  <a16:creationId xmlns:a16="http://schemas.microsoft.com/office/drawing/2014/main" id="{B6629ECF-ADAD-AE09-1449-EF62A8C7BEB9}"/>
                </a:ext>
              </a:extLst>
            </p:cNvPr>
            <p:cNvSpPr txBox="1">
              <a:spLocks/>
            </p:cNvSpPr>
            <p:nvPr/>
          </p:nvSpPr>
          <p:spPr>
            <a:xfrm>
              <a:off x="7274914"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4</a:t>
              </a:r>
            </a:p>
          </p:txBody>
        </p:sp>
        <p:cxnSp>
          <p:nvCxnSpPr>
            <p:cNvPr id="38" name="Rechte verbindingslijn 37">
              <a:extLst>
                <a:ext uri="{FF2B5EF4-FFF2-40B4-BE49-F238E27FC236}">
                  <a16:creationId xmlns:a16="http://schemas.microsoft.com/office/drawing/2014/main" id="{458C6698-6E2C-DC52-A22E-4248EAE501AD}"/>
                </a:ext>
              </a:extLst>
            </p:cNvPr>
            <p:cNvCxnSpPr>
              <a:cxnSpLocks/>
            </p:cNvCxnSpPr>
            <p:nvPr/>
          </p:nvCxnSpPr>
          <p:spPr>
            <a:xfrm>
              <a:off x="7458456"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nvGrpSpPr>
          <p:cNvPr id="98" name="Groep 97">
            <a:extLst>
              <a:ext uri="{FF2B5EF4-FFF2-40B4-BE49-F238E27FC236}">
                <a16:creationId xmlns:a16="http://schemas.microsoft.com/office/drawing/2014/main" id="{2A7C4A48-127F-9203-7295-03F7EDFBCB14}"/>
              </a:ext>
            </a:extLst>
          </p:cNvPr>
          <p:cNvGrpSpPr>
            <a:grpSpLocks/>
          </p:cNvGrpSpPr>
          <p:nvPr/>
        </p:nvGrpSpPr>
        <p:grpSpPr>
          <a:xfrm>
            <a:off x="9460330" y="1565275"/>
            <a:ext cx="2006492" cy="4435476"/>
            <a:chOff x="9460330" y="1565275"/>
            <a:chExt cx="2006492" cy="4435476"/>
          </a:xfrm>
        </p:grpSpPr>
        <p:sp>
          <p:nvSpPr>
            <p:cNvPr id="40" name="Rechthoek 39">
              <a:extLst>
                <a:ext uri="{FF2B5EF4-FFF2-40B4-BE49-F238E27FC236}">
                  <a16:creationId xmlns:a16="http://schemas.microsoft.com/office/drawing/2014/main" id="{232EE22B-42B1-63B7-F6C0-1486C318B1C2}"/>
                </a:ext>
              </a:extLst>
            </p:cNvPr>
            <p:cNvSpPr>
              <a:spLocks/>
            </p:cNvSpPr>
            <p:nvPr/>
          </p:nvSpPr>
          <p:spPr>
            <a:xfrm>
              <a:off x="9460802" y="1565275"/>
              <a:ext cx="2006020" cy="4435475"/>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7" name="Vrije vorm: vorm 96">
              <a:extLst>
                <a:ext uri="{FF2B5EF4-FFF2-40B4-BE49-F238E27FC236}">
                  <a16:creationId xmlns:a16="http://schemas.microsoft.com/office/drawing/2014/main" id="{CDBCE730-D45C-356A-FF3C-0F112704BDE4}"/>
                </a:ext>
              </a:extLst>
            </p:cNvPr>
            <p:cNvSpPr>
              <a:spLocks/>
            </p:cNvSpPr>
            <p:nvPr/>
          </p:nvSpPr>
          <p:spPr>
            <a:xfrm>
              <a:off x="9460802" y="3136553"/>
              <a:ext cx="2006020" cy="2864198"/>
            </a:xfrm>
            <a:custGeom>
              <a:avLst/>
              <a:gdLst>
                <a:gd name="connsiteX0" fmla="*/ 2006020 w 2006020"/>
                <a:gd name="connsiteY0" fmla="*/ 0 h 2864198"/>
                <a:gd name="connsiteX1" fmla="*/ 2006020 w 2006020"/>
                <a:gd name="connsiteY1" fmla="*/ 2864198 h 2864198"/>
                <a:gd name="connsiteX2" fmla="*/ 0 w 2006020"/>
                <a:gd name="connsiteY2" fmla="*/ 2864198 h 2864198"/>
                <a:gd name="connsiteX3" fmla="*/ 0 w 2006020"/>
                <a:gd name="connsiteY3" fmla="*/ 1585112 h 2864198"/>
                <a:gd name="connsiteX4" fmla="*/ 254852 w 2006020"/>
                <a:gd name="connsiteY4" fmla="*/ 1363111 h 2864198"/>
                <a:gd name="connsiteX5" fmla="*/ 1586935 w 2006020"/>
                <a:gd name="connsiteY5" fmla="*/ 310047 h 286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020" h="2864198">
                  <a:moveTo>
                    <a:pt x="2006020" y="0"/>
                  </a:moveTo>
                  <a:lnTo>
                    <a:pt x="2006020" y="2864198"/>
                  </a:lnTo>
                  <a:lnTo>
                    <a:pt x="0" y="2864198"/>
                  </a:lnTo>
                  <a:lnTo>
                    <a:pt x="0" y="1585112"/>
                  </a:lnTo>
                  <a:lnTo>
                    <a:pt x="254852" y="1363111"/>
                  </a:lnTo>
                  <a:cubicBezTo>
                    <a:pt x="673521" y="1008846"/>
                    <a:pt x="1122430" y="658049"/>
                    <a:pt x="1586935" y="310047"/>
                  </a:cubicBez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41" name="Tijdelijke aanduiding voor tekst 5">
              <a:extLst>
                <a:ext uri="{FF2B5EF4-FFF2-40B4-BE49-F238E27FC236}">
                  <a16:creationId xmlns:a16="http://schemas.microsoft.com/office/drawing/2014/main" id="{A34850B8-DDE0-883E-70E7-2F9211F943E2}"/>
                </a:ext>
              </a:extLst>
            </p:cNvPr>
            <p:cNvSpPr txBox="1">
              <a:spLocks/>
            </p:cNvSpPr>
            <p:nvPr/>
          </p:nvSpPr>
          <p:spPr>
            <a:xfrm>
              <a:off x="9460330"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Questions</a:t>
              </a:r>
            </a:p>
          </p:txBody>
        </p:sp>
        <p:sp>
          <p:nvSpPr>
            <p:cNvPr id="42" name="Tijdelijke aanduiding voor tekst 5">
              <a:extLst>
                <a:ext uri="{FF2B5EF4-FFF2-40B4-BE49-F238E27FC236}">
                  <a16:creationId xmlns:a16="http://schemas.microsoft.com/office/drawing/2014/main" id="{4A12C8D5-687C-DACF-B9BC-8DB1EC0BBB02}"/>
                </a:ext>
              </a:extLst>
            </p:cNvPr>
            <p:cNvSpPr txBox="1">
              <a:spLocks/>
            </p:cNvSpPr>
            <p:nvPr/>
          </p:nvSpPr>
          <p:spPr>
            <a:xfrm>
              <a:off x="9460330"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5</a:t>
              </a:r>
            </a:p>
          </p:txBody>
        </p:sp>
        <p:cxnSp>
          <p:nvCxnSpPr>
            <p:cNvPr id="43" name="Rechte verbindingslijn 42">
              <a:extLst>
                <a:ext uri="{FF2B5EF4-FFF2-40B4-BE49-F238E27FC236}">
                  <a16:creationId xmlns:a16="http://schemas.microsoft.com/office/drawing/2014/main" id="{D692C0F5-9ACD-FEE4-448A-4E24B1100D57}"/>
                </a:ext>
              </a:extLst>
            </p:cNvPr>
            <p:cNvCxnSpPr>
              <a:cxnSpLocks/>
            </p:cNvCxnSpPr>
            <p:nvPr/>
          </p:nvCxnSpPr>
          <p:spPr>
            <a:xfrm>
              <a:off x="9643872"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sp>
        <p:nvSpPr>
          <p:cNvPr id="103" name="Tijdelijke aanduiding voor dianummer 102">
            <a:extLst>
              <a:ext uri="{FF2B5EF4-FFF2-40B4-BE49-F238E27FC236}">
                <a16:creationId xmlns:a16="http://schemas.microsoft.com/office/drawing/2014/main" id="{17D08AAD-7C24-801C-D417-54D92A8A5E83}"/>
              </a:ext>
            </a:extLst>
          </p:cNvPr>
          <p:cNvSpPr>
            <a:spLocks noGrp="1"/>
          </p:cNvSpPr>
          <p:nvPr>
            <p:ph type="sldNum" sz="quarter" idx="20"/>
          </p:nvPr>
        </p:nvSpPr>
        <p:spPr/>
        <p:txBody>
          <a:bodyPr/>
          <a:lstStyle/>
          <a:p>
            <a:fld id="{9E843DB9-9987-4157-AB9C-CEA8D7D910BB}" type="slidenum">
              <a:rPr lang="en-GB" smtClean="0"/>
              <a:pPr/>
              <a:t>2</a:t>
            </a:fld>
            <a:endParaRPr lang="en-GB" dirty="0"/>
          </a:p>
        </p:txBody>
      </p:sp>
      <p:grpSp>
        <p:nvGrpSpPr>
          <p:cNvPr id="2" name="INSTRUCTION">
            <a:extLst>
              <a:ext uri="{FF2B5EF4-FFF2-40B4-BE49-F238E27FC236}">
                <a16:creationId xmlns:a16="http://schemas.microsoft.com/office/drawing/2014/main" id="{BB18A91C-D5FB-FF83-AA18-4AE483B85C74}"/>
              </a:ext>
            </a:extLst>
          </p:cNvPr>
          <p:cNvGrpSpPr>
            <a:grpSpLocks noGrp="1" noUngrp="1" noRot="1" noMove="1" noResize="1"/>
          </p:cNvGrpSpPr>
          <p:nvPr/>
        </p:nvGrpSpPr>
        <p:grpSpPr>
          <a:xfrm>
            <a:off x="-3786165" y="0"/>
            <a:ext cx="3693114" cy="6568295"/>
            <a:chOff x="-3786165" y="0"/>
            <a:chExt cx="3693114" cy="6568295"/>
          </a:xfrm>
        </p:grpSpPr>
        <p:sp>
          <p:nvSpPr>
            <p:cNvPr id="3" name="Rechthoek 2">
              <a:extLst>
                <a:ext uri="{FF2B5EF4-FFF2-40B4-BE49-F238E27FC236}">
                  <a16:creationId xmlns:a16="http://schemas.microsoft.com/office/drawing/2014/main" id="{10453147-991E-8C33-1A63-9B938D0AEBA3}"/>
                </a:ext>
              </a:extLst>
            </p:cNvPr>
            <p:cNvSpPr>
              <a:spLocks noGrp="1" noRot="1" noMove="1" noResize="1" noEditPoints="1" noAdjustHandles="1" noChangeArrowheads="1" noChangeShapeType="1"/>
            </p:cNvSpPr>
            <p:nvPr userDrawn="1"/>
          </p:nvSpPr>
          <p:spPr>
            <a:xfrm>
              <a:off x="-3786165" y="0"/>
              <a:ext cx="3593091" cy="5826642"/>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reate/edit a Hyperlink TO A SLIDE</a:t>
              </a:r>
            </a:p>
          </p:txBody>
        </p:sp>
        <p:sp>
          <p:nvSpPr>
            <p:cNvPr id="4" name="Ovaal 3">
              <a:extLst>
                <a:ext uri="{FF2B5EF4-FFF2-40B4-BE49-F238E27FC236}">
                  <a16:creationId xmlns:a16="http://schemas.microsoft.com/office/drawing/2014/main" id="{7BA90434-481C-FDEF-E6D2-AA162BCD2DE6}"/>
                </a:ext>
              </a:extLst>
            </p:cNvPr>
            <p:cNvSpPr>
              <a:spLocks noGrp="1" noRot="1" noMove="1" noResize="1" noEditPoints="1" noAdjustHandles="1" noChangeArrowheads="1" noChangeShapeType="1"/>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F1A8BE63-0CFA-6992-407B-EB850FA0973B}"/>
                </a:ext>
              </a:extLst>
            </p:cNvPr>
            <p:cNvSpPr>
              <a:spLocks noGrp="1" noRot="1" noMove="1" noResize="1" noEditPoints="1" noAdjustHandles="1" noChangeArrowheads="1" noChangeShapeType="1"/>
            </p:cNvSpPr>
            <p:nvPr userDrawn="1"/>
          </p:nvSpPr>
          <p:spPr>
            <a:xfrm>
              <a:off x="-3319415" y="465324"/>
              <a:ext cx="3031548" cy="4681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p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hoose the shap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ctangl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drag the mouse over the slide to create a shape.</a:t>
              </a:r>
            </a:p>
          </p:txBody>
        </p:sp>
        <p:sp>
          <p:nvSpPr>
            <p:cNvPr id="7" name="Ovaal 6">
              <a:extLst>
                <a:ext uri="{FF2B5EF4-FFF2-40B4-BE49-F238E27FC236}">
                  <a16:creationId xmlns:a16="http://schemas.microsoft.com/office/drawing/2014/main" id="{E84059D9-A8E8-C260-3288-BB6D51332366}"/>
                </a:ext>
              </a:extLst>
            </p:cNvPr>
            <p:cNvSpPr>
              <a:spLocks noGrp="1" noRot="1" noMove="1" noResize="1" noEditPoints="1" noAdjustHandles="1" noChangeArrowheads="1" noChangeShapeType="1"/>
            </p:cNvSpPr>
            <p:nvPr userDrawn="1"/>
          </p:nvSpPr>
          <p:spPr>
            <a:xfrm>
              <a:off x="-3603587" y="17392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 name="Rechthoek 7">
              <a:extLst>
                <a:ext uri="{FF2B5EF4-FFF2-40B4-BE49-F238E27FC236}">
                  <a16:creationId xmlns:a16="http://schemas.microsoft.com/office/drawing/2014/main" id="{E52520F9-828D-821F-03ED-4AFB483B4DE6}"/>
                </a:ext>
              </a:extLst>
            </p:cNvPr>
            <p:cNvSpPr>
              <a:spLocks noGrp="1" noRot="1" noMove="1" noResize="1" noEditPoints="1" noAdjustHandles="1" noChangeArrowheads="1" noChangeShapeType="1"/>
            </p:cNvSpPr>
            <p:nvPr userDrawn="1"/>
          </p:nvSpPr>
          <p:spPr>
            <a:xfrm>
              <a:off x="-3319415" y="1739234"/>
              <a:ext cx="2944682"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ag the shape over the menu button and scale the shape as large as the button. Click with the right mouse button on the shape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shap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 name="Ovaal 9">
              <a:extLst>
                <a:ext uri="{FF2B5EF4-FFF2-40B4-BE49-F238E27FC236}">
                  <a16:creationId xmlns:a16="http://schemas.microsoft.com/office/drawing/2014/main" id="{00F565C2-A6BD-60CD-74A1-0EB1EF7FA42B}"/>
                </a:ext>
              </a:extLst>
            </p:cNvPr>
            <p:cNvSpPr>
              <a:spLocks noGrp="1" noRot="1" noMove="1" noResize="1" noEditPoints="1" noAdjustHandles="1" noChangeArrowheads="1" noChangeShapeType="1"/>
            </p:cNvSpPr>
            <p:nvPr userDrawn="1"/>
          </p:nvSpPr>
          <p:spPr>
            <a:xfrm>
              <a:off x="-3603859" y="322751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E1059634-B004-FC3C-E2B5-90405AA080D9}"/>
                </a:ext>
              </a:extLst>
            </p:cNvPr>
            <p:cNvSpPr>
              <a:spLocks noGrp="1" noRot="1" noMove="1" noResize="1" noEditPoints="1" noAdjustHandles="1" noChangeArrowheads="1" noChangeShapeType="1"/>
            </p:cNvSpPr>
            <p:nvPr userDrawn="1"/>
          </p:nvSpPr>
          <p:spPr>
            <a:xfrm>
              <a:off x="-3319687" y="3227520"/>
              <a:ext cx="3046732" cy="480331"/>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on the paint bucket icon,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pe Fill’</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dra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ransparenc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lider to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100%</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Now the shape is completely transparent.</a:t>
              </a:r>
            </a:p>
          </p:txBody>
        </p:sp>
        <p:grpSp>
          <p:nvGrpSpPr>
            <p:cNvPr id="12" name="Groep 11">
              <a:extLst>
                <a:ext uri="{FF2B5EF4-FFF2-40B4-BE49-F238E27FC236}">
                  <a16:creationId xmlns:a16="http://schemas.microsoft.com/office/drawing/2014/main" id="{2D577C40-70F1-4B17-58B1-0E86055E29FC}"/>
                </a:ext>
              </a:extLst>
            </p:cNvPr>
            <p:cNvGrpSpPr>
              <a:grpSpLocks noGrp="1" noUngrp="1" noRot="1" noMove="1" noResize="1"/>
            </p:cNvGrpSpPr>
            <p:nvPr userDrawn="1"/>
          </p:nvGrpSpPr>
          <p:grpSpPr>
            <a:xfrm>
              <a:off x="-3319415" y="1050229"/>
              <a:ext cx="394772" cy="511953"/>
              <a:chOff x="12926733" y="1159941"/>
              <a:chExt cx="394772" cy="511953"/>
            </a:xfrm>
          </p:grpSpPr>
          <p:grpSp>
            <p:nvGrpSpPr>
              <p:cNvPr id="75" name="Groep 74">
                <a:extLst>
                  <a:ext uri="{FF2B5EF4-FFF2-40B4-BE49-F238E27FC236}">
                    <a16:creationId xmlns:a16="http://schemas.microsoft.com/office/drawing/2014/main" id="{9D291928-1C9B-0BE8-A3C1-ADA88DDEEA23}"/>
                  </a:ext>
                </a:extLst>
              </p:cNvPr>
              <p:cNvGrpSpPr>
                <a:grpSpLocks noGrp="1" noUngrp="1" noRot="1" noMove="1" noResize="1"/>
              </p:cNvGrpSpPr>
              <p:nvPr userDrawn="1"/>
            </p:nvGrpSpPr>
            <p:grpSpPr>
              <a:xfrm>
                <a:off x="12986056" y="1159941"/>
                <a:ext cx="276126" cy="284085"/>
                <a:chOff x="806580" y="907261"/>
                <a:chExt cx="421725" cy="433881"/>
              </a:xfrm>
            </p:grpSpPr>
            <p:sp>
              <p:nvSpPr>
                <p:cNvPr id="78" name="Ovaal 77">
                  <a:extLst>
                    <a:ext uri="{FF2B5EF4-FFF2-40B4-BE49-F238E27FC236}">
                      <a16:creationId xmlns:a16="http://schemas.microsoft.com/office/drawing/2014/main" id="{5CFC11DB-98A2-0AD6-6300-EF5DBFBE31DA}"/>
                    </a:ext>
                  </a:extLst>
                </p:cNvPr>
                <p:cNvSpPr>
                  <a:spLocks noGrp="1" noRot="1" noMove="1" noResize="1" noEditPoints="1" noAdjustHandles="1" noChangeArrowheads="1" noChangeShapeType="1"/>
                </p:cNvSpPr>
                <p:nvPr userDrawn="1"/>
              </p:nvSpPr>
              <p:spPr>
                <a:xfrm>
                  <a:off x="961059" y="907261"/>
                  <a:ext cx="267246" cy="267246"/>
                </a:xfrm>
                <a:prstGeom prst="ellipse">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dirty="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4B6A85CB-E4FD-9BF9-3D25-E9E0F346CB5D}"/>
                    </a:ext>
                  </a:extLst>
                </p:cNvPr>
                <p:cNvSpPr>
                  <a:spLocks noGrp="1" noRot="1" noMove="1" noResize="1" noEditPoints="1" noAdjustHandles="1" noChangeArrowheads="1" noChangeShapeType="1"/>
                </p:cNvSpPr>
                <p:nvPr userDrawn="1"/>
              </p:nvSpPr>
              <p:spPr>
                <a:xfrm>
                  <a:off x="806580" y="968645"/>
                  <a:ext cx="247157" cy="241846"/>
                </a:xfrm>
                <a:prstGeom prst="rect">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sp>
              <p:nvSpPr>
                <p:cNvPr id="80" name="Ruit 79">
                  <a:extLst>
                    <a:ext uri="{FF2B5EF4-FFF2-40B4-BE49-F238E27FC236}">
                      <a16:creationId xmlns:a16="http://schemas.microsoft.com/office/drawing/2014/main" id="{B3428383-580A-EC79-A9AA-22D0A4B0FD0E}"/>
                    </a:ext>
                  </a:extLst>
                </p:cNvPr>
                <p:cNvSpPr>
                  <a:spLocks noGrp="1" noRot="1" noMove="1" noResize="1" noEditPoints="1" noAdjustHandles="1" noChangeArrowheads="1" noChangeShapeType="1"/>
                </p:cNvSpPr>
                <p:nvPr userDrawn="1"/>
              </p:nvSpPr>
              <p:spPr>
                <a:xfrm>
                  <a:off x="888274" y="1060969"/>
                  <a:ext cx="280173" cy="280173"/>
                </a:xfrm>
                <a:prstGeom prst="diamond">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76" name="Rechthoek 75">
                <a:extLst>
                  <a:ext uri="{FF2B5EF4-FFF2-40B4-BE49-F238E27FC236}">
                    <a16:creationId xmlns:a16="http://schemas.microsoft.com/office/drawing/2014/main" id="{8B60DBA3-E299-1A17-A7C4-4011B5FBDE00}"/>
                  </a:ext>
                </a:extLst>
              </p:cNvPr>
              <p:cNvSpPr>
                <a:spLocks noGrp="1" noRot="1" noMove="1" noResize="1" noEditPoints="1" noAdjustHandles="1" noChangeArrowheads="1" noChangeShapeType="1"/>
              </p:cNvSpPr>
              <p:nvPr userDrawn="1"/>
            </p:nvSpPr>
            <p:spPr>
              <a:xfrm>
                <a:off x="12926733" y="1454984"/>
                <a:ext cx="394772"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Shapes</a:t>
                </a:r>
              </a:p>
            </p:txBody>
          </p:sp>
          <p:sp>
            <p:nvSpPr>
              <p:cNvPr id="77" name="Gelijkbenige driehoek 76">
                <a:extLst>
                  <a:ext uri="{FF2B5EF4-FFF2-40B4-BE49-F238E27FC236}">
                    <a16:creationId xmlns:a16="http://schemas.microsoft.com/office/drawing/2014/main" id="{47C69FA8-ECB8-14A1-6BD3-3CFFB4A60986}"/>
                  </a:ext>
                </a:extLst>
              </p:cNvPr>
              <p:cNvSpPr>
                <a:spLocks noGrp="1" noRot="1" noMove="1" noResize="1" noEditPoints="1" noAdjustHandles="1" noChangeArrowheads="1" noChangeShapeType="1"/>
              </p:cNvSpPr>
              <p:nvPr userDrawn="1"/>
            </p:nvSpPr>
            <p:spPr>
              <a:xfrm rot="10800000">
                <a:off x="13080686" y="1620747"/>
                <a:ext cx="86866" cy="51147"/>
              </a:xfrm>
              <a:prstGeom prst="triangle">
                <a:avLst/>
              </a:pr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grpSp>
          <p:nvGrpSpPr>
            <p:cNvPr id="13" name="Groep 12">
              <a:extLst>
                <a:ext uri="{FF2B5EF4-FFF2-40B4-BE49-F238E27FC236}">
                  <a16:creationId xmlns:a16="http://schemas.microsoft.com/office/drawing/2014/main" id="{01ADA4B8-4706-F434-DE4A-F80EAF45C0B1}"/>
                </a:ext>
              </a:extLst>
            </p:cNvPr>
            <p:cNvGrpSpPr>
              <a:grpSpLocks noGrp="1" noUngrp="1" noRot="1" noMove="1" noResize="1"/>
            </p:cNvGrpSpPr>
            <p:nvPr userDrawn="1"/>
          </p:nvGrpSpPr>
          <p:grpSpPr>
            <a:xfrm>
              <a:off x="-3314820" y="2485426"/>
              <a:ext cx="1503599" cy="563933"/>
              <a:chOff x="-3314820" y="1384649"/>
              <a:chExt cx="1503599" cy="563933"/>
            </a:xfrm>
          </p:grpSpPr>
          <p:sp>
            <p:nvSpPr>
              <p:cNvPr id="56" name="Rechthoek 55">
                <a:extLst>
                  <a:ext uri="{FF2B5EF4-FFF2-40B4-BE49-F238E27FC236}">
                    <a16:creationId xmlns:a16="http://schemas.microsoft.com/office/drawing/2014/main" id="{194D858C-1097-90AC-69AF-F48C59A64B14}"/>
                  </a:ext>
                </a:extLst>
              </p:cNvPr>
              <p:cNvSpPr>
                <a:spLocks noGrp="1" noRot="1" noMove="1" noResize="1" noEditPoints="1" noAdjustHandles="1" noChangeArrowheads="1" noChangeShapeType="1"/>
              </p:cNvSpPr>
              <p:nvPr userDrawn="1"/>
            </p:nvSpPr>
            <p:spPr>
              <a:xfrm>
                <a:off x="-3314820" y="1384649"/>
                <a:ext cx="1454798"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FE13FB45-49C3-87A6-FF72-239A6D365847}"/>
                  </a:ext>
                </a:extLst>
              </p:cNvPr>
              <p:cNvSpPr>
                <a:spLocks noGrp="1" noRot="1" noMove="1" noResize="1" noEditPoints="1" noAdjustHandles="1" noChangeArrowheads="1" noChangeShapeType="1"/>
              </p:cNvSpPr>
              <p:nvPr userDrawn="1"/>
            </p:nvSpPr>
            <p:spPr>
              <a:xfrm>
                <a:off x="-3304718" y="1638374"/>
                <a:ext cx="1438234"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8" name="Tekstvak 57">
                <a:extLst>
                  <a:ext uri="{FF2B5EF4-FFF2-40B4-BE49-F238E27FC236}">
                    <a16:creationId xmlns:a16="http://schemas.microsoft.com/office/drawing/2014/main" id="{305A50E9-455E-E399-8259-8D1D3CABFDC4}"/>
                  </a:ext>
                </a:extLst>
              </p:cNvPr>
              <p:cNvSpPr txBox="1">
                <a:spLocks noGrp="1" noRot="1" noMove="1" noResize="1" noEditPoints="1" noAdjustHandles="1" noChangeArrowheads="1" noChangeShapeType="1"/>
              </p:cNvSpPr>
              <p:nvPr userDrawn="1"/>
            </p:nvSpPr>
            <p:spPr>
              <a:xfrm>
                <a:off x="-3090391" y="1441807"/>
                <a:ext cx="115008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ize and position…</a:t>
                </a:r>
              </a:p>
            </p:txBody>
          </p:sp>
          <p:sp>
            <p:nvSpPr>
              <p:cNvPr id="59" name="Tekstvak 58">
                <a:extLst>
                  <a:ext uri="{FF2B5EF4-FFF2-40B4-BE49-F238E27FC236}">
                    <a16:creationId xmlns:a16="http://schemas.microsoft.com/office/drawing/2014/main" id="{9E021E42-83B5-E7F3-68C3-34EB21A4F84C}"/>
                  </a:ext>
                </a:extLst>
              </p:cNvPr>
              <p:cNvSpPr txBox="1">
                <a:spLocks noGrp="1" noRot="1" noMove="1" noResize="1" noEditPoints="1" noAdjustHandles="1" noChangeArrowheads="1" noChangeShapeType="1"/>
              </p:cNvSpPr>
              <p:nvPr userDrawn="1"/>
            </p:nvSpPr>
            <p:spPr>
              <a:xfrm>
                <a:off x="-3090391" y="1703359"/>
                <a:ext cx="1150079"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shape…</a:t>
                </a:r>
              </a:p>
            </p:txBody>
          </p:sp>
          <p:sp>
            <p:nvSpPr>
              <p:cNvPr id="60" name="Vrije vorm: vorm 59">
                <a:extLst>
                  <a:ext uri="{FF2B5EF4-FFF2-40B4-BE49-F238E27FC236}">
                    <a16:creationId xmlns:a16="http://schemas.microsoft.com/office/drawing/2014/main" id="{D8810446-D869-996D-5E83-EF8A6B03D635}"/>
                  </a:ext>
                </a:extLst>
              </p:cNvPr>
              <p:cNvSpPr>
                <a:spLocks noGrp="1" noRot="1" noMove="1" noResize="1" noEditPoints="1" noAdjustHandles="1" noChangeArrowheads="1" noChangeShapeType="1"/>
              </p:cNvSpPr>
              <p:nvPr userDrawn="1"/>
            </p:nvSpPr>
            <p:spPr>
              <a:xfrm>
                <a:off x="-1908783" y="176858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1" name="Rechthoek: afgeronde hoeken 60">
                <a:extLst>
                  <a:ext uri="{FF2B5EF4-FFF2-40B4-BE49-F238E27FC236}">
                    <a16:creationId xmlns:a16="http://schemas.microsoft.com/office/drawing/2014/main" id="{85E5B581-7BE7-883E-E668-E31FF7B0C8D9}"/>
                  </a:ext>
                </a:extLst>
              </p:cNvPr>
              <p:cNvSpPr>
                <a:spLocks noGrp="1" noRot="1" noMove="1" noResize="1" noEditPoints="1" noAdjustHandles="1" noChangeArrowheads="1" noChangeShapeType="1"/>
              </p:cNvSpPr>
              <p:nvPr userDrawn="1"/>
            </p:nvSpPr>
            <p:spPr>
              <a:xfrm>
                <a:off x="-3142832" y="1431436"/>
                <a:ext cx="46013" cy="155567"/>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2" name="Rechthoek: afgeronde hoeken 61">
                <a:extLst>
                  <a:ext uri="{FF2B5EF4-FFF2-40B4-BE49-F238E27FC236}">
                    <a16:creationId xmlns:a16="http://schemas.microsoft.com/office/drawing/2014/main" id="{2E390903-576A-DF12-47C0-CDE748407DB9}"/>
                  </a:ext>
                </a:extLst>
              </p:cNvPr>
              <p:cNvSpPr>
                <a:spLocks noGrp="1" noRot="1" noMove="1" noResize="1" noEditPoints="1" noAdjustHandles="1" noChangeArrowheads="1" noChangeShapeType="1"/>
              </p:cNvSpPr>
              <p:nvPr userDrawn="1"/>
            </p:nvSpPr>
            <p:spPr>
              <a:xfrm>
                <a:off x="-3244585" y="1493351"/>
                <a:ext cx="34272" cy="34272"/>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3" name="Rechthoek 62">
                <a:extLst>
                  <a:ext uri="{FF2B5EF4-FFF2-40B4-BE49-F238E27FC236}">
                    <a16:creationId xmlns:a16="http://schemas.microsoft.com/office/drawing/2014/main" id="{DB3A681C-DB09-6126-3BEF-423F56763F89}"/>
                  </a:ext>
                </a:extLst>
              </p:cNvPr>
              <p:cNvSpPr>
                <a:spLocks noGrp="1" noRot="1" noMove="1" noResize="1" noEditPoints="1" noAdjustHandles="1" noChangeArrowheads="1" noChangeShapeType="1"/>
              </p:cNvSpPr>
              <p:nvPr userDrawn="1"/>
            </p:nvSpPr>
            <p:spPr>
              <a:xfrm>
                <a:off x="-3234192" y="1435895"/>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64" name="Pijl: punthaak 63">
                <a:extLst>
                  <a:ext uri="{FF2B5EF4-FFF2-40B4-BE49-F238E27FC236}">
                    <a16:creationId xmlns:a16="http://schemas.microsoft.com/office/drawing/2014/main" id="{F0B2B7F6-A35A-19F0-47DD-73195CE79F31}"/>
                  </a:ext>
                </a:extLst>
              </p:cNvPr>
              <p:cNvSpPr>
                <a:spLocks noGrp="1" noRot="1" noMove="1" noResize="1" noEditPoints="1" noAdjustHandles="1" noChangeArrowheads="1" noChangeShapeType="1"/>
              </p:cNvSpPr>
              <p:nvPr userDrawn="1"/>
            </p:nvSpPr>
            <p:spPr>
              <a:xfrm rot="16200000">
                <a:off x="-3244286" y="1420769"/>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E3DD5ECD-6FA1-C3DD-0124-39C2180677DF}"/>
                  </a:ext>
                </a:extLst>
              </p:cNvPr>
              <p:cNvSpPr>
                <a:spLocks noGrp="1" noRot="1" noMove="1" noResize="1" noEditPoints="1" noAdjustHandles="1" noChangeArrowheads="1" noChangeShapeType="1"/>
              </p:cNvSpPr>
              <p:nvPr userDrawn="1"/>
            </p:nvSpPr>
            <p:spPr>
              <a:xfrm flipV="1">
                <a:off x="-3234192" y="1543744"/>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66" name="Pijl: punthaak 65">
                <a:extLst>
                  <a:ext uri="{FF2B5EF4-FFF2-40B4-BE49-F238E27FC236}">
                    <a16:creationId xmlns:a16="http://schemas.microsoft.com/office/drawing/2014/main" id="{EB032A82-920B-9A7A-EEF3-70EF7D8100BD}"/>
                  </a:ext>
                </a:extLst>
              </p:cNvPr>
              <p:cNvSpPr>
                <a:spLocks noGrp="1" noRot="1" noMove="1" noResize="1" noEditPoints="1" noAdjustHandles="1" noChangeArrowheads="1" noChangeShapeType="1"/>
              </p:cNvSpPr>
              <p:nvPr userDrawn="1"/>
            </p:nvSpPr>
            <p:spPr>
              <a:xfrm rot="5400000" flipV="1">
                <a:off x="-3244286" y="1539955"/>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cxnSp>
            <p:nvCxnSpPr>
              <p:cNvPr id="67" name="Rechte verbindingslijn 66">
                <a:extLst>
                  <a:ext uri="{FF2B5EF4-FFF2-40B4-BE49-F238E27FC236}">
                    <a16:creationId xmlns:a16="http://schemas.microsoft.com/office/drawing/2014/main" id="{E6B5DE1B-A234-37C9-861E-293348EF406B}"/>
                  </a:ext>
                </a:extLst>
              </p:cNvPr>
              <p:cNvCxnSpPr>
                <a:cxnSpLocks noGrp="1" noRot="1" noMove="1" noResize="1" noEditPoints="1" noAdjustHandles="1" noChangeArrowheads="1" noChangeShapeType="1"/>
              </p:cNvCxnSpPr>
              <p:nvPr userDrawn="1"/>
            </p:nvCxnSpPr>
            <p:spPr>
              <a:xfrm>
                <a:off x="-3202653" y="1432300"/>
                <a:ext cx="66956" cy="0"/>
              </a:xfrm>
              <a:prstGeom prst="line">
                <a:avLst/>
              </a:prstGeom>
              <a:noFill/>
              <a:ln w="12700" cap="rnd" cmpd="sng" algn="ctr">
                <a:solidFill>
                  <a:srgbClr val="818181"/>
                </a:solidFill>
                <a:prstDash val="sysDot"/>
              </a:ln>
              <a:effectLst/>
            </p:spPr>
          </p:cxnSp>
          <p:cxnSp>
            <p:nvCxnSpPr>
              <p:cNvPr id="68" name="Rechte verbindingslijn 67">
                <a:extLst>
                  <a:ext uri="{FF2B5EF4-FFF2-40B4-BE49-F238E27FC236}">
                    <a16:creationId xmlns:a16="http://schemas.microsoft.com/office/drawing/2014/main" id="{73C5D84C-822D-256D-3C73-6CA0213CB63A}"/>
                  </a:ext>
                </a:extLst>
              </p:cNvPr>
              <p:cNvCxnSpPr>
                <a:cxnSpLocks noGrp="1" noRot="1" noMove="1" noResize="1" noEditPoints="1" noAdjustHandles="1" noChangeArrowheads="1" noChangeShapeType="1"/>
              </p:cNvCxnSpPr>
              <p:nvPr userDrawn="1"/>
            </p:nvCxnSpPr>
            <p:spPr>
              <a:xfrm>
                <a:off x="-3202653" y="1585650"/>
                <a:ext cx="66956" cy="0"/>
              </a:xfrm>
              <a:prstGeom prst="line">
                <a:avLst/>
              </a:prstGeom>
              <a:noFill/>
              <a:ln w="12700" cap="rnd" cmpd="sng" algn="ctr">
                <a:solidFill>
                  <a:srgbClr val="818181"/>
                </a:solidFill>
                <a:prstDash val="sysDot"/>
              </a:ln>
              <a:effectLst/>
            </p:spPr>
          </p:cxnSp>
          <p:sp>
            <p:nvSpPr>
              <p:cNvPr id="69" name="Vrije vorm: vorm 68">
                <a:extLst>
                  <a:ext uri="{FF2B5EF4-FFF2-40B4-BE49-F238E27FC236}">
                    <a16:creationId xmlns:a16="http://schemas.microsoft.com/office/drawing/2014/main" id="{6F8AF381-F0C1-5F10-82C1-D186390C7886}"/>
                  </a:ext>
                </a:extLst>
              </p:cNvPr>
              <p:cNvSpPr>
                <a:spLocks noGrp="1" noRot="1" noMove="1" noResize="1" noEditPoints="1" noAdjustHandles="1" noChangeArrowheads="1" noChangeShapeType="1"/>
              </p:cNvSpPr>
              <p:nvPr userDrawn="1"/>
            </p:nvSpPr>
            <p:spPr>
              <a:xfrm>
                <a:off x="-3175561" y="1707315"/>
                <a:ext cx="42279" cy="61833"/>
              </a:xfrm>
              <a:custGeom>
                <a:avLst/>
                <a:gdLst>
                  <a:gd name="connsiteX0" fmla="*/ 50006 w 111919"/>
                  <a:gd name="connsiteY0" fmla="*/ 64294 h 145256"/>
                  <a:gd name="connsiteX1" fmla="*/ 47625 w 111919"/>
                  <a:gd name="connsiteY1" fmla="*/ 145256 h 145256"/>
                  <a:gd name="connsiteX2" fmla="*/ 111919 w 111919"/>
                  <a:gd name="connsiteY2" fmla="*/ 92869 h 145256"/>
                  <a:gd name="connsiteX3" fmla="*/ 111919 w 111919"/>
                  <a:gd name="connsiteY3" fmla="*/ 28575 h 145256"/>
                  <a:gd name="connsiteX4" fmla="*/ 52387 w 111919"/>
                  <a:gd name="connsiteY4" fmla="*/ 0 h 145256"/>
                  <a:gd name="connsiteX5" fmla="*/ 4762 w 111919"/>
                  <a:gd name="connsiteY5" fmla="*/ 11906 h 145256"/>
                  <a:gd name="connsiteX6" fmla="*/ 0 w 111919"/>
                  <a:gd name="connsiteY6" fmla="*/ 45244 h 145256"/>
                  <a:gd name="connsiteX7" fmla="*/ 50006 w 111919"/>
                  <a:gd name="connsiteY7" fmla="*/ 64294 h 145256"/>
                  <a:gd name="connsiteX0" fmla="*/ 50006 w 124049"/>
                  <a:gd name="connsiteY0" fmla="*/ 64294 h 145256"/>
                  <a:gd name="connsiteX1" fmla="*/ 47625 w 124049"/>
                  <a:gd name="connsiteY1" fmla="*/ 145256 h 145256"/>
                  <a:gd name="connsiteX2" fmla="*/ 111919 w 124049"/>
                  <a:gd name="connsiteY2" fmla="*/ 92869 h 145256"/>
                  <a:gd name="connsiteX3" fmla="*/ 111919 w 124049"/>
                  <a:gd name="connsiteY3" fmla="*/ 28575 h 145256"/>
                  <a:gd name="connsiteX4" fmla="*/ 52387 w 124049"/>
                  <a:gd name="connsiteY4" fmla="*/ 0 h 145256"/>
                  <a:gd name="connsiteX5" fmla="*/ 4762 w 124049"/>
                  <a:gd name="connsiteY5" fmla="*/ 11906 h 145256"/>
                  <a:gd name="connsiteX6" fmla="*/ 0 w 124049"/>
                  <a:gd name="connsiteY6" fmla="*/ 45244 h 145256"/>
                  <a:gd name="connsiteX7" fmla="*/ 50006 w 124049"/>
                  <a:gd name="connsiteY7" fmla="*/ 64294 h 145256"/>
                  <a:gd name="connsiteX0" fmla="*/ 50006 w 123624"/>
                  <a:gd name="connsiteY0" fmla="*/ 64294 h 145256"/>
                  <a:gd name="connsiteX1" fmla="*/ 47625 w 123624"/>
                  <a:gd name="connsiteY1" fmla="*/ 145256 h 145256"/>
                  <a:gd name="connsiteX2" fmla="*/ 111919 w 123624"/>
                  <a:gd name="connsiteY2" fmla="*/ 92869 h 145256"/>
                  <a:gd name="connsiteX3" fmla="*/ 111919 w 123624"/>
                  <a:gd name="connsiteY3" fmla="*/ 28575 h 145256"/>
                  <a:gd name="connsiteX4" fmla="*/ 52387 w 123624"/>
                  <a:gd name="connsiteY4" fmla="*/ 0 h 145256"/>
                  <a:gd name="connsiteX5" fmla="*/ 4762 w 123624"/>
                  <a:gd name="connsiteY5" fmla="*/ 11906 h 145256"/>
                  <a:gd name="connsiteX6" fmla="*/ 0 w 123624"/>
                  <a:gd name="connsiteY6" fmla="*/ 45244 h 145256"/>
                  <a:gd name="connsiteX7" fmla="*/ 50006 w 123624"/>
                  <a:gd name="connsiteY7" fmla="*/ 64294 h 145256"/>
                  <a:gd name="connsiteX0" fmla="*/ 50006 w 123624"/>
                  <a:gd name="connsiteY0" fmla="*/ 67517 h 148479"/>
                  <a:gd name="connsiteX1" fmla="*/ 47625 w 123624"/>
                  <a:gd name="connsiteY1" fmla="*/ 148479 h 148479"/>
                  <a:gd name="connsiteX2" fmla="*/ 111919 w 123624"/>
                  <a:gd name="connsiteY2" fmla="*/ 96092 h 148479"/>
                  <a:gd name="connsiteX3" fmla="*/ 111919 w 123624"/>
                  <a:gd name="connsiteY3" fmla="*/ 31798 h 148479"/>
                  <a:gd name="connsiteX4" fmla="*/ 52387 w 123624"/>
                  <a:gd name="connsiteY4" fmla="*/ 3223 h 148479"/>
                  <a:gd name="connsiteX5" fmla="*/ 4762 w 123624"/>
                  <a:gd name="connsiteY5" fmla="*/ 15129 h 148479"/>
                  <a:gd name="connsiteX6" fmla="*/ 0 w 123624"/>
                  <a:gd name="connsiteY6" fmla="*/ 48467 h 148479"/>
                  <a:gd name="connsiteX7" fmla="*/ 50006 w 123624"/>
                  <a:gd name="connsiteY7" fmla="*/ 67517 h 148479"/>
                  <a:gd name="connsiteX0" fmla="*/ 50006 w 118952"/>
                  <a:gd name="connsiteY0" fmla="*/ 73868 h 154830"/>
                  <a:gd name="connsiteX1" fmla="*/ 47625 w 118952"/>
                  <a:gd name="connsiteY1" fmla="*/ 154830 h 154830"/>
                  <a:gd name="connsiteX2" fmla="*/ 111919 w 118952"/>
                  <a:gd name="connsiteY2" fmla="*/ 102443 h 154830"/>
                  <a:gd name="connsiteX3" fmla="*/ 111919 w 118952"/>
                  <a:gd name="connsiteY3" fmla="*/ 38149 h 154830"/>
                  <a:gd name="connsiteX4" fmla="*/ 64294 w 118952"/>
                  <a:gd name="connsiteY4" fmla="*/ 2430 h 154830"/>
                  <a:gd name="connsiteX5" fmla="*/ 4762 w 118952"/>
                  <a:gd name="connsiteY5" fmla="*/ 21480 h 154830"/>
                  <a:gd name="connsiteX6" fmla="*/ 0 w 118952"/>
                  <a:gd name="connsiteY6" fmla="*/ 54818 h 154830"/>
                  <a:gd name="connsiteX7" fmla="*/ 50006 w 118952"/>
                  <a:gd name="connsiteY7" fmla="*/ 73868 h 154830"/>
                  <a:gd name="connsiteX0" fmla="*/ 50006 w 118952"/>
                  <a:gd name="connsiteY0" fmla="*/ 71438 h 152400"/>
                  <a:gd name="connsiteX1" fmla="*/ 47625 w 118952"/>
                  <a:gd name="connsiteY1" fmla="*/ 152400 h 152400"/>
                  <a:gd name="connsiteX2" fmla="*/ 111919 w 118952"/>
                  <a:gd name="connsiteY2" fmla="*/ 100013 h 152400"/>
                  <a:gd name="connsiteX3" fmla="*/ 111919 w 118952"/>
                  <a:gd name="connsiteY3" fmla="*/ 35719 h 152400"/>
                  <a:gd name="connsiteX4" fmla="*/ 64294 w 118952"/>
                  <a:gd name="connsiteY4" fmla="*/ 0 h 152400"/>
                  <a:gd name="connsiteX5" fmla="*/ 0 w 118952"/>
                  <a:gd name="connsiteY5" fmla="*/ 52388 h 152400"/>
                  <a:gd name="connsiteX6" fmla="*/ 50006 w 118952"/>
                  <a:gd name="connsiteY6" fmla="*/ 71438 h 152400"/>
                  <a:gd name="connsiteX0" fmla="*/ 50006 w 118952"/>
                  <a:gd name="connsiteY0" fmla="*/ 71735 h 152697"/>
                  <a:gd name="connsiteX1" fmla="*/ 47625 w 118952"/>
                  <a:gd name="connsiteY1" fmla="*/ 152697 h 152697"/>
                  <a:gd name="connsiteX2" fmla="*/ 111919 w 118952"/>
                  <a:gd name="connsiteY2" fmla="*/ 100310 h 152697"/>
                  <a:gd name="connsiteX3" fmla="*/ 111919 w 118952"/>
                  <a:gd name="connsiteY3" fmla="*/ 36016 h 152697"/>
                  <a:gd name="connsiteX4" fmla="*/ 64294 w 118952"/>
                  <a:gd name="connsiteY4" fmla="*/ 297 h 152697"/>
                  <a:gd name="connsiteX5" fmla="*/ 0 w 118952"/>
                  <a:gd name="connsiteY5" fmla="*/ 52685 h 152697"/>
                  <a:gd name="connsiteX6" fmla="*/ 50006 w 118952"/>
                  <a:gd name="connsiteY6" fmla="*/ 71735 h 152697"/>
                  <a:gd name="connsiteX0" fmla="*/ 50006 w 118952"/>
                  <a:gd name="connsiteY0" fmla="*/ 71961 h 152923"/>
                  <a:gd name="connsiteX1" fmla="*/ 47625 w 118952"/>
                  <a:gd name="connsiteY1" fmla="*/ 152923 h 152923"/>
                  <a:gd name="connsiteX2" fmla="*/ 111919 w 118952"/>
                  <a:gd name="connsiteY2" fmla="*/ 100536 h 152923"/>
                  <a:gd name="connsiteX3" fmla="*/ 111919 w 118952"/>
                  <a:gd name="connsiteY3" fmla="*/ 36242 h 152923"/>
                  <a:gd name="connsiteX4" fmla="*/ 64294 w 118952"/>
                  <a:gd name="connsiteY4" fmla="*/ 523 h 152923"/>
                  <a:gd name="connsiteX5" fmla="*/ 0 w 118952"/>
                  <a:gd name="connsiteY5" fmla="*/ 52911 h 152923"/>
                  <a:gd name="connsiteX6" fmla="*/ 50006 w 118952"/>
                  <a:gd name="connsiteY6" fmla="*/ 71961 h 152923"/>
                  <a:gd name="connsiteX0" fmla="*/ 50006 w 118480"/>
                  <a:gd name="connsiteY0" fmla="*/ 71961 h 152923"/>
                  <a:gd name="connsiteX1" fmla="*/ 47625 w 118480"/>
                  <a:gd name="connsiteY1" fmla="*/ 152923 h 152923"/>
                  <a:gd name="connsiteX2" fmla="*/ 111919 w 118480"/>
                  <a:gd name="connsiteY2" fmla="*/ 100536 h 152923"/>
                  <a:gd name="connsiteX3" fmla="*/ 111919 w 118480"/>
                  <a:gd name="connsiteY3" fmla="*/ 36242 h 152923"/>
                  <a:gd name="connsiteX4" fmla="*/ 64294 w 118480"/>
                  <a:gd name="connsiteY4" fmla="*/ 523 h 152923"/>
                  <a:gd name="connsiteX5" fmla="*/ 0 w 118480"/>
                  <a:gd name="connsiteY5" fmla="*/ 52911 h 152923"/>
                  <a:gd name="connsiteX6" fmla="*/ 50006 w 118480"/>
                  <a:gd name="connsiteY6" fmla="*/ 71961 h 15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80" h="152923">
                    <a:moveTo>
                      <a:pt x="50006" y="71961"/>
                    </a:moveTo>
                    <a:cubicBezTo>
                      <a:pt x="49212" y="98948"/>
                      <a:pt x="48419" y="125936"/>
                      <a:pt x="47625" y="152923"/>
                    </a:cubicBezTo>
                    <a:cubicBezTo>
                      <a:pt x="69056" y="135461"/>
                      <a:pt x="102395" y="122761"/>
                      <a:pt x="111919" y="100536"/>
                    </a:cubicBezTo>
                    <a:cubicBezTo>
                      <a:pt x="121443" y="78311"/>
                      <a:pt x="119856" y="52911"/>
                      <a:pt x="111919" y="36242"/>
                    </a:cubicBezTo>
                    <a:cubicBezTo>
                      <a:pt x="103982" y="19573"/>
                      <a:pt x="94853" y="4888"/>
                      <a:pt x="64294" y="523"/>
                    </a:cubicBezTo>
                    <a:cubicBezTo>
                      <a:pt x="33735" y="-3842"/>
                      <a:pt x="0" y="19574"/>
                      <a:pt x="0" y="52911"/>
                    </a:cubicBezTo>
                    <a:lnTo>
                      <a:pt x="50006" y="71961"/>
                    </a:ln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70" name="Rechthoek: afgeronde hoeken 69">
                <a:extLst>
                  <a:ext uri="{FF2B5EF4-FFF2-40B4-BE49-F238E27FC236}">
                    <a16:creationId xmlns:a16="http://schemas.microsoft.com/office/drawing/2014/main" id="{F7758697-089F-108B-7093-6B88C0449719}"/>
                  </a:ext>
                </a:extLst>
              </p:cNvPr>
              <p:cNvSpPr>
                <a:spLocks noGrp="1" noRot="1" noMove="1" noResize="1" noEditPoints="1" noAdjustHandles="1" noChangeArrowheads="1" noChangeShapeType="1"/>
              </p:cNvSpPr>
              <p:nvPr userDrawn="1"/>
            </p:nvSpPr>
            <p:spPr>
              <a:xfrm rot="2770829">
                <a:off x="-3234197" y="1703273"/>
                <a:ext cx="57923" cy="72481"/>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Vrije vorm: vorm 70">
                <a:extLst>
                  <a:ext uri="{FF2B5EF4-FFF2-40B4-BE49-F238E27FC236}">
                    <a16:creationId xmlns:a16="http://schemas.microsoft.com/office/drawing/2014/main" id="{41A317C6-B898-8298-0E5B-6D424F263FD3}"/>
                  </a:ext>
                </a:extLst>
              </p:cNvPr>
              <p:cNvSpPr>
                <a:spLocks noGrp="1" noRot="1" noMove="1" noResize="1" noEditPoints="1" noAdjustHandles="1" noChangeArrowheads="1" noChangeShapeType="1"/>
              </p:cNvSpPr>
              <p:nvPr userDrawn="1"/>
            </p:nvSpPr>
            <p:spPr>
              <a:xfrm>
                <a:off x="-3237180" y="1677339"/>
                <a:ext cx="42279" cy="55298"/>
              </a:xfrm>
              <a:custGeom>
                <a:avLst/>
                <a:gdLst>
                  <a:gd name="connsiteX0" fmla="*/ 76475 w 79906"/>
                  <a:gd name="connsiteY0" fmla="*/ 104510 h 104510"/>
                  <a:gd name="connsiteX1" fmla="*/ 71712 w 79906"/>
                  <a:gd name="connsiteY1" fmla="*/ 6879 h 104510"/>
                  <a:gd name="connsiteX2" fmla="*/ 5037 w 79906"/>
                  <a:gd name="connsiteY2" fmla="*/ 16404 h 104510"/>
                  <a:gd name="connsiteX3" fmla="*/ 9800 w 79906"/>
                  <a:gd name="connsiteY3" fmla="*/ 83079 h 104510"/>
                </a:gdLst>
                <a:ahLst/>
                <a:cxnLst>
                  <a:cxn ang="0">
                    <a:pos x="connsiteX0" y="connsiteY0"/>
                  </a:cxn>
                  <a:cxn ang="0">
                    <a:pos x="connsiteX1" y="connsiteY1"/>
                  </a:cxn>
                  <a:cxn ang="0">
                    <a:pos x="connsiteX2" y="connsiteY2"/>
                  </a:cxn>
                  <a:cxn ang="0">
                    <a:pos x="connsiteX3" y="connsiteY3"/>
                  </a:cxn>
                </a:cxnLst>
                <a:rect l="l" t="t" r="r" b="b"/>
                <a:pathLst>
                  <a:path w="79906" h="104510">
                    <a:moveTo>
                      <a:pt x="76475" y="104510"/>
                    </a:moveTo>
                    <a:cubicBezTo>
                      <a:pt x="80046" y="63036"/>
                      <a:pt x="83618" y="21563"/>
                      <a:pt x="71712" y="6879"/>
                    </a:cubicBezTo>
                    <a:cubicBezTo>
                      <a:pt x="59806" y="-7805"/>
                      <a:pt x="15356" y="3704"/>
                      <a:pt x="5037" y="16404"/>
                    </a:cubicBezTo>
                    <a:cubicBezTo>
                      <a:pt x="-5282" y="29104"/>
                      <a:pt x="2259" y="56091"/>
                      <a:pt x="9800" y="83079"/>
                    </a:cubicBezTo>
                  </a:path>
                </a:pathLst>
              </a:custGeom>
              <a:no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noProof="0" dirty="0">
                  <a:solidFill>
                    <a:srgbClr val="211F26"/>
                  </a:solidFill>
                  <a:latin typeface="Calibri" panose="020F0502020204030204" pitchFamily="34" charset="0"/>
                  <a:cs typeface="Calibri" panose="020F0502020204030204" pitchFamily="34" charset="0"/>
                </a:endParaRPr>
              </a:p>
            </p:txBody>
          </p:sp>
          <p:sp>
            <p:nvSpPr>
              <p:cNvPr id="72" name="Vrije vorm: vorm 71">
                <a:extLst>
                  <a:ext uri="{FF2B5EF4-FFF2-40B4-BE49-F238E27FC236}">
                    <a16:creationId xmlns:a16="http://schemas.microsoft.com/office/drawing/2014/main" id="{0F288E06-382E-8968-0D4D-101344A3EAB1}"/>
                  </a:ext>
                </a:extLst>
              </p:cNvPr>
              <p:cNvSpPr>
                <a:spLocks noGrp="1" noRot="1" noMove="1" noResize="1" noEditPoints="1" noAdjustHandles="1" noChangeArrowheads="1" noChangeShapeType="1"/>
              </p:cNvSpPr>
              <p:nvPr userDrawn="1"/>
            </p:nvSpPr>
            <p:spPr>
              <a:xfrm>
                <a:off x="-3147647" y="1714096"/>
                <a:ext cx="57254" cy="77074"/>
              </a:xfrm>
              <a:custGeom>
                <a:avLst/>
                <a:gdLst>
                  <a:gd name="connsiteX0" fmla="*/ 0 w 61912"/>
                  <a:gd name="connsiteY0" fmla="*/ 80963 h 80963"/>
                  <a:gd name="connsiteX1" fmla="*/ 57150 w 61912"/>
                  <a:gd name="connsiteY1" fmla="*/ 0 h 80963"/>
                  <a:gd name="connsiteX2" fmla="*/ 61912 w 61912"/>
                  <a:gd name="connsiteY2" fmla="*/ 50006 h 80963"/>
                  <a:gd name="connsiteX3" fmla="*/ 0 w 61912"/>
                  <a:gd name="connsiteY3" fmla="*/ 80963 h 80963"/>
                  <a:gd name="connsiteX0" fmla="*/ 0 w 61912"/>
                  <a:gd name="connsiteY0" fmla="*/ 80963 h 83344"/>
                  <a:gd name="connsiteX1" fmla="*/ 57150 w 61912"/>
                  <a:gd name="connsiteY1" fmla="*/ 0 h 83344"/>
                  <a:gd name="connsiteX2" fmla="*/ 61912 w 61912"/>
                  <a:gd name="connsiteY2" fmla="*/ 50006 h 83344"/>
                  <a:gd name="connsiteX3" fmla="*/ 19050 w 61912"/>
                  <a:gd name="connsiteY3" fmla="*/ 83344 h 83344"/>
                  <a:gd name="connsiteX4" fmla="*/ 0 w 61912"/>
                  <a:gd name="connsiteY4" fmla="*/ 80963 h 83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83344">
                    <a:moveTo>
                      <a:pt x="0" y="80963"/>
                    </a:moveTo>
                    <a:lnTo>
                      <a:pt x="57150" y="0"/>
                    </a:lnTo>
                    <a:lnTo>
                      <a:pt x="61912" y="50006"/>
                    </a:lnTo>
                    <a:cubicBezTo>
                      <a:pt x="48418" y="56356"/>
                      <a:pt x="32544" y="76994"/>
                      <a:pt x="19050" y="83344"/>
                    </a:cubicBezTo>
                    <a:lnTo>
                      <a:pt x="0" y="80963"/>
                    </a:lnTo>
                    <a:close/>
                  </a:path>
                </a:pathLst>
              </a:cu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73" name="Ovaal 72">
                <a:extLst>
                  <a:ext uri="{FF2B5EF4-FFF2-40B4-BE49-F238E27FC236}">
                    <a16:creationId xmlns:a16="http://schemas.microsoft.com/office/drawing/2014/main" id="{89D391F8-0DD4-C31A-857C-25DC79B809DB}"/>
                  </a:ext>
                </a:extLst>
              </p:cNvPr>
              <p:cNvSpPr>
                <a:spLocks noGrp="1" noRot="1" noMove="1" noResize="1" noEditPoints="1" noAdjustHandles="1" noChangeArrowheads="1" noChangeShapeType="1"/>
              </p:cNvSpPr>
              <p:nvPr userDrawn="1"/>
            </p:nvSpPr>
            <p:spPr>
              <a:xfrm rot="12332780">
                <a:off x="-3185085" y="1782358"/>
                <a:ext cx="50650" cy="57255"/>
              </a:xfrm>
              <a:prstGeom prst="ellipse">
                <a:avLst/>
              </a:prstGeom>
              <a:solidFill>
                <a:schemeClr val="bg1"/>
              </a:solidFill>
              <a:ln w="9525">
                <a:solidFill>
                  <a:srgbClr val="4D82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74" name="Gelijkbenige driehoek 34">
                <a:extLst>
                  <a:ext uri="{FF2B5EF4-FFF2-40B4-BE49-F238E27FC236}">
                    <a16:creationId xmlns:a16="http://schemas.microsoft.com/office/drawing/2014/main" id="{0E3F6281-DD43-BB2F-3263-68CEFF41C63A}"/>
                  </a:ext>
                </a:extLst>
              </p:cNvPr>
              <p:cNvSpPr>
                <a:spLocks noGrp="1" noRot="1" noMove="1" noResize="1" noEditPoints="1" noAdjustHandles="1" noChangeArrowheads="1" noChangeShapeType="1"/>
              </p:cNvSpPr>
              <p:nvPr userDrawn="1"/>
            </p:nvSpPr>
            <p:spPr>
              <a:xfrm rot="14772351">
                <a:off x="-3215597" y="1797313"/>
                <a:ext cx="52327" cy="57916"/>
              </a:xfrm>
              <a:custGeom>
                <a:avLst/>
                <a:gdLst>
                  <a:gd name="connsiteX0" fmla="*/ 0 w 56584"/>
                  <a:gd name="connsiteY0" fmla="*/ 55534 h 55534"/>
                  <a:gd name="connsiteX1" fmla="*/ 28292 w 56584"/>
                  <a:gd name="connsiteY1" fmla="*/ 0 h 55534"/>
                  <a:gd name="connsiteX2" fmla="*/ 56584 w 56584"/>
                  <a:gd name="connsiteY2" fmla="*/ 55534 h 55534"/>
                  <a:gd name="connsiteX3" fmla="*/ 0 w 56584"/>
                  <a:gd name="connsiteY3" fmla="*/ 55534 h 55534"/>
                  <a:gd name="connsiteX0" fmla="*/ 0 w 56584"/>
                  <a:gd name="connsiteY0" fmla="*/ 55534 h 60261"/>
                  <a:gd name="connsiteX1" fmla="*/ 28292 w 56584"/>
                  <a:gd name="connsiteY1" fmla="*/ 0 h 60261"/>
                  <a:gd name="connsiteX2" fmla="*/ 56584 w 56584"/>
                  <a:gd name="connsiteY2" fmla="*/ 55534 h 60261"/>
                  <a:gd name="connsiteX3" fmla="*/ 0 w 56584"/>
                  <a:gd name="connsiteY3" fmla="*/ 55534 h 60261"/>
                  <a:gd name="connsiteX0" fmla="*/ 0 w 56584"/>
                  <a:gd name="connsiteY0" fmla="*/ 55534 h 62627"/>
                  <a:gd name="connsiteX1" fmla="*/ 28292 w 56584"/>
                  <a:gd name="connsiteY1" fmla="*/ 0 h 62627"/>
                  <a:gd name="connsiteX2" fmla="*/ 56584 w 56584"/>
                  <a:gd name="connsiteY2" fmla="*/ 55534 h 62627"/>
                  <a:gd name="connsiteX3" fmla="*/ 0 w 56584"/>
                  <a:gd name="connsiteY3" fmla="*/ 55534 h 62627"/>
                </a:gdLst>
                <a:ahLst/>
                <a:cxnLst>
                  <a:cxn ang="0">
                    <a:pos x="connsiteX0" y="connsiteY0"/>
                  </a:cxn>
                  <a:cxn ang="0">
                    <a:pos x="connsiteX1" y="connsiteY1"/>
                  </a:cxn>
                  <a:cxn ang="0">
                    <a:pos x="connsiteX2" y="connsiteY2"/>
                  </a:cxn>
                  <a:cxn ang="0">
                    <a:pos x="connsiteX3" y="connsiteY3"/>
                  </a:cxn>
                </a:cxnLst>
                <a:rect l="l" t="t" r="r" b="b"/>
                <a:pathLst>
                  <a:path w="56584" h="62627">
                    <a:moveTo>
                      <a:pt x="0" y="55534"/>
                    </a:moveTo>
                    <a:lnTo>
                      <a:pt x="28292" y="0"/>
                    </a:lnTo>
                    <a:lnTo>
                      <a:pt x="56584" y="55534"/>
                    </a:lnTo>
                    <a:cubicBezTo>
                      <a:pt x="44518" y="63735"/>
                      <a:pt x="19376" y="66171"/>
                      <a:pt x="0" y="55534"/>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381341F1-4317-78BE-C5A9-62850A257786}"/>
                </a:ext>
              </a:extLst>
            </p:cNvPr>
            <p:cNvGrpSpPr>
              <a:grpSpLocks noGrp="1" noUngrp="1" noRot="1" noMove="1" noResize="1"/>
            </p:cNvGrpSpPr>
            <p:nvPr userDrawn="1"/>
          </p:nvGrpSpPr>
          <p:grpSpPr>
            <a:xfrm>
              <a:off x="-3323231" y="3821749"/>
              <a:ext cx="2734765" cy="262633"/>
              <a:chOff x="5114260" y="1193211"/>
              <a:chExt cx="2516594" cy="241682"/>
            </a:xfrm>
          </p:grpSpPr>
          <p:sp>
            <p:nvSpPr>
              <p:cNvPr id="49" name="Rechthoek 48">
                <a:extLst>
                  <a:ext uri="{FF2B5EF4-FFF2-40B4-BE49-F238E27FC236}">
                    <a16:creationId xmlns:a16="http://schemas.microsoft.com/office/drawing/2014/main" id="{1613A34F-D57A-C388-8FD8-20F64BF6D5C8}"/>
                  </a:ext>
                </a:extLst>
              </p:cNvPr>
              <p:cNvSpPr>
                <a:spLocks noGrp="1" noRot="1" noMove="1" noResize="1" noEditPoints="1" noAdjustHandles="1" noChangeArrowheads="1" noChangeShapeType="1"/>
              </p:cNvSpPr>
              <p:nvPr userDrawn="1"/>
            </p:nvSpPr>
            <p:spPr>
              <a:xfrm>
                <a:off x="5114260" y="1193211"/>
                <a:ext cx="2516594" cy="241682"/>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Tekstvak 49">
                <a:extLst>
                  <a:ext uri="{FF2B5EF4-FFF2-40B4-BE49-F238E27FC236}">
                    <a16:creationId xmlns:a16="http://schemas.microsoft.com/office/drawing/2014/main" id="{BCB822B3-04DC-D1FA-C9E7-E2AD9D9C6250}"/>
                  </a:ext>
                </a:extLst>
              </p:cNvPr>
              <p:cNvSpPr txBox="1">
                <a:spLocks noGrp="1" noRot="1" noMove="1" noResize="1" noEditPoints="1" noAdjustHandles="1" noChangeArrowheads="1" noChangeShapeType="1"/>
              </p:cNvSpPr>
              <p:nvPr userDrawn="1"/>
            </p:nvSpPr>
            <p:spPr>
              <a:xfrm>
                <a:off x="5121009" y="1214216"/>
                <a:ext cx="1156604" cy="212418"/>
              </a:xfrm>
              <a:prstGeom prst="rect">
                <a:avLst/>
              </a:prstGeom>
              <a:noFill/>
            </p:spPr>
            <p:txBody>
              <a:bodyPr wrap="square" rtlCol="0">
                <a:spAutoFit/>
              </a:bodyPr>
              <a:lstStyle/>
              <a:p>
                <a:pPr marL="0" algn="l" defTabSz="1217512" rtl="0" eaLnBrk="1" latinLnBrk="0" hangingPunct="1">
                  <a:lnSpc>
                    <a:spcPct val="100000"/>
                  </a:lnSpc>
                  <a:spcBef>
                    <a:spcPts val="600"/>
                  </a:spcBef>
                  <a:spcAft>
                    <a:spcPts val="600"/>
                  </a:spcAft>
                </a:pPr>
                <a:r>
                  <a:rPr lang="en-GB" sz="900" b="0" u="none" kern="1200" noProof="0" dirty="0">
                    <a:solidFill>
                      <a:srgbClr val="211F26"/>
                    </a:solidFill>
                    <a:latin typeface="Calibri" panose="020F0502020204030204" pitchFamily="34" charset="0"/>
                    <a:ea typeface="+mn-ea"/>
                    <a:cs typeface="Calibri" panose="020F0502020204030204" pitchFamily="34" charset="0"/>
                  </a:rPr>
                  <a:t>Transparency</a:t>
                </a:r>
              </a:p>
            </p:txBody>
          </p:sp>
          <p:cxnSp>
            <p:nvCxnSpPr>
              <p:cNvPr id="51" name="Rechte verbindingslijn 50">
                <a:extLst>
                  <a:ext uri="{FF2B5EF4-FFF2-40B4-BE49-F238E27FC236}">
                    <a16:creationId xmlns:a16="http://schemas.microsoft.com/office/drawing/2014/main" id="{CCA05868-5640-4196-C90E-004DDBE2543F}"/>
                  </a:ext>
                </a:extLst>
              </p:cNvPr>
              <p:cNvCxnSpPr>
                <a:cxnSpLocks noGrp="1" noRot="1" noMove="1" noResize="1" noEditPoints="1" noAdjustHandles="1" noChangeArrowheads="1" noChangeShapeType="1"/>
                <a:endCxn id="55" idx="1"/>
              </p:cNvCxnSpPr>
              <p:nvPr userDrawn="1"/>
            </p:nvCxnSpPr>
            <p:spPr>
              <a:xfrm>
                <a:off x="5949074" y="1317963"/>
                <a:ext cx="958480" cy="0"/>
              </a:xfrm>
              <a:prstGeom prst="line">
                <a:avLst/>
              </a:prstGeom>
              <a:noFill/>
              <a:ln w="12700" cap="flat" cmpd="sng" algn="ctr">
                <a:solidFill>
                  <a:srgbClr val="9D9FA1"/>
                </a:solidFill>
                <a:prstDash val="solid"/>
              </a:ln>
              <a:effectLst/>
            </p:spPr>
          </p:cxnSp>
          <p:sp>
            <p:nvSpPr>
              <p:cNvPr id="52" name="Rechthoek 51">
                <a:extLst>
                  <a:ext uri="{FF2B5EF4-FFF2-40B4-BE49-F238E27FC236}">
                    <a16:creationId xmlns:a16="http://schemas.microsoft.com/office/drawing/2014/main" id="{62E25B11-904F-AFA3-0926-E0E18E94DC9E}"/>
                  </a:ext>
                </a:extLst>
              </p:cNvPr>
              <p:cNvSpPr>
                <a:spLocks noGrp="1" noRot="1" noMove="1" noResize="1" noEditPoints="1" noAdjustHandles="1" noChangeArrowheads="1" noChangeShapeType="1"/>
              </p:cNvSpPr>
              <p:nvPr userDrawn="1"/>
            </p:nvSpPr>
            <p:spPr>
              <a:xfrm>
                <a:off x="7020991" y="1230251"/>
                <a:ext cx="570656" cy="159490"/>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lvl="0" algn="l">
                  <a:lnSpc>
                    <a:spcPct val="10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100%</a:t>
                </a:r>
              </a:p>
            </p:txBody>
          </p:sp>
          <p:sp>
            <p:nvSpPr>
              <p:cNvPr id="53" name="Gelijkbenige driehoek 52">
                <a:extLst>
                  <a:ext uri="{FF2B5EF4-FFF2-40B4-BE49-F238E27FC236}">
                    <a16:creationId xmlns:a16="http://schemas.microsoft.com/office/drawing/2014/main" id="{853F1B6C-EA29-27A2-ABF6-A3C7F399F358}"/>
                  </a:ext>
                </a:extLst>
              </p:cNvPr>
              <p:cNvSpPr>
                <a:spLocks noGrp="1" noRot="1" noMove="1" noResize="1" noEditPoints="1" noAdjustHandles="1" noChangeArrowheads="1" noChangeShapeType="1"/>
              </p:cNvSpPr>
              <p:nvPr userDrawn="1"/>
            </p:nvSpPr>
            <p:spPr>
              <a:xfrm>
                <a:off x="7508703" y="1255045"/>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4" name="Gelijkbenige driehoek 53">
                <a:extLst>
                  <a:ext uri="{FF2B5EF4-FFF2-40B4-BE49-F238E27FC236}">
                    <a16:creationId xmlns:a16="http://schemas.microsoft.com/office/drawing/2014/main" id="{35C09C94-75E6-1E20-8A00-01AE2BF86EC1}"/>
                  </a:ext>
                </a:extLst>
              </p:cNvPr>
              <p:cNvSpPr>
                <a:spLocks noGrp="1" noRot="1" noMove="1" noResize="1" noEditPoints="1" noAdjustHandles="1" noChangeArrowheads="1" noChangeShapeType="1"/>
              </p:cNvSpPr>
              <p:nvPr userDrawn="1"/>
            </p:nvSpPr>
            <p:spPr>
              <a:xfrm flipV="1">
                <a:off x="7508703" y="1332327"/>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091428D3-AF6A-8B81-9689-4EB5B586D60A}"/>
                  </a:ext>
                </a:extLst>
              </p:cNvPr>
              <p:cNvSpPr>
                <a:spLocks noGrp="1" noRot="1" noMove="1" noResize="1" noEditPoints="1" noAdjustHandles="1" noChangeArrowheads="1" noChangeShapeType="1"/>
              </p:cNvSpPr>
              <p:nvPr userDrawn="1"/>
            </p:nvSpPr>
            <p:spPr>
              <a:xfrm>
                <a:off x="6907553" y="1274066"/>
                <a:ext cx="28792" cy="8779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378CAA15-261D-24B1-9D7B-AEE80DF08888}"/>
                </a:ext>
              </a:extLst>
            </p:cNvPr>
            <p:cNvSpPr>
              <a:spLocks noGrp="1" noRot="1" noMove="1" noResize="1" noEditPoints="1" noAdjustHandles="1" noChangeArrowheads="1" noChangeShapeType="1"/>
            </p:cNvSpPr>
            <p:nvPr userDrawn="1"/>
          </p:nvSpPr>
          <p:spPr>
            <a:xfrm>
              <a:off x="-3603859" y="426602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 name="Rechthoek 18">
              <a:extLst>
                <a:ext uri="{FF2B5EF4-FFF2-40B4-BE49-F238E27FC236}">
                  <a16:creationId xmlns:a16="http://schemas.microsoft.com/office/drawing/2014/main" id="{A99DDD90-7E82-DFCC-F21C-6C4E08E89CA5}"/>
                </a:ext>
              </a:extLst>
            </p:cNvPr>
            <p:cNvSpPr>
              <a:spLocks noGrp="1" noRot="1" noMove="1" noResize="1" noEditPoints="1" noAdjustHandles="1" noChangeArrowheads="1" noChangeShapeType="1"/>
            </p:cNvSpPr>
            <p:nvPr userDrawn="1"/>
          </p:nvSpPr>
          <p:spPr>
            <a:xfrm>
              <a:off x="-3319687" y="4266029"/>
              <a:ext cx="2944682" cy="79449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on the transparent shape and use the shortcu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trl + 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add a hyperlink. At the left side of the window,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lace in this documen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select the preferred slid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 the list. Then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br>
                <a:rPr kumimoji="0" lang="en-GB" sz="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63C14303-A7C4-576B-E496-E5B236133B68}"/>
                </a:ext>
              </a:extLst>
            </p:cNvPr>
            <p:cNvSpPr>
              <a:spLocks noGrp="1" noRot="1" noMove="1" noResize="1" noEditPoints="1" noAdjustHandles="1" noChangeArrowheads="1" noChangeShapeType="1"/>
            </p:cNvSpPr>
            <p:nvPr userDrawn="1"/>
          </p:nvSpPr>
          <p:spPr>
            <a:xfrm>
              <a:off x="-3603859" y="524598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4948BB9-1F59-B75F-473F-4EB2D9431755}"/>
                </a:ext>
              </a:extLst>
            </p:cNvPr>
            <p:cNvSpPr>
              <a:spLocks noGrp="1" noRot="1" noMove="1" noResize="1" noEditPoints="1" noAdjustHandles="1" noChangeArrowheads="1" noChangeShapeType="1"/>
            </p:cNvSpPr>
            <p:nvPr userDrawn="1"/>
          </p:nvSpPr>
          <p:spPr>
            <a:xfrm>
              <a:off x="-3319687" y="5245987"/>
              <a:ext cx="2944682" cy="3072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opy the transparent shape and repea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ep 4</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o this for all menu buttons.</a:t>
              </a:r>
            </a:p>
          </p:txBody>
        </p:sp>
        <p:sp>
          <p:nvSpPr>
            <p:cNvPr id="23" name="Rechthoek 22">
              <a:extLst>
                <a:ext uri="{FF2B5EF4-FFF2-40B4-BE49-F238E27FC236}">
                  <a16:creationId xmlns:a16="http://schemas.microsoft.com/office/drawing/2014/main" id="{37C121DE-A66E-EB19-E2B8-DCDBDC099324}"/>
                </a:ext>
              </a:extLst>
            </p:cNvPr>
            <p:cNvSpPr>
              <a:spLocks noGrp="1" noRot="1" noMove="1" noResize="1" noEditPoints="1" noAdjustHandles="1" noChangeArrowheads="1" noChangeShapeType="1"/>
            </p:cNvSpPr>
            <p:nvPr userDrawn="1"/>
          </p:nvSpPr>
          <p:spPr>
            <a:xfrm>
              <a:off x="-3786164" y="574029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452B83F7-AB46-963B-D270-3E5515CEA644}"/>
                </a:ext>
              </a:extLst>
            </p:cNvPr>
            <p:cNvGrpSpPr>
              <a:grpSpLocks noGrp="1" noUngrp="1" noRot="1" noMove="1" noResize="1"/>
            </p:cNvGrpSpPr>
            <p:nvPr userDrawn="1"/>
          </p:nvGrpSpPr>
          <p:grpSpPr>
            <a:xfrm>
              <a:off x="-376736" y="5569246"/>
              <a:ext cx="283685" cy="283685"/>
              <a:chOff x="-510741" y="5913713"/>
              <a:chExt cx="267555" cy="267555"/>
            </a:xfrm>
          </p:grpSpPr>
          <p:sp>
            <p:nvSpPr>
              <p:cNvPr id="47" name="Ovaal 46">
                <a:extLst>
                  <a:ext uri="{FF2B5EF4-FFF2-40B4-BE49-F238E27FC236}">
                    <a16:creationId xmlns:a16="http://schemas.microsoft.com/office/drawing/2014/main" id="{DA9835B9-C7C6-02A9-82F1-FADDEC3143CE}"/>
                  </a:ext>
                </a:extLst>
              </p:cNvPr>
              <p:cNvSpPr>
                <a:spLocks noGrp="1" noRot="1" noMove="1" noResize="1" noEditPoints="1" noAdjustHandles="1" noChangeArrowheads="1" noChangeShapeType="1"/>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48" name="Graphic 163" descr="Informatie">
                <a:extLst>
                  <a:ext uri="{FF2B5EF4-FFF2-40B4-BE49-F238E27FC236}">
                    <a16:creationId xmlns:a16="http://schemas.microsoft.com/office/drawing/2014/main" id="{2E0C297F-87B3-2913-09D0-687E936A43E7}"/>
                  </a:ext>
                </a:extLst>
              </p:cNvPr>
              <p:cNvSpPr>
                <a:spLocks noGrp="1" noRot="1" noMove="1" noResize="1" noEditPoints="1" noAdjustHandles="1" noChangeArrowheads="1" noChangeShapeType="1"/>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9" name="Groep 28">
              <a:extLst>
                <a:ext uri="{FF2B5EF4-FFF2-40B4-BE49-F238E27FC236}">
                  <a16:creationId xmlns:a16="http://schemas.microsoft.com/office/drawing/2014/main" id="{5D61042B-E99A-BE00-11E6-10E69131B8A4}"/>
                </a:ext>
              </a:extLst>
            </p:cNvPr>
            <p:cNvGrpSpPr>
              <a:grpSpLocks noGrp="1" noUngrp="1" noRot="1" noMove="1" noResize="1"/>
            </p:cNvGrpSpPr>
            <p:nvPr userDrawn="1"/>
          </p:nvGrpSpPr>
          <p:grpSpPr>
            <a:xfrm>
              <a:off x="-938434" y="5877672"/>
              <a:ext cx="627798" cy="576693"/>
              <a:chOff x="-938434" y="4570310"/>
              <a:chExt cx="627798" cy="576693"/>
            </a:xfrm>
          </p:grpSpPr>
          <p:grpSp>
            <p:nvGrpSpPr>
              <p:cNvPr id="34" name="Inspireren">
                <a:extLst>
                  <a:ext uri="{FF2B5EF4-FFF2-40B4-BE49-F238E27FC236}">
                    <a16:creationId xmlns:a16="http://schemas.microsoft.com/office/drawing/2014/main" id="{EC574CDD-75E9-74C7-A608-98003A932C89}"/>
                  </a:ext>
                </a:extLst>
              </p:cNvPr>
              <p:cNvGrpSpPr>
                <a:grpSpLocks noGrp="1" noUngrp="1" noRot="1" noChangeAspect="1" noMove="1" noResize="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4" name="Freeform 12">
                  <a:extLst>
                    <a:ext uri="{FF2B5EF4-FFF2-40B4-BE49-F238E27FC236}">
                      <a16:creationId xmlns:a16="http://schemas.microsoft.com/office/drawing/2014/main" id="{1112DBD4-A138-3BD7-D6A2-14AA67ED20CE}"/>
                    </a:ext>
                  </a:extLst>
                </p:cNvPr>
                <p:cNvSpPr>
                  <a:spLocks noGrp="1" noRot="1" noMove="1" noResize="1" noEditPoints="1" noAdjustHandles="1" noChangeArrowheads="1" noChangeShapeType="1"/>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5" name="Freeform 13">
                  <a:extLst>
                    <a:ext uri="{FF2B5EF4-FFF2-40B4-BE49-F238E27FC236}">
                      <a16:creationId xmlns:a16="http://schemas.microsoft.com/office/drawing/2014/main" id="{15A37159-376D-BCEE-ECFB-AE9655423724}"/>
                    </a:ext>
                  </a:extLst>
                </p:cNvPr>
                <p:cNvSpPr>
                  <a:spLocks noGrp="1" noRot="1" noMove="1" noResize="1" noEditPoints="1" noAdjustHandles="1" noChangeArrowheads="1" noChangeShapeType="1"/>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6" name="Freeform 14">
                  <a:extLst>
                    <a:ext uri="{FF2B5EF4-FFF2-40B4-BE49-F238E27FC236}">
                      <a16:creationId xmlns:a16="http://schemas.microsoft.com/office/drawing/2014/main" id="{61F2693F-87A8-9848-2C1A-63AD13FDF40E}"/>
                    </a:ext>
                  </a:extLst>
                </p:cNvPr>
                <p:cNvSpPr>
                  <a:spLocks noGrp="1" noRot="1" noMove="1" noResize="1" noEditPoints="1" noAdjustHandles="1" noChangeArrowheads="1" noChangeShapeType="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9" name="Tekstvak 38">
                <a:extLst>
                  <a:ext uri="{FF2B5EF4-FFF2-40B4-BE49-F238E27FC236}">
                    <a16:creationId xmlns:a16="http://schemas.microsoft.com/office/drawing/2014/main" id="{C9D33603-F909-F5BB-9674-844515620059}"/>
                  </a:ext>
                </a:extLst>
              </p:cNvPr>
              <p:cNvSpPr txBox="1">
                <a:spLocks noGrp="1" noRot="1" noMove="1" noResize="1" noEditPoints="1" noAdjustHandles="1" noChangeArrowheads="1" noChangeShapeType="1"/>
              </p:cNvSpPr>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168657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a:extLst>
              <a:ext uri="{FF2B5EF4-FFF2-40B4-BE49-F238E27FC236}">
                <a16:creationId xmlns:a16="http://schemas.microsoft.com/office/drawing/2014/main" id="{6C264731-2C01-D10F-59AC-7921791F339C}"/>
              </a:ext>
            </a:extLst>
          </p:cNvPr>
          <p:cNvPicPr>
            <a:picLocks noGrp="1" noChangeAspect="1"/>
          </p:cNvPicPr>
          <p:nvPr>
            <p:ph type="pic" sz="quarter" idx="24"/>
          </p:nvPr>
        </p:nvPicPr>
        <p:blipFill rotWithShape="1">
          <a:blip r:embed="rId2" cstate="screen">
            <a:extLst>
              <a:ext uri="{28A0092B-C50C-407E-A947-70E740481C1C}">
                <a14:useLocalDpi xmlns:a14="http://schemas.microsoft.com/office/drawing/2010/main"/>
              </a:ext>
            </a:extLst>
          </a:blip>
          <a:srcRect l="5292" t="15320" r="79039" b="15320"/>
          <a:stretch/>
        </p:blipFill>
        <p:spPr>
          <a:xfrm>
            <a:off x="719138" y="3873500"/>
            <a:ext cx="2552700" cy="2130425"/>
          </a:xfrm>
          <a:prstGeom prst="rect">
            <a:avLst/>
          </a:prstGeom>
        </p:spPr>
      </p:pic>
      <p:pic>
        <p:nvPicPr>
          <p:cNvPr id="10" name="Picture 4">
            <a:extLst>
              <a:ext uri="{FF2B5EF4-FFF2-40B4-BE49-F238E27FC236}">
                <a16:creationId xmlns:a16="http://schemas.microsoft.com/office/drawing/2014/main" id="{9986264B-C966-5601-D755-3275D7A1721C}"/>
              </a:ext>
            </a:extLst>
          </p:cNvPr>
          <p:cNvPicPr>
            <a:picLocks noGrp="1" noChangeAspect="1"/>
          </p:cNvPicPr>
          <p:nvPr>
            <p:ph type="pic" sz="quarter" idx="25"/>
          </p:nvPr>
        </p:nvPicPr>
        <p:blipFill rotWithShape="1">
          <a:blip r:embed="rId2" cstate="screen">
            <a:extLst>
              <a:ext uri="{28A0092B-C50C-407E-A947-70E740481C1C}">
                <a14:useLocalDpi xmlns:a14="http://schemas.microsoft.com/office/drawing/2010/main"/>
              </a:ext>
            </a:extLst>
          </a:blip>
          <a:srcRect l="30314" t="15835" r="54250" b="15835"/>
          <a:stretch/>
        </p:blipFill>
        <p:spPr>
          <a:xfrm>
            <a:off x="3452813" y="3873500"/>
            <a:ext cx="2552700" cy="2130425"/>
          </a:xfrm>
          <a:prstGeom prst="rect">
            <a:avLst/>
          </a:prstGeom>
        </p:spPr>
      </p:pic>
      <p:pic>
        <p:nvPicPr>
          <p:cNvPr id="11" name="Picture 4">
            <a:extLst>
              <a:ext uri="{FF2B5EF4-FFF2-40B4-BE49-F238E27FC236}">
                <a16:creationId xmlns:a16="http://schemas.microsoft.com/office/drawing/2014/main" id="{420A669E-9180-16FF-9794-6F52B328F62D}"/>
              </a:ext>
            </a:extLst>
          </p:cNvPr>
          <p:cNvPicPr>
            <a:picLocks noGrp="1" noChangeAspect="1"/>
          </p:cNvPicPr>
          <p:nvPr>
            <p:ph type="pic" sz="quarter" idx="26"/>
          </p:nvPr>
        </p:nvPicPr>
        <p:blipFill rotWithShape="1">
          <a:blip r:embed="rId2" cstate="screen">
            <a:extLst>
              <a:ext uri="{28A0092B-C50C-407E-A947-70E740481C1C}">
                <a14:useLocalDpi xmlns:a14="http://schemas.microsoft.com/office/drawing/2010/main"/>
              </a:ext>
            </a:extLst>
          </a:blip>
          <a:srcRect l="54358" t="16086" r="30320" b="16086"/>
          <a:stretch/>
        </p:blipFill>
        <p:spPr>
          <a:xfrm>
            <a:off x="6184900" y="3873500"/>
            <a:ext cx="2552700" cy="2130425"/>
          </a:xfrm>
          <a:prstGeom prst="rect">
            <a:avLst/>
          </a:prstGeom>
        </p:spPr>
      </p:pic>
      <p:pic>
        <p:nvPicPr>
          <p:cNvPr id="12" name="Picture 4">
            <a:extLst>
              <a:ext uri="{FF2B5EF4-FFF2-40B4-BE49-F238E27FC236}">
                <a16:creationId xmlns:a16="http://schemas.microsoft.com/office/drawing/2014/main" id="{338F335C-0E82-9168-C35B-9E62A79A608D}"/>
              </a:ext>
            </a:extLst>
          </p:cNvPr>
          <p:cNvPicPr>
            <a:picLocks noGrp="1" noChangeAspect="1"/>
          </p:cNvPicPr>
          <p:nvPr>
            <p:ph type="pic" sz="quarter" idx="27"/>
          </p:nvPr>
        </p:nvPicPr>
        <p:blipFill rotWithShape="1">
          <a:blip r:embed="rId2" cstate="screen">
            <a:extLst>
              <a:ext uri="{28A0092B-C50C-407E-A947-70E740481C1C}">
                <a14:useLocalDpi xmlns:a14="http://schemas.microsoft.com/office/drawing/2010/main"/>
              </a:ext>
            </a:extLst>
          </a:blip>
          <a:srcRect l="79238" t="14147" r="5398" b="17843"/>
          <a:stretch/>
        </p:blipFill>
        <p:spPr>
          <a:xfrm>
            <a:off x="8918575" y="3873500"/>
            <a:ext cx="2552700" cy="2130425"/>
          </a:xfrm>
          <a:prstGeom prst="rect">
            <a:avLst/>
          </a:prstGeom>
        </p:spPr>
      </p:pic>
      <p:pic>
        <p:nvPicPr>
          <p:cNvPr id="3" name="Picture 4">
            <a:extLst>
              <a:ext uri="{FF2B5EF4-FFF2-40B4-BE49-F238E27FC236}">
                <a16:creationId xmlns:a16="http://schemas.microsoft.com/office/drawing/2014/main" id="{6847754A-E7C0-BF22-B76C-B8F3249BE3AC}"/>
              </a:ext>
            </a:extLst>
          </p:cNvPr>
          <p:cNvPicPr>
            <a:picLocks noGrp="1" noChangeAspect="1"/>
          </p:cNvPicPr>
          <p:nvPr>
            <p:ph type="pic" sz="quarter" idx="21"/>
          </p:nvPr>
        </p:nvPicPr>
        <p:blipFill rotWithShape="1">
          <a:blip r:embed="rId3" cstate="screen">
            <a:extLst>
              <a:ext uri="{28A0092B-C50C-407E-A947-70E740481C1C}">
                <a14:useLocalDpi xmlns:a14="http://schemas.microsoft.com/office/drawing/2010/main"/>
              </a:ext>
            </a:extLst>
          </a:blip>
          <a:srcRect l="31010" t="15222" r="53278" b="15222"/>
          <a:stretch/>
        </p:blipFill>
        <p:spPr>
          <a:xfrm>
            <a:off x="3452813" y="1565275"/>
            <a:ext cx="2552700" cy="2130425"/>
          </a:xfrm>
          <a:prstGeom prst="rect">
            <a:avLst/>
          </a:prstGeom>
        </p:spPr>
      </p:pic>
      <p:pic>
        <p:nvPicPr>
          <p:cNvPr id="7" name="Picture 4">
            <a:extLst>
              <a:ext uri="{FF2B5EF4-FFF2-40B4-BE49-F238E27FC236}">
                <a16:creationId xmlns:a16="http://schemas.microsoft.com/office/drawing/2014/main" id="{BA16831F-651F-7B8B-64F9-82A7FECCC5A4}"/>
              </a:ext>
            </a:extLst>
          </p:cNvPr>
          <p:cNvPicPr>
            <a:picLocks noGrp="1" noChangeAspect="1"/>
          </p:cNvPicPr>
          <p:nvPr>
            <p:ph type="pic" sz="quarter" idx="22"/>
          </p:nvPr>
        </p:nvPicPr>
        <p:blipFill rotWithShape="1">
          <a:blip r:embed="rId3" cstate="screen">
            <a:extLst>
              <a:ext uri="{28A0092B-C50C-407E-A947-70E740481C1C}">
                <a14:useLocalDpi xmlns:a14="http://schemas.microsoft.com/office/drawing/2010/main"/>
              </a:ext>
            </a:extLst>
          </a:blip>
          <a:srcRect l="54016" t="16159" r="30695" b="16159"/>
          <a:stretch/>
        </p:blipFill>
        <p:spPr>
          <a:xfrm>
            <a:off x="6184900" y="1565275"/>
            <a:ext cx="2552700" cy="2130425"/>
          </a:xfrm>
          <a:prstGeom prst="rect">
            <a:avLst/>
          </a:prstGeom>
        </p:spPr>
      </p:pic>
      <p:pic>
        <p:nvPicPr>
          <p:cNvPr id="8" name="Picture 4">
            <a:extLst>
              <a:ext uri="{FF2B5EF4-FFF2-40B4-BE49-F238E27FC236}">
                <a16:creationId xmlns:a16="http://schemas.microsoft.com/office/drawing/2014/main" id="{82403149-3E3B-0651-F4AA-712069FAFF69}"/>
              </a:ext>
            </a:extLst>
          </p:cNvPr>
          <p:cNvPicPr>
            <a:picLocks noGrp="1" noChangeAspect="1"/>
          </p:cNvPicPr>
          <p:nvPr>
            <p:ph type="pic" sz="quarter" idx="23"/>
          </p:nvPr>
        </p:nvPicPr>
        <p:blipFill rotWithShape="1">
          <a:blip r:embed="rId3" cstate="screen">
            <a:extLst>
              <a:ext uri="{28A0092B-C50C-407E-A947-70E740481C1C}">
                <a14:useLocalDpi xmlns:a14="http://schemas.microsoft.com/office/drawing/2010/main"/>
              </a:ext>
            </a:extLst>
          </a:blip>
          <a:srcRect l="79027" t="17217" r="6161" b="17217"/>
          <a:stretch/>
        </p:blipFill>
        <p:spPr>
          <a:xfrm>
            <a:off x="8918575" y="1565275"/>
            <a:ext cx="2552700" cy="2130425"/>
          </a:xfrm>
          <a:prstGeom prst="rect">
            <a:avLst/>
          </a:prstGeom>
        </p:spPr>
      </p:pic>
      <p:pic>
        <p:nvPicPr>
          <p:cNvPr id="41" name="Picture 4">
            <a:extLst>
              <a:ext uri="{FF2B5EF4-FFF2-40B4-BE49-F238E27FC236}">
                <a16:creationId xmlns:a16="http://schemas.microsoft.com/office/drawing/2014/main" id="{50ADAF08-D216-1E6E-F930-532EDB371AE6}"/>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l="4440" t="15434" r="79943" b="15434"/>
          <a:stretch/>
        </p:blipFill>
        <p:spPr>
          <a:xfrm>
            <a:off x="719138" y="1565275"/>
            <a:ext cx="2552700" cy="2130425"/>
          </a:xfrm>
          <a:prstGeom prst="rect">
            <a:avLst/>
          </a:prstGeom>
        </p:spPr>
      </p:pic>
      <p:sp>
        <p:nvSpPr>
          <p:cNvPr id="2" name="Titel 1">
            <a:extLst>
              <a:ext uri="{FF2B5EF4-FFF2-40B4-BE49-F238E27FC236}">
                <a16:creationId xmlns:a16="http://schemas.microsoft.com/office/drawing/2014/main" id="{DCEA294D-49A7-F2C0-F24B-1C3103E24935}"/>
              </a:ext>
            </a:extLst>
          </p:cNvPr>
          <p:cNvSpPr>
            <a:spLocks noGrp="1"/>
          </p:cNvSpPr>
          <p:nvPr>
            <p:ph type="title"/>
          </p:nvPr>
        </p:nvSpPr>
        <p:spPr/>
        <p:txBody>
          <a:bodyPr/>
          <a:lstStyle/>
          <a:p>
            <a:r>
              <a:rPr lang="nl-NL" dirty="0"/>
              <a:t>8 </a:t>
            </a:r>
            <a:r>
              <a:rPr lang="nl-NL" dirty="0" err="1"/>
              <a:t>faculties</a:t>
            </a:r>
            <a:r>
              <a:rPr lang="nl-NL" dirty="0"/>
              <a:t>: </a:t>
            </a:r>
            <a:r>
              <a:rPr lang="nl-NL" sz="2400" b="0" dirty="0"/>
              <a:t>16 </a:t>
            </a:r>
            <a:r>
              <a:rPr lang="nl-NL" sz="2400" b="0" dirty="0" err="1"/>
              <a:t>Bsc</a:t>
            </a:r>
            <a:r>
              <a:rPr lang="nl-NL" sz="2400" b="0" dirty="0"/>
              <a:t>, 38 MSc </a:t>
            </a:r>
            <a:r>
              <a:rPr lang="nl-NL" sz="2400" b="0" dirty="0" err="1"/>
              <a:t>and</a:t>
            </a:r>
            <a:r>
              <a:rPr lang="nl-NL" sz="2400" b="0" dirty="0"/>
              <a:t> 11 post-</a:t>
            </a:r>
            <a:r>
              <a:rPr lang="nl-NL" sz="2400" b="0" dirty="0" err="1"/>
              <a:t>graduate</a:t>
            </a:r>
            <a:r>
              <a:rPr lang="nl-NL" sz="2400" b="0" dirty="0"/>
              <a:t> programs</a:t>
            </a:r>
            <a:endParaRPr lang="nl-NL" b="0" dirty="0"/>
          </a:p>
        </p:txBody>
      </p:sp>
      <p:sp>
        <p:nvSpPr>
          <p:cNvPr id="21" name="Tekstvak 20">
            <a:extLst>
              <a:ext uri="{FF2B5EF4-FFF2-40B4-BE49-F238E27FC236}">
                <a16:creationId xmlns:a16="http://schemas.microsoft.com/office/drawing/2014/main" id="{1D912F17-83E5-44D8-3BC9-E893EEB37E54}"/>
              </a:ext>
            </a:extLst>
          </p:cNvPr>
          <p:cNvSpPr txBox="1"/>
          <p:nvPr/>
        </p:nvSpPr>
        <p:spPr>
          <a:xfrm>
            <a:off x="718665" y="3055185"/>
            <a:ext cx="2552701" cy="640515"/>
          </a:xfrm>
          <a:prstGeom prst="rect">
            <a:avLst/>
          </a:prstGeom>
          <a:solidFill>
            <a:schemeClr val="accent1"/>
          </a:solidFill>
        </p:spPr>
        <p:txBody>
          <a:bodyPr wrap="square" lIns="36000" tIns="180000" rIns="36000" bIns="180000" rtlCol="0" anchor="ctr">
            <a:noAutofit/>
          </a:bodyPr>
          <a:lstStyle/>
          <a:p>
            <a:pPr algn="ctr">
              <a:lnSpc>
                <a:spcPct val="90000"/>
              </a:lnSpc>
              <a:spcBef>
                <a:spcPts val="200"/>
              </a:spcBef>
              <a:spcAft>
                <a:spcPts val="200"/>
              </a:spcAft>
            </a:pPr>
            <a:r>
              <a:rPr lang="nl-NL" sz="1200" b="1" dirty="0">
                <a:solidFill>
                  <a:schemeClr val="bg1"/>
                </a:solidFill>
              </a:rPr>
              <a:t>CEG</a:t>
            </a:r>
          </a:p>
          <a:p>
            <a:pPr algn="ctr">
              <a:lnSpc>
                <a:spcPct val="90000"/>
              </a:lnSpc>
              <a:spcBef>
                <a:spcPts val="200"/>
              </a:spcBef>
              <a:spcAft>
                <a:spcPts val="200"/>
              </a:spcAft>
            </a:pPr>
            <a:r>
              <a:rPr lang="nl-NL" sz="1000" b="1" i="1" dirty="0" err="1">
                <a:solidFill>
                  <a:schemeClr val="bg1"/>
                </a:solidFill>
              </a:rPr>
              <a:t>Civil</a:t>
            </a:r>
            <a:r>
              <a:rPr lang="nl-NL" sz="1000" b="1" i="1" dirty="0">
                <a:solidFill>
                  <a:schemeClr val="bg1"/>
                </a:solidFill>
              </a:rPr>
              <a:t> Engineering </a:t>
            </a:r>
            <a:r>
              <a:rPr lang="nl-NL" sz="1000" b="1" i="1" dirty="0" err="1">
                <a:solidFill>
                  <a:schemeClr val="bg1"/>
                </a:solidFill>
              </a:rPr>
              <a:t>and</a:t>
            </a:r>
            <a:r>
              <a:rPr lang="nl-NL" sz="1000" b="1" i="1" dirty="0">
                <a:solidFill>
                  <a:schemeClr val="bg1"/>
                </a:solidFill>
              </a:rPr>
              <a:t> </a:t>
            </a:r>
            <a:r>
              <a:rPr lang="nl-NL" sz="1000" b="1" i="1" dirty="0" err="1">
                <a:solidFill>
                  <a:schemeClr val="bg1"/>
                </a:solidFill>
              </a:rPr>
              <a:t>Geosciences</a:t>
            </a:r>
            <a:endParaRPr lang="nl-NL" sz="1000" b="1" i="1" dirty="0">
              <a:solidFill>
                <a:schemeClr val="bg1"/>
              </a:solidFill>
            </a:endParaRPr>
          </a:p>
        </p:txBody>
      </p:sp>
      <p:sp>
        <p:nvSpPr>
          <p:cNvPr id="22" name="Tekstvak 21">
            <a:extLst>
              <a:ext uri="{FF2B5EF4-FFF2-40B4-BE49-F238E27FC236}">
                <a16:creationId xmlns:a16="http://schemas.microsoft.com/office/drawing/2014/main" id="{3EADDC0E-3CB4-1C37-828B-9FEA2BE6D7C7}"/>
              </a:ext>
            </a:extLst>
          </p:cNvPr>
          <p:cNvSpPr txBox="1"/>
          <p:nvPr/>
        </p:nvSpPr>
        <p:spPr>
          <a:xfrm>
            <a:off x="3452812" y="3055185"/>
            <a:ext cx="2552701" cy="640515"/>
          </a:xfrm>
          <a:prstGeom prst="rect">
            <a:avLst/>
          </a:prstGeom>
          <a:solidFill>
            <a:schemeClr val="accent3"/>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AS</a:t>
            </a:r>
          </a:p>
          <a:p>
            <a:r>
              <a:rPr lang="en-US" sz="1000" i="1" dirty="0"/>
              <a:t>Applied Sciences</a:t>
            </a:r>
          </a:p>
        </p:txBody>
      </p:sp>
      <p:sp>
        <p:nvSpPr>
          <p:cNvPr id="23" name="Tekstvak 22">
            <a:extLst>
              <a:ext uri="{FF2B5EF4-FFF2-40B4-BE49-F238E27FC236}">
                <a16:creationId xmlns:a16="http://schemas.microsoft.com/office/drawing/2014/main" id="{87C66D90-3A3C-982D-F084-F86164661778}"/>
              </a:ext>
            </a:extLst>
          </p:cNvPr>
          <p:cNvSpPr txBox="1"/>
          <p:nvPr/>
        </p:nvSpPr>
        <p:spPr>
          <a:xfrm>
            <a:off x="6184899" y="3055185"/>
            <a:ext cx="2552701" cy="640515"/>
          </a:xfrm>
          <a:prstGeom prst="rect">
            <a:avLst/>
          </a:prstGeom>
          <a:solidFill>
            <a:schemeClr val="accent4"/>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IDE</a:t>
            </a:r>
          </a:p>
          <a:p>
            <a:r>
              <a:rPr lang="en-US" sz="1000" i="1" dirty="0"/>
              <a:t>Industrial Design Engineering</a:t>
            </a:r>
          </a:p>
        </p:txBody>
      </p:sp>
      <p:sp>
        <p:nvSpPr>
          <p:cNvPr id="24" name="Tekstvak 23">
            <a:extLst>
              <a:ext uri="{FF2B5EF4-FFF2-40B4-BE49-F238E27FC236}">
                <a16:creationId xmlns:a16="http://schemas.microsoft.com/office/drawing/2014/main" id="{2524578C-70DA-FADF-F7A0-2244C091E576}"/>
              </a:ext>
            </a:extLst>
          </p:cNvPr>
          <p:cNvSpPr txBox="1"/>
          <p:nvPr/>
        </p:nvSpPr>
        <p:spPr>
          <a:xfrm>
            <a:off x="8919046" y="3055185"/>
            <a:ext cx="2552701" cy="640515"/>
          </a:xfrm>
          <a:prstGeom prst="rect">
            <a:avLst/>
          </a:prstGeom>
          <a:solidFill>
            <a:schemeClr val="accent5"/>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dirty="0"/>
              <a:t>ME</a:t>
            </a:r>
          </a:p>
          <a:p>
            <a:r>
              <a:rPr lang="nl-NL" sz="1000" i="1" dirty="0" err="1"/>
              <a:t>Mechanical</a:t>
            </a:r>
            <a:r>
              <a:rPr lang="nl-NL" sz="1000" i="1" dirty="0"/>
              <a:t> Engineering</a:t>
            </a:r>
            <a:endParaRPr lang="nl-NL" sz="1000" b="0" i="1" dirty="0"/>
          </a:p>
        </p:txBody>
      </p:sp>
      <p:sp>
        <p:nvSpPr>
          <p:cNvPr id="25" name="Tekstvak 24">
            <a:extLst>
              <a:ext uri="{FF2B5EF4-FFF2-40B4-BE49-F238E27FC236}">
                <a16:creationId xmlns:a16="http://schemas.microsoft.com/office/drawing/2014/main" id="{843B81D0-D2B7-C924-2F2F-A0359D89D753}"/>
              </a:ext>
            </a:extLst>
          </p:cNvPr>
          <p:cNvSpPr txBox="1"/>
          <p:nvPr/>
        </p:nvSpPr>
        <p:spPr>
          <a:xfrm>
            <a:off x="718665" y="5363410"/>
            <a:ext cx="2552701" cy="640515"/>
          </a:xfrm>
          <a:prstGeom prst="rect">
            <a:avLst/>
          </a:prstGeom>
          <a:solidFill>
            <a:schemeClr val="accent4"/>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BK</a:t>
            </a:r>
          </a:p>
          <a:p>
            <a:r>
              <a:rPr lang="en-US" sz="1000" i="1" dirty="0"/>
              <a:t>Architecture and the Built </a:t>
            </a:r>
            <a:r>
              <a:rPr lang="en-US" sz="1000" i="1" dirty="0" err="1"/>
              <a:t>Enviroment</a:t>
            </a:r>
            <a:endParaRPr lang="en-US" sz="1000" i="1" dirty="0"/>
          </a:p>
        </p:txBody>
      </p:sp>
      <p:sp>
        <p:nvSpPr>
          <p:cNvPr id="26" name="Tekstvak 25">
            <a:extLst>
              <a:ext uri="{FF2B5EF4-FFF2-40B4-BE49-F238E27FC236}">
                <a16:creationId xmlns:a16="http://schemas.microsoft.com/office/drawing/2014/main" id="{D263B18F-6A8F-2482-88A1-BE6D6A0CD3ED}"/>
              </a:ext>
            </a:extLst>
          </p:cNvPr>
          <p:cNvSpPr txBox="1"/>
          <p:nvPr/>
        </p:nvSpPr>
        <p:spPr>
          <a:xfrm>
            <a:off x="3452812" y="5363410"/>
            <a:ext cx="2552701" cy="640515"/>
          </a:xfrm>
          <a:prstGeom prst="rect">
            <a:avLst/>
          </a:prstGeom>
          <a:solidFill>
            <a:schemeClr val="accent5"/>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AE </a:t>
            </a:r>
          </a:p>
          <a:p>
            <a:r>
              <a:rPr lang="en-US" sz="1000" i="1" dirty="0"/>
              <a:t>Aerospace Engineering</a:t>
            </a:r>
          </a:p>
        </p:txBody>
      </p:sp>
      <p:sp>
        <p:nvSpPr>
          <p:cNvPr id="27" name="Tekstvak 26">
            <a:extLst>
              <a:ext uri="{FF2B5EF4-FFF2-40B4-BE49-F238E27FC236}">
                <a16:creationId xmlns:a16="http://schemas.microsoft.com/office/drawing/2014/main" id="{F52E9C52-DBEC-6329-6EF8-1B18D391AC08}"/>
              </a:ext>
            </a:extLst>
          </p:cNvPr>
          <p:cNvSpPr txBox="1"/>
          <p:nvPr/>
        </p:nvSpPr>
        <p:spPr>
          <a:xfrm>
            <a:off x="6184899" y="5363410"/>
            <a:ext cx="2552701" cy="640515"/>
          </a:xfrm>
          <a:prstGeom prst="rect">
            <a:avLst/>
          </a:prstGeom>
          <a:solidFill>
            <a:schemeClr val="accent1"/>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dirty="0"/>
              <a:t>EEMCS </a:t>
            </a:r>
          </a:p>
          <a:p>
            <a:r>
              <a:rPr lang="nl-NL" sz="1000" i="1" dirty="0" err="1"/>
              <a:t>Electrical</a:t>
            </a:r>
            <a:r>
              <a:rPr lang="nl-NL" sz="1000" i="1" dirty="0"/>
              <a:t> Engineering </a:t>
            </a:r>
            <a:r>
              <a:rPr lang="nl-NL" sz="1000" i="1" dirty="0" err="1"/>
              <a:t>Mathematics</a:t>
            </a:r>
            <a:r>
              <a:rPr lang="nl-NL" sz="1000" i="1" dirty="0"/>
              <a:t> </a:t>
            </a:r>
            <a:br>
              <a:rPr lang="nl-NL" sz="1000" i="1" dirty="0"/>
            </a:br>
            <a:r>
              <a:rPr lang="nl-NL" sz="1000" i="1" dirty="0"/>
              <a:t>&amp; Computer </a:t>
            </a:r>
            <a:r>
              <a:rPr lang="nl-NL" sz="1000" i="1" dirty="0" err="1"/>
              <a:t>Science</a:t>
            </a:r>
            <a:r>
              <a:rPr lang="nl-NL" sz="1000" i="1" dirty="0"/>
              <a:t> </a:t>
            </a:r>
          </a:p>
        </p:txBody>
      </p:sp>
      <p:sp>
        <p:nvSpPr>
          <p:cNvPr id="28" name="Tekstvak 27">
            <a:extLst>
              <a:ext uri="{FF2B5EF4-FFF2-40B4-BE49-F238E27FC236}">
                <a16:creationId xmlns:a16="http://schemas.microsoft.com/office/drawing/2014/main" id="{F3B2433A-B35A-7006-A256-E516F3710C09}"/>
              </a:ext>
            </a:extLst>
          </p:cNvPr>
          <p:cNvSpPr txBox="1"/>
          <p:nvPr/>
        </p:nvSpPr>
        <p:spPr>
          <a:xfrm>
            <a:off x="8919046" y="5363410"/>
            <a:ext cx="2552701" cy="640515"/>
          </a:xfrm>
          <a:prstGeom prst="rect">
            <a:avLst/>
          </a:prstGeom>
          <a:solidFill>
            <a:schemeClr val="accent3"/>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dirty="0"/>
              <a:t>TPM </a:t>
            </a:r>
          </a:p>
          <a:p>
            <a:r>
              <a:rPr lang="nl-NL" sz="1000" i="1" dirty="0"/>
              <a:t>Technology, Policy </a:t>
            </a:r>
            <a:r>
              <a:rPr lang="nl-NL" sz="1000" i="1" dirty="0" err="1"/>
              <a:t>and</a:t>
            </a:r>
            <a:r>
              <a:rPr lang="nl-NL" sz="1000" i="1" dirty="0"/>
              <a:t> Management</a:t>
            </a:r>
          </a:p>
        </p:txBody>
      </p:sp>
      <p:sp>
        <p:nvSpPr>
          <p:cNvPr id="13" name="Tijdelijke aanduiding voor dianummer 12">
            <a:extLst>
              <a:ext uri="{FF2B5EF4-FFF2-40B4-BE49-F238E27FC236}">
                <a16:creationId xmlns:a16="http://schemas.microsoft.com/office/drawing/2014/main" id="{57A0F98D-592A-ED73-728F-F7031414112C}"/>
              </a:ext>
            </a:extLst>
          </p:cNvPr>
          <p:cNvSpPr>
            <a:spLocks noGrp="1"/>
          </p:cNvSpPr>
          <p:nvPr>
            <p:ph type="sldNum" sz="quarter" idx="20"/>
          </p:nvPr>
        </p:nvSpPr>
        <p:spPr/>
        <p:txBody>
          <a:bodyPr/>
          <a:lstStyle/>
          <a:p>
            <a:fld id="{9E843DB9-9987-4157-AB9C-CEA8D7D910BB}" type="slidenum">
              <a:rPr lang="en-GB" smtClean="0"/>
              <a:pPr/>
              <a:t>20</a:t>
            </a:fld>
            <a:endParaRPr lang="en-GB" dirty="0"/>
          </a:p>
        </p:txBody>
      </p:sp>
      <p:grpSp>
        <p:nvGrpSpPr>
          <p:cNvPr id="14" name="HYPER HOME">
            <a:extLst>
              <a:ext uri="{FF2B5EF4-FFF2-40B4-BE49-F238E27FC236}">
                <a16:creationId xmlns:a16="http://schemas.microsoft.com/office/drawing/2014/main" id="{ADC8F28C-E710-6CE8-F7A4-6C4D36B0D419}"/>
              </a:ext>
            </a:extLst>
          </p:cNvPr>
          <p:cNvGrpSpPr/>
          <p:nvPr/>
        </p:nvGrpSpPr>
        <p:grpSpPr>
          <a:xfrm>
            <a:off x="11460480" y="0"/>
            <a:ext cx="731520" cy="731520"/>
            <a:chOff x="11460480" y="0"/>
            <a:chExt cx="731520" cy="731520"/>
          </a:xfrm>
        </p:grpSpPr>
        <p:pic>
          <p:nvPicPr>
            <p:cNvPr id="15" name="Graphic 14">
              <a:extLst>
                <a:ext uri="{FF2B5EF4-FFF2-40B4-BE49-F238E27FC236}">
                  <a16:creationId xmlns:a16="http://schemas.microsoft.com/office/drawing/2014/main" id="{4482C198-4E28-33B4-7EA9-FA34464E4E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29" name="Rechthoek 28">
              <a:hlinkClick r:id="rId6" action="ppaction://hlinksldjump"/>
              <a:extLst>
                <a:ext uri="{FF2B5EF4-FFF2-40B4-BE49-F238E27FC236}">
                  <a16:creationId xmlns:a16="http://schemas.microsoft.com/office/drawing/2014/main" id="{6866D901-04AE-0C1C-EA66-7A16F19112C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42460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6" presetClass="emph" presetSubtype="0" autoRev="1" fill="hold" nodeType="withEffect">
                                  <p:stCondLst>
                                    <p:cond delay="0"/>
                                  </p:stCondLst>
                                  <p:childTnLst>
                                    <p:animScale>
                                      <p:cBhvr>
                                        <p:cTn id="9" dur="400" fill="hold"/>
                                        <p:tgtEl>
                                          <p:spTgt spid="41"/>
                                        </p:tgtEl>
                                      </p:cBhvr>
                                      <p:by x="103000" y="103000"/>
                                    </p:animScale>
                                  </p:childTnLst>
                                </p:cTn>
                              </p:par>
                              <p:par>
                                <p:cTn id="10" presetID="10" presetClass="entr" presetSubtype="0" fill="hold" grpId="0" nodeType="withEffect">
                                  <p:stCondLst>
                                    <p:cond delay="5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6" presetClass="emph" presetSubtype="0" autoRev="1" fill="hold" nodeType="withEffect">
                                  <p:stCondLst>
                                    <p:cond delay="250"/>
                                  </p:stCondLst>
                                  <p:childTnLst>
                                    <p:animScale>
                                      <p:cBhvr>
                                        <p:cTn id="17" dur="400" fill="hold"/>
                                        <p:tgtEl>
                                          <p:spTgt spid="3"/>
                                        </p:tgtEl>
                                      </p:cBhvr>
                                      <p:by x="103000" y="103000"/>
                                    </p:animScale>
                                  </p:childTnLst>
                                </p:cTn>
                              </p:par>
                              <p:par>
                                <p:cTn id="18" presetID="10" presetClass="entr" presetSubtype="0" fill="hold" nodeType="withEffect">
                                  <p:stCondLst>
                                    <p:cond delay="50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6" presetClass="emph" presetSubtype="0" autoRev="1" fill="hold" nodeType="withEffect">
                                  <p:stCondLst>
                                    <p:cond delay="500"/>
                                  </p:stCondLst>
                                  <p:childTnLst>
                                    <p:animScale>
                                      <p:cBhvr>
                                        <p:cTn id="22" dur="400" fill="hold"/>
                                        <p:tgtEl>
                                          <p:spTgt spid="7"/>
                                        </p:tgtEl>
                                      </p:cBhvr>
                                      <p:by x="103000" y="103000"/>
                                    </p:animScale>
                                  </p:childTnLst>
                                </p:cTn>
                              </p:par>
                              <p:par>
                                <p:cTn id="23" presetID="10" presetClass="entr" presetSubtype="0" fill="hold" nodeType="withEffect">
                                  <p:stCondLst>
                                    <p:cond delay="7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6" presetClass="emph" presetSubtype="0" autoRev="1" fill="hold" nodeType="withEffect">
                                  <p:stCondLst>
                                    <p:cond delay="750"/>
                                  </p:stCondLst>
                                  <p:childTnLst>
                                    <p:animScale>
                                      <p:cBhvr>
                                        <p:cTn id="27" dur="400" fill="hold"/>
                                        <p:tgtEl>
                                          <p:spTgt spid="8"/>
                                        </p:tgtEl>
                                      </p:cBhvr>
                                      <p:by x="103000" y="103000"/>
                                    </p:animScale>
                                  </p:childTnLst>
                                </p:cTn>
                              </p:par>
                              <p:par>
                                <p:cTn id="28" presetID="10" presetClass="entr" presetSubtype="0" fill="hold" nodeType="withEffect">
                                  <p:stCondLst>
                                    <p:cond delay="100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6" presetClass="emph" presetSubtype="0" autoRev="1" fill="hold" nodeType="withEffect">
                                  <p:stCondLst>
                                    <p:cond delay="1000"/>
                                  </p:stCondLst>
                                  <p:childTnLst>
                                    <p:animScale>
                                      <p:cBhvr>
                                        <p:cTn id="32" dur="400" fill="hold"/>
                                        <p:tgtEl>
                                          <p:spTgt spid="9"/>
                                        </p:tgtEl>
                                      </p:cBhvr>
                                      <p:by x="103000" y="103000"/>
                                    </p:animScale>
                                  </p:childTnLst>
                                </p:cTn>
                              </p:par>
                              <p:par>
                                <p:cTn id="33" presetID="10" presetClass="entr" presetSubtype="0" fill="hold" nodeType="withEffect">
                                  <p:stCondLst>
                                    <p:cond delay="125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6" presetClass="emph" presetSubtype="0" autoRev="1" fill="hold" nodeType="withEffect">
                                  <p:stCondLst>
                                    <p:cond delay="1250"/>
                                  </p:stCondLst>
                                  <p:childTnLst>
                                    <p:animScale>
                                      <p:cBhvr>
                                        <p:cTn id="37" dur="400" fill="hold"/>
                                        <p:tgtEl>
                                          <p:spTgt spid="10"/>
                                        </p:tgtEl>
                                      </p:cBhvr>
                                      <p:by x="103000" y="103000"/>
                                    </p:animScale>
                                  </p:childTnLst>
                                </p:cTn>
                              </p:par>
                              <p:par>
                                <p:cTn id="38" presetID="10" presetClass="entr" presetSubtype="0" fill="hold" nodeType="withEffect">
                                  <p:stCondLst>
                                    <p:cond delay="1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childTnLst>
                                </p:cTn>
                              </p:par>
                              <p:par>
                                <p:cTn id="41" presetID="6" presetClass="emph" presetSubtype="0" autoRev="1" fill="hold" nodeType="withEffect">
                                  <p:stCondLst>
                                    <p:cond delay="1500"/>
                                  </p:stCondLst>
                                  <p:childTnLst>
                                    <p:animScale>
                                      <p:cBhvr>
                                        <p:cTn id="42" dur="400" fill="hold"/>
                                        <p:tgtEl>
                                          <p:spTgt spid="11"/>
                                        </p:tgtEl>
                                      </p:cBhvr>
                                      <p:by x="103000" y="103000"/>
                                    </p:animScale>
                                  </p:childTnLst>
                                </p:cTn>
                              </p:par>
                              <p:par>
                                <p:cTn id="43" presetID="10" presetClass="entr" presetSubtype="0" fill="hold" nodeType="withEffect">
                                  <p:stCondLst>
                                    <p:cond delay="175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6" presetClass="emph" presetSubtype="0" autoRev="1" fill="hold" nodeType="withEffect">
                                  <p:stCondLst>
                                    <p:cond delay="1750"/>
                                  </p:stCondLst>
                                  <p:childTnLst>
                                    <p:animScale>
                                      <p:cBhvr>
                                        <p:cTn id="47" dur="400" fill="hold"/>
                                        <p:tgtEl>
                                          <p:spTgt spid="12"/>
                                        </p:tgtEl>
                                      </p:cBhvr>
                                      <p:by x="103000" y="103000"/>
                                    </p:animScale>
                                  </p:childTnLst>
                                </p:cTn>
                              </p:par>
                              <p:par>
                                <p:cTn id="48" presetID="10" presetClass="entr" presetSubtype="0" fill="hold" grpId="0" nodeType="withEffect">
                                  <p:stCondLst>
                                    <p:cond delay="75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150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10" presetClass="entr" presetSubtype="0" fill="hold" grpId="0" nodeType="withEffect">
                                  <p:stCondLst>
                                    <p:cond delay="175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grpId="0" nodeType="withEffect">
                                  <p:stCondLst>
                                    <p:cond delay="200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par>
                                <p:cTn id="66" presetID="10" presetClass="entr" presetSubtype="0" fill="hold" grpId="0" nodeType="withEffect">
                                  <p:stCondLst>
                                    <p:cond delay="225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2A3FEFF-5B3C-C9EA-277D-BE6722809908}"/>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21</a:t>
            </a:fld>
            <a:endParaRPr lang="en-GB" dirty="0"/>
          </a:p>
        </p:txBody>
      </p:sp>
      <p:sp>
        <p:nvSpPr>
          <p:cNvPr id="3" name="Titel 2">
            <a:extLst>
              <a:ext uri="{FF2B5EF4-FFF2-40B4-BE49-F238E27FC236}">
                <a16:creationId xmlns:a16="http://schemas.microsoft.com/office/drawing/2014/main" id="{7022A70A-F207-37DD-D7D4-0C67DD168BC9}"/>
              </a:ext>
            </a:extLst>
          </p:cNvPr>
          <p:cNvSpPr>
            <a:spLocks noGrp="1"/>
          </p:cNvSpPr>
          <p:nvPr>
            <p:ph type="title"/>
          </p:nvPr>
        </p:nvSpPr>
        <p:spPr>
          <a:xfrm>
            <a:off x="718666" y="722454"/>
            <a:ext cx="10752610" cy="323409"/>
          </a:xfrm>
        </p:spPr>
        <p:txBody>
          <a:bodyPr/>
          <a:lstStyle/>
          <a:p>
            <a:r>
              <a:rPr lang="nl-NL" dirty="0"/>
              <a:t>Research </a:t>
            </a:r>
            <a:r>
              <a:rPr lang="nl-NL" dirty="0" err="1"/>
              <a:t>facilities</a:t>
            </a:r>
            <a:endParaRPr lang="nl-NL" dirty="0"/>
          </a:p>
        </p:txBody>
      </p:sp>
      <p:pic>
        <p:nvPicPr>
          <p:cNvPr id="25" name="image12.jpeg">
            <a:extLst>
              <a:ext uri="{FF2B5EF4-FFF2-40B4-BE49-F238E27FC236}">
                <a16:creationId xmlns:a16="http://schemas.microsoft.com/office/drawing/2014/main" id="{EE579655-D5FB-58B2-AD67-ADA6FDF38D67}"/>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3911" b="3911"/>
          <a:stretch/>
        </p:blipFill>
        <p:spPr>
          <a:xfrm>
            <a:off x="719138" y="1565275"/>
            <a:ext cx="3465745" cy="2129760"/>
          </a:xfrm>
          <a:ln w="12700" cap="flat">
            <a:noFill/>
            <a:miter lim="400000"/>
          </a:ln>
          <a:effectLst/>
        </p:spPr>
      </p:pic>
      <p:pic>
        <p:nvPicPr>
          <p:cNvPr id="26" name="image14.jpeg">
            <a:extLst>
              <a:ext uri="{FF2B5EF4-FFF2-40B4-BE49-F238E27FC236}">
                <a16:creationId xmlns:a16="http://schemas.microsoft.com/office/drawing/2014/main" id="{3E438EA3-1E5F-5DCE-EB85-14BBFC0E7631}"/>
              </a:ext>
            </a:extLst>
          </p:cNvPr>
          <p:cNvPicPr>
            <a:picLocks noGrp="1" noChangeAspect="1"/>
          </p:cNvPicPr>
          <p:nvPr>
            <p:ph type="pic" sz="quarter" idx="21"/>
          </p:nvPr>
        </p:nvPicPr>
        <p:blipFill rotWithShape="1">
          <a:blip r:embed="rId3">
            <a:extLst>
              <a:ext uri="{28A0092B-C50C-407E-A947-70E740481C1C}">
                <a14:useLocalDpi xmlns:a14="http://schemas.microsoft.com/office/drawing/2010/main" val="0"/>
              </a:ext>
            </a:extLst>
          </a:blip>
          <a:srcRect t="3826" b="3826"/>
          <a:stretch/>
        </p:blipFill>
        <p:spPr>
          <a:xfrm>
            <a:off x="4356294" y="1565275"/>
            <a:ext cx="3465376" cy="2129760"/>
          </a:xfrm>
          <a:ln w="12700" cap="flat">
            <a:noFill/>
            <a:miter lim="400000"/>
          </a:ln>
          <a:effectLst/>
        </p:spPr>
      </p:pic>
      <p:pic>
        <p:nvPicPr>
          <p:cNvPr id="27" name="image13.jpeg">
            <a:extLst>
              <a:ext uri="{FF2B5EF4-FFF2-40B4-BE49-F238E27FC236}">
                <a16:creationId xmlns:a16="http://schemas.microsoft.com/office/drawing/2014/main" id="{80AD4AE4-60A9-39D4-6B78-62D4C28381F5}"/>
              </a:ext>
            </a:extLst>
          </p:cNvPr>
          <p:cNvPicPr>
            <a:picLocks noGrp="1" noChangeAspect="1"/>
          </p:cNvPicPr>
          <p:nvPr>
            <p:ph type="pic" sz="quarter" idx="22"/>
          </p:nvPr>
        </p:nvPicPr>
        <p:blipFill rotWithShape="1">
          <a:blip r:embed="rId4">
            <a:extLst>
              <a:ext uri="{28A0092B-C50C-407E-A947-70E740481C1C}">
                <a14:useLocalDpi xmlns:a14="http://schemas.microsoft.com/office/drawing/2010/main" val="0"/>
              </a:ext>
            </a:extLst>
          </a:blip>
          <a:srcRect t="3934" b="3934"/>
          <a:stretch/>
        </p:blipFill>
        <p:spPr>
          <a:xfrm>
            <a:off x="8018592" y="1565275"/>
            <a:ext cx="3465354" cy="2129760"/>
          </a:xfrm>
          <a:ln w="12700" cap="flat">
            <a:noFill/>
            <a:miter lim="400000"/>
          </a:ln>
          <a:effectLst/>
        </p:spPr>
      </p:pic>
      <p:pic>
        <p:nvPicPr>
          <p:cNvPr id="29" name="Tijdelijke aanduiding voor afbeelding 41">
            <a:extLst>
              <a:ext uri="{FF2B5EF4-FFF2-40B4-BE49-F238E27FC236}">
                <a16:creationId xmlns:a16="http://schemas.microsoft.com/office/drawing/2014/main" id="{462B72C4-BB74-FE8A-E192-478FC1C3E67C}"/>
              </a:ext>
            </a:extLst>
          </p:cNvPr>
          <p:cNvPicPr>
            <a:picLocks noGrp="1" noChangeAspect="1"/>
          </p:cNvPicPr>
          <p:nvPr>
            <p:ph type="pic" sz="quarter" idx="24"/>
          </p:nvPr>
        </p:nvPicPr>
        <p:blipFill rotWithShape="1">
          <a:blip r:embed="rId5">
            <a:extLst>
              <a:ext uri="{28A0092B-C50C-407E-A947-70E740481C1C}">
                <a14:useLocalDpi xmlns:a14="http://schemas.microsoft.com/office/drawing/2010/main" val="0"/>
              </a:ext>
            </a:extLst>
          </a:blip>
          <a:srcRect t="1713" b="1713"/>
          <a:stretch/>
        </p:blipFill>
        <p:spPr>
          <a:xfrm>
            <a:off x="719138" y="3873957"/>
            <a:ext cx="3464903" cy="2129760"/>
          </a:xfrm>
        </p:spPr>
      </p:pic>
      <p:pic>
        <p:nvPicPr>
          <p:cNvPr id="35" name="Tijdelijke aanduiding voor afbeelding 34">
            <a:extLst>
              <a:ext uri="{FF2B5EF4-FFF2-40B4-BE49-F238E27FC236}">
                <a16:creationId xmlns:a16="http://schemas.microsoft.com/office/drawing/2014/main" id="{E226FA2E-FC6B-75FF-8F47-6A5BB519A8FA}"/>
              </a:ext>
            </a:extLst>
          </p:cNvPr>
          <p:cNvPicPr>
            <a:picLocks noGrp="1" noChangeAspect="1"/>
          </p:cNvPicPr>
          <p:nvPr>
            <p:ph type="pic" sz="quarter" idx="25"/>
          </p:nvPr>
        </p:nvPicPr>
        <p:blipFill rotWithShape="1">
          <a:blip r:embed="rId6">
            <a:extLst>
              <a:ext uri="{28A0092B-C50C-407E-A947-70E740481C1C}">
                <a14:useLocalDpi xmlns:a14="http://schemas.microsoft.com/office/drawing/2010/main" val="0"/>
              </a:ext>
            </a:extLst>
          </a:blip>
          <a:srcRect t="4002" b="4002"/>
          <a:stretch/>
        </p:blipFill>
        <p:spPr>
          <a:xfrm>
            <a:off x="4356294" y="3873957"/>
            <a:ext cx="3465447" cy="2129760"/>
          </a:xfrm>
          <a:noFill/>
        </p:spPr>
      </p:pic>
      <p:pic>
        <p:nvPicPr>
          <p:cNvPr id="31" name="Tijdelijke aanduiding voor afbeelding 30">
            <a:extLst>
              <a:ext uri="{FF2B5EF4-FFF2-40B4-BE49-F238E27FC236}">
                <a16:creationId xmlns:a16="http://schemas.microsoft.com/office/drawing/2014/main" id="{6797BCAE-0495-E215-F497-DE13F3542644}"/>
              </a:ext>
            </a:extLst>
          </p:cNvPr>
          <p:cNvPicPr>
            <a:picLocks noGrp="1" noChangeAspect="1"/>
          </p:cNvPicPr>
          <p:nvPr>
            <p:ph type="pic" sz="quarter" idx="26"/>
          </p:nvPr>
        </p:nvPicPr>
        <p:blipFill rotWithShape="1">
          <a:blip r:embed="rId7">
            <a:extLst>
              <a:ext uri="{28A0092B-C50C-407E-A947-70E740481C1C}">
                <a14:useLocalDpi xmlns:a14="http://schemas.microsoft.com/office/drawing/2010/main" val="0"/>
              </a:ext>
            </a:extLst>
          </a:blip>
          <a:srcRect t="3854" b="3854"/>
          <a:stretch/>
        </p:blipFill>
        <p:spPr>
          <a:xfrm>
            <a:off x="8018572" y="3873500"/>
            <a:ext cx="3464903" cy="2130425"/>
          </a:xfrm>
        </p:spPr>
      </p:pic>
      <p:sp>
        <p:nvSpPr>
          <p:cNvPr id="47" name="Tekstvak 46">
            <a:extLst>
              <a:ext uri="{FF2B5EF4-FFF2-40B4-BE49-F238E27FC236}">
                <a16:creationId xmlns:a16="http://schemas.microsoft.com/office/drawing/2014/main" id="{E235E84B-C77F-8F0E-FB38-805DD4A2227A}"/>
              </a:ext>
            </a:extLst>
          </p:cNvPr>
          <p:cNvSpPr txBox="1"/>
          <p:nvPr/>
        </p:nvSpPr>
        <p:spPr>
          <a:xfrm>
            <a:off x="718665" y="3055185"/>
            <a:ext cx="3465376" cy="640515"/>
          </a:xfrm>
          <a:prstGeom prst="rect">
            <a:avLst/>
          </a:prstGeom>
          <a:solidFill>
            <a:schemeClr val="accent1"/>
          </a:solidFill>
        </p:spPr>
        <p:txBody>
          <a:bodyPr wrap="square" lIns="36000" tIns="180000" rIns="36000" bIns="180000" rtlCol="0">
            <a:normAutofit/>
          </a:bodyPr>
          <a:lstStyle/>
          <a:p>
            <a:pPr algn="ctr">
              <a:lnSpc>
                <a:spcPct val="90000"/>
              </a:lnSpc>
              <a:spcBef>
                <a:spcPts val="600"/>
              </a:spcBef>
              <a:spcAft>
                <a:spcPts val="600"/>
              </a:spcAft>
            </a:pPr>
            <a:r>
              <a:rPr lang="en-US" sz="2000" dirty="0" err="1">
                <a:solidFill>
                  <a:schemeClr val="bg1"/>
                </a:solidFill>
              </a:rPr>
              <a:t>QuTech</a:t>
            </a:r>
            <a:endParaRPr lang="en-US" dirty="0">
              <a:solidFill>
                <a:schemeClr val="bg1"/>
              </a:solidFill>
            </a:endParaRPr>
          </a:p>
        </p:txBody>
      </p:sp>
      <p:sp>
        <p:nvSpPr>
          <p:cNvPr id="48" name="Tekstvak 47">
            <a:extLst>
              <a:ext uri="{FF2B5EF4-FFF2-40B4-BE49-F238E27FC236}">
                <a16:creationId xmlns:a16="http://schemas.microsoft.com/office/drawing/2014/main" id="{D10C737C-B8DD-1DA5-604E-2070413DA7C0}"/>
              </a:ext>
            </a:extLst>
          </p:cNvPr>
          <p:cNvSpPr txBox="1"/>
          <p:nvPr/>
        </p:nvSpPr>
        <p:spPr>
          <a:xfrm>
            <a:off x="4357077" y="3055185"/>
            <a:ext cx="3465376" cy="640515"/>
          </a:xfrm>
          <a:prstGeom prst="rect">
            <a:avLst/>
          </a:prstGeom>
          <a:solidFill>
            <a:schemeClr val="accent3"/>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Reactor </a:t>
            </a:r>
            <a:r>
              <a:rPr lang="en-US" sz="2000" dirty="0" err="1">
                <a:solidFill>
                  <a:schemeClr val="bg1"/>
                </a:solidFill>
              </a:rPr>
              <a:t>Insitute</a:t>
            </a:r>
            <a:endParaRPr lang="en-US" sz="2000" dirty="0">
              <a:solidFill>
                <a:schemeClr val="bg1"/>
              </a:solidFill>
            </a:endParaRPr>
          </a:p>
        </p:txBody>
      </p:sp>
      <p:sp>
        <p:nvSpPr>
          <p:cNvPr id="49" name="Tekstvak 48">
            <a:extLst>
              <a:ext uri="{FF2B5EF4-FFF2-40B4-BE49-F238E27FC236}">
                <a16:creationId xmlns:a16="http://schemas.microsoft.com/office/drawing/2014/main" id="{C0E41753-FBD8-9157-8D3E-930ECA0535B2}"/>
              </a:ext>
            </a:extLst>
          </p:cNvPr>
          <p:cNvSpPr txBox="1"/>
          <p:nvPr/>
        </p:nvSpPr>
        <p:spPr>
          <a:xfrm>
            <a:off x="8018571" y="3055185"/>
            <a:ext cx="3465376" cy="640515"/>
          </a:xfrm>
          <a:prstGeom prst="rect">
            <a:avLst/>
          </a:prstGeom>
          <a:solidFill>
            <a:schemeClr val="accent4"/>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Labs</a:t>
            </a:r>
            <a:endParaRPr lang="en-US" dirty="0">
              <a:solidFill>
                <a:schemeClr val="bg1"/>
              </a:solidFill>
            </a:endParaRPr>
          </a:p>
        </p:txBody>
      </p:sp>
      <p:sp>
        <p:nvSpPr>
          <p:cNvPr id="51" name="Tekstvak 50">
            <a:extLst>
              <a:ext uri="{FF2B5EF4-FFF2-40B4-BE49-F238E27FC236}">
                <a16:creationId xmlns:a16="http://schemas.microsoft.com/office/drawing/2014/main" id="{8B3CD9BE-0444-ECBA-234C-1542991E98A9}"/>
              </a:ext>
            </a:extLst>
          </p:cNvPr>
          <p:cNvSpPr txBox="1"/>
          <p:nvPr/>
        </p:nvSpPr>
        <p:spPr>
          <a:xfrm>
            <a:off x="718665" y="5363410"/>
            <a:ext cx="3465376" cy="640515"/>
          </a:xfrm>
          <a:prstGeom prst="rect">
            <a:avLst/>
          </a:prstGeom>
          <a:solidFill>
            <a:schemeClr val="accent3"/>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Hexapod</a:t>
            </a:r>
            <a:endParaRPr lang="en-US" dirty="0">
              <a:solidFill>
                <a:schemeClr val="bg1"/>
              </a:solidFill>
            </a:endParaRPr>
          </a:p>
        </p:txBody>
      </p:sp>
      <p:sp>
        <p:nvSpPr>
          <p:cNvPr id="52" name="Tekstvak 51">
            <a:extLst>
              <a:ext uri="{FF2B5EF4-FFF2-40B4-BE49-F238E27FC236}">
                <a16:creationId xmlns:a16="http://schemas.microsoft.com/office/drawing/2014/main" id="{3E06E6AA-9558-C881-1668-DCB8E58B2F2B}"/>
              </a:ext>
            </a:extLst>
          </p:cNvPr>
          <p:cNvSpPr txBox="1"/>
          <p:nvPr/>
        </p:nvSpPr>
        <p:spPr>
          <a:xfrm>
            <a:off x="4357077" y="5363410"/>
            <a:ext cx="3465376" cy="640515"/>
          </a:xfrm>
          <a:prstGeom prst="rect">
            <a:avLst/>
          </a:prstGeom>
          <a:solidFill>
            <a:schemeClr val="accent4"/>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Wind tunnel</a:t>
            </a:r>
            <a:endParaRPr lang="en-US" dirty="0">
              <a:solidFill>
                <a:schemeClr val="bg1"/>
              </a:solidFill>
            </a:endParaRPr>
          </a:p>
        </p:txBody>
      </p:sp>
      <p:sp>
        <p:nvSpPr>
          <p:cNvPr id="53" name="Tekstvak 52">
            <a:extLst>
              <a:ext uri="{FF2B5EF4-FFF2-40B4-BE49-F238E27FC236}">
                <a16:creationId xmlns:a16="http://schemas.microsoft.com/office/drawing/2014/main" id="{223F008A-15AA-3F7C-56DE-1C269D8C69EE}"/>
              </a:ext>
            </a:extLst>
          </p:cNvPr>
          <p:cNvSpPr txBox="1"/>
          <p:nvPr/>
        </p:nvSpPr>
        <p:spPr>
          <a:xfrm>
            <a:off x="8018571" y="5363410"/>
            <a:ext cx="3465376" cy="640515"/>
          </a:xfrm>
          <a:prstGeom prst="rect">
            <a:avLst/>
          </a:prstGeom>
          <a:solidFill>
            <a:schemeClr val="accent1"/>
          </a:solidFill>
        </p:spPr>
        <p:txBody>
          <a:bodyPr wrap="square" lIns="36000" tIns="180000" rIns="36000" bIns="180000" rtlCol="0">
            <a:normAutofit/>
          </a:bodyPr>
          <a:lstStyle/>
          <a:p>
            <a:pPr algn="ctr">
              <a:lnSpc>
                <a:spcPct val="90000"/>
              </a:lnSpc>
              <a:spcBef>
                <a:spcPts val="600"/>
              </a:spcBef>
              <a:spcAft>
                <a:spcPts val="600"/>
              </a:spcAft>
            </a:pPr>
            <a:r>
              <a:rPr lang="en-US" sz="2000" dirty="0" err="1">
                <a:solidFill>
                  <a:schemeClr val="bg1"/>
                </a:solidFill>
              </a:rPr>
              <a:t>WaterLab</a:t>
            </a:r>
            <a:endParaRPr lang="en-US" dirty="0">
              <a:solidFill>
                <a:schemeClr val="bg1"/>
              </a:solidFill>
            </a:endParaRPr>
          </a:p>
        </p:txBody>
      </p:sp>
      <p:grpSp>
        <p:nvGrpSpPr>
          <p:cNvPr id="4" name="HYPER HOME">
            <a:extLst>
              <a:ext uri="{FF2B5EF4-FFF2-40B4-BE49-F238E27FC236}">
                <a16:creationId xmlns:a16="http://schemas.microsoft.com/office/drawing/2014/main" id="{F1893429-910B-29C9-0A16-CD1CA622C2E6}"/>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0A037380-D684-502E-9F88-99CF9D20A9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7" name="Rechthoek 6">
              <a:hlinkClick r:id="rId10" action="ppaction://hlinksldjump"/>
              <a:extLst>
                <a:ext uri="{FF2B5EF4-FFF2-40B4-BE49-F238E27FC236}">
                  <a16:creationId xmlns:a16="http://schemas.microsoft.com/office/drawing/2014/main" id="{27DF3FE6-3075-C452-E9F1-FCA94D7BA748}"/>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341911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6" presetClass="emph" presetSubtype="0" autoRev="1" fill="hold" nodeType="withEffect">
                                  <p:stCondLst>
                                    <p:cond delay="0"/>
                                  </p:stCondLst>
                                  <p:childTnLst>
                                    <p:animScale>
                                      <p:cBhvr>
                                        <p:cTn id="9" dur="400" fill="hold"/>
                                        <p:tgtEl>
                                          <p:spTgt spid="25"/>
                                        </p:tgtEl>
                                      </p:cBhvr>
                                      <p:by x="103000" y="103000"/>
                                    </p:animScale>
                                  </p:childTnLst>
                                </p:cTn>
                              </p:par>
                              <p:par>
                                <p:cTn id="10" presetID="10" presetClass="entr" presetSubtype="0" fill="hold" nodeType="withEffect">
                                  <p:stCondLst>
                                    <p:cond delay="25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6" presetClass="emph" presetSubtype="0" autoRev="1" fill="hold" nodeType="withEffect">
                                  <p:stCondLst>
                                    <p:cond delay="250"/>
                                  </p:stCondLst>
                                  <p:childTnLst>
                                    <p:animScale>
                                      <p:cBhvr>
                                        <p:cTn id="14" dur="400" fill="hold"/>
                                        <p:tgtEl>
                                          <p:spTgt spid="26"/>
                                        </p:tgtEl>
                                      </p:cBhvr>
                                      <p:by x="103000" y="103000"/>
                                    </p:animScale>
                                  </p:childTnLst>
                                </p:cTn>
                              </p:par>
                              <p:par>
                                <p:cTn id="15" presetID="10" presetClass="entr" presetSubtype="0" fill="hold" nodeType="withEffect">
                                  <p:stCondLst>
                                    <p:cond delay="5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6" presetClass="emph" presetSubtype="0" autoRev="1" fill="hold" nodeType="withEffect">
                                  <p:stCondLst>
                                    <p:cond delay="500"/>
                                  </p:stCondLst>
                                  <p:childTnLst>
                                    <p:animScale>
                                      <p:cBhvr>
                                        <p:cTn id="19" dur="400" fill="hold"/>
                                        <p:tgtEl>
                                          <p:spTgt spid="27"/>
                                        </p:tgtEl>
                                      </p:cBhvr>
                                      <p:by x="103000" y="103000"/>
                                    </p:animScale>
                                  </p:childTnLst>
                                </p:cTn>
                              </p:par>
                              <p:par>
                                <p:cTn id="20" presetID="10" presetClass="entr" presetSubtype="0" fill="hold" nodeType="withEffect">
                                  <p:stCondLst>
                                    <p:cond delay="75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6" presetClass="emph" presetSubtype="0" autoRev="1" fill="hold" nodeType="withEffect">
                                  <p:stCondLst>
                                    <p:cond delay="750"/>
                                  </p:stCondLst>
                                  <p:childTnLst>
                                    <p:animScale>
                                      <p:cBhvr>
                                        <p:cTn id="24" dur="400" fill="hold"/>
                                        <p:tgtEl>
                                          <p:spTgt spid="29"/>
                                        </p:tgtEl>
                                      </p:cBhvr>
                                      <p:by x="103000" y="103000"/>
                                    </p:animScale>
                                  </p:childTnLst>
                                </p:cTn>
                              </p:par>
                              <p:par>
                                <p:cTn id="25" presetID="10" presetClass="entr" presetSubtype="0" fill="hold" nodeType="withEffect">
                                  <p:stCondLst>
                                    <p:cond delay="100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6" presetClass="emph" presetSubtype="0" autoRev="1" fill="hold" nodeType="withEffect">
                                  <p:stCondLst>
                                    <p:cond delay="1000"/>
                                  </p:stCondLst>
                                  <p:childTnLst>
                                    <p:animScale>
                                      <p:cBhvr>
                                        <p:cTn id="29" dur="400" fill="hold"/>
                                        <p:tgtEl>
                                          <p:spTgt spid="35"/>
                                        </p:tgtEl>
                                      </p:cBhvr>
                                      <p:by x="103000" y="103000"/>
                                    </p:animScale>
                                  </p:childTnLst>
                                </p:cTn>
                              </p:par>
                              <p:par>
                                <p:cTn id="30" presetID="10" presetClass="entr" presetSubtype="0" fill="hold" nodeType="withEffect">
                                  <p:stCondLst>
                                    <p:cond delay="125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par>
                                <p:cTn id="33" presetID="6" presetClass="emph" presetSubtype="0" autoRev="1" fill="hold" nodeType="withEffect">
                                  <p:stCondLst>
                                    <p:cond delay="1250"/>
                                  </p:stCondLst>
                                  <p:childTnLst>
                                    <p:animScale>
                                      <p:cBhvr>
                                        <p:cTn id="34" dur="400" fill="hold"/>
                                        <p:tgtEl>
                                          <p:spTgt spid="31"/>
                                        </p:tgtEl>
                                      </p:cBhvr>
                                      <p:by x="103000" y="103000"/>
                                    </p:animScale>
                                  </p:childTnLst>
                                </p:cTn>
                              </p:par>
                              <p:par>
                                <p:cTn id="35" presetID="10" presetClass="entr" presetSubtype="0" fill="hold" grpId="0" nodeType="withEffect">
                                  <p:stCondLst>
                                    <p:cond delay="5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51"/>
                                        </p:tgtEl>
                                        <p:attrNameLst>
                                          <p:attrName>style.visibility</p:attrName>
                                        </p:attrNameLst>
                                      </p:cBhvr>
                                      <p:to>
                                        <p:strVal val="visible"/>
                                      </p:to>
                                    </p:set>
                                    <p:animEffect transition="in" filter="fade">
                                      <p:cBhvr>
                                        <p:cTn id="46" dur="500"/>
                                        <p:tgtEl>
                                          <p:spTgt spid="51"/>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175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49" grpId="0" animBg="1"/>
      <p:bldP spid="51" grpId="0" animBg="1"/>
      <p:bldP spid="52" grpId="0" animBg="1"/>
      <p:bldP spid="5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Rechthoek 156">
            <a:extLst>
              <a:ext uri="{FF2B5EF4-FFF2-40B4-BE49-F238E27FC236}">
                <a16:creationId xmlns:a16="http://schemas.microsoft.com/office/drawing/2014/main" id="{1400B64D-4789-10BF-DD7C-54898C676DAB}"/>
              </a:ext>
            </a:extLst>
          </p:cNvPr>
          <p:cNvSpPr/>
          <p:nvPr/>
        </p:nvSpPr>
        <p:spPr>
          <a:xfrm>
            <a:off x="0" y="4982760"/>
            <a:ext cx="12192000" cy="1875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59" name="Vrije vorm: vorm 158">
            <a:extLst>
              <a:ext uri="{FF2B5EF4-FFF2-40B4-BE49-F238E27FC236}">
                <a16:creationId xmlns:a16="http://schemas.microsoft.com/office/drawing/2014/main" id="{957EE7BE-D4B8-B420-C8C2-62B6C2652781}"/>
              </a:ext>
            </a:extLst>
          </p:cNvPr>
          <p:cNvSpPr>
            <a:spLocks/>
          </p:cNvSpPr>
          <p:nvPr/>
        </p:nvSpPr>
        <p:spPr>
          <a:xfrm>
            <a:off x="-10751" y="4980916"/>
            <a:ext cx="9322775" cy="1877085"/>
          </a:xfrm>
          <a:custGeom>
            <a:avLst/>
            <a:gdLst>
              <a:gd name="connsiteX0" fmla="*/ 9196825 w 9322775"/>
              <a:gd name="connsiteY0" fmla="*/ 1272876 h 1877085"/>
              <a:gd name="connsiteX1" fmla="*/ 9228283 w 9322775"/>
              <a:gd name="connsiteY1" fmla="*/ 1279849 h 1877085"/>
              <a:gd name="connsiteX2" fmla="*/ 9319129 w 9322775"/>
              <a:gd name="connsiteY2" fmla="*/ 1816856 h 1877085"/>
              <a:gd name="connsiteX3" fmla="*/ 9315062 w 9322775"/>
              <a:gd name="connsiteY3" fmla="*/ 1877085 h 1877085"/>
              <a:gd name="connsiteX4" fmla="*/ 8712780 w 9322775"/>
              <a:gd name="connsiteY4" fmla="*/ 1877085 h 1877085"/>
              <a:gd name="connsiteX5" fmla="*/ 8752852 w 9322775"/>
              <a:gd name="connsiteY5" fmla="*/ 1805177 h 1877085"/>
              <a:gd name="connsiteX6" fmla="*/ 9165949 w 9322775"/>
              <a:gd name="connsiteY6" fmla="*/ 1273592 h 1877085"/>
              <a:gd name="connsiteX7" fmla="*/ 9196825 w 9322775"/>
              <a:gd name="connsiteY7" fmla="*/ 1272876 h 1877085"/>
              <a:gd name="connsiteX8" fmla="*/ 2039000 w 9322775"/>
              <a:gd name="connsiteY8" fmla="*/ 0 h 1877085"/>
              <a:gd name="connsiteX9" fmla="*/ 4517454 w 9322775"/>
              <a:gd name="connsiteY9" fmla="*/ 0 h 1877085"/>
              <a:gd name="connsiteX10" fmla="*/ 4500006 w 9322775"/>
              <a:gd name="connsiteY10" fmla="*/ 25163 h 1877085"/>
              <a:gd name="connsiteX11" fmla="*/ 3612233 w 9322775"/>
              <a:gd name="connsiteY11" fmla="*/ 1754094 h 1877085"/>
              <a:gd name="connsiteX12" fmla="*/ 3592717 w 9322775"/>
              <a:gd name="connsiteY12" fmla="*/ 1877085 h 1877085"/>
              <a:gd name="connsiteX13" fmla="*/ 0 w 9322775"/>
              <a:gd name="connsiteY13" fmla="*/ 1877085 h 1877085"/>
              <a:gd name="connsiteX14" fmla="*/ 0 w 9322775"/>
              <a:gd name="connsiteY14" fmla="*/ 1651574 h 1877085"/>
              <a:gd name="connsiteX15" fmla="*/ 339610 w 9322775"/>
              <a:gd name="connsiteY15" fmla="*/ 1341257 h 1877085"/>
              <a:gd name="connsiteX16" fmla="*/ 1802254 w 9322775"/>
              <a:gd name="connsiteY16" fmla="*/ 175464 h 187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22775" h="1877085">
                <a:moveTo>
                  <a:pt x="9196825" y="1272876"/>
                </a:moveTo>
                <a:cubicBezTo>
                  <a:pt x="9207202" y="1273905"/>
                  <a:pt x="9217676" y="1276215"/>
                  <a:pt x="9228283" y="1279849"/>
                </a:cubicBezTo>
                <a:cubicBezTo>
                  <a:pt x="9307834" y="1308480"/>
                  <a:pt x="9333091" y="1535431"/>
                  <a:pt x="9319129" y="1816856"/>
                </a:cubicBezTo>
                <a:lnTo>
                  <a:pt x="9315062" y="1877085"/>
                </a:lnTo>
                <a:lnTo>
                  <a:pt x="8712780" y="1877085"/>
                </a:lnTo>
                <a:lnTo>
                  <a:pt x="8752852" y="1805177"/>
                </a:lnTo>
                <a:cubicBezTo>
                  <a:pt x="8924836" y="1495886"/>
                  <a:pt x="9040774" y="1291859"/>
                  <a:pt x="9165949" y="1273592"/>
                </a:cubicBezTo>
                <a:cubicBezTo>
                  <a:pt x="9176167" y="1272102"/>
                  <a:pt x="9186447" y="1271848"/>
                  <a:pt x="9196825" y="1272876"/>
                </a:cubicBezTo>
                <a:close/>
                <a:moveTo>
                  <a:pt x="2039000" y="0"/>
                </a:moveTo>
                <a:lnTo>
                  <a:pt x="4517454" y="0"/>
                </a:lnTo>
                <a:lnTo>
                  <a:pt x="4500006" y="25163"/>
                </a:lnTo>
                <a:cubicBezTo>
                  <a:pt x="4089950" y="625441"/>
                  <a:pt x="3741911" y="1191547"/>
                  <a:pt x="3612233" y="1754094"/>
                </a:cubicBezTo>
                <a:lnTo>
                  <a:pt x="3592717" y="1877085"/>
                </a:lnTo>
                <a:lnTo>
                  <a:pt x="0" y="1877085"/>
                </a:lnTo>
                <a:lnTo>
                  <a:pt x="0" y="1651574"/>
                </a:lnTo>
                <a:lnTo>
                  <a:pt x="339610" y="1341257"/>
                </a:lnTo>
                <a:cubicBezTo>
                  <a:pt x="803804" y="933663"/>
                  <a:pt x="1300774" y="550174"/>
                  <a:pt x="1802254" y="175464"/>
                </a:cubicBez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dirty="0"/>
              <a:t> </a:t>
            </a:r>
          </a:p>
        </p:txBody>
      </p:sp>
      <p:sp>
        <p:nvSpPr>
          <p:cNvPr id="3" name="Titel 2">
            <a:extLst>
              <a:ext uri="{FF2B5EF4-FFF2-40B4-BE49-F238E27FC236}">
                <a16:creationId xmlns:a16="http://schemas.microsoft.com/office/drawing/2014/main" id="{3DDF42E3-E761-6BB6-6DFE-0E5D9A3A3E5E}"/>
              </a:ext>
            </a:extLst>
          </p:cNvPr>
          <p:cNvSpPr>
            <a:spLocks noGrp="1"/>
          </p:cNvSpPr>
          <p:nvPr>
            <p:ph type="title"/>
          </p:nvPr>
        </p:nvSpPr>
        <p:spPr/>
        <p:txBody>
          <a:bodyPr/>
          <a:lstStyle/>
          <a:p>
            <a:r>
              <a:rPr lang="nl-NL" dirty="0" err="1"/>
              <a:t>Broad</a:t>
            </a:r>
            <a:r>
              <a:rPr lang="nl-NL" dirty="0"/>
              <a:t> cooperation</a:t>
            </a:r>
          </a:p>
        </p:txBody>
      </p:sp>
      <p:sp>
        <p:nvSpPr>
          <p:cNvPr id="16" name="Tijdelijke aanduiding voor dianummer 15">
            <a:extLst>
              <a:ext uri="{FF2B5EF4-FFF2-40B4-BE49-F238E27FC236}">
                <a16:creationId xmlns:a16="http://schemas.microsoft.com/office/drawing/2014/main" id="{57170117-856C-F8D6-AF06-876FF0366CC2}"/>
              </a:ext>
            </a:extLst>
          </p:cNvPr>
          <p:cNvSpPr>
            <a:spLocks noGrp="1"/>
          </p:cNvSpPr>
          <p:nvPr>
            <p:ph type="sldNum" sz="quarter" idx="20"/>
          </p:nvPr>
        </p:nvSpPr>
        <p:spPr/>
        <p:txBody>
          <a:bodyPr/>
          <a:lstStyle/>
          <a:p>
            <a:fld id="{9E843DB9-9987-4157-AB9C-CEA8D7D910BB}" type="slidenum">
              <a:rPr lang="en-GB" smtClean="0"/>
              <a:pPr/>
              <a:t>22</a:t>
            </a:fld>
            <a:endParaRPr lang="en-GB" dirty="0"/>
          </a:p>
        </p:txBody>
      </p:sp>
      <p:grpSp>
        <p:nvGrpSpPr>
          <p:cNvPr id="162" name="Groep 161">
            <a:extLst>
              <a:ext uri="{FF2B5EF4-FFF2-40B4-BE49-F238E27FC236}">
                <a16:creationId xmlns:a16="http://schemas.microsoft.com/office/drawing/2014/main" id="{57D23350-0C43-EBEA-8494-6FE99427585C}"/>
              </a:ext>
            </a:extLst>
          </p:cNvPr>
          <p:cNvGrpSpPr/>
          <p:nvPr/>
        </p:nvGrpSpPr>
        <p:grpSpPr>
          <a:xfrm>
            <a:off x="721079" y="6216736"/>
            <a:ext cx="961200" cy="381600"/>
            <a:chOff x="2807303" y="2354764"/>
            <a:chExt cx="944974" cy="368527"/>
          </a:xfrm>
          <a:solidFill>
            <a:schemeClr val="bg1"/>
          </a:solidFill>
        </p:grpSpPr>
        <p:sp>
          <p:nvSpPr>
            <p:cNvPr id="163" name="Vrije vorm: vorm 162">
              <a:extLst>
                <a:ext uri="{FF2B5EF4-FFF2-40B4-BE49-F238E27FC236}">
                  <a16:creationId xmlns:a16="http://schemas.microsoft.com/office/drawing/2014/main" id="{FF784828-7D84-33AA-109D-F39FF6535CBF}"/>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64" name="Vrije vorm: vorm 163">
              <a:extLst>
                <a:ext uri="{FF2B5EF4-FFF2-40B4-BE49-F238E27FC236}">
                  <a16:creationId xmlns:a16="http://schemas.microsoft.com/office/drawing/2014/main" id="{B27B9C39-09CD-5807-5F3D-DEBFDEB44A91}"/>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65" name="Vrije vorm: vorm 164">
              <a:extLst>
                <a:ext uri="{FF2B5EF4-FFF2-40B4-BE49-F238E27FC236}">
                  <a16:creationId xmlns:a16="http://schemas.microsoft.com/office/drawing/2014/main" id="{33648533-0732-689A-8554-485E2C661C6B}"/>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66" name="Vrije vorm: vorm 165">
              <a:extLst>
                <a:ext uri="{FF2B5EF4-FFF2-40B4-BE49-F238E27FC236}">
                  <a16:creationId xmlns:a16="http://schemas.microsoft.com/office/drawing/2014/main" id="{435F099A-4DDB-CD96-E0F6-DD843ED1C3B5}"/>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67" name="Vrije vorm: vorm 166">
              <a:extLst>
                <a:ext uri="{FF2B5EF4-FFF2-40B4-BE49-F238E27FC236}">
                  <a16:creationId xmlns:a16="http://schemas.microsoft.com/office/drawing/2014/main" id="{67104BFD-54A4-17EB-9F90-C4ABBE11926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8" name="Vrije vorm: vorm 167">
              <a:extLst>
                <a:ext uri="{FF2B5EF4-FFF2-40B4-BE49-F238E27FC236}">
                  <a16:creationId xmlns:a16="http://schemas.microsoft.com/office/drawing/2014/main" id="{7C4ABA0E-B47B-5C9F-78C8-C938AEDE719D}"/>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69" name="Vrije vorm: vorm 168">
              <a:extLst>
                <a:ext uri="{FF2B5EF4-FFF2-40B4-BE49-F238E27FC236}">
                  <a16:creationId xmlns:a16="http://schemas.microsoft.com/office/drawing/2014/main" id="{800D4575-8A5A-D137-50B9-13E2E5359898}"/>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70" name="Vrije vorm: vorm 169">
              <a:extLst>
                <a:ext uri="{FF2B5EF4-FFF2-40B4-BE49-F238E27FC236}">
                  <a16:creationId xmlns:a16="http://schemas.microsoft.com/office/drawing/2014/main" id="{BF9EFD65-FF0F-C7C0-EACB-5678BF1A4946}"/>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grpSp>
        <p:nvGrpSpPr>
          <p:cNvPr id="171" name="HYPER HOME">
            <a:extLst>
              <a:ext uri="{FF2B5EF4-FFF2-40B4-BE49-F238E27FC236}">
                <a16:creationId xmlns:a16="http://schemas.microsoft.com/office/drawing/2014/main" id="{B7B99BA3-633B-81E5-588F-F5351F2092B9}"/>
              </a:ext>
            </a:extLst>
          </p:cNvPr>
          <p:cNvGrpSpPr/>
          <p:nvPr/>
        </p:nvGrpSpPr>
        <p:grpSpPr>
          <a:xfrm>
            <a:off x="11460480" y="0"/>
            <a:ext cx="731520" cy="731520"/>
            <a:chOff x="11460480" y="0"/>
            <a:chExt cx="731520" cy="731520"/>
          </a:xfrm>
        </p:grpSpPr>
        <p:pic>
          <p:nvPicPr>
            <p:cNvPr id="172" name="Graphic 171">
              <a:extLst>
                <a:ext uri="{FF2B5EF4-FFF2-40B4-BE49-F238E27FC236}">
                  <a16:creationId xmlns:a16="http://schemas.microsoft.com/office/drawing/2014/main" id="{1A2D96C9-0BAA-FC04-E13C-F2A3EF93E0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73" name="Rechthoek 172">
              <a:hlinkClick r:id="rId5" action="ppaction://hlinksldjump"/>
              <a:extLst>
                <a:ext uri="{FF2B5EF4-FFF2-40B4-BE49-F238E27FC236}">
                  <a16:creationId xmlns:a16="http://schemas.microsoft.com/office/drawing/2014/main" id="{0FA651C6-B8D7-DFC6-C2D6-EEB55B4EC3F7}"/>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298" name="Groep 297">
            <a:extLst>
              <a:ext uri="{FF2B5EF4-FFF2-40B4-BE49-F238E27FC236}">
                <a16:creationId xmlns:a16="http://schemas.microsoft.com/office/drawing/2014/main" id="{741078F0-0D30-5BE3-CA8D-5D9990C0846A}"/>
              </a:ext>
            </a:extLst>
          </p:cNvPr>
          <p:cNvGrpSpPr/>
          <p:nvPr/>
        </p:nvGrpSpPr>
        <p:grpSpPr>
          <a:xfrm>
            <a:off x="1" y="929641"/>
            <a:ext cx="12192001" cy="5928360"/>
            <a:chOff x="1" y="929641"/>
            <a:chExt cx="12192001" cy="5928360"/>
          </a:xfrm>
        </p:grpSpPr>
        <p:grpSp>
          <p:nvGrpSpPr>
            <p:cNvPr id="6" name="Groep 5">
              <a:extLst>
                <a:ext uri="{FF2B5EF4-FFF2-40B4-BE49-F238E27FC236}">
                  <a16:creationId xmlns:a16="http://schemas.microsoft.com/office/drawing/2014/main" id="{852C092F-D491-012E-3163-9DDDEDF67D06}"/>
                </a:ext>
              </a:extLst>
            </p:cNvPr>
            <p:cNvGrpSpPr/>
            <p:nvPr/>
          </p:nvGrpSpPr>
          <p:grpSpPr>
            <a:xfrm>
              <a:off x="1" y="929641"/>
              <a:ext cx="12192001" cy="5928360"/>
              <a:chOff x="-276999" y="1223090"/>
              <a:chExt cx="8883836" cy="4319765"/>
            </a:xfrm>
          </p:grpSpPr>
          <p:sp>
            <p:nvSpPr>
              <p:cNvPr id="2" name="Tijdelijke aanduiding voor tekst 10">
                <a:extLst>
                  <a:ext uri="{FF2B5EF4-FFF2-40B4-BE49-F238E27FC236}">
                    <a16:creationId xmlns:a16="http://schemas.microsoft.com/office/drawing/2014/main" id="{5F081BA2-0588-C1AF-1AAF-5E5A4B94BF20}"/>
                  </a:ext>
                </a:extLst>
              </p:cNvPr>
              <p:cNvSpPr txBox="1">
                <a:spLocks/>
              </p:cNvSpPr>
              <p:nvPr/>
            </p:nvSpPr>
            <p:spPr>
              <a:xfrm>
                <a:off x="-276999" y="1223090"/>
                <a:ext cx="8883836" cy="4319765"/>
              </a:xfrm>
              <a:prstGeom prst="rect">
                <a:avLst/>
              </a:prstGeom>
              <a:blipFill>
                <a:blip r:embed="rId6"/>
                <a:srcRect/>
                <a:stretch>
                  <a:fillRect l="-9206" t="-21423" r="-8893" b="-40495"/>
                </a:stretch>
              </a:blipFill>
            </p:spPr>
            <p:txBody>
              <a:bodyPr vert="horz" lIns="0" tIns="0" rIns="0" bIns="1260000" rtlCol="0" anchor="ctr" anchorCtr="0">
                <a:noAutofit/>
              </a:bodyPr>
              <a:lstStyle>
                <a:lvl1pPr marL="0" indent="0" algn="ctr" defTabSz="914400" rtl="0" eaLnBrk="1" latinLnBrk="0" hangingPunct="1">
                  <a:lnSpc>
                    <a:spcPct val="100000"/>
                  </a:lnSpc>
                  <a:spcBef>
                    <a:spcPts val="0"/>
                  </a:spcBef>
                  <a:spcAft>
                    <a:spcPts val="0"/>
                  </a:spcAft>
                  <a:buClr>
                    <a:schemeClr val="accent1"/>
                  </a:buClr>
                  <a:buSzPct val="120000"/>
                  <a:buFont typeface="Arial" panose="020B0604020202020204" pitchFamily="34" charset="0"/>
                  <a:buNone/>
                  <a:defRPr sz="1200" i="1" kern="1200">
                    <a:solidFill>
                      <a:schemeClr val="bg1">
                        <a:lumMod val="50000"/>
                      </a:schemeClr>
                    </a:solidFill>
                    <a:latin typeface="+mn-lt"/>
                    <a:ea typeface="+mn-ea"/>
                    <a:cs typeface="+mn-cs"/>
                  </a:defRPr>
                </a:lvl1pPr>
                <a:lvl2pPr marL="712788" indent="-350838"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tabLst>
                    <a:tab pos="712788" algn="l"/>
                  </a:tabLst>
                  <a:defRPr sz="2000" kern="1200">
                    <a:solidFill>
                      <a:schemeClr val="tx2"/>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accent3"/>
                  </a:buClr>
                  <a:buFont typeface="Segoe UI Light" panose="020B0502040204020203" pitchFamily="34" charset="0"/>
                  <a:buNone/>
                  <a:defRPr sz="20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400" b="0"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600"/>
                  </a:spcBef>
                  <a:spcAft>
                    <a:spcPts val="600"/>
                  </a:spcAft>
                  <a:buClr>
                    <a:schemeClr val="accent1"/>
                  </a:buClr>
                  <a:buFont typeface="+mj-lt"/>
                  <a:buAutoNum type="arabicPeriod"/>
                  <a:tabLst/>
                  <a:defRPr sz="2000" kern="1200">
                    <a:solidFill>
                      <a:schemeClr val="tx1"/>
                    </a:solidFill>
                    <a:latin typeface="+mn-lt"/>
                    <a:ea typeface="+mn-ea"/>
                    <a:cs typeface="+mn-cs"/>
                  </a:defRPr>
                </a:lvl7pPr>
                <a:lvl8pPr marL="361950" indent="-361950" algn="l" defTabSz="914400" rtl="0" eaLnBrk="1" latinLnBrk="0" hangingPunct="1">
                  <a:lnSpc>
                    <a:spcPct val="90000"/>
                  </a:lnSpc>
                  <a:spcBef>
                    <a:spcPts val="600"/>
                  </a:spcBef>
                  <a:spcAft>
                    <a:spcPts val="600"/>
                  </a:spcAft>
                  <a:buClr>
                    <a:schemeClr val="accent1"/>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600" i="1" kern="1200">
                    <a:solidFill>
                      <a:schemeClr val="tx1"/>
                    </a:solidFill>
                    <a:latin typeface="+mn-lt"/>
                    <a:ea typeface="+mn-ea"/>
                    <a:cs typeface="+mn-cs"/>
                  </a:defRPr>
                </a:lvl9pPr>
              </a:lstStyle>
              <a:p>
                <a:r>
                  <a:rPr lang="en-GB"/>
                  <a:t> </a:t>
                </a:r>
                <a:endParaRPr lang="en-GB" dirty="0"/>
              </a:p>
            </p:txBody>
          </p:sp>
          <p:sp>
            <p:nvSpPr>
              <p:cNvPr id="4" name="Rechthoek: afgeronde bovenhoeken 3">
                <a:extLst>
                  <a:ext uri="{FF2B5EF4-FFF2-40B4-BE49-F238E27FC236}">
                    <a16:creationId xmlns:a16="http://schemas.microsoft.com/office/drawing/2014/main" id="{9C8C582F-CCC9-4E5C-5EB9-AF845584558A}"/>
                  </a:ext>
                </a:extLst>
              </p:cNvPr>
              <p:cNvSpPr/>
              <p:nvPr/>
            </p:nvSpPr>
            <p:spPr>
              <a:xfrm>
                <a:off x="1202996" y="1727200"/>
                <a:ext cx="5878524" cy="3815654"/>
              </a:xfrm>
              <a:prstGeom prst="round2SameRect">
                <a:avLst>
                  <a:gd name="adj1" fmla="val 1922"/>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pic>
          <p:nvPicPr>
            <p:cNvPr id="7" name="Afbeelding 6" descr="Afbeelding met schermopname, cirkel, tekst&#10;&#10;Automatisch gegenereerde beschrijving">
              <a:extLst>
                <a:ext uri="{FF2B5EF4-FFF2-40B4-BE49-F238E27FC236}">
                  <a16:creationId xmlns:a16="http://schemas.microsoft.com/office/drawing/2014/main" id="{336F4C53-4B8C-AD73-7CBD-618E5279F33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61044" y="1841869"/>
              <a:ext cx="7601987" cy="4815248"/>
            </a:xfrm>
            <a:prstGeom prst="rect">
              <a:avLst/>
            </a:prstGeom>
          </p:spPr>
        </p:pic>
      </p:grpSp>
    </p:spTree>
    <p:extLst>
      <p:ext uri="{BB962C8B-B14F-4D97-AF65-F5344CB8AC3E}">
        <p14:creationId xmlns:p14="http://schemas.microsoft.com/office/powerpoint/2010/main" val="1671687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C53F3E64-43E3-67C8-9128-BFE3C3D5548B}"/>
              </a:ext>
            </a:extLst>
          </p:cNvPr>
          <p:cNvSpPr>
            <a:spLocks noGrp="1"/>
          </p:cNvSpPr>
          <p:nvPr>
            <p:ph type="sldNum" sz="quarter" idx="20"/>
          </p:nvPr>
        </p:nvSpPr>
        <p:spPr/>
        <p:txBody>
          <a:bodyPr/>
          <a:lstStyle/>
          <a:p>
            <a:fld id="{9E843DB9-9987-4157-AB9C-CEA8D7D910BB}" type="slidenum">
              <a:rPr lang="en-GB" smtClean="0"/>
              <a:pPr/>
              <a:t>23</a:t>
            </a:fld>
            <a:endParaRPr lang="en-GB" dirty="0"/>
          </a:p>
        </p:txBody>
      </p:sp>
      <p:sp>
        <p:nvSpPr>
          <p:cNvPr id="42" name="Titel 41">
            <a:extLst>
              <a:ext uri="{FF2B5EF4-FFF2-40B4-BE49-F238E27FC236}">
                <a16:creationId xmlns:a16="http://schemas.microsoft.com/office/drawing/2014/main" id="{013E0B66-9236-F116-67F3-A596B4233736}"/>
              </a:ext>
            </a:extLst>
          </p:cNvPr>
          <p:cNvSpPr>
            <a:spLocks noGrp="1"/>
          </p:cNvSpPr>
          <p:nvPr>
            <p:ph type="title"/>
          </p:nvPr>
        </p:nvSpPr>
        <p:spPr/>
        <p:txBody>
          <a:bodyPr/>
          <a:lstStyle/>
          <a:p>
            <a:r>
              <a:rPr lang="en-GB" dirty="0"/>
              <a:t>Strong international position</a:t>
            </a:r>
          </a:p>
        </p:txBody>
      </p:sp>
      <p:grpSp>
        <p:nvGrpSpPr>
          <p:cNvPr id="3" name="HYPER HOME">
            <a:extLst>
              <a:ext uri="{FF2B5EF4-FFF2-40B4-BE49-F238E27FC236}">
                <a16:creationId xmlns:a16="http://schemas.microsoft.com/office/drawing/2014/main" id="{5766D2A6-6AFC-ACB2-1B5D-43F260059B21}"/>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9F620D9F-66D7-E96A-2688-844AFE443D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1F3B0F78-4375-B5F4-EECB-DA88AE3A3D41}"/>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pic>
        <p:nvPicPr>
          <p:cNvPr id="17" name="Picture 2">
            <a:extLst>
              <a:ext uri="{FF2B5EF4-FFF2-40B4-BE49-F238E27FC236}">
                <a16:creationId xmlns:a16="http://schemas.microsoft.com/office/drawing/2014/main" id="{5E80B6E8-7BBE-A2D2-2117-5960009D7D1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p:blipFill>
        <p:spPr bwMode="auto">
          <a:xfrm>
            <a:off x="2414091" y="1567510"/>
            <a:ext cx="7361760" cy="431651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F8DBEAB-251F-D90A-EF78-C9E9391AC810}"/>
              </a:ext>
            </a:extLst>
          </p:cNvPr>
          <p:cNvSpPr txBox="1"/>
          <p:nvPr/>
        </p:nvSpPr>
        <p:spPr>
          <a:xfrm>
            <a:off x="9260035" y="5973841"/>
            <a:ext cx="515816" cy="323409"/>
          </a:xfrm>
          <a:prstGeom prst="rect">
            <a:avLst/>
          </a:prstGeom>
          <a:noFill/>
        </p:spPr>
        <p:txBody>
          <a:bodyPr wrap="square" lIns="0" tIns="0" rIns="0" bIns="0" rtlCol="0">
            <a:noAutofit/>
          </a:bodyPr>
          <a:lstStyle/>
          <a:p>
            <a:pPr algn="l">
              <a:lnSpc>
                <a:spcPct val="90000"/>
              </a:lnSpc>
              <a:spcBef>
                <a:spcPts val="600"/>
              </a:spcBef>
              <a:spcAft>
                <a:spcPts val="600"/>
              </a:spcAft>
            </a:pPr>
            <a:r>
              <a:rPr lang="nl-NL" sz="1000" dirty="0"/>
              <a:t>2023</a:t>
            </a:r>
          </a:p>
        </p:txBody>
      </p:sp>
    </p:spTree>
    <p:extLst>
      <p:ext uri="{BB962C8B-B14F-4D97-AF65-F5344CB8AC3E}">
        <p14:creationId xmlns:p14="http://schemas.microsoft.com/office/powerpoint/2010/main" val="288180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24</a:t>
            </a:fld>
            <a:endParaRPr lang="en-GB" dirty="0"/>
          </a:p>
        </p:txBody>
      </p:sp>
      <p:sp>
        <p:nvSpPr>
          <p:cNvPr id="2" name="Rechthoek 1">
            <a:extLst>
              <a:ext uri="{FF2B5EF4-FFF2-40B4-BE49-F238E27FC236}">
                <a16:creationId xmlns:a16="http://schemas.microsoft.com/office/drawing/2014/main" id="{36102112-C438-D13C-6335-326E6F2420A1}"/>
              </a:ext>
            </a:extLst>
          </p:cNvPr>
          <p:cNvSpPr>
            <a:spLocks noGrp="1" noRot="1" noMove="1" noResize="1" noEditPoints="1" noAdjustHandles="1" noChangeArrowheads="1" noChangeShapeType="1"/>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nvGrpSpPr>
          <p:cNvPr id="3" name="Groep 2">
            <a:extLst>
              <a:ext uri="{FF2B5EF4-FFF2-40B4-BE49-F238E27FC236}">
                <a16:creationId xmlns:a16="http://schemas.microsoft.com/office/drawing/2014/main" id="{3E21F999-9BE4-73A4-CEC3-8DB27FA1FE2D}"/>
              </a:ext>
            </a:extLst>
          </p:cNvPr>
          <p:cNvGrpSpPr>
            <a:grpSpLocks noGrp="1" noUngrp="1" noRot="1" noMove="1" noResize="1"/>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noGrp="1" noRot="1" noMove="1" noResize="1" noEditPoints="1" noAdjustHandles="1" noChangeArrowheads="1" noChangeShapeType="1"/>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noGrp="1" noRot="1" noMove="1" noResize="1" noEditPoints="1" noAdjustHandles="1" noChangeArrowheads="1" noChangeShapeType="1"/>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noGrp="1" noRot="1" noMove="1" noResize="1" noEditPoints="1" noAdjustHandles="1" noChangeArrowheads="1" noChangeShapeType="1"/>
          </p:cNvSpPr>
          <p:nvPr/>
        </p:nvSpPr>
        <p:spPr>
          <a:xfrm>
            <a:off x="5452533" y="2030785"/>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Organisation </a:t>
            </a:r>
            <a:br>
              <a:rPr lang="en-GB" dirty="0"/>
            </a:br>
            <a:r>
              <a:rPr lang="en-GB" dirty="0"/>
              <a:t>&amp; Figures</a:t>
            </a:r>
          </a:p>
        </p:txBody>
      </p:sp>
      <p:sp>
        <p:nvSpPr>
          <p:cNvPr id="9" name="Tijdelijke aanduiding voor tekst 5">
            <a:extLst>
              <a:ext uri="{FF2B5EF4-FFF2-40B4-BE49-F238E27FC236}">
                <a16:creationId xmlns:a16="http://schemas.microsoft.com/office/drawing/2014/main" id="{8368531F-D3CE-C101-0DFF-9A8A19E2EA85}"/>
              </a:ext>
            </a:extLst>
          </p:cNvPr>
          <p:cNvSpPr txBox="1">
            <a:spLocks noGrp="1" noRot="1" noMove="1" noResize="1" noEditPoints="1" noAdjustHandles="1" noChangeArrowheads="1" noChangeShapeType="1"/>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noGrp="1" noRot="1" noMove="1" noResize="1" noEditPoints="1" noAdjustHandles="1" noChangeArrowheads="1" noChangeShapeType="1"/>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3</a:t>
            </a:r>
          </a:p>
        </p:txBody>
      </p:sp>
      <p:grpSp>
        <p:nvGrpSpPr>
          <p:cNvPr id="8" name="HYPER HOME">
            <a:extLst>
              <a:ext uri="{FF2B5EF4-FFF2-40B4-BE49-F238E27FC236}">
                <a16:creationId xmlns:a16="http://schemas.microsoft.com/office/drawing/2014/main" id="{4CCC6660-1FA5-E94F-AE00-A8BD923C53E2}"/>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66AC5BF-CF26-7090-0B53-65978771E1D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04320" y="259080"/>
              <a:ext cx="228600" cy="228600"/>
            </a:xfrm>
            <a:prstGeom prst="rect">
              <a:avLst/>
            </a:prstGeom>
          </p:spPr>
        </p:pic>
        <p:sp>
          <p:nvSpPr>
            <p:cNvPr id="14" name="Rechthoek 13">
              <a:hlinkClick r:id="rId4" action="ppaction://hlinksldjump"/>
              <a:extLst>
                <a:ext uri="{FF2B5EF4-FFF2-40B4-BE49-F238E27FC236}">
                  <a16:creationId xmlns:a16="http://schemas.microsoft.com/office/drawing/2014/main" id="{7DDAB6AC-03CF-A899-47F9-75AAF4D2B363}"/>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77566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25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FBD7B43-6566-425F-1322-EB111625E217}"/>
              </a:ext>
            </a:extLst>
          </p:cNvPr>
          <p:cNvSpPr>
            <a:spLocks noGrp="1"/>
          </p:cNvSpPr>
          <p:nvPr>
            <p:ph type="title"/>
          </p:nvPr>
        </p:nvSpPr>
        <p:spPr/>
        <p:txBody>
          <a:bodyPr/>
          <a:lstStyle/>
          <a:p>
            <a:r>
              <a:rPr lang="nl-NL" dirty="0"/>
              <a:t>TU Delft </a:t>
            </a:r>
            <a:r>
              <a:rPr lang="nl-NL" dirty="0" err="1"/>
              <a:t>Organisation</a:t>
            </a:r>
            <a:endParaRPr lang="nl-NL" dirty="0"/>
          </a:p>
        </p:txBody>
      </p:sp>
      <p:sp>
        <p:nvSpPr>
          <p:cNvPr id="2" name="Tijdelijke aanduiding voor dianummer 1">
            <a:extLst>
              <a:ext uri="{FF2B5EF4-FFF2-40B4-BE49-F238E27FC236}">
                <a16:creationId xmlns:a16="http://schemas.microsoft.com/office/drawing/2014/main" id="{B51B160C-5423-9C51-B691-533872D77D60}"/>
              </a:ext>
            </a:extLst>
          </p:cNvPr>
          <p:cNvSpPr>
            <a:spLocks noGrp="1"/>
          </p:cNvSpPr>
          <p:nvPr>
            <p:ph type="sldNum" sz="quarter" idx="20"/>
          </p:nvPr>
        </p:nvSpPr>
        <p:spPr/>
        <p:txBody>
          <a:bodyPr/>
          <a:lstStyle/>
          <a:p>
            <a:fld id="{9E843DB9-9987-4157-AB9C-CEA8D7D910BB}" type="slidenum">
              <a:rPr lang="en-GB" smtClean="0"/>
              <a:pPr/>
              <a:t>25</a:t>
            </a:fld>
            <a:endParaRPr lang="en-GB" dirty="0"/>
          </a:p>
        </p:txBody>
      </p:sp>
      <p:grpSp>
        <p:nvGrpSpPr>
          <p:cNvPr id="154" name="HYPER HOME">
            <a:extLst>
              <a:ext uri="{FF2B5EF4-FFF2-40B4-BE49-F238E27FC236}">
                <a16:creationId xmlns:a16="http://schemas.microsoft.com/office/drawing/2014/main" id="{DA3E7DAE-5E02-00B3-1AE4-D4AD1FEB9B15}"/>
              </a:ext>
            </a:extLst>
          </p:cNvPr>
          <p:cNvGrpSpPr/>
          <p:nvPr/>
        </p:nvGrpSpPr>
        <p:grpSpPr>
          <a:xfrm>
            <a:off x="11460480" y="0"/>
            <a:ext cx="731520" cy="731520"/>
            <a:chOff x="11460480" y="0"/>
            <a:chExt cx="731520" cy="731520"/>
          </a:xfrm>
        </p:grpSpPr>
        <p:pic>
          <p:nvPicPr>
            <p:cNvPr id="155" name="Graphic 154">
              <a:extLst>
                <a:ext uri="{FF2B5EF4-FFF2-40B4-BE49-F238E27FC236}">
                  <a16:creationId xmlns:a16="http://schemas.microsoft.com/office/drawing/2014/main" id="{643613BC-48BD-2E21-5F18-F78A024C4E2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56" name="Rechthoek 155">
              <a:hlinkClick r:id="rId6" action="ppaction://hlinksldjump"/>
              <a:extLst>
                <a:ext uri="{FF2B5EF4-FFF2-40B4-BE49-F238E27FC236}">
                  <a16:creationId xmlns:a16="http://schemas.microsoft.com/office/drawing/2014/main" id="{00DE573C-F11D-C5A7-89E4-5D5241F276B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267" name="Groep 266">
            <a:extLst>
              <a:ext uri="{FF2B5EF4-FFF2-40B4-BE49-F238E27FC236}">
                <a16:creationId xmlns:a16="http://schemas.microsoft.com/office/drawing/2014/main" id="{24861352-35E8-7E53-5958-D7769D3AEEB2}"/>
              </a:ext>
            </a:extLst>
          </p:cNvPr>
          <p:cNvGrpSpPr/>
          <p:nvPr/>
        </p:nvGrpSpPr>
        <p:grpSpPr>
          <a:xfrm>
            <a:off x="725846" y="1604526"/>
            <a:ext cx="10746153" cy="4203153"/>
            <a:chOff x="725846" y="1604526"/>
            <a:chExt cx="10746153" cy="4203153"/>
          </a:xfrm>
        </p:grpSpPr>
        <p:sp>
          <p:nvSpPr>
            <p:cNvPr id="300" name="Rechthoek 299">
              <a:extLst>
                <a:ext uri="{FF2B5EF4-FFF2-40B4-BE49-F238E27FC236}">
                  <a16:creationId xmlns:a16="http://schemas.microsoft.com/office/drawing/2014/main" id="{2054510A-1D4C-AC5A-3708-8DB0B5FB54B3}"/>
                </a:ext>
              </a:extLst>
            </p:cNvPr>
            <p:cNvSpPr/>
            <p:nvPr/>
          </p:nvSpPr>
          <p:spPr>
            <a:xfrm>
              <a:off x="5189222" y="1604526"/>
              <a:ext cx="1813558" cy="369054"/>
            </a:xfrm>
            <a:prstGeom prst="rect">
              <a:avLst/>
            </a:prstGeom>
            <a:solidFill>
              <a:schemeClr val="accent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Ministry of Education, Culture and Science</a:t>
              </a:r>
            </a:p>
          </p:txBody>
        </p:sp>
        <p:sp>
          <p:nvSpPr>
            <p:cNvPr id="301" name="Rechthoek 300">
              <a:extLst>
                <a:ext uri="{FF2B5EF4-FFF2-40B4-BE49-F238E27FC236}">
                  <a16:creationId xmlns:a16="http://schemas.microsoft.com/office/drawing/2014/main" id="{C4909C3E-E0BB-4D33-D6C2-224D165897A9}"/>
                </a:ext>
              </a:extLst>
            </p:cNvPr>
            <p:cNvSpPr/>
            <p:nvPr/>
          </p:nvSpPr>
          <p:spPr>
            <a:xfrm>
              <a:off x="5189222" y="2145546"/>
              <a:ext cx="1813558"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Supervisory Board</a:t>
              </a:r>
            </a:p>
          </p:txBody>
        </p:sp>
        <p:sp>
          <p:nvSpPr>
            <p:cNvPr id="303" name="Rechthoek 302">
              <a:extLst>
                <a:ext uri="{FF2B5EF4-FFF2-40B4-BE49-F238E27FC236}">
                  <a16:creationId xmlns:a16="http://schemas.microsoft.com/office/drawing/2014/main" id="{38B5C0FD-E239-EC7F-DFE4-B8FF8FF258D0}"/>
                </a:ext>
              </a:extLst>
            </p:cNvPr>
            <p:cNvSpPr/>
            <p:nvPr/>
          </p:nvSpPr>
          <p:spPr>
            <a:xfrm>
              <a:off x="725846" y="3791466"/>
              <a:ext cx="3460904"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Secretary General</a:t>
              </a:r>
            </a:p>
          </p:txBody>
        </p:sp>
        <p:sp>
          <p:nvSpPr>
            <p:cNvPr id="306" name="Rechthoek 305">
              <a:extLst>
                <a:ext uri="{FF2B5EF4-FFF2-40B4-BE49-F238E27FC236}">
                  <a16:creationId xmlns:a16="http://schemas.microsoft.com/office/drawing/2014/main" id="{904CF94D-724E-1F5F-2784-84557F01FF19}"/>
                </a:ext>
              </a:extLst>
            </p:cNvPr>
            <p:cNvSpPr/>
            <p:nvPr/>
          </p:nvSpPr>
          <p:spPr>
            <a:xfrm>
              <a:off x="8010062" y="4334655"/>
              <a:ext cx="3461937"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Graduate School</a:t>
              </a:r>
            </a:p>
          </p:txBody>
        </p:sp>
        <p:sp>
          <p:nvSpPr>
            <p:cNvPr id="307" name="Rechthoek 306">
              <a:extLst>
                <a:ext uri="{FF2B5EF4-FFF2-40B4-BE49-F238E27FC236}">
                  <a16:creationId xmlns:a16="http://schemas.microsoft.com/office/drawing/2014/main" id="{59E590BE-596C-8BF3-1C5F-9AA964E384AC}"/>
                </a:ext>
              </a:extLst>
            </p:cNvPr>
            <p:cNvSpPr/>
            <p:nvPr/>
          </p:nvSpPr>
          <p:spPr>
            <a:xfrm>
              <a:off x="8010062" y="4878666"/>
              <a:ext cx="3461937"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prstClr val="white"/>
                  </a:solidFill>
                  <a:latin typeface="+mj-lt"/>
                  <a:ea typeface="Verdana" panose="020B0604030504040204" pitchFamily="34" charset="0"/>
                  <a:cs typeface="Arial" panose="020B0604020202020204" pitchFamily="34" charset="0"/>
                </a:rPr>
                <a:t>QuTech</a:t>
              </a:r>
              <a:endParaRPr lang="en-GB" sz="1000" b="1" kern="0" dirty="0">
                <a:solidFill>
                  <a:prstClr val="white"/>
                </a:solidFill>
                <a:latin typeface="+mj-lt"/>
                <a:ea typeface="Verdana" panose="020B0604030504040204" pitchFamily="34" charset="0"/>
                <a:cs typeface="Arial" panose="020B0604020202020204" pitchFamily="34" charset="0"/>
              </a:endParaRPr>
            </a:p>
          </p:txBody>
        </p:sp>
        <p:sp>
          <p:nvSpPr>
            <p:cNvPr id="308" name="Rechthoek 307">
              <a:extLst>
                <a:ext uri="{FF2B5EF4-FFF2-40B4-BE49-F238E27FC236}">
                  <a16:creationId xmlns:a16="http://schemas.microsoft.com/office/drawing/2014/main" id="{F796718F-FCC2-8946-E9F9-4D280018C80D}"/>
                </a:ext>
              </a:extLst>
            </p:cNvPr>
            <p:cNvSpPr/>
            <p:nvPr/>
          </p:nvSpPr>
          <p:spPr>
            <a:xfrm>
              <a:off x="8010062" y="5434251"/>
              <a:ext cx="3461937" cy="369054"/>
            </a:xfrm>
            <a:prstGeom prst="rect">
              <a:avLst/>
            </a:prstGeom>
            <a:solidFill>
              <a:srgbClr val="00A6D6"/>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TU Delft Holdings</a:t>
              </a:r>
            </a:p>
          </p:txBody>
        </p:sp>
        <p:sp>
          <p:nvSpPr>
            <p:cNvPr id="309" name="Rechthoek 308">
              <a:extLst>
                <a:ext uri="{FF2B5EF4-FFF2-40B4-BE49-F238E27FC236}">
                  <a16:creationId xmlns:a16="http://schemas.microsoft.com/office/drawing/2014/main" id="{9EAFEDC6-009F-D99C-9FCF-C25B4F67E012}"/>
                </a:ext>
              </a:extLst>
            </p:cNvPr>
            <p:cNvSpPr/>
            <p:nvPr/>
          </p:nvSpPr>
          <p:spPr>
            <a:xfrm>
              <a:off x="2373192" y="215570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Works Council</a:t>
              </a:r>
            </a:p>
          </p:txBody>
        </p:sp>
        <p:sp>
          <p:nvSpPr>
            <p:cNvPr id="310" name="Rechthoek 309">
              <a:extLst>
                <a:ext uri="{FF2B5EF4-FFF2-40B4-BE49-F238E27FC236}">
                  <a16:creationId xmlns:a16="http://schemas.microsoft.com/office/drawing/2014/main" id="{17BF2C1C-3A50-CF84-D749-13A3E88B4FD2}"/>
                </a:ext>
              </a:extLst>
            </p:cNvPr>
            <p:cNvSpPr/>
            <p:nvPr/>
          </p:nvSpPr>
          <p:spPr>
            <a:xfrm>
              <a:off x="2373192" y="270434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Student Council</a:t>
              </a:r>
            </a:p>
          </p:txBody>
        </p:sp>
        <p:sp>
          <p:nvSpPr>
            <p:cNvPr id="311" name="Rechthoek 310">
              <a:extLst>
                <a:ext uri="{FF2B5EF4-FFF2-40B4-BE49-F238E27FC236}">
                  <a16:creationId xmlns:a16="http://schemas.microsoft.com/office/drawing/2014/main" id="{7665B5CA-0026-BF51-45B3-7A5CE59927FC}"/>
                </a:ext>
              </a:extLst>
            </p:cNvPr>
            <p:cNvSpPr/>
            <p:nvPr/>
          </p:nvSpPr>
          <p:spPr>
            <a:xfrm>
              <a:off x="2373192" y="324282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Local Consultation</a:t>
              </a:r>
            </a:p>
          </p:txBody>
        </p:sp>
        <p:sp>
          <p:nvSpPr>
            <p:cNvPr id="312" name="Rechthoek 311">
              <a:extLst>
                <a:ext uri="{FF2B5EF4-FFF2-40B4-BE49-F238E27FC236}">
                  <a16:creationId xmlns:a16="http://schemas.microsoft.com/office/drawing/2014/main" id="{38C07250-817A-0E46-10E5-B0E5DF826C09}"/>
                </a:ext>
              </a:extLst>
            </p:cNvPr>
            <p:cNvSpPr/>
            <p:nvPr/>
          </p:nvSpPr>
          <p:spPr>
            <a:xfrm>
              <a:off x="8010063" y="215570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Operational Committee</a:t>
              </a:r>
            </a:p>
          </p:txBody>
        </p:sp>
        <p:sp>
          <p:nvSpPr>
            <p:cNvPr id="313" name="Rechthoek 312">
              <a:extLst>
                <a:ext uri="{FF2B5EF4-FFF2-40B4-BE49-F238E27FC236}">
                  <a16:creationId xmlns:a16="http://schemas.microsoft.com/office/drawing/2014/main" id="{1F004D9A-2372-8100-91BF-4254488F04E9}"/>
                </a:ext>
              </a:extLst>
            </p:cNvPr>
            <p:cNvSpPr/>
            <p:nvPr/>
          </p:nvSpPr>
          <p:spPr>
            <a:xfrm>
              <a:off x="8010063" y="270434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Board for Doctorates</a:t>
              </a:r>
            </a:p>
          </p:txBody>
        </p:sp>
        <p:sp>
          <p:nvSpPr>
            <p:cNvPr id="314" name="Rechthoek 313">
              <a:extLst>
                <a:ext uri="{FF2B5EF4-FFF2-40B4-BE49-F238E27FC236}">
                  <a16:creationId xmlns:a16="http://schemas.microsoft.com/office/drawing/2014/main" id="{669D44AC-936D-0FFC-6E23-0C5B562D1722}"/>
                </a:ext>
              </a:extLst>
            </p:cNvPr>
            <p:cNvSpPr/>
            <p:nvPr/>
          </p:nvSpPr>
          <p:spPr>
            <a:xfrm>
              <a:off x="8010063" y="324282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Board of Professors</a:t>
              </a:r>
            </a:p>
          </p:txBody>
        </p:sp>
        <p:sp>
          <p:nvSpPr>
            <p:cNvPr id="315" name="Rechthoek 314">
              <a:extLst>
                <a:ext uri="{FF2B5EF4-FFF2-40B4-BE49-F238E27FC236}">
                  <a16:creationId xmlns:a16="http://schemas.microsoft.com/office/drawing/2014/main" id="{7F15FB6E-D396-2767-FD49-738A477A51FF}"/>
                </a:ext>
              </a:extLst>
            </p:cNvPr>
            <p:cNvSpPr/>
            <p:nvPr/>
          </p:nvSpPr>
          <p:spPr>
            <a:xfrm>
              <a:off x="4366063" y="4334654"/>
              <a:ext cx="3459874" cy="1473025"/>
            </a:xfrm>
            <a:prstGeom prst="rect">
              <a:avLst/>
            </a:prstGeom>
            <a:solidFill>
              <a:srgbClr val="0076C2"/>
            </a:solidFill>
            <a:ln w="9525" cap="flat" cmpd="sng" algn="ctr">
              <a:noFill/>
              <a:prstDash val="solid"/>
            </a:ln>
            <a:effectLst/>
          </p:spPr>
          <p:txBody>
            <a:bodyPr lIns="95963" tIns="95963" rIns="95963" bIns="95963" anchor="t">
              <a:noAutofit/>
            </a:bodyPr>
            <a:lstStyle/>
            <a:p>
              <a:pPr defTabSz="609341" fontAlgn="base">
                <a:spcBef>
                  <a:spcPct val="0"/>
                </a:spcBef>
                <a:spcAft>
                  <a:spcPts val="300"/>
                </a:spcAft>
                <a:defRPr/>
              </a:pPr>
              <a:r>
                <a:rPr lang="nl-NL" sz="800" b="1" kern="0" dirty="0" err="1">
                  <a:solidFill>
                    <a:prstClr val="white"/>
                  </a:solidFill>
                  <a:latin typeface="+mj-lt"/>
                  <a:ea typeface="Verdana" panose="020B0604030504040204" pitchFamily="34" charset="0"/>
                  <a:cs typeface="Arial" panose="020B0604020202020204" pitchFamily="34" charset="0"/>
                </a:rPr>
                <a:t>Faculties</a:t>
              </a:r>
              <a:endParaRPr lang="nl-NL" sz="800" b="1" kern="0" dirty="0">
                <a:solidFill>
                  <a:prstClr val="white"/>
                </a:solidFill>
                <a:latin typeface="+mj-lt"/>
                <a:ea typeface="Verdana" panose="020B0604030504040204" pitchFamily="34" charset="0"/>
                <a:cs typeface="Arial" panose="020B0604020202020204" pitchFamily="34" charset="0"/>
              </a:endParaRP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Architecture and the Built Environment (ABE)</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Civil Engineering and Geosciences (CEG)</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Electrical Engineering, Mathematics and Computer Science (EEMCS)</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Industrial Design Engineering (IDE)</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Aerospace Engineering (AE)</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Technology, Policy and Management (TPM)</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Applied Sciences (AS)</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Mechanical Engineering (ME)</a:t>
              </a:r>
            </a:p>
          </p:txBody>
        </p:sp>
        <p:sp>
          <p:nvSpPr>
            <p:cNvPr id="316" name="Rechthoek 315">
              <a:extLst>
                <a:ext uri="{FF2B5EF4-FFF2-40B4-BE49-F238E27FC236}">
                  <a16:creationId xmlns:a16="http://schemas.microsoft.com/office/drawing/2014/main" id="{873F5417-1B6A-0DF0-6BBC-134E96A8D8DE}"/>
                </a:ext>
              </a:extLst>
            </p:cNvPr>
            <p:cNvSpPr/>
            <p:nvPr/>
          </p:nvSpPr>
          <p:spPr>
            <a:xfrm>
              <a:off x="726876" y="4334654"/>
              <a:ext cx="3459874" cy="1473025"/>
            </a:xfrm>
            <a:prstGeom prst="rect">
              <a:avLst/>
            </a:prstGeom>
            <a:solidFill>
              <a:srgbClr val="0076C2"/>
            </a:solidFill>
            <a:ln w="9525" cap="flat" cmpd="sng" algn="ctr">
              <a:noFill/>
              <a:prstDash val="solid"/>
            </a:ln>
            <a:effectLst/>
          </p:spPr>
          <p:txBody>
            <a:bodyPr lIns="95963" tIns="95963" rIns="95963" bIns="95963" numCol="2" spcCol="180000" anchor="t">
              <a:noAutofit/>
            </a:bodyPr>
            <a:lstStyle/>
            <a:p>
              <a:pPr defTabSz="609341" fontAlgn="base">
                <a:spcBef>
                  <a:spcPct val="0"/>
                </a:spcBef>
                <a:spcAft>
                  <a:spcPts val="300"/>
                </a:spcAft>
                <a:defRPr/>
              </a:pPr>
              <a:r>
                <a:rPr lang="nl-NL" sz="800" b="1" kern="0" dirty="0">
                  <a:solidFill>
                    <a:prstClr val="white"/>
                  </a:solidFill>
                  <a:latin typeface="+mj-lt"/>
                  <a:ea typeface="Verdana" panose="020B0604030504040204" pitchFamily="34" charset="0"/>
                  <a:cs typeface="Arial" panose="020B0604020202020204" pitchFamily="34" charset="0"/>
                </a:rPr>
                <a:t>University Corporate Office</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Strategic Development (SD)</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Legal Services (LS)</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Communication (Com)</a:t>
              </a:r>
            </a:p>
            <a:p>
              <a:pPr marL="92075" indent="-92075" defTabSz="609341" fontAlgn="base">
                <a:spcBef>
                  <a:spcPct val="0"/>
                </a:spcBef>
                <a:spcAft>
                  <a:spcPct val="0"/>
                </a:spcAft>
                <a:buFont typeface="Arial" panose="020B0604020202020204" pitchFamily="34" charset="0"/>
                <a:buChar char="•"/>
                <a:defRPr/>
              </a:pPr>
              <a:r>
                <a:rPr lang="nl-NL" sz="700" kern="0" dirty="0" err="1">
                  <a:solidFill>
                    <a:prstClr val="white"/>
                  </a:solidFill>
                  <a:latin typeface="+mj-lt"/>
                  <a:ea typeface="Verdana" panose="020B0604030504040204" pitchFamily="34" charset="0"/>
                  <a:cs typeface="Arial" panose="020B0604020202020204" pitchFamily="34" charset="0"/>
                </a:rPr>
                <a:t>Education</a:t>
              </a:r>
              <a:r>
                <a:rPr lang="nl-NL" sz="700" kern="0" dirty="0">
                  <a:solidFill>
                    <a:prstClr val="white"/>
                  </a:solidFill>
                  <a:latin typeface="+mj-lt"/>
                  <a:ea typeface="Verdana" panose="020B0604030504040204" pitchFamily="34" charset="0"/>
                  <a:cs typeface="Arial" panose="020B0604020202020204" pitchFamily="34" charset="0"/>
                </a:rPr>
                <a:t> &amp; Student </a:t>
              </a:r>
              <a:r>
                <a:rPr lang="nl-NL" sz="700" kern="0" dirty="0" err="1">
                  <a:solidFill>
                    <a:prstClr val="white"/>
                  </a:solidFill>
                  <a:latin typeface="+mj-lt"/>
                  <a:ea typeface="Verdana" panose="020B0604030504040204" pitchFamily="34" charset="0"/>
                  <a:cs typeface="Arial" panose="020B0604020202020204" pitchFamily="34" charset="0"/>
                </a:rPr>
                <a:t>Affairs</a:t>
              </a:r>
              <a:r>
                <a:rPr lang="nl-NL" sz="700" kern="0" dirty="0">
                  <a:solidFill>
                    <a:prstClr val="white"/>
                  </a:solidFill>
                  <a:latin typeface="+mj-lt"/>
                  <a:ea typeface="Verdana" panose="020B0604030504040204" pitchFamily="34" charset="0"/>
                  <a:cs typeface="Arial" panose="020B0604020202020204" pitchFamily="34" charset="0"/>
                </a:rPr>
                <a:t> (ESA)</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Human Resources (HR)</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ICT (ICT)</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Finance (Fin)</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Campus Real </a:t>
              </a:r>
              <a:r>
                <a:rPr lang="nl-NL" sz="700" kern="0" dirty="0" err="1">
                  <a:solidFill>
                    <a:prstClr val="white"/>
                  </a:solidFill>
                  <a:latin typeface="+mj-lt"/>
                  <a:ea typeface="Verdana" panose="020B0604030504040204" pitchFamily="34" charset="0"/>
                  <a:cs typeface="Arial" panose="020B0604020202020204" pitchFamily="34" charset="0"/>
                </a:rPr>
                <a:t>Estate</a:t>
              </a:r>
              <a:r>
                <a:rPr lang="nl-NL" sz="700" kern="0" dirty="0">
                  <a:solidFill>
                    <a:prstClr val="white"/>
                  </a:solidFill>
                  <a:latin typeface="+mj-lt"/>
                  <a:ea typeface="Verdana" panose="020B0604030504040204" pitchFamily="34" charset="0"/>
                  <a:cs typeface="Arial" panose="020B0604020202020204" pitchFamily="34" charset="0"/>
                </a:rPr>
                <a:t> &amp; Facility Management (CREFM)</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TU Delft Library (</a:t>
              </a:r>
              <a:r>
                <a:rPr lang="nl-NL" sz="700" kern="0" dirty="0" err="1">
                  <a:solidFill>
                    <a:prstClr val="white"/>
                  </a:solidFill>
                  <a:latin typeface="+mj-lt"/>
                  <a:ea typeface="Verdana" panose="020B0604030504040204" pitchFamily="34" charset="0"/>
                  <a:cs typeface="Arial" panose="020B0604020202020204" pitchFamily="34" charset="0"/>
                </a:rPr>
                <a:t>Lib</a:t>
              </a:r>
              <a:r>
                <a:rPr lang="nl-NL" sz="700" kern="0" dirty="0">
                  <a:solidFill>
                    <a:prstClr val="white"/>
                  </a:solidFill>
                  <a:latin typeface="+mj-lt"/>
                  <a:ea typeface="Verdana" panose="020B0604030504040204" pitchFamily="34" charset="0"/>
                  <a:cs typeface="Arial" panose="020B0604020202020204" pitchFamily="34" charset="0"/>
                </a:rPr>
                <a:t>)</a:t>
              </a:r>
            </a:p>
            <a:p>
              <a:pPr defTabSz="609341" fontAlgn="base">
                <a:spcBef>
                  <a:spcPct val="0"/>
                </a:spcBef>
                <a:spcAft>
                  <a:spcPts val="300"/>
                </a:spcAft>
                <a:defRPr/>
              </a:pPr>
              <a:r>
                <a:rPr lang="nl-NL" sz="800" b="1" kern="0" dirty="0">
                  <a:solidFill>
                    <a:prstClr val="white"/>
                  </a:solidFill>
                  <a:latin typeface="+mj-lt"/>
                  <a:ea typeface="Verdana" panose="020B0604030504040204" pitchFamily="34" charset="0"/>
                  <a:cs typeface="Arial" panose="020B0604020202020204" pitchFamily="34" charset="0"/>
                </a:rPr>
                <a:t> </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Electronic &amp; </a:t>
              </a:r>
              <a:r>
                <a:rPr lang="nl-NL" sz="700" kern="0" dirty="0" err="1">
                  <a:solidFill>
                    <a:prstClr val="white"/>
                  </a:solidFill>
                  <a:latin typeface="+mj-lt"/>
                  <a:ea typeface="Verdana" panose="020B0604030504040204" pitchFamily="34" charset="0"/>
                  <a:cs typeface="Arial" panose="020B0604020202020204" pitchFamily="34" charset="0"/>
                </a:rPr>
                <a:t>Mechanical</a:t>
              </a:r>
              <a:r>
                <a:rPr lang="nl-NL" sz="700" kern="0" dirty="0">
                  <a:solidFill>
                    <a:prstClr val="white"/>
                  </a:solidFill>
                  <a:latin typeface="+mj-lt"/>
                  <a:ea typeface="Verdana" panose="020B0604030504040204" pitchFamily="34" charset="0"/>
                  <a:cs typeface="Arial" panose="020B0604020202020204" pitchFamily="34" charset="0"/>
                </a:rPr>
                <a:t> Support (EMS)</a:t>
              </a:r>
            </a:p>
            <a:p>
              <a:pPr marL="171450" indent="-171450" defTabSz="609341" fontAlgn="base">
                <a:spcBef>
                  <a:spcPct val="0"/>
                </a:spcBef>
                <a:spcAft>
                  <a:spcPct val="0"/>
                </a:spcAft>
                <a:buFont typeface="Arial" panose="020B0604020202020204" pitchFamily="34" charset="0"/>
                <a:buChar char="•"/>
                <a:defRPr/>
              </a:pPr>
              <a:endParaRPr lang="nl-NL" sz="700"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endParaRPr lang="nl-NL" sz="800" b="1"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endParaRPr lang="nl-NL" sz="700" b="1"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r>
                <a:rPr lang="nl-NL" sz="800" b="1" kern="0" dirty="0">
                  <a:solidFill>
                    <a:prstClr val="white"/>
                  </a:solidFill>
                  <a:latin typeface="+mj-lt"/>
                  <a:ea typeface="Verdana" panose="020B0604030504040204" pitchFamily="34" charset="0"/>
                  <a:cs typeface="Arial" panose="020B0604020202020204" pitchFamily="34" charset="0"/>
                </a:rPr>
                <a:t>Programme </a:t>
              </a:r>
              <a:r>
                <a:rPr lang="nl-NL" sz="800" b="1" kern="0" dirty="0" err="1">
                  <a:solidFill>
                    <a:prstClr val="white"/>
                  </a:solidFill>
                  <a:latin typeface="+mj-lt"/>
                  <a:ea typeface="Verdana" panose="020B0604030504040204" pitchFamily="34" charset="0"/>
                  <a:cs typeface="Arial" panose="020B0604020202020204" pitchFamily="34" charset="0"/>
                </a:rPr>
                <a:t>directorate</a:t>
              </a:r>
              <a:endParaRPr lang="nl-NL" sz="800" b="1"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ct val="0"/>
                </a:spcAft>
                <a:defRPr/>
              </a:pPr>
              <a:r>
                <a:rPr lang="en-GB" sz="700" kern="0" dirty="0">
                  <a:solidFill>
                    <a:prstClr val="white"/>
                  </a:solidFill>
                  <a:latin typeface="+mj-lt"/>
                  <a:ea typeface="Verdana" panose="020B0604030504040204" pitchFamily="34" charset="0"/>
                  <a:cs typeface="Arial" panose="020B0604020202020204" pitchFamily="34" charset="0"/>
                </a:rPr>
                <a:t>Innovation &amp; Impact Centre (IIC)</a:t>
              </a:r>
            </a:p>
            <a:p>
              <a:pPr defTabSz="609341" fontAlgn="base">
                <a:spcBef>
                  <a:spcPct val="0"/>
                </a:spcBef>
                <a:spcAft>
                  <a:spcPct val="0"/>
                </a:spcAft>
                <a:defRPr/>
              </a:pPr>
              <a:r>
                <a:rPr lang="en-GB" sz="700" kern="0" dirty="0">
                  <a:solidFill>
                    <a:prstClr val="white"/>
                  </a:solidFill>
                  <a:latin typeface="+mj-lt"/>
                  <a:ea typeface="Verdana" panose="020B0604030504040204" pitchFamily="34" charset="0"/>
                  <a:cs typeface="Arial" panose="020B0604020202020204" pitchFamily="34" charset="0"/>
                </a:rPr>
                <a:t>Extension School for Continuing </a:t>
              </a:r>
            </a:p>
            <a:p>
              <a:pPr defTabSz="609341" fontAlgn="base">
                <a:spcBef>
                  <a:spcPct val="0"/>
                </a:spcBef>
                <a:spcAft>
                  <a:spcPct val="0"/>
                </a:spcAft>
                <a:defRPr/>
              </a:pPr>
              <a:r>
                <a:rPr lang="en-GB" sz="700" kern="0" dirty="0">
                  <a:solidFill>
                    <a:prstClr val="white"/>
                  </a:solidFill>
                  <a:latin typeface="+mj-lt"/>
                  <a:ea typeface="Verdana" panose="020B0604030504040204" pitchFamily="34" charset="0"/>
                  <a:cs typeface="Arial" panose="020B0604020202020204" pitchFamily="34" charset="0"/>
                </a:rPr>
                <a:t>Education</a:t>
              </a:r>
            </a:p>
          </p:txBody>
        </p:sp>
        <p:cxnSp>
          <p:nvCxnSpPr>
            <p:cNvPr id="317" name="Gebogen verbindingslijn 6">
              <a:extLst>
                <a:ext uri="{FF2B5EF4-FFF2-40B4-BE49-F238E27FC236}">
                  <a16:creationId xmlns:a16="http://schemas.microsoft.com/office/drawing/2014/main" id="{283B821E-F8FD-3121-4FD5-57B25A89CC75}"/>
                </a:ext>
              </a:extLst>
            </p:cNvPr>
            <p:cNvCxnSpPr>
              <a:cxnSpLocks/>
              <a:endCxn id="316" idx="0"/>
            </p:cNvCxnSpPr>
            <p:nvPr/>
          </p:nvCxnSpPr>
          <p:spPr>
            <a:xfrm rot="5400000">
              <a:off x="3573644" y="1946409"/>
              <a:ext cx="1271414" cy="3505076"/>
            </a:xfrm>
            <a:prstGeom prst="bentConnector3">
              <a:avLst>
                <a:gd name="adj1" fmla="val 93152"/>
              </a:avLst>
            </a:prstGeom>
            <a:noFill/>
            <a:ln w="12700" cap="flat" cmpd="sng" algn="ctr">
              <a:solidFill>
                <a:schemeClr val="bg1">
                  <a:lumMod val="75000"/>
                </a:schemeClr>
              </a:solidFill>
              <a:prstDash val="solid"/>
            </a:ln>
            <a:effectLst/>
          </p:spPr>
        </p:cxnSp>
        <p:cxnSp>
          <p:nvCxnSpPr>
            <p:cNvPr id="323" name="Gebogen verbindingslijn 6">
              <a:extLst>
                <a:ext uri="{FF2B5EF4-FFF2-40B4-BE49-F238E27FC236}">
                  <a16:creationId xmlns:a16="http://schemas.microsoft.com/office/drawing/2014/main" id="{F29058EB-8751-E5E2-406E-BD058013502E}"/>
                </a:ext>
              </a:extLst>
            </p:cNvPr>
            <p:cNvCxnSpPr>
              <a:cxnSpLocks/>
              <a:endCxn id="306" idx="0"/>
            </p:cNvCxnSpPr>
            <p:nvPr/>
          </p:nvCxnSpPr>
          <p:spPr>
            <a:xfrm rot="16200000" flipH="1">
              <a:off x="7348849" y="1942472"/>
              <a:ext cx="1271415" cy="3512950"/>
            </a:xfrm>
            <a:prstGeom prst="bentConnector3">
              <a:avLst>
                <a:gd name="adj1" fmla="val 92353"/>
              </a:avLst>
            </a:prstGeom>
            <a:noFill/>
            <a:ln w="12700" cap="flat" cmpd="sng" algn="ctr">
              <a:solidFill>
                <a:schemeClr val="bg1">
                  <a:lumMod val="75000"/>
                </a:schemeClr>
              </a:solidFill>
              <a:prstDash val="solid"/>
            </a:ln>
            <a:effectLst/>
          </p:spPr>
        </p:cxnSp>
        <p:cxnSp>
          <p:nvCxnSpPr>
            <p:cNvPr id="327" name="Gebogen verbindingslijn 6">
              <a:extLst>
                <a:ext uri="{FF2B5EF4-FFF2-40B4-BE49-F238E27FC236}">
                  <a16:creationId xmlns:a16="http://schemas.microsoft.com/office/drawing/2014/main" id="{A7C3CFCC-1935-B46B-C7F2-2D5C7ABA641D}"/>
                </a:ext>
              </a:extLst>
            </p:cNvPr>
            <p:cNvCxnSpPr>
              <a:cxnSpLocks/>
              <a:endCxn id="315" idx="0"/>
            </p:cNvCxnSpPr>
            <p:nvPr/>
          </p:nvCxnSpPr>
          <p:spPr>
            <a:xfrm>
              <a:off x="6096000" y="3063238"/>
              <a:ext cx="0" cy="1271416"/>
            </a:xfrm>
            <a:prstGeom prst="straightConnector1">
              <a:avLst/>
            </a:prstGeom>
            <a:noFill/>
            <a:ln w="12700" cap="flat" cmpd="sng" algn="ctr">
              <a:solidFill>
                <a:schemeClr val="bg1">
                  <a:lumMod val="75000"/>
                </a:schemeClr>
              </a:solidFill>
              <a:prstDash val="solid"/>
            </a:ln>
            <a:effectLst/>
          </p:spPr>
        </p:cxnSp>
        <p:cxnSp>
          <p:nvCxnSpPr>
            <p:cNvPr id="334" name="Gebogen verbindingslijn 6">
              <a:extLst>
                <a:ext uri="{FF2B5EF4-FFF2-40B4-BE49-F238E27FC236}">
                  <a16:creationId xmlns:a16="http://schemas.microsoft.com/office/drawing/2014/main" id="{795FEB90-2BC7-89AD-D73C-F8BD7EB2885B}"/>
                </a:ext>
              </a:extLst>
            </p:cNvPr>
            <p:cNvCxnSpPr>
              <a:cxnSpLocks/>
              <a:stCxn id="311" idx="3"/>
              <a:endCxn id="309" idx="3"/>
            </p:cNvCxnSpPr>
            <p:nvPr/>
          </p:nvCxnSpPr>
          <p:spPr>
            <a:xfrm flipV="1">
              <a:off x="4186750" y="2340233"/>
              <a:ext cx="12700" cy="1087120"/>
            </a:xfrm>
            <a:prstGeom prst="bentConnector3">
              <a:avLst>
                <a:gd name="adj1" fmla="val 1800000"/>
              </a:avLst>
            </a:prstGeom>
            <a:noFill/>
            <a:ln w="9525" cap="flat" cmpd="sng" algn="ctr">
              <a:solidFill>
                <a:srgbClr val="BFBFBF"/>
              </a:solidFill>
              <a:prstDash val="dash"/>
            </a:ln>
            <a:effectLst/>
          </p:spPr>
        </p:cxnSp>
        <p:cxnSp>
          <p:nvCxnSpPr>
            <p:cNvPr id="338" name="Gebogen verbindingslijn 6">
              <a:extLst>
                <a:ext uri="{FF2B5EF4-FFF2-40B4-BE49-F238E27FC236}">
                  <a16:creationId xmlns:a16="http://schemas.microsoft.com/office/drawing/2014/main" id="{255D3019-38FB-DD70-DC32-59C7B1DE1A02}"/>
                </a:ext>
              </a:extLst>
            </p:cNvPr>
            <p:cNvCxnSpPr>
              <a:cxnSpLocks/>
              <a:stCxn id="310" idx="3"/>
              <a:endCxn id="302" idx="1"/>
            </p:cNvCxnSpPr>
            <p:nvPr/>
          </p:nvCxnSpPr>
          <p:spPr>
            <a:xfrm flipV="1">
              <a:off x="4186750" y="2878713"/>
              <a:ext cx="1002472" cy="10160"/>
            </a:xfrm>
            <a:prstGeom prst="straightConnector1">
              <a:avLst/>
            </a:prstGeom>
            <a:noFill/>
            <a:ln w="9525" cap="flat" cmpd="sng" algn="ctr">
              <a:solidFill>
                <a:srgbClr val="BFBFBF"/>
              </a:solidFill>
              <a:prstDash val="dash"/>
            </a:ln>
            <a:effectLst/>
          </p:spPr>
        </p:cxnSp>
        <p:cxnSp>
          <p:nvCxnSpPr>
            <p:cNvPr id="341" name="Gebogen verbindingslijn 6">
              <a:extLst>
                <a:ext uri="{FF2B5EF4-FFF2-40B4-BE49-F238E27FC236}">
                  <a16:creationId xmlns:a16="http://schemas.microsoft.com/office/drawing/2014/main" id="{F21E5438-30B6-C558-51F7-81F9D1EAF491}"/>
                </a:ext>
              </a:extLst>
            </p:cNvPr>
            <p:cNvCxnSpPr>
              <a:cxnSpLocks/>
              <a:stCxn id="314" idx="1"/>
              <a:endCxn id="312" idx="1"/>
            </p:cNvCxnSpPr>
            <p:nvPr/>
          </p:nvCxnSpPr>
          <p:spPr>
            <a:xfrm rot="10800000">
              <a:off x="8010063" y="2340233"/>
              <a:ext cx="12700" cy="1087120"/>
            </a:xfrm>
            <a:prstGeom prst="bentConnector3">
              <a:avLst>
                <a:gd name="adj1" fmla="val 1800000"/>
              </a:avLst>
            </a:prstGeom>
            <a:noFill/>
            <a:ln w="9525" cap="flat" cmpd="sng" algn="ctr">
              <a:solidFill>
                <a:srgbClr val="BFBFBF"/>
              </a:solidFill>
              <a:prstDash val="dash"/>
            </a:ln>
            <a:effectLst/>
          </p:spPr>
        </p:cxnSp>
        <p:cxnSp>
          <p:nvCxnSpPr>
            <p:cNvPr id="344" name="Gebogen verbindingslijn 6">
              <a:extLst>
                <a:ext uri="{FF2B5EF4-FFF2-40B4-BE49-F238E27FC236}">
                  <a16:creationId xmlns:a16="http://schemas.microsoft.com/office/drawing/2014/main" id="{4FB5606E-B01C-3CB1-858E-B5A87E95560F}"/>
                </a:ext>
              </a:extLst>
            </p:cNvPr>
            <p:cNvCxnSpPr>
              <a:cxnSpLocks/>
              <a:stCxn id="302" idx="3"/>
              <a:endCxn id="313" idx="1"/>
            </p:cNvCxnSpPr>
            <p:nvPr/>
          </p:nvCxnSpPr>
          <p:spPr>
            <a:xfrm>
              <a:off x="7002780" y="2878713"/>
              <a:ext cx="1007283" cy="10160"/>
            </a:xfrm>
            <a:prstGeom prst="straightConnector1">
              <a:avLst/>
            </a:prstGeom>
            <a:noFill/>
            <a:ln w="9525" cap="flat" cmpd="sng" algn="ctr">
              <a:solidFill>
                <a:srgbClr val="BFBFBF"/>
              </a:solidFill>
              <a:prstDash val="dash"/>
            </a:ln>
            <a:effectLst/>
          </p:spPr>
        </p:cxnSp>
        <p:cxnSp>
          <p:nvCxnSpPr>
            <p:cNvPr id="347" name="Gebogen verbindingslijn 6">
              <a:extLst>
                <a:ext uri="{FF2B5EF4-FFF2-40B4-BE49-F238E27FC236}">
                  <a16:creationId xmlns:a16="http://schemas.microsoft.com/office/drawing/2014/main" id="{7E85DE19-6056-EEAE-7720-B4DA2EF0CBB4}"/>
                </a:ext>
              </a:extLst>
            </p:cNvPr>
            <p:cNvCxnSpPr>
              <a:cxnSpLocks/>
              <a:stCxn id="301" idx="2"/>
              <a:endCxn id="302" idx="0"/>
            </p:cNvCxnSpPr>
            <p:nvPr/>
          </p:nvCxnSpPr>
          <p:spPr>
            <a:xfrm>
              <a:off x="6096001" y="2514600"/>
              <a:ext cx="0" cy="179586"/>
            </a:xfrm>
            <a:prstGeom prst="straightConnector1">
              <a:avLst/>
            </a:prstGeom>
            <a:noFill/>
            <a:ln w="12700" cap="flat" cmpd="sng" algn="ctr">
              <a:solidFill>
                <a:schemeClr val="bg1">
                  <a:lumMod val="75000"/>
                </a:schemeClr>
              </a:solidFill>
              <a:prstDash val="solid"/>
            </a:ln>
            <a:effectLst/>
          </p:spPr>
        </p:cxnSp>
        <p:cxnSp>
          <p:nvCxnSpPr>
            <p:cNvPr id="350" name="Gebogen verbindingslijn 6">
              <a:extLst>
                <a:ext uri="{FF2B5EF4-FFF2-40B4-BE49-F238E27FC236}">
                  <a16:creationId xmlns:a16="http://schemas.microsoft.com/office/drawing/2014/main" id="{E7B72E2E-8693-7ABA-3EA6-9190BF465691}"/>
                </a:ext>
              </a:extLst>
            </p:cNvPr>
            <p:cNvCxnSpPr>
              <a:cxnSpLocks/>
              <a:stCxn id="300" idx="2"/>
              <a:endCxn id="301" idx="0"/>
            </p:cNvCxnSpPr>
            <p:nvPr/>
          </p:nvCxnSpPr>
          <p:spPr>
            <a:xfrm>
              <a:off x="6096001" y="1973580"/>
              <a:ext cx="0" cy="171966"/>
            </a:xfrm>
            <a:prstGeom prst="straightConnector1">
              <a:avLst/>
            </a:prstGeom>
            <a:noFill/>
            <a:ln w="12700" cap="flat" cmpd="sng" algn="ctr">
              <a:solidFill>
                <a:schemeClr val="bg1">
                  <a:lumMod val="75000"/>
                </a:schemeClr>
              </a:solidFill>
              <a:prstDash val="solid"/>
            </a:ln>
            <a:effectLst/>
          </p:spPr>
        </p:cxnSp>
        <p:sp>
          <p:nvSpPr>
            <p:cNvPr id="302" name="Rechthoek 301">
              <a:extLst>
                <a:ext uri="{FF2B5EF4-FFF2-40B4-BE49-F238E27FC236}">
                  <a16:creationId xmlns:a16="http://schemas.microsoft.com/office/drawing/2014/main" id="{681A5D22-0319-3C9F-0DB6-0AA2704C7BF9}"/>
                </a:ext>
              </a:extLst>
            </p:cNvPr>
            <p:cNvSpPr/>
            <p:nvPr/>
          </p:nvSpPr>
          <p:spPr>
            <a:xfrm>
              <a:off x="5189222" y="2694186"/>
              <a:ext cx="1813558"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Executive Board</a:t>
              </a:r>
            </a:p>
          </p:txBody>
        </p:sp>
        <p:cxnSp>
          <p:nvCxnSpPr>
            <p:cNvPr id="266" name="Gebogen verbindingslijn 6">
              <a:extLst>
                <a:ext uri="{FF2B5EF4-FFF2-40B4-BE49-F238E27FC236}">
                  <a16:creationId xmlns:a16="http://schemas.microsoft.com/office/drawing/2014/main" id="{27C7CB8C-E5FC-433D-0CDD-06AD8F79C480}"/>
                </a:ext>
              </a:extLst>
            </p:cNvPr>
            <p:cNvCxnSpPr>
              <a:cxnSpLocks/>
            </p:cNvCxnSpPr>
            <p:nvPr/>
          </p:nvCxnSpPr>
          <p:spPr>
            <a:xfrm rot="5400000">
              <a:off x="4546104" y="2703887"/>
              <a:ext cx="912753" cy="1631459"/>
            </a:xfrm>
            <a:prstGeom prst="bentConnector2">
              <a:avLst/>
            </a:prstGeom>
            <a:noFill/>
            <a:ln w="12700" cap="flat" cmpd="sng" algn="ctr">
              <a:solidFill>
                <a:schemeClr val="bg1">
                  <a:lumMod val="75000"/>
                </a:schemeClr>
              </a:solidFill>
              <a:prstDash val="solid"/>
            </a:ln>
            <a:effectLst/>
          </p:spPr>
        </p:cxnSp>
      </p:grpSp>
    </p:spTree>
    <p:custDataLst>
      <p:tags r:id="rId1"/>
    </p:custDataLst>
    <p:extLst>
      <p:ext uri="{BB962C8B-B14F-4D97-AF65-F5344CB8AC3E}">
        <p14:creationId xmlns:p14="http://schemas.microsoft.com/office/powerpoint/2010/main" val="349415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267"/>
                                        </p:tgtEl>
                                        <p:attrNameLst>
                                          <p:attrName>style.visibility</p:attrName>
                                        </p:attrNameLst>
                                      </p:cBhvr>
                                      <p:to>
                                        <p:strVal val="visible"/>
                                      </p:to>
                                    </p:set>
                                    <p:animEffect transition="in" filter="wipe(up)">
                                      <p:cBhvr>
                                        <p:cTn id="7" dur="10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7E69FCFB-816C-8EF9-32CC-26D8EF951B15}"/>
              </a:ext>
            </a:extLst>
          </p:cNvPr>
          <p:cNvSpPr>
            <a:spLocks/>
          </p:cNvSpPr>
          <p:nvPr/>
        </p:nvSpPr>
        <p:spPr>
          <a:xfrm>
            <a:off x="0" y="0"/>
            <a:ext cx="4063998" cy="6000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7" name="Rechthoek 26">
            <a:extLst>
              <a:ext uri="{FF2B5EF4-FFF2-40B4-BE49-F238E27FC236}">
                <a16:creationId xmlns:a16="http://schemas.microsoft.com/office/drawing/2014/main" id="{D9C7153E-5388-3DA5-12D7-90185CD56D88}"/>
              </a:ext>
            </a:extLst>
          </p:cNvPr>
          <p:cNvSpPr>
            <a:spLocks/>
          </p:cNvSpPr>
          <p:nvPr/>
        </p:nvSpPr>
        <p:spPr>
          <a:xfrm>
            <a:off x="4063998" y="0"/>
            <a:ext cx="4063998" cy="6000750"/>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28" name="Rechthoek 27">
            <a:extLst>
              <a:ext uri="{FF2B5EF4-FFF2-40B4-BE49-F238E27FC236}">
                <a16:creationId xmlns:a16="http://schemas.microsoft.com/office/drawing/2014/main" id="{E8B51231-F7A0-0B1E-D0D1-5C5FE3DE27B9}"/>
              </a:ext>
            </a:extLst>
          </p:cNvPr>
          <p:cNvSpPr>
            <a:spLocks/>
          </p:cNvSpPr>
          <p:nvPr/>
        </p:nvSpPr>
        <p:spPr>
          <a:xfrm>
            <a:off x="8128002" y="0"/>
            <a:ext cx="4063998" cy="600075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52" name="Rechthoek 51">
            <a:extLst>
              <a:ext uri="{FF2B5EF4-FFF2-40B4-BE49-F238E27FC236}">
                <a16:creationId xmlns:a16="http://schemas.microsoft.com/office/drawing/2014/main" id="{300F04B1-D0B8-32ED-980F-17B9E651C491}"/>
              </a:ext>
            </a:extLst>
          </p:cNvPr>
          <p:cNvSpPr>
            <a:spLocks/>
          </p:cNvSpPr>
          <p:nvPr/>
        </p:nvSpPr>
        <p:spPr>
          <a:xfrm>
            <a:off x="0" y="2998350"/>
            <a:ext cx="4063998" cy="30024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53" name="Rechthoek 52">
            <a:extLst>
              <a:ext uri="{FF2B5EF4-FFF2-40B4-BE49-F238E27FC236}">
                <a16:creationId xmlns:a16="http://schemas.microsoft.com/office/drawing/2014/main" id="{ADFF7793-781A-415B-C53C-66E75CEFB139}"/>
              </a:ext>
            </a:extLst>
          </p:cNvPr>
          <p:cNvSpPr>
            <a:spLocks/>
          </p:cNvSpPr>
          <p:nvPr/>
        </p:nvSpPr>
        <p:spPr>
          <a:xfrm>
            <a:off x="4063998" y="2998350"/>
            <a:ext cx="4063998" cy="300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59" name="Rechthoek 58">
            <a:extLst>
              <a:ext uri="{FF2B5EF4-FFF2-40B4-BE49-F238E27FC236}">
                <a16:creationId xmlns:a16="http://schemas.microsoft.com/office/drawing/2014/main" id="{7B87EDA4-F06A-B838-0CA4-5B17DCED4746}"/>
              </a:ext>
            </a:extLst>
          </p:cNvPr>
          <p:cNvSpPr>
            <a:spLocks/>
          </p:cNvSpPr>
          <p:nvPr/>
        </p:nvSpPr>
        <p:spPr>
          <a:xfrm>
            <a:off x="8128002" y="2998350"/>
            <a:ext cx="4063998" cy="3002400"/>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88" name="Vrije vorm: vorm 87">
            <a:extLst>
              <a:ext uri="{FF2B5EF4-FFF2-40B4-BE49-F238E27FC236}">
                <a16:creationId xmlns:a16="http://schemas.microsoft.com/office/drawing/2014/main" id="{1642452A-F282-C97A-DA93-B7FF836C7009}"/>
              </a:ext>
            </a:extLst>
          </p:cNvPr>
          <p:cNvSpPr/>
          <p:nvPr/>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2" name="Tijdelijke aanduiding voor dianummer 1">
            <a:extLst>
              <a:ext uri="{FF2B5EF4-FFF2-40B4-BE49-F238E27FC236}">
                <a16:creationId xmlns:a16="http://schemas.microsoft.com/office/drawing/2014/main" id="{97448538-751C-711F-4378-A0CC5F9561E9}"/>
              </a:ext>
            </a:extLst>
          </p:cNvPr>
          <p:cNvSpPr>
            <a:spLocks noGrp="1"/>
          </p:cNvSpPr>
          <p:nvPr>
            <p:ph type="sldNum" sz="quarter" idx="20"/>
          </p:nvPr>
        </p:nvSpPr>
        <p:spPr/>
        <p:txBody>
          <a:bodyPr/>
          <a:lstStyle/>
          <a:p>
            <a:fld id="{9E843DB9-9987-4157-AB9C-CEA8D7D910BB}" type="slidenum">
              <a:rPr lang="en-GB" smtClean="0"/>
              <a:pPr/>
              <a:t>26</a:t>
            </a:fld>
            <a:endParaRPr lang="en-GB" dirty="0"/>
          </a:p>
        </p:txBody>
      </p:sp>
      <p:sp>
        <p:nvSpPr>
          <p:cNvPr id="68" name="Tekstvak 67">
            <a:extLst>
              <a:ext uri="{FF2B5EF4-FFF2-40B4-BE49-F238E27FC236}">
                <a16:creationId xmlns:a16="http://schemas.microsoft.com/office/drawing/2014/main" id="{98486A5F-3CFE-1F65-4453-69B057131D9B}"/>
              </a:ext>
            </a:extLst>
          </p:cNvPr>
          <p:cNvSpPr txBox="1"/>
          <p:nvPr/>
        </p:nvSpPr>
        <p:spPr>
          <a:xfrm>
            <a:off x="882934" y="175360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dirty="0" err="1">
                <a:ln>
                  <a:noFill/>
                </a:ln>
                <a:solidFill>
                  <a:schemeClr val="bg1"/>
                </a:solidFill>
                <a:effectLst/>
                <a:uFillTx/>
                <a:latin typeface="Arial"/>
                <a:ea typeface="Arial"/>
                <a:cs typeface="Arial"/>
                <a:sym typeface="Arial"/>
              </a:rPr>
              <a:t>Students</a:t>
            </a:r>
            <a:r>
              <a:rPr kumimoji="0" lang="nl-NL" sz="1400" b="0" i="0" u="none" strike="noStrike" cap="none" spc="0" normalizeH="0" baseline="0" dirty="0">
                <a:ln>
                  <a:noFill/>
                </a:ln>
                <a:solidFill>
                  <a:schemeClr val="bg1"/>
                </a:solidFill>
                <a:effectLst/>
                <a:uFillTx/>
                <a:latin typeface="Arial"/>
                <a:ea typeface="Arial"/>
                <a:cs typeface="Arial"/>
                <a:sym typeface="Arial"/>
              </a:rPr>
              <a:t> | Dec-23</a:t>
            </a:r>
          </a:p>
        </p:txBody>
      </p:sp>
      <p:sp>
        <p:nvSpPr>
          <p:cNvPr id="71" name="Tekstvak 70">
            <a:extLst>
              <a:ext uri="{FF2B5EF4-FFF2-40B4-BE49-F238E27FC236}">
                <a16:creationId xmlns:a16="http://schemas.microsoft.com/office/drawing/2014/main" id="{CD4740E0-1F5D-08B9-0A3F-AB2B312DFF52}"/>
              </a:ext>
            </a:extLst>
          </p:cNvPr>
          <p:cNvSpPr txBox="1"/>
          <p:nvPr/>
        </p:nvSpPr>
        <p:spPr>
          <a:xfrm>
            <a:off x="72000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26.417</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77" name="Tekstvak 76">
            <a:extLst>
              <a:ext uri="{FF2B5EF4-FFF2-40B4-BE49-F238E27FC236}">
                <a16:creationId xmlns:a16="http://schemas.microsoft.com/office/drawing/2014/main" id="{709451C1-B24C-D027-84FE-8D50BE5126F2}"/>
              </a:ext>
            </a:extLst>
          </p:cNvPr>
          <p:cNvSpPr txBox="1"/>
          <p:nvPr/>
        </p:nvSpPr>
        <p:spPr>
          <a:xfrm>
            <a:off x="481956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3.325</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78" name="Tekstvak 77">
            <a:extLst>
              <a:ext uri="{FF2B5EF4-FFF2-40B4-BE49-F238E27FC236}">
                <a16:creationId xmlns:a16="http://schemas.microsoft.com/office/drawing/2014/main" id="{0C4187BD-66CD-C0C9-8433-453E9E8B8A17}"/>
              </a:ext>
            </a:extLst>
          </p:cNvPr>
          <p:cNvSpPr txBox="1"/>
          <p:nvPr/>
        </p:nvSpPr>
        <p:spPr>
          <a:xfrm>
            <a:off x="888864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7.128</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79" name="Tekstvak 78">
            <a:extLst>
              <a:ext uri="{FF2B5EF4-FFF2-40B4-BE49-F238E27FC236}">
                <a16:creationId xmlns:a16="http://schemas.microsoft.com/office/drawing/2014/main" id="{42AE24E1-1BB3-05B5-A017-92F0D7B942BD}"/>
              </a:ext>
            </a:extLst>
          </p:cNvPr>
          <p:cNvSpPr txBox="1"/>
          <p:nvPr/>
        </p:nvSpPr>
        <p:spPr>
          <a:xfrm>
            <a:off x="720000" y="3893987"/>
            <a:ext cx="2626367" cy="15696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408</a:t>
            </a:r>
          </a:p>
          <a:p>
            <a:pPr marL="0" marR="0" indent="0" algn="ctr" defTabSz="914400" rtl="0" fontAlgn="auto" latinLnBrk="0" hangingPunct="0">
              <a:lnSpc>
                <a:spcPct val="100000"/>
              </a:lnSpc>
              <a:spcBef>
                <a:spcPts val="0"/>
              </a:spcBef>
              <a:spcAft>
                <a:spcPts val="0"/>
              </a:spcAft>
              <a:buClrTx/>
              <a:buSzTx/>
              <a:buFontTx/>
              <a:buNone/>
              <a:tabLst/>
            </a:pP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80" name="Tekstvak 79">
            <a:extLst>
              <a:ext uri="{FF2B5EF4-FFF2-40B4-BE49-F238E27FC236}">
                <a16:creationId xmlns:a16="http://schemas.microsoft.com/office/drawing/2014/main" id="{DC57F79D-FD4E-692E-9862-575B32D7B615}"/>
              </a:ext>
            </a:extLst>
          </p:cNvPr>
          <p:cNvSpPr txBox="1"/>
          <p:nvPr/>
        </p:nvSpPr>
        <p:spPr>
          <a:xfrm>
            <a:off x="481956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7.267</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81" name="Tekstvak 80">
            <a:extLst>
              <a:ext uri="{FF2B5EF4-FFF2-40B4-BE49-F238E27FC236}">
                <a16:creationId xmlns:a16="http://schemas.microsoft.com/office/drawing/2014/main" id="{AD95D6CF-AFB0-68DD-C2F3-C1EE0A591660}"/>
              </a:ext>
            </a:extLst>
          </p:cNvPr>
          <p:cNvSpPr txBox="1"/>
          <p:nvPr/>
        </p:nvSpPr>
        <p:spPr>
          <a:xfrm>
            <a:off x="888864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4.389</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83" name="Tekstvak 82">
            <a:extLst>
              <a:ext uri="{FF2B5EF4-FFF2-40B4-BE49-F238E27FC236}">
                <a16:creationId xmlns:a16="http://schemas.microsoft.com/office/drawing/2014/main" id="{FCC8511B-A2FF-EF32-1AB7-CDD7155632FD}"/>
              </a:ext>
            </a:extLst>
          </p:cNvPr>
          <p:cNvSpPr txBox="1"/>
          <p:nvPr/>
        </p:nvSpPr>
        <p:spPr>
          <a:xfrm>
            <a:off x="4982494" y="175360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a:ln>
                  <a:noFill/>
                </a:ln>
                <a:solidFill>
                  <a:schemeClr val="bg1"/>
                </a:solidFill>
                <a:effectLst/>
                <a:uFillTx/>
                <a:latin typeface="Arial"/>
                <a:ea typeface="Arial"/>
                <a:cs typeface="Arial"/>
                <a:sym typeface="Arial"/>
              </a:rPr>
              <a:t>PHD </a:t>
            </a:r>
            <a:r>
              <a:rPr lang="nl-NL" sz="1400" dirty="0" err="1">
                <a:solidFill>
                  <a:schemeClr val="bg1"/>
                </a:solidFill>
                <a:latin typeface="Arial"/>
                <a:ea typeface="Arial"/>
                <a:cs typeface="Arial"/>
                <a:sym typeface="Arial"/>
              </a:rPr>
              <a:t>population</a:t>
            </a:r>
            <a:r>
              <a:rPr kumimoji="0" lang="nl-NL" sz="1400" b="0" i="0" u="none" strike="noStrike" cap="none" spc="0" normalizeH="0" baseline="0" dirty="0">
                <a:ln>
                  <a:noFill/>
                </a:ln>
                <a:solidFill>
                  <a:schemeClr val="bg1"/>
                </a:solidFill>
                <a:effectLst/>
                <a:uFillTx/>
                <a:latin typeface="Arial"/>
                <a:ea typeface="Arial"/>
                <a:cs typeface="Arial"/>
                <a:sym typeface="Arial"/>
              </a:rPr>
              <a:t> | </a:t>
            </a:r>
            <a:r>
              <a:rPr lang="nl-NL" sz="1400" dirty="0">
                <a:solidFill>
                  <a:schemeClr val="bg1"/>
                </a:solidFill>
                <a:ea typeface="Arial"/>
                <a:cs typeface="Arial"/>
                <a:sym typeface="Arial"/>
              </a:rPr>
              <a:t>Dec-23</a:t>
            </a:r>
            <a:endParaRPr kumimoji="0" lang="nl-NL" sz="1400" b="0" i="0" u="none" strike="noStrike" cap="none" spc="0" normalizeH="0" baseline="0" dirty="0">
              <a:ln>
                <a:noFill/>
              </a:ln>
              <a:solidFill>
                <a:schemeClr val="bg1"/>
              </a:solidFill>
              <a:effectLst/>
              <a:uFillTx/>
              <a:latin typeface="Arial"/>
              <a:ea typeface="Arial"/>
              <a:cs typeface="Arial"/>
              <a:sym typeface="Arial"/>
            </a:endParaRPr>
          </a:p>
        </p:txBody>
      </p:sp>
      <p:sp>
        <p:nvSpPr>
          <p:cNvPr id="84" name="Tekstvak 83">
            <a:extLst>
              <a:ext uri="{FF2B5EF4-FFF2-40B4-BE49-F238E27FC236}">
                <a16:creationId xmlns:a16="http://schemas.microsoft.com/office/drawing/2014/main" id="{5863DBBC-71D6-BC5E-E5B7-3E766B979644}"/>
              </a:ext>
            </a:extLst>
          </p:cNvPr>
          <p:cNvSpPr txBox="1"/>
          <p:nvPr/>
        </p:nvSpPr>
        <p:spPr>
          <a:xfrm>
            <a:off x="8927926" y="1753605"/>
            <a:ext cx="254779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a:ln>
                  <a:noFill/>
                </a:ln>
                <a:solidFill>
                  <a:schemeClr val="bg1"/>
                </a:solidFill>
                <a:effectLst/>
                <a:uFillTx/>
                <a:latin typeface="Arial"/>
                <a:ea typeface="Arial"/>
                <a:cs typeface="Arial"/>
                <a:sym typeface="Arial"/>
              </a:rPr>
              <a:t>BSC/MSC </a:t>
            </a:r>
            <a:r>
              <a:rPr kumimoji="0" lang="nl-NL" sz="1400" b="0" i="0" u="none" strike="noStrike" cap="none" spc="0" normalizeH="0" baseline="0" dirty="0" err="1">
                <a:ln>
                  <a:noFill/>
                </a:ln>
                <a:solidFill>
                  <a:schemeClr val="bg1"/>
                </a:solidFill>
                <a:effectLst/>
                <a:uFillTx/>
                <a:latin typeface="Arial"/>
                <a:ea typeface="Arial"/>
                <a:cs typeface="Arial"/>
                <a:sym typeface="Arial"/>
              </a:rPr>
              <a:t>degrees</a:t>
            </a:r>
            <a:r>
              <a:rPr kumimoji="0" lang="nl-NL" sz="1400" b="0" i="0" u="none" strike="noStrike" cap="none" spc="0" normalizeH="0" baseline="0" dirty="0">
                <a:ln>
                  <a:noFill/>
                </a:ln>
                <a:solidFill>
                  <a:schemeClr val="bg1"/>
                </a:solidFill>
                <a:effectLst/>
                <a:uFillTx/>
                <a:latin typeface="Arial"/>
                <a:ea typeface="Arial"/>
                <a:cs typeface="Arial"/>
                <a:sym typeface="Arial"/>
              </a:rPr>
              <a:t> | </a:t>
            </a:r>
            <a:r>
              <a:rPr lang="nl-NL" sz="1400" dirty="0">
                <a:solidFill>
                  <a:schemeClr val="bg1"/>
                </a:solidFill>
                <a:ea typeface="Arial"/>
                <a:cs typeface="Arial"/>
                <a:sym typeface="Arial"/>
              </a:rPr>
              <a:t>Dec-23</a:t>
            </a:r>
            <a:endParaRPr kumimoji="0" lang="nl-NL" sz="1400" b="0" i="0" u="none" strike="noStrike" cap="none" spc="0" normalizeH="0" baseline="0" dirty="0">
              <a:ln>
                <a:noFill/>
              </a:ln>
              <a:solidFill>
                <a:schemeClr val="bg1"/>
              </a:solidFill>
              <a:effectLst/>
              <a:uFillTx/>
              <a:latin typeface="Arial"/>
              <a:ea typeface="Arial"/>
              <a:cs typeface="Arial"/>
              <a:sym typeface="Arial"/>
            </a:endParaRPr>
          </a:p>
        </p:txBody>
      </p:sp>
      <p:sp>
        <p:nvSpPr>
          <p:cNvPr id="85" name="Tekstvak 84">
            <a:extLst>
              <a:ext uri="{FF2B5EF4-FFF2-40B4-BE49-F238E27FC236}">
                <a16:creationId xmlns:a16="http://schemas.microsoft.com/office/drawing/2014/main" id="{B133F50C-1D76-6344-F60E-3617087FDBF8}"/>
              </a:ext>
            </a:extLst>
          </p:cNvPr>
          <p:cNvSpPr txBox="1"/>
          <p:nvPr/>
        </p:nvSpPr>
        <p:spPr>
          <a:xfrm>
            <a:off x="744046" y="4740645"/>
            <a:ext cx="257827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a:ln>
                  <a:noFill/>
                </a:ln>
                <a:solidFill>
                  <a:schemeClr val="bg1"/>
                </a:solidFill>
                <a:effectLst/>
                <a:uFillTx/>
                <a:latin typeface="Arial"/>
                <a:ea typeface="Arial"/>
                <a:cs typeface="Arial"/>
                <a:sym typeface="Arial"/>
              </a:rPr>
              <a:t>PHD </a:t>
            </a:r>
            <a:r>
              <a:rPr kumimoji="0" lang="nl-NL" sz="1400" b="0" i="0" u="none" strike="noStrike" cap="none" spc="0" normalizeH="0" baseline="0" dirty="0" err="1">
                <a:ln>
                  <a:noFill/>
                </a:ln>
                <a:solidFill>
                  <a:schemeClr val="bg1"/>
                </a:solidFill>
                <a:effectLst/>
                <a:uFillTx/>
                <a:latin typeface="Arial"/>
                <a:ea typeface="Arial"/>
                <a:cs typeface="Arial"/>
                <a:sym typeface="Arial"/>
              </a:rPr>
              <a:t>defences</a:t>
            </a:r>
            <a:r>
              <a:rPr kumimoji="0" lang="nl-NL" sz="1400" b="0" i="0" u="none" strike="noStrike" cap="none" spc="0" normalizeH="0" baseline="0" dirty="0">
                <a:ln>
                  <a:noFill/>
                </a:ln>
                <a:solidFill>
                  <a:schemeClr val="bg1"/>
                </a:solidFill>
                <a:effectLst/>
                <a:uFillTx/>
                <a:latin typeface="Arial"/>
                <a:ea typeface="Arial"/>
                <a:cs typeface="Arial"/>
                <a:sym typeface="Arial"/>
              </a:rPr>
              <a:t> | </a:t>
            </a:r>
            <a:r>
              <a:rPr lang="nl-NL" sz="1400" dirty="0">
                <a:solidFill>
                  <a:schemeClr val="bg1"/>
                </a:solidFill>
                <a:ea typeface="Arial"/>
                <a:cs typeface="Arial"/>
                <a:sym typeface="Arial"/>
              </a:rPr>
              <a:t>Dec-23</a:t>
            </a:r>
            <a:endParaRPr kumimoji="0" lang="nl-NL" sz="1400" b="0" i="0" u="none" strike="noStrike" cap="none" spc="0" normalizeH="0" baseline="0" dirty="0">
              <a:ln>
                <a:noFill/>
              </a:ln>
              <a:solidFill>
                <a:schemeClr val="bg1"/>
              </a:solidFill>
              <a:effectLst/>
              <a:uFillTx/>
              <a:latin typeface="Arial"/>
              <a:ea typeface="Arial"/>
              <a:cs typeface="Arial"/>
              <a:sym typeface="Arial"/>
            </a:endParaRPr>
          </a:p>
        </p:txBody>
      </p:sp>
      <p:sp>
        <p:nvSpPr>
          <p:cNvPr id="86" name="Tekstvak 85">
            <a:extLst>
              <a:ext uri="{FF2B5EF4-FFF2-40B4-BE49-F238E27FC236}">
                <a16:creationId xmlns:a16="http://schemas.microsoft.com/office/drawing/2014/main" id="{36AA8717-AB10-88B1-04B8-F07331008C01}"/>
              </a:ext>
            </a:extLst>
          </p:cNvPr>
          <p:cNvSpPr txBox="1"/>
          <p:nvPr/>
        </p:nvSpPr>
        <p:spPr>
          <a:xfrm>
            <a:off x="4982494" y="474064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err="1">
                <a:ln>
                  <a:noFill/>
                </a:ln>
                <a:solidFill>
                  <a:schemeClr val="bg1"/>
                </a:solidFill>
                <a:effectLst/>
                <a:uFillTx/>
                <a:latin typeface="Arial"/>
                <a:ea typeface="Arial"/>
                <a:cs typeface="Arial"/>
                <a:sym typeface="Arial"/>
              </a:rPr>
              <a:t>Staff</a:t>
            </a:r>
            <a:r>
              <a:rPr kumimoji="0" lang="nl-NL" sz="1400" b="0" i="0" u="none" strike="noStrike" cap="none" spc="0" normalizeH="0" baseline="0" dirty="0">
                <a:ln>
                  <a:noFill/>
                </a:ln>
                <a:solidFill>
                  <a:schemeClr val="bg1"/>
                </a:solidFill>
                <a:effectLst/>
                <a:uFillTx/>
                <a:latin typeface="Arial"/>
                <a:ea typeface="Arial"/>
                <a:cs typeface="Arial"/>
                <a:sym typeface="Arial"/>
              </a:rPr>
              <a:t> | </a:t>
            </a:r>
            <a:r>
              <a:rPr lang="nl-NL" sz="1400" dirty="0">
                <a:solidFill>
                  <a:schemeClr val="bg1"/>
                </a:solidFill>
                <a:ea typeface="Arial"/>
                <a:cs typeface="Arial"/>
                <a:sym typeface="Arial"/>
              </a:rPr>
              <a:t>Dec-23</a:t>
            </a:r>
            <a:r>
              <a:rPr kumimoji="0" lang="nl-NL" sz="1400" b="0" i="0" u="none" strike="noStrike" cap="none" spc="0" normalizeH="0" baseline="0" dirty="0">
                <a:ln>
                  <a:noFill/>
                </a:ln>
                <a:solidFill>
                  <a:schemeClr val="bg1"/>
                </a:solidFill>
                <a:effectLst/>
                <a:uFillTx/>
                <a:latin typeface="Arial"/>
                <a:ea typeface="Arial"/>
                <a:cs typeface="Arial"/>
                <a:sym typeface="Arial"/>
              </a:rPr>
              <a:t> </a:t>
            </a:r>
          </a:p>
        </p:txBody>
      </p:sp>
      <p:sp>
        <p:nvSpPr>
          <p:cNvPr id="87" name="Tekstvak 86">
            <a:extLst>
              <a:ext uri="{FF2B5EF4-FFF2-40B4-BE49-F238E27FC236}">
                <a16:creationId xmlns:a16="http://schemas.microsoft.com/office/drawing/2014/main" id="{C67BE98D-8B20-AD4C-89D7-B38E65E2AAF0}"/>
              </a:ext>
            </a:extLst>
          </p:cNvPr>
          <p:cNvSpPr txBox="1"/>
          <p:nvPr/>
        </p:nvSpPr>
        <p:spPr>
          <a:xfrm>
            <a:off x="9051574" y="474064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a:ln>
                  <a:noFill/>
                </a:ln>
                <a:solidFill>
                  <a:schemeClr val="bg1"/>
                </a:solidFill>
                <a:effectLst/>
                <a:uFillTx/>
                <a:latin typeface="Arial"/>
                <a:ea typeface="Arial"/>
                <a:cs typeface="Arial"/>
                <a:sym typeface="Arial"/>
              </a:rPr>
              <a:t>Publications | </a:t>
            </a:r>
            <a:r>
              <a:rPr lang="nl-NL" sz="1400" dirty="0">
                <a:solidFill>
                  <a:schemeClr val="bg1"/>
                </a:solidFill>
                <a:ea typeface="Arial"/>
                <a:cs typeface="Arial"/>
                <a:sym typeface="Arial"/>
              </a:rPr>
              <a:t>Dec-23</a:t>
            </a:r>
            <a:endParaRPr kumimoji="0" lang="nl-NL" sz="1400" b="0" i="0" u="none" strike="noStrike" cap="none" spc="0" normalizeH="0" baseline="0" dirty="0">
              <a:ln>
                <a:noFill/>
              </a:ln>
              <a:solidFill>
                <a:schemeClr val="bg1"/>
              </a:solidFill>
              <a:effectLst/>
              <a:uFillTx/>
              <a:latin typeface="Arial"/>
              <a:ea typeface="Arial"/>
              <a:cs typeface="Arial"/>
              <a:sym typeface="Arial"/>
            </a:endParaRPr>
          </a:p>
        </p:txBody>
      </p:sp>
      <p:grpSp>
        <p:nvGrpSpPr>
          <p:cNvPr id="90" name="HYPER HOME">
            <a:extLst>
              <a:ext uri="{FF2B5EF4-FFF2-40B4-BE49-F238E27FC236}">
                <a16:creationId xmlns:a16="http://schemas.microsoft.com/office/drawing/2014/main" id="{8CCDAB27-B4FF-4A33-3F17-C94C04ED219F}"/>
              </a:ext>
            </a:extLst>
          </p:cNvPr>
          <p:cNvGrpSpPr/>
          <p:nvPr/>
        </p:nvGrpSpPr>
        <p:grpSpPr>
          <a:xfrm>
            <a:off x="11460480" y="0"/>
            <a:ext cx="731520" cy="731520"/>
            <a:chOff x="11460480" y="0"/>
            <a:chExt cx="731520" cy="731520"/>
          </a:xfrm>
        </p:grpSpPr>
        <p:pic>
          <p:nvPicPr>
            <p:cNvPr id="91" name="Graphic 90">
              <a:extLst>
                <a:ext uri="{FF2B5EF4-FFF2-40B4-BE49-F238E27FC236}">
                  <a16:creationId xmlns:a16="http://schemas.microsoft.com/office/drawing/2014/main" id="{A5C5381B-BA0D-90F6-70A7-C7D77465EA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92" name="Rechthoek 91">
              <a:hlinkClick r:id="rId5" action="ppaction://hlinksldjump"/>
              <a:extLst>
                <a:ext uri="{FF2B5EF4-FFF2-40B4-BE49-F238E27FC236}">
                  <a16:creationId xmlns:a16="http://schemas.microsoft.com/office/drawing/2014/main" id="{6185C45D-BDCF-6C1F-437A-8557141EEC92}"/>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58801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iterate type="lt">
                                    <p:tmPct val="10000"/>
                                  </p:iterate>
                                  <p:childTnLst>
                                    <p:set>
                                      <p:cBhvr>
                                        <p:cTn id="6" dur="1" fill="hold">
                                          <p:stCondLst>
                                            <p:cond delay="0"/>
                                          </p:stCondLst>
                                        </p:cTn>
                                        <p:tgtEl>
                                          <p:spTgt spid="71"/>
                                        </p:tgtEl>
                                        <p:attrNameLst>
                                          <p:attrName>style.visibility</p:attrName>
                                        </p:attrNameLst>
                                      </p:cBhvr>
                                      <p:to>
                                        <p:strVal val="visible"/>
                                      </p:to>
                                    </p:set>
                                    <p:animEffect transition="in" filter="wipe(right)">
                                      <p:cBhvr>
                                        <p:cTn id="7" dur="500"/>
                                        <p:tgtEl>
                                          <p:spTgt spid="71"/>
                                        </p:tgtEl>
                                      </p:cBhvr>
                                    </p:animEffect>
                                  </p:childTnLst>
                                </p:cTn>
                              </p:par>
                              <p:par>
                                <p:cTn id="8" presetID="10" presetClass="entr" presetSubtype="0" fill="hold" nodeType="withEffect">
                                  <p:stCondLst>
                                    <p:cond delay="0"/>
                                  </p:stCondLst>
                                  <p:childTnLst>
                                    <p:set>
                                      <p:cBhvr>
                                        <p:cTn id="9" dur="1" fill="hold">
                                          <p:stCondLst>
                                            <p:cond delay="0"/>
                                          </p:stCondLst>
                                        </p:cTn>
                                        <p:tgtEl>
                                          <p:spTgt spid="68">
                                            <p:txEl>
                                              <p:pRg st="0" end="0"/>
                                            </p:txEl>
                                          </p:spTgt>
                                        </p:tgtEl>
                                        <p:attrNameLst>
                                          <p:attrName>style.visibility</p:attrName>
                                        </p:attrNameLst>
                                      </p:cBhvr>
                                      <p:to>
                                        <p:strVal val="visible"/>
                                      </p:to>
                                    </p:set>
                                    <p:animEffect transition="in" filter="fade">
                                      <p:cBhvr>
                                        <p:cTn id="10" dur="500"/>
                                        <p:tgtEl>
                                          <p:spTgt spid="68">
                                            <p:txEl>
                                              <p:pRg st="0" end="0"/>
                                            </p:txEl>
                                          </p:spTgt>
                                        </p:tgtEl>
                                      </p:cBhvr>
                                    </p:animEffect>
                                  </p:childTnLst>
                                </p:cTn>
                              </p:par>
                              <p:par>
                                <p:cTn id="11" presetID="22" presetClass="entr" presetSubtype="2" fill="hold" grpId="0" nodeType="withEffect">
                                  <p:stCondLst>
                                    <p:cond delay="250"/>
                                  </p:stCondLst>
                                  <p:iterate type="lt">
                                    <p:tmPct val="10000"/>
                                  </p:iterate>
                                  <p:childTnLst>
                                    <p:set>
                                      <p:cBhvr>
                                        <p:cTn id="12" dur="1" fill="hold">
                                          <p:stCondLst>
                                            <p:cond delay="0"/>
                                          </p:stCondLst>
                                        </p:cTn>
                                        <p:tgtEl>
                                          <p:spTgt spid="77"/>
                                        </p:tgtEl>
                                        <p:attrNameLst>
                                          <p:attrName>style.visibility</p:attrName>
                                        </p:attrNameLst>
                                      </p:cBhvr>
                                      <p:to>
                                        <p:strVal val="visible"/>
                                      </p:to>
                                    </p:set>
                                    <p:animEffect transition="in" filter="wipe(right)">
                                      <p:cBhvr>
                                        <p:cTn id="13" dur="500"/>
                                        <p:tgtEl>
                                          <p:spTgt spid="77"/>
                                        </p:tgtEl>
                                      </p:cBhvr>
                                    </p:animEffect>
                                  </p:childTnLst>
                                </p:cTn>
                              </p:par>
                              <p:par>
                                <p:cTn id="14" presetID="22" presetClass="entr" presetSubtype="2" fill="hold" grpId="0" nodeType="withEffect">
                                  <p:stCondLst>
                                    <p:cond delay="500"/>
                                  </p:stCondLst>
                                  <p:iterate type="lt">
                                    <p:tmPct val="10000"/>
                                  </p:iterate>
                                  <p:childTnLst>
                                    <p:set>
                                      <p:cBhvr>
                                        <p:cTn id="15" dur="1" fill="hold">
                                          <p:stCondLst>
                                            <p:cond delay="0"/>
                                          </p:stCondLst>
                                        </p:cTn>
                                        <p:tgtEl>
                                          <p:spTgt spid="78"/>
                                        </p:tgtEl>
                                        <p:attrNameLst>
                                          <p:attrName>style.visibility</p:attrName>
                                        </p:attrNameLst>
                                      </p:cBhvr>
                                      <p:to>
                                        <p:strVal val="visible"/>
                                      </p:to>
                                    </p:set>
                                    <p:animEffect transition="in" filter="wipe(right)">
                                      <p:cBhvr>
                                        <p:cTn id="16" dur="500"/>
                                        <p:tgtEl>
                                          <p:spTgt spid="78"/>
                                        </p:tgtEl>
                                      </p:cBhvr>
                                    </p:animEffect>
                                  </p:childTnLst>
                                </p:cTn>
                              </p:par>
                              <p:par>
                                <p:cTn id="17" presetID="22" presetClass="entr" presetSubtype="2" fill="hold" grpId="0" nodeType="withEffect">
                                  <p:stCondLst>
                                    <p:cond delay="750"/>
                                  </p:stCondLst>
                                  <p:iterate type="lt">
                                    <p:tmPct val="10000"/>
                                  </p:iterate>
                                  <p:childTnLst>
                                    <p:set>
                                      <p:cBhvr>
                                        <p:cTn id="18" dur="1" fill="hold">
                                          <p:stCondLst>
                                            <p:cond delay="0"/>
                                          </p:stCondLst>
                                        </p:cTn>
                                        <p:tgtEl>
                                          <p:spTgt spid="79"/>
                                        </p:tgtEl>
                                        <p:attrNameLst>
                                          <p:attrName>style.visibility</p:attrName>
                                        </p:attrNameLst>
                                      </p:cBhvr>
                                      <p:to>
                                        <p:strVal val="visible"/>
                                      </p:to>
                                    </p:set>
                                    <p:animEffect transition="in" filter="wipe(right)">
                                      <p:cBhvr>
                                        <p:cTn id="19" dur="500"/>
                                        <p:tgtEl>
                                          <p:spTgt spid="79"/>
                                        </p:tgtEl>
                                      </p:cBhvr>
                                    </p:animEffect>
                                  </p:childTnLst>
                                </p:cTn>
                              </p:par>
                              <p:par>
                                <p:cTn id="20" presetID="22" presetClass="entr" presetSubtype="2" fill="hold" grpId="0" nodeType="withEffect">
                                  <p:stCondLst>
                                    <p:cond delay="1000"/>
                                  </p:stCondLst>
                                  <p:iterate type="lt">
                                    <p:tmPct val="10000"/>
                                  </p:iterate>
                                  <p:childTnLst>
                                    <p:set>
                                      <p:cBhvr>
                                        <p:cTn id="21" dur="1" fill="hold">
                                          <p:stCondLst>
                                            <p:cond delay="0"/>
                                          </p:stCondLst>
                                        </p:cTn>
                                        <p:tgtEl>
                                          <p:spTgt spid="80"/>
                                        </p:tgtEl>
                                        <p:attrNameLst>
                                          <p:attrName>style.visibility</p:attrName>
                                        </p:attrNameLst>
                                      </p:cBhvr>
                                      <p:to>
                                        <p:strVal val="visible"/>
                                      </p:to>
                                    </p:set>
                                    <p:animEffect transition="in" filter="wipe(right)">
                                      <p:cBhvr>
                                        <p:cTn id="22" dur="500"/>
                                        <p:tgtEl>
                                          <p:spTgt spid="80"/>
                                        </p:tgtEl>
                                      </p:cBhvr>
                                    </p:animEffect>
                                  </p:childTnLst>
                                </p:cTn>
                              </p:par>
                              <p:par>
                                <p:cTn id="23" presetID="22" presetClass="entr" presetSubtype="2" fill="hold" grpId="0" nodeType="withEffect">
                                  <p:stCondLst>
                                    <p:cond delay="1250"/>
                                  </p:stCondLst>
                                  <p:iterate type="lt">
                                    <p:tmPct val="10000"/>
                                  </p:iterate>
                                  <p:childTnLst>
                                    <p:set>
                                      <p:cBhvr>
                                        <p:cTn id="24" dur="1" fill="hold">
                                          <p:stCondLst>
                                            <p:cond delay="0"/>
                                          </p:stCondLst>
                                        </p:cTn>
                                        <p:tgtEl>
                                          <p:spTgt spid="81"/>
                                        </p:tgtEl>
                                        <p:attrNameLst>
                                          <p:attrName>style.visibility</p:attrName>
                                        </p:attrNameLst>
                                      </p:cBhvr>
                                      <p:to>
                                        <p:strVal val="visible"/>
                                      </p:to>
                                    </p:set>
                                    <p:animEffect transition="in" filter="wipe(right)">
                                      <p:cBhvr>
                                        <p:cTn id="25" dur="500"/>
                                        <p:tgtEl>
                                          <p:spTgt spid="81"/>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83"/>
                                        </p:tgtEl>
                                        <p:attrNameLst>
                                          <p:attrName>style.visibility</p:attrName>
                                        </p:attrNameLst>
                                      </p:cBhvr>
                                      <p:to>
                                        <p:strVal val="visible"/>
                                      </p:to>
                                    </p:set>
                                    <p:animEffect transition="in" filter="fade">
                                      <p:cBhvr>
                                        <p:cTn id="28" dur="500"/>
                                        <p:tgtEl>
                                          <p:spTgt spid="8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84"/>
                                        </p:tgtEl>
                                        <p:attrNameLst>
                                          <p:attrName>style.visibility</p:attrName>
                                        </p:attrNameLst>
                                      </p:cBhvr>
                                      <p:to>
                                        <p:strVal val="visible"/>
                                      </p:to>
                                    </p:set>
                                    <p:animEffect transition="in" filter="fade">
                                      <p:cBhvr>
                                        <p:cTn id="31" dur="500"/>
                                        <p:tgtEl>
                                          <p:spTgt spid="84"/>
                                        </p:tgtEl>
                                      </p:cBhvr>
                                    </p:animEffect>
                                  </p:childTnLst>
                                </p:cTn>
                              </p:par>
                              <p:par>
                                <p:cTn id="32" presetID="10" presetClass="entr" presetSubtype="0" fill="hold" grpId="0" nodeType="withEffect">
                                  <p:stCondLst>
                                    <p:cond delay="750"/>
                                  </p:stCondLst>
                                  <p:childTnLst>
                                    <p:set>
                                      <p:cBhvr>
                                        <p:cTn id="33" dur="1" fill="hold">
                                          <p:stCondLst>
                                            <p:cond delay="0"/>
                                          </p:stCondLst>
                                        </p:cTn>
                                        <p:tgtEl>
                                          <p:spTgt spid="85"/>
                                        </p:tgtEl>
                                        <p:attrNameLst>
                                          <p:attrName>style.visibility</p:attrName>
                                        </p:attrNameLst>
                                      </p:cBhvr>
                                      <p:to>
                                        <p:strVal val="visible"/>
                                      </p:to>
                                    </p:set>
                                    <p:animEffect transition="in" filter="fade">
                                      <p:cBhvr>
                                        <p:cTn id="34" dur="500"/>
                                        <p:tgtEl>
                                          <p:spTgt spid="85"/>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10" presetClass="entr" presetSubtype="0" fill="hold" grpId="0" nodeType="withEffect">
                                  <p:stCondLst>
                                    <p:cond delay="1250"/>
                                  </p:stCondLst>
                                  <p:childTnLst>
                                    <p:set>
                                      <p:cBhvr>
                                        <p:cTn id="39" dur="1" fill="hold">
                                          <p:stCondLst>
                                            <p:cond delay="0"/>
                                          </p:stCondLst>
                                        </p:cTn>
                                        <p:tgtEl>
                                          <p:spTgt spid="87"/>
                                        </p:tgtEl>
                                        <p:attrNameLst>
                                          <p:attrName>style.visibility</p:attrName>
                                        </p:attrNameLst>
                                      </p:cBhvr>
                                      <p:to>
                                        <p:strVal val="visible"/>
                                      </p:to>
                                    </p:set>
                                    <p:animEffect transition="in" filter="fade">
                                      <p:cBhvr>
                                        <p:cTn id="40"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7" grpId="0"/>
      <p:bldP spid="78" grpId="0"/>
      <p:bldP spid="79" grpId="0"/>
      <p:bldP spid="80" grpId="0"/>
      <p:bldP spid="81" grpId="0"/>
      <p:bldP spid="83" grpId="0"/>
      <p:bldP spid="84" grpId="0"/>
      <p:bldP spid="85" grpId="0"/>
      <p:bldP spid="86" grpId="0"/>
      <p:bldP spid="8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7FF50C6-19D2-7F4D-8D1D-2A41982AFF7B}"/>
              </a:ext>
            </a:extLst>
          </p:cNvPr>
          <p:cNvSpPr>
            <a:spLocks noGrp="1"/>
          </p:cNvSpPr>
          <p:nvPr>
            <p:ph type="title"/>
          </p:nvPr>
        </p:nvSpPr>
        <p:spPr/>
        <p:txBody>
          <a:bodyPr/>
          <a:lstStyle/>
          <a:p>
            <a:endParaRPr lang="nl-NL"/>
          </a:p>
        </p:txBody>
      </p:sp>
      <p:sp>
        <p:nvSpPr>
          <p:cNvPr id="17" name="Tijdelijke aanduiding voor tekst 16">
            <a:extLst>
              <a:ext uri="{FF2B5EF4-FFF2-40B4-BE49-F238E27FC236}">
                <a16:creationId xmlns:a16="http://schemas.microsoft.com/office/drawing/2014/main" id="{1BA15ECD-BBDB-8299-C5C8-18CD4F2A204F}"/>
              </a:ext>
            </a:extLst>
          </p:cNvPr>
          <p:cNvSpPr>
            <a:spLocks noGrp="1"/>
          </p:cNvSpPr>
          <p:nvPr>
            <p:ph type="body" sz="quarter" idx="13"/>
          </p:nvPr>
        </p:nvSpPr>
        <p:spPr/>
        <p:txBody>
          <a:bodyPr anchor="t">
            <a:normAutofit/>
          </a:bodyPr>
          <a:lstStyle/>
          <a:p>
            <a:pPr algn="l">
              <a:lnSpc>
                <a:spcPct val="100000"/>
              </a:lnSpc>
            </a:pPr>
            <a:r>
              <a:rPr lang="en-GB" sz="3600" dirty="0"/>
              <a:t>Online education </a:t>
            </a:r>
            <a:br>
              <a:rPr lang="en-GB" sz="3600" dirty="0"/>
            </a:br>
            <a:r>
              <a:rPr lang="en-GB" sz="3600" dirty="0"/>
              <a:t>for lifelong learning</a:t>
            </a:r>
          </a:p>
        </p:txBody>
      </p:sp>
      <p:sp>
        <p:nvSpPr>
          <p:cNvPr id="2" name="Tijdelijke aanduiding voor dianummer 1">
            <a:extLst>
              <a:ext uri="{FF2B5EF4-FFF2-40B4-BE49-F238E27FC236}">
                <a16:creationId xmlns:a16="http://schemas.microsoft.com/office/drawing/2014/main" id="{C9267D57-A0F3-FE35-9231-A1ED5576DE3F}"/>
              </a:ext>
            </a:extLst>
          </p:cNvPr>
          <p:cNvSpPr>
            <a:spLocks noGrp="1"/>
          </p:cNvSpPr>
          <p:nvPr>
            <p:ph type="sldNum" sz="quarter" idx="15"/>
          </p:nvPr>
        </p:nvSpPr>
        <p:spPr/>
        <p:txBody>
          <a:bodyPr/>
          <a:lstStyle/>
          <a:p>
            <a:fld id="{9E843DB9-9987-4157-AB9C-CEA8D7D910BB}" type="slidenum">
              <a:rPr lang="en-GB" smtClean="0"/>
              <a:pPr/>
              <a:t>27</a:t>
            </a:fld>
            <a:endParaRPr lang="en-GB" dirty="0"/>
          </a:p>
        </p:txBody>
      </p:sp>
      <p:pic>
        <p:nvPicPr>
          <p:cNvPr id="6" name="object 9">
            <a:extLst>
              <a:ext uri="{FF2B5EF4-FFF2-40B4-BE49-F238E27FC236}">
                <a16:creationId xmlns:a16="http://schemas.microsoft.com/office/drawing/2014/main" id="{D6EF773D-4BC5-32A5-F748-B66600D65AF9}"/>
              </a:ext>
            </a:extLst>
          </p:cNvPr>
          <p:cNvPicPr>
            <a:picLocks noGrp="1"/>
          </p:cNvPicPr>
          <p:nvPr>
            <p:ph type="pic" sz="quarter" idx="16"/>
          </p:nvPr>
        </p:nvPicPr>
        <p:blipFill rotWithShape="1">
          <a:blip r:embed="rId3">
            <a:extLst>
              <a:ext uri="{28A0092B-C50C-407E-A947-70E740481C1C}">
                <a14:useLocalDpi xmlns:a14="http://schemas.microsoft.com/office/drawing/2010/main" val="0"/>
              </a:ext>
            </a:extLst>
          </a:blip>
          <a:srcRect l="4105" r="52185"/>
          <a:stretch/>
        </p:blipFill>
        <p:spPr>
          <a:xfrm>
            <a:off x="0" y="0"/>
            <a:ext cx="6096000" cy="6858000"/>
          </a:xfrm>
        </p:spPr>
      </p:pic>
      <p:sp>
        <p:nvSpPr>
          <p:cNvPr id="20" name="Tijdelijke aanduiding voor tekst 19">
            <a:extLst>
              <a:ext uri="{FF2B5EF4-FFF2-40B4-BE49-F238E27FC236}">
                <a16:creationId xmlns:a16="http://schemas.microsoft.com/office/drawing/2014/main" id="{E8801B4A-39C9-3A0B-04B3-A97D7E428AE8}"/>
              </a:ext>
            </a:extLst>
          </p:cNvPr>
          <p:cNvSpPr>
            <a:spLocks noGrp="1"/>
          </p:cNvSpPr>
          <p:nvPr>
            <p:ph type="body" sz="quarter" idx="18"/>
          </p:nvPr>
        </p:nvSpPr>
        <p:spPr/>
        <p:txBody>
          <a:bodyPr/>
          <a:lstStyle/>
          <a:p>
            <a:r>
              <a:rPr lang="nl-NL" dirty="0"/>
              <a:t> </a:t>
            </a:r>
          </a:p>
        </p:txBody>
      </p:sp>
      <p:sp>
        <p:nvSpPr>
          <p:cNvPr id="19" name="Tijdelijke aanduiding voor tekst 18">
            <a:extLst>
              <a:ext uri="{FF2B5EF4-FFF2-40B4-BE49-F238E27FC236}">
                <a16:creationId xmlns:a16="http://schemas.microsoft.com/office/drawing/2014/main" id="{E71742FD-826F-C004-5A67-EF655A9894C7}"/>
              </a:ext>
            </a:extLst>
          </p:cNvPr>
          <p:cNvSpPr>
            <a:spLocks noGrp="1"/>
          </p:cNvSpPr>
          <p:nvPr>
            <p:ph type="body" sz="quarter" idx="17"/>
          </p:nvPr>
        </p:nvSpPr>
        <p:spPr/>
        <p:txBody>
          <a:bodyPr/>
          <a:lstStyle/>
          <a:p>
            <a:r>
              <a:rPr lang="nl-NL" dirty="0"/>
              <a:t> </a:t>
            </a:r>
          </a:p>
        </p:txBody>
      </p:sp>
      <p:sp>
        <p:nvSpPr>
          <p:cNvPr id="8" name="Tekstvak 7">
            <a:extLst>
              <a:ext uri="{FF2B5EF4-FFF2-40B4-BE49-F238E27FC236}">
                <a16:creationId xmlns:a16="http://schemas.microsoft.com/office/drawing/2014/main" id="{E03F791E-7455-761B-E13D-3D257EB3EC4A}"/>
              </a:ext>
            </a:extLst>
          </p:cNvPr>
          <p:cNvSpPr txBox="1"/>
          <p:nvPr/>
        </p:nvSpPr>
        <p:spPr>
          <a:xfrm>
            <a:off x="6845643" y="2245695"/>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dirty="0">
                <a:solidFill>
                  <a:schemeClr val="tx2"/>
                </a:solidFill>
              </a:rPr>
              <a:t>3.7 Million registered users and counting</a:t>
            </a:r>
          </a:p>
        </p:txBody>
      </p:sp>
      <p:sp>
        <p:nvSpPr>
          <p:cNvPr id="21" name="Tekstvak 20">
            <a:extLst>
              <a:ext uri="{FF2B5EF4-FFF2-40B4-BE49-F238E27FC236}">
                <a16:creationId xmlns:a16="http://schemas.microsoft.com/office/drawing/2014/main" id="{9E00B54C-9401-613F-F7F6-06B591445FFE}"/>
              </a:ext>
            </a:extLst>
          </p:cNvPr>
          <p:cNvSpPr txBox="1"/>
          <p:nvPr/>
        </p:nvSpPr>
        <p:spPr>
          <a:xfrm>
            <a:off x="6845643" y="3163714"/>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dirty="0">
                <a:solidFill>
                  <a:schemeClr val="tx2"/>
                </a:solidFill>
              </a:rPr>
              <a:t>Hundreds of courses and short programs</a:t>
            </a:r>
          </a:p>
        </p:txBody>
      </p:sp>
      <p:sp>
        <p:nvSpPr>
          <p:cNvPr id="22" name="Tekstvak 21">
            <a:extLst>
              <a:ext uri="{FF2B5EF4-FFF2-40B4-BE49-F238E27FC236}">
                <a16:creationId xmlns:a16="http://schemas.microsoft.com/office/drawing/2014/main" id="{E1399DD5-451C-D8E5-1DA5-BE4C8292CF1A}"/>
              </a:ext>
            </a:extLst>
          </p:cNvPr>
          <p:cNvSpPr txBox="1"/>
          <p:nvPr/>
        </p:nvSpPr>
        <p:spPr>
          <a:xfrm>
            <a:off x="6845643" y="4081733"/>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dirty="0">
                <a:solidFill>
                  <a:schemeClr val="tx2"/>
                </a:solidFill>
              </a:rPr>
              <a:t>Learner-centred and highly applicable</a:t>
            </a:r>
          </a:p>
        </p:txBody>
      </p:sp>
      <p:sp>
        <p:nvSpPr>
          <p:cNvPr id="23" name="Tekstvak 22">
            <a:extLst>
              <a:ext uri="{FF2B5EF4-FFF2-40B4-BE49-F238E27FC236}">
                <a16:creationId xmlns:a16="http://schemas.microsoft.com/office/drawing/2014/main" id="{72C9ED04-5163-BEA9-57B7-23319C82D86C}"/>
              </a:ext>
            </a:extLst>
          </p:cNvPr>
          <p:cNvSpPr txBox="1"/>
          <p:nvPr/>
        </p:nvSpPr>
        <p:spPr>
          <a:xfrm>
            <a:off x="6845643" y="4999752"/>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dirty="0">
                <a:solidFill>
                  <a:schemeClr val="tx2"/>
                </a:solidFill>
              </a:rPr>
              <a:t>Broadening the skillset </a:t>
            </a:r>
            <a:br>
              <a:rPr lang="en-GB" dirty="0">
                <a:solidFill>
                  <a:schemeClr val="tx2"/>
                </a:solidFill>
              </a:rPr>
            </a:br>
            <a:r>
              <a:rPr lang="en-GB" dirty="0">
                <a:solidFill>
                  <a:schemeClr val="tx2"/>
                </a:solidFill>
              </a:rPr>
              <a:t>and supporting career paths</a:t>
            </a:r>
          </a:p>
        </p:txBody>
      </p:sp>
      <p:grpSp>
        <p:nvGrpSpPr>
          <p:cNvPr id="27" name="HYPER HOME">
            <a:extLst>
              <a:ext uri="{FF2B5EF4-FFF2-40B4-BE49-F238E27FC236}">
                <a16:creationId xmlns:a16="http://schemas.microsoft.com/office/drawing/2014/main" id="{D93BCC7B-C5E9-8E98-4674-AAD3153452AF}"/>
              </a:ext>
            </a:extLst>
          </p:cNvPr>
          <p:cNvGrpSpPr/>
          <p:nvPr/>
        </p:nvGrpSpPr>
        <p:grpSpPr>
          <a:xfrm>
            <a:off x="11460480" y="0"/>
            <a:ext cx="731520" cy="731520"/>
            <a:chOff x="11460480" y="0"/>
            <a:chExt cx="731520" cy="731520"/>
          </a:xfrm>
        </p:grpSpPr>
        <p:pic>
          <p:nvPicPr>
            <p:cNvPr id="28" name="Graphic 27">
              <a:extLst>
                <a:ext uri="{FF2B5EF4-FFF2-40B4-BE49-F238E27FC236}">
                  <a16:creationId xmlns:a16="http://schemas.microsoft.com/office/drawing/2014/main" id="{1C6D0F54-347F-C4D4-43FF-E6255536BE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29" name="Rechthoek 28">
              <a:hlinkClick r:id="rId6" action="ppaction://hlinksldjump"/>
              <a:extLst>
                <a:ext uri="{FF2B5EF4-FFF2-40B4-BE49-F238E27FC236}">
                  <a16:creationId xmlns:a16="http://schemas.microsoft.com/office/drawing/2014/main" id="{CFC77BBE-FD27-4921-A8F6-B341080FE52D}"/>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1747767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1+#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1000" fill="hold"/>
                                        <p:tgtEl>
                                          <p:spTgt spid="21"/>
                                        </p:tgtEl>
                                        <p:attrNameLst>
                                          <p:attrName>ppt_x</p:attrName>
                                        </p:attrNameLst>
                                      </p:cBhvr>
                                      <p:tavLst>
                                        <p:tav tm="0">
                                          <p:val>
                                            <p:strVal val="1+#ppt_w/2"/>
                                          </p:val>
                                        </p:tav>
                                        <p:tav tm="100000">
                                          <p:val>
                                            <p:strVal val="#ppt_x"/>
                                          </p:val>
                                        </p:tav>
                                      </p:tavLst>
                                    </p:anim>
                                    <p:anim calcmode="lin" valueType="num">
                                      <p:cBhvr additive="base">
                                        <p:cTn id="12" dur="100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000" fill="hold"/>
                                        <p:tgtEl>
                                          <p:spTgt spid="22"/>
                                        </p:tgtEl>
                                        <p:attrNameLst>
                                          <p:attrName>ppt_x</p:attrName>
                                        </p:attrNameLst>
                                      </p:cBhvr>
                                      <p:tavLst>
                                        <p:tav tm="0">
                                          <p:val>
                                            <p:strVal val="1+#ppt_w/2"/>
                                          </p:val>
                                        </p:tav>
                                        <p:tav tm="100000">
                                          <p:val>
                                            <p:strVal val="#ppt_x"/>
                                          </p:val>
                                        </p:tav>
                                      </p:tavLst>
                                    </p:anim>
                                    <p:anim calcmode="lin" valueType="num">
                                      <p:cBhvr additive="base">
                                        <p:cTn id="16" dur="100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1000" fill="hold"/>
                                        <p:tgtEl>
                                          <p:spTgt spid="23"/>
                                        </p:tgtEl>
                                        <p:attrNameLst>
                                          <p:attrName>ppt_x</p:attrName>
                                        </p:attrNameLst>
                                      </p:cBhvr>
                                      <p:tavLst>
                                        <p:tav tm="0">
                                          <p:val>
                                            <p:strVal val="1+#ppt_w/2"/>
                                          </p:val>
                                        </p:tav>
                                        <p:tav tm="100000">
                                          <p:val>
                                            <p:strVal val="#ppt_x"/>
                                          </p:val>
                                        </p:tav>
                                      </p:tavLst>
                                    </p:anim>
                                    <p:anim calcmode="lin" valueType="num">
                                      <p:cBhvr additive="base">
                                        <p:cTn id="20" dur="10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1" grpId="0" animBg="1"/>
      <p:bldP spid="22" grpId="0" animBg="1"/>
      <p:bldP spid="2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 name="Rechthoek 746">
            <a:extLst>
              <a:ext uri="{FF2B5EF4-FFF2-40B4-BE49-F238E27FC236}">
                <a16:creationId xmlns:a16="http://schemas.microsoft.com/office/drawing/2014/main" id="{E5D2ED92-B304-44F0-E7D1-89E1BB873730}"/>
              </a:ext>
            </a:extLst>
          </p:cNvPr>
          <p:cNvSpPr/>
          <p:nvPr/>
        </p:nvSpPr>
        <p:spPr>
          <a:xfrm>
            <a:off x="3810172" y="716279"/>
            <a:ext cx="7776235" cy="5317903"/>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49" name="Rechthoek 748">
            <a:extLst>
              <a:ext uri="{FF2B5EF4-FFF2-40B4-BE49-F238E27FC236}">
                <a16:creationId xmlns:a16="http://schemas.microsoft.com/office/drawing/2014/main" id="{4C0925FB-FDAA-E900-4C8D-1AFF146FB72D}"/>
              </a:ext>
            </a:extLst>
          </p:cNvPr>
          <p:cNvSpPr/>
          <p:nvPr/>
        </p:nvSpPr>
        <p:spPr>
          <a:xfrm>
            <a:off x="4207166" y="3982821"/>
            <a:ext cx="3214713" cy="1671220"/>
          </a:xfrm>
          <a:prstGeom prst="rect">
            <a:avLst/>
          </a:prstGeom>
          <a:solidFill>
            <a:srgbClr val="0076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48" name="Rechthoek 747">
            <a:extLst>
              <a:ext uri="{FF2B5EF4-FFF2-40B4-BE49-F238E27FC236}">
                <a16:creationId xmlns:a16="http://schemas.microsoft.com/office/drawing/2014/main" id="{B8270777-B67D-0DD9-4847-CDDB00E9A8E3}"/>
              </a:ext>
            </a:extLst>
          </p:cNvPr>
          <p:cNvSpPr/>
          <p:nvPr/>
        </p:nvSpPr>
        <p:spPr>
          <a:xfrm>
            <a:off x="4207166" y="1056741"/>
            <a:ext cx="3214713" cy="1671220"/>
          </a:xfrm>
          <a:prstGeom prst="rect">
            <a:avLst/>
          </a:prstGeom>
          <a:solidFill>
            <a:srgbClr val="0076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nvGrpSpPr>
          <p:cNvPr id="746" name="Groep 745">
            <a:extLst>
              <a:ext uri="{FF2B5EF4-FFF2-40B4-BE49-F238E27FC236}">
                <a16:creationId xmlns:a16="http://schemas.microsoft.com/office/drawing/2014/main" id="{020B981B-C3A6-7746-7CA0-3E8A92270392}"/>
              </a:ext>
            </a:extLst>
          </p:cNvPr>
          <p:cNvGrpSpPr/>
          <p:nvPr/>
        </p:nvGrpSpPr>
        <p:grpSpPr>
          <a:xfrm>
            <a:off x="7888482" y="875101"/>
            <a:ext cx="4313768" cy="4982197"/>
            <a:chOff x="7751322" y="570301"/>
            <a:chExt cx="4313768" cy="4982197"/>
          </a:xfrm>
          <a:solidFill>
            <a:schemeClr val="accent1"/>
          </a:solidFill>
        </p:grpSpPr>
        <p:sp>
          <p:nvSpPr>
            <p:cNvPr id="17" name="Freeform 8">
              <a:extLst>
                <a:ext uri="{FF2B5EF4-FFF2-40B4-BE49-F238E27FC236}">
                  <a16:creationId xmlns:a16="http://schemas.microsoft.com/office/drawing/2014/main" id="{CC62009D-38AC-41F8-5463-290B3B570E1E}"/>
                </a:ext>
              </a:extLst>
            </p:cNvPr>
            <p:cNvSpPr>
              <a:spLocks/>
            </p:cNvSpPr>
            <p:nvPr/>
          </p:nvSpPr>
          <p:spPr bwMode="gray">
            <a:xfrm>
              <a:off x="10915761" y="4506075"/>
              <a:ext cx="5395" cy="3596"/>
            </a:xfrm>
            <a:custGeom>
              <a:avLst/>
              <a:gdLst>
                <a:gd name="T0" fmla="*/ 3 w 3"/>
                <a:gd name="T1" fmla="*/ 0 h 2"/>
                <a:gd name="T2" fmla="*/ 0 w 3"/>
                <a:gd name="T3" fmla="*/ 2 h 2"/>
                <a:gd name="T4" fmla="*/ 3 w 3"/>
                <a:gd name="T5" fmla="*/ 1 h 2"/>
                <a:gd name="T6" fmla="*/ 3 w 3"/>
                <a:gd name="T7" fmla="*/ 0 h 2"/>
              </a:gdLst>
              <a:ahLst/>
              <a:cxnLst>
                <a:cxn ang="0">
                  <a:pos x="T0" y="T1"/>
                </a:cxn>
                <a:cxn ang="0">
                  <a:pos x="T2" y="T3"/>
                </a:cxn>
                <a:cxn ang="0">
                  <a:pos x="T4" y="T5"/>
                </a:cxn>
                <a:cxn ang="0">
                  <a:pos x="T6" y="T7"/>
                </a:cxn>
              </a:cxnLst>
              <a:rect l="0" t="0" r="r" b="b"/>
              <a:pathLst>
                <a:path w="3" h="2">
                  <a:moveTo>
                    <a:pt x="3" y="0"/>
                  </a:moveTo>
                  <a:lnTo>
                    <a:pt x="0" y="2"/>
                  </a:lnTo>
                  <a:lnTo>
                    <a:pt x="3" y="1"/>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9">
              <a:extLst>
                <a:ext uri="{FF2B5EF4-FFF2-40B4-BE49-F238E27FC236}">
                  <a16:creationId xmlns:a16="http://schemas.microsoft.com/office/drawing/2014/main" id="{B6A17DC1-C92C-178B-736A-52D6F037D6EB}"/>
                </a:ext>
              </a:extLst>
            </p:cNvPr>
            <p:cNvSpPr>
              <a:spLocks/>
            </p:cNvSpPr>
            <p:nvPr/>
          </p:nvSpPr>
          <p:spPr bwMode="gray">
            <a:xfrm>
              <a:off x="11126125" y="3265470"/>
              <a:ext cx="8991" cy="17980"/>
            </a:xfrm>
            <a:custGeom>
              <a:avLst/>
              <a:gdLst>
                <a:gd name="T0" fmla="*/ 15 w 15"/>
                <a:gd name="T1" fmla="*/ 30 h 30"/>
                <a:gd name="T2" fmla="*/ 10 w 15"/>
                <a:gd name="T3" fmla="*/ 16 h 30"/>
                <a:gd name="T4" fmla="*/ 0 w 15"/>
                <a:gd name="T5" fmla="*/ 0 h 30"/>
                <a:gd name="T6" fmla="*/ 15 w 15"/>
                <a:gd name="T7" fmla="*/ 30 h 30"/>
              </a:gdLst>
              <a:ahLst/>
              <a:cxnLst>
                <a:cxn ang="0">
                  <a:pos x="T0" y="T1"/>
                </a:cxn>
                <a:cxn ang="0">
                  <a:pos x="T2" y="T3"/>
                </a:cxn>
                <a:cxn ang="0">
                  <a:pos x="T4" y="T5"/>
                </a:cxn>
                <a:cxn ang="0">
                  <a:pos x="T6" y="T7"/>
                </a:cxn>
              </a:cxnLst>
              <a:rect l="0" t="0" r="r" b="b"/>
              <a:pathLst>
                <a:path w="15" h="30">
                  <a:moveTo>
                    <a:pt x="15" y="30"/>
                  </a:moveTo>
                  <a:cubicBezTo>
                    <a:pt x="14" y="25"/>
                    <a:pt x="12" y="20"/>
                    <a:pt x="10" y="16"/>
                  </a:cubicBezTo>
                  <a:cubicBezTo>
                    <a:pt x="7" y="12"/>
                    <a:pt x="3" y="4"/>
                    <a:pt x="0" y="0"/>
                  </a:cubicBezTo>
                  <a:cubicBezTo>
                    <a:pt x="4" y="9"/>
                    <a:pt x="11" y="19"/>
                    <a:pt x="15"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0">
              <a:extLst>
                <a:ext uri="{FF2B5EF4-FFF2-40B4-BE49-F238E27FC236}">
                  <a16:creationId xmlns:a16="http://schemas.microsoft.com/office/drawing/2014/main" id="{D519F6A1-901F-B2FB-2C89-57C2B3984F5E}"/>
                </a:ext>
              </a:extLst>
            </p:cNvPr>
            <p:cNvSpPr>
              <a:spLocks/>
            </p:cNvSpPr>
            <p:nvPr/>
          </p:nvSpPr>
          <p:spPr bwMode="gray">
            <a:xfrm>
              <a:off x="10931943" y="2905874"/>
              <a:ext cx="3596" cy="0"/>
            </a:xfrm>
            <a:custGeom>
              <a:avLst/>
              <a:gdLst>
                <a:gd name="T0" fmla="*/ 8 w 8"/>
                <a:gd name="T1" fmla="*/ 0 w 8"/>
                <a:gd name="T2" fmla="*/ 8 w 8"/>
              </a:gdLst>
              <a:ahLst/>
              <a:cxnLst>
                <a:cxn ang="0">
                  <a:pos x="T0" y="0"/>
                </a:cxn>
                <a:cxn ang="0">
                  <a:pos x="T1" y="0"/>
                </a:cxn>
                <a:cxn ang="0">
                  <a:pos x="T2" y="0"/>
                </a:cxn>
              </a:cxnLst>
              <a:rect l="0" t="0" r="r" b="b"/>
              <a:pathLst>
                <a:path w="8">
                  <a:moveTo>
                    <a:pt x="8" y="0"/>
                  </a:moveTo>
                  <a:cubicBezTo>
                    <a:pt x="5" y="0"/>
                    <a:pt x="3" y="0"/>
                    <a:pt x="0" y="0"/>
                  </a:cubicBezTo>
                  <a:cubicBezTo>
                    <a:pt x="3" y="0"/>
                    <a:pt x="5" y="0"/>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1">
              <a:extLst>
                <a:ext uri="{FF2B5EF4-FFF2-40B4-BE49-F238E27FC236}">
                  <a16:creationId xmlns:a16="http://schemas.microsoft.com/office/drawing/2014/main" id="{7B02DC3A-3B89-231B-1B7A-513869A14F08}"/>
                </a:ext>
              </a:extLst>
            </p:cNvPr>
            <p:cNvSpPr>
              <a:spLocks/>
            </p:cNvSpPr>
            <p:nvPr/>
          </p:nvSpPr>
          <p:spPr bwMode="gray">
            <a:xfrm>
              <a:off x="11153094" y="4283126"/>
              <a:ext cx="3596" cy="7192"/>
            </a:xfrm>
            <a:custGeom>
              <a:avLst/>
              <a:gdLst>
                <a:gd name="T0" fmla="*/ 0 w 5"/>
                <a:gd name="T1" fmla="*/ 12 h 12"/>
                <a:gd name="T2" fmla="*/ 2 w 5"/>
                <a:gd name="T3" fmla="*/ 0 h 12"/>
                <a:gd name="T4" fmla="*/ 0 w 5"/>
                <a:gd name="T5" fmla="*/ 12 h 12"/>
              </a:gdLst>
              <a:ahLst/>
              <a:cxnLst>
                <a:cxn ang="0">
                  <a:pos x="T0" y="T1"/>
                </a:cxn>
                <a:cxn ang="0">
                  <a:pos x="T2" y="T3"/>
                </a:cxn>
                <a:cxn ang="0">
                  <a:pos x="T4" y="T5"/>
                </a:cxn>
              </a:cxnLst>
              <a:rect l="0" t="0" r="r" b="b"/>
              <a:pathLst>
                <a:path w="5" h="12">
                  <a:moveTo>
                    <a:pt x="0" y="12"/>
                  </a:moveTo>
                  <a:cubicBezTo>
                    <a:pt x="3" y="8"/>
                    <a:pt x="5" y="3"/>
                    <a:pt x="2" y="0"/>
                  </a:cubicBezTo>
                  <a:cubicBezTo>
                    <a:pt x="3" y="4"/>
                    <a:pt x="2" y="8"/>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2">
              <a:extLst>
                <a:ext uri="{FF2B5EF4-FFF2-40B4-BE49-F238E27FC236}">
                  <a16:creationId xmlns:a16="http://schemas.microsoft.com/office/drawing/2014/main" id="{FC06F642-4481-45DA-ED1C-E32580AF948F}"/>
                </a:ext>
              </a:extLst>
            </p:cNvPr>
            <p:cNvSpPr>
              <a:spLocks/>
            </p:cNvSpPr>
            <p:nvPr/>
          </p:nvSpPr>
          <p:spPr bwMode="gray">
            <a:xfrm>
              <a:off x="10921155" y="45510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3">
              <a:extLst>
                <a:ext uri="{FF2B5EF4-FFF2-40B4-BE49-F238E27FC236}">
                  <a16:creationId xmlns:a16="http://schemas.microsoft.com/office/drawing/2014/main" id="{5DADD2EA-D39B-1261-2A8C-A1833AC96203}"/>
                </a:ext>
              </a:extLst>
            </p:cNvPr>
            <p:cNvSpPr>
              <a:spLocks/>
            </p:cNvSpPr>
            <p:nvPr/>
          </p:nvSpPr>
          <p:spPr bwMode="gray">
            <a:xfrm>
              <a:off x="10919357" y="2905874"/>
              <a:ext cx="1798"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1" y="0"/>
                    <a:pt x="0" y="0"/>
                  </a:cubicBezTo>
                  <a:cubicBezTo>
                    <a:pt x="1"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14">
              <a:extLst>
                <a:ext uri="{FF2B5EF4-FFF2-40B4-BE49-F238E27FC236}">
                  <a16:creationId xmlns:a16="http://schemas.microsoft.com/office/drawing/2014/main" id="{DC91EC52-06C4-69C9-9177-DDDB2E1E4A08}"/>
                </a:ext>
              </a:extLst>
            </p:cNvPr>
            <p:cNvSpPr>
              <a:spLocks/>
            </p:cNvSpPr>
            <p:nvPr/>
          </p:nvSpPr>
          <p:spPr bwMode="gray">
            <a:xfrm>
              <a:off x="10913964" y="2907674"/>
              <a:ext cx="3596"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1" y="0"/>
                    <a:pt x="0" y="0"/>
                  </a:cubicBezTo>
                  <a:cubicBezTo>
                    <a:pt x="1"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5">
              <a:extLst>
                <a:ext uri="{FF2B5EF4-FFF2-40B4-BE49-F238E27FC236}">
                  <a16:creationId xmlns:a16="http://schemas.microsoft.com/office/drawing/2014/main" id="{E77FC5EE-B469-F0A1-828A-B13A387E1882}"/>
                </a:ext>
              </a:extLst>
            </p:cNvPr>
            <p:cNvSpPr>
              <a:spLocks/>
            </p:cNvSpPr>
            <p:nvPr/>
          </p:nvSpPr>
          <p:spPr bwMode="gray">
            <a:xfrm>
              <a:off x="10922952" y="2905874"/>
              <a:ext cx="3596" cy="0"/>
            </a:xfrm>
            <a:custGeom>
              <a:avLst/>
              <a:gdLst>
                <a:gd name="T0" fmla="*/ 6 w 6"/>
                <a:gd name="T1" fmla="*/ 0 h 1"/>
                <a:gd name="T2" fmla="*/ 0 w 6"/>
                <a:gd name="T3" fmla="*/ 1 h 1"/>
                <a:gd name="T4" fmla="*/ 6 w 6"/>
                <a:gd name="T5" fmla="*/ 0 h 1"/>
              </a:gdLst>
              <a:ahLst/>
              <a:cxnLst>
                <a:cxn ang="0">
                  <a:pos x="T0" y="T1"/>
                </a:cxn>
                <a:cxn ang="0">
                  <a:pos x="T2" y="T3"/>
                </a:cxn>
                <a:cxn ang="0">
                  <a:pos x="T4" y="T5"/>
                </a:cxn>
              </a:cxnLst>
              <a:rect l="0" t="0" r="r" b="b"/>
              <a:pathLst>
                <a:path w="6" h="1">
                  <a:moveTo>
                    <a:pt x="6" y="0"/>
                  </a:moveTo>
                  <a:cubicBezTo>
                    <a:pt x="4" y="0"/>
                    <a:pt x="2" y="1"/>
                    <a:pt x="0" y="1"/>
                  </a:cubicBezTo>
                  <a:cubicBezTo>
                    <a:pt x="2" y="1"/>
                    <a:pt x="4" y="0"/>
                    <a:pt x="6"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03B31A00-74FE-F792-E3B1-84D98D96A31D}"/>
                </a:ext>
              </a:extLst>
            </p:cNvPr>
            <p:cNvSpPr>
              <a:spLocks/>
            </p:cNvSpPr>
            <p:nvPr/>
          </p:nvSpPr>
          <p:spPr bwMode="gray">
            <a:xfrm>
              <a:off x="10926549" y="2905874"/>
              <a:ext cx="5395" cy="0"/>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4" y="1"/>
                    <a:pt x="2" y="1"/>
                    <a:pt x="0" y="1"/>
                  </a:cubicBezTo>
                  <a:cubicBezTo>
                    <a:pt x="2" y="1"/>
                    <a:pt x="4" y="1"/>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4785742A-46FF-263B-1E7E-B46B6CA8D1AF}"/>
                </a:ext>
              </a:extLst>
            </p:cNvPr>
            <p:cNvSpPr>
              <a:spLocks/>
            </p:cNvSpPr>
            <p:nvPr/>
          </p:nvSpPr>
          <p:spPr bwMode="gray">
            <a:xfrm>
              <a:off x="11056003" y="4572600"/>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6D3862A8-3EE5-C2B8-FFD9-DB303DA04B62}"/>
                </a:ext>
              </a:extLst>
            </p:cNvPr>
            <p:cNvSpPr>
              <a:spLocks/>
            </p:cNvSpPr>
            <p:nvPr/>
          </p:nvSpPr>
          <p:spPr bwMode="gray">
            <a:xfrm>
              <a:off x="11063195" y="4572600"/>
              <a:ext cx="5395" cy="1798"/>
            </a:xfrm>
            <a:custGeom>
              <a:avLst/>
              <a:gdLst>
                <a:gd name="T0" fmla="*/ 9 w 9"/>
                <a:gd name="T1" fmla="*/ 1 h 1"/>
                <a:gd name="T2" fmla="*/ 0 w 9"/>
                <a:gd name="T3" fmla="*/ 0 h 1"/>
                <a:gd name="T4" fmla="*/ 9 w 9"/>
                <a:gd name="T5" fmla="*/ 1 h 1"/>
              </a:gdLst>
              <a:ahLst/>
              <a:cxnLst>
                <a:cxn ang="0">
                  <a:pos x="T0" y="T1"/>
                </a:cxn>
                <a:cxn ang="0">
                  <a:pos x="T2" y="T3"/>
                </a:cxn>
                <a:cxn ang="0">
                  <a:pos x="T4" y="T5"/>
                </a:cxn>
              </a:cxnLst>
              <a:rect l="0" t="0" r="r" b="b"/>
              <a:pathLst>
                <a:path w="9" h="1">
                  <a:moveTo>
                    <a:pt x="9" y="1"/>
                  </a:moveTo>
                  <a:cubicBezTo>
                    <a:pt x="6" y="1"/>
                    <a:pt x="3" y="1"/>
                    <a:pt x="0" y="0"/>
                  </a:cubicBezTo>
                  <a:cubicBezTo>
                    <a:pt x="3" y="1"/>
                    <a:pt x="6" y="1"/>
                    <a:pt x="9"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9">
              <a:extLst>
                <a:ext uri="{FF2B5EF4-FFF2-40B4-BE49-F238E27FC236}">
                  <a16:creationId xmlns:a16="http://schemas.microsoft.com/office/drawing/2014/main" id="{CCCD5456-9D50-124D-E661-49D115844779}"/>
                </a:ext>
              </a:extLst>
            </p:cNvPr>
            <p:cNvSpPr>
              <a:spLocks/>
            </p:cNvSpPr>
            <p:nvPr/>
          </p:nvSpPr>
          <p:spPr bwMode="gray">
            <a:xfrm>
              <a:off x="11057802" y="4572600"/>
              <a:ext cx="1798" cy="0"/>
            </a:xfrm>
            <a:custGeom>
              <a:avLst/>
              <a:gdLst>
                <a:gd name="T0" fmla="*/ 5 w 5"/>
                <a:gd name="T1" fmla="*/ 1 h 1"/>
                <a:gd name="T2" fmla="*/ 0 w 5"/>
                <a:gd name="T3" fmla="*/ 0 h 1"/>
                <a:gd name="T4" fmla="*/ 5 w 5"/>
                <a:gd name="T5" fmla="*/ 1 h 1"/>
              </a:gdLst>
              <a:ahLst/>
              <a:cxnLst>
                <a:cxn ang="0">
                  <a:pos x="T0" y="T1"/>
                </a:cxn>
                <a:cxn ang="0">
                  <a:pos x="T2" y="T3"/>
                </a:cxn>
                <a:cxn ang="0">
                  <a:pos x="T4" y="T5"/>
                </a:cxn>
              </a:cxnLst>
              <a:rect l="0" t="0" r="r" b="b"/>
              <a:pathLst>
                <a:path w="5" h="1">
                  <a:moveTo>
                    <a:pt x="5" y="1"/>
                  </a:moveTo>
                  <a:cubicBezTo>
                    <a:pt x="3" y="1"/>
                    <a:pt x="1" y="0"/>
                    <a:pt x="0" y="0"/>
                  </a:cubicBezTo>
                  <a:cubicBezTo>
                    <a:pt x="1" y="0"/>
                    <a:pt x="3" y="1"/>
                    <a:pt x="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20">
              <a:extLst>
                <a:ext uri="{FF2B5EF4-FFF2-40B4-BE49-F238E27FC236}">
                  <a16:creationId xmlns:a16="http://schemas.microsoft.com/office/drawing/2014/main" id="{812DEDF9-4F49-EBA9-DE64-C97392180A73}"/>
                </a:ext>
              </a:extLst>
            </p:cNvPr>
            <p:cNvSpPr>
              <a:spLocks/>
            </p:cNvSpPr>
            <p:nvPr/>
          </p:nvSpPr>
          <p:spPr bwMode="gray">
            <a:xfrm>
              <a:off x="11059599" y="4572600"/>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21">
              <a:extLst>
                <a:ext uri="{FF2B5EF4-FFF2-40B4-BE49-F238E27FC236}">
                  <a16:creationId xmlns:a16="http://schemas.microsoft.com/office/drawing/2014/main" id="{EA9BB7CE-8B73-6D28-DF3F-B49A69396696}"/>
                </a:ext>
              </a:extLst>
            </p:cNvPr>
            <p:cNvSpPr>
              <a:spLocks/>
            </p:cNvSpPr>
            <p:nvPr/>
          </p:nvSpPr>
          <p:spPr bwMode="gray">
            <a:xfrm>
              <a:off x="11070387" y="4574398"/>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22">
              <a:extLst>
                <a:ext uri="{FF2B5EF4-FFF2-40B4-BE49-F238E27FC236}">
                  <a16:creationId xmlns:a16="http://schemas.microsoft.com/office/drawing/2014/main" id="{8025E79C-9915-D62D-D14B-9C843003A3C4}"/>
                </a:ext>
              </a:extLst>
            </p:cNvPr>
            <p:cNvSpPr>
              <a:spLocks/>
            </p:cNvSpPr>
            <p:nvPr/>
          </p:nvSpPr>
          <p:spPr bwMode="gray">
            <a:xfrm>
              <a:off x="11068589" y="4574398"/>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23">
              <a:extLst>
                <a:ext uri="{FF2B5EF4-FFF2-40B4-BE49-F238E27FC236}">
                  <a16:creationId xmlns:a16="http://schemas.microsoft.com/office/drawing/2014/main" id="{789EBAB8-09B0-0659-794B-76C0B113AF88}"/>
                </a:ext>
              </a:extLst>
            </p:cNvPr>
            <p:cNvSpPr>
              <a:spLocks noChangeArrowheads="1"/>
            </p:cNvSpPr>
            <p:nvPr/>
          </p:nvSpPr>
          <p:spPr bwMode="gray">
            <a:xfrm>
              <a:off x="10931943" y="4509671"/>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24">
              <a:extLst>
                <a:ext uri="{FF2B5EF4-FFF2-40B4-BE49-F238E27FC236}">
                  <a16:creationId xmlns:a16="http://schemas.microsoft.com/office/drawing/2014/main" id="{9F35E160-F8E5-100D-21DA-9BAA58C04182}"/>
                </a:ext>
              </a:extLst>
            </p:cNvPr>
            <p:cNvSpPr>
              <a:spLocks/>
            </p:cNvSpPr>
            <p:nvPr/>
          </p:nvSpPr>
          <p:spPr bwMode="gray">
            <a:xfrm>
              <a:off x="10939135" y="4502478"/>
              <a:ext cx="1798" cy="1798"/>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25">
              <a:extLst>
                <a:ext uri="{FF2B5EF4-FFF2-40B4-BE49-F238E27FC236}">
                  <a16:creationId xmlns:a16="http://schemas.microsoft.com/office/drawing/2014/main" id="{26C3660B-BE79-CDC4-9A46-583D1A199DC9}"/>
                </a:ext>
              </a:extLst>
            </p:cNvPr>
            <p:cNvSpPr>
              <a:spLocks/>
            </p:cNvSpPr>
            <p:nvPr/>
          </p:nvSpPr>
          <p:spPr bwMode="gray">
            <a:xfrm>
              <a:off x="10910367" y="2907674"/>
              <a:ext cx="3596"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2" y="0"/>
                    <a:pt x="0" y="0"/>
                  </a:cubicBezTo>
                  <a:cubicBezTo>
                    <a:pt x="2"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26">
              <a:extLst>
                <a:ext uri="{FF2B5EF4-FFF2-40B4-BE49-F238E27FC236}">
                  <a16:creationId xmlns:a16="http://schemas.microsoft.com/office/drawing/2014/main" id="{AB89699B-B03A-E456-9FF3-D614E4CEA3F3}"/>
                </a:ext>
              </a:extLst>
            </p:cNvPr>
            <p:cNvSpPr>
              <a:spLocks/>
            </p:cNvSpPr>
            <p:nvPr/>
          </p:nvSpPr>
          <p:spPr bwMode="gray">
            <a:xfrm>
              <a:off x="11056003" y="4572600"/>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27">
              <a:extLst>
                <a:ext uri="{FF2B5EF4-FFF2-40B4-BE49-F238E27FC236}">
                  <a16:creationId xmlns:a16="http://schemas.microsoft.com/office/drawing/2014/main" id="{61E41BBF-F771-D336-6B49-015DF3F85CA7}"/>
                </a:ext>
              </a:extLst>
            </p:cNvPr>
            <p:cNvSpPr>
              <a:spLocks/>
            </p:cNvSpPr>
            <p:nvPr/>
          </p:nvSpPr>
          <p:spPr bwMode="gray">
            <a:xfrm>
              <a:off x="11054206" y="4572600"/>
              <a:ext cx="1798"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0"/>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28">
              <a:extLst>
                <a:ext uri="{FF2B5EF4-FFF2-40B4-BE49-F238E27FC236}">
                  <a16:creationId xmlns:a16="http://schemas.microsoft.com/office/drawing/2014/main" id="{497B96B8-62AE-9C54-A7A4-49FB7BE53F8F}"/>
                </a:ext>
              </a:extLst>
            </p:cNvPr>
            <p:cNvSpPr>
              <a:spLocks/>
            </p:cNvSpPr>
            <p:nvPr/>
          </p:nvSpPr>
          <p:spPr bwMode="gray">
            <a:xfrm>
              <a:off x="11054206" y="45726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29">
              <a:extLst>
                <a:ext uri="{FF2B5EF4-FFF2-40B4-BE49-F238E27FC236}">
                  <a16:creationId xmlns:a16="http://schemas.microsoft.com/office/drawing/2014/main" id="{16F27DF3-C57D-DB47-C78B-368852649572}"/>
                </a:ext>
              </a:extLst>
            </p:cNvPr>
            <p:cNvSpPr>
              <a:spLocks/>
            </p:cNvSpPr>
            <p:nvPr/>
          </p:nvSpPr>
          <p:spPr bwMode="gray">
            <a:xfrm>
              <a:off x="11061398" y="4572600"/>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37">
              <a:extLst>
                <a:ext uri="{FF2B5EF4-FFF2-40B4-BE49-F238E27FC236}">
                  <a16:creationId xmlns:a16="http://schemas.microsoft.com/office/drawing/2014/main" id="{BC6586AF-8BC3-9B86-AD67-53378652427B}"/>
                </a:ext>
              </a:extLst>
            </p:cNvPr>
            <p:cNvSpPr>
              <a:spLocks/>
            </p:cNvSpPr>
            <p:nvPr/>
          </p:nvSpPr>
          <p:spPr bwMode="gray">
            <a:xfrm>
              <a:off x="10906772" y="2907674"/>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3" y="0"/>
                    <a:pt x="1" y="0"/>
                    <a:pt x="0" y="0"/>
                  </a:cubicBezTo>
                  <a:cubicBezTo>
                    <a:pt x="1" y="0"/>
                    <a:pt x="3"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38">
              <a:extLst>
                <a:ext uri="{FF2B5EF4-FFF2-40B4-BE49-F238E27FC236}">
                  <a16:creationId xmlns:a16="http://schemas.microsoft.com/office/drawing/2014/main" id="{E80829BD-75E9-3F81-F118-A9791777D133}"/>
                </a:ext>
              </a:extLst>
            </p:cNvPr>
            <p:cNvSpPr>
              <a:spLocks/>
            </p:cNvSpPr>
            <p:nvPr/>
          </p:nvSpPr>
          <p:spPr bwMode="gray">
            <a:xfrm>
              <a:off x="11073983" y="4572600"/>
              <a:ext cx="3596" cy="1798"/>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2" y="0"/>
                    <a:pt x="3" y="0"/>
                    <a:pt x="4" y="0"/>
                  </a:cubicBezTo>
                  <a:cubicBezTo>
                    <a:pt x="3" y="0"/>
                    <a:pt x="2"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42">
              <a:extLst>
                <a:ext uri="{FF2B5EF4-FFF2-40B4-BE49-F238E27FC236}">
                  <a16:creationId xmlns:a16="http://schemas.microsoft.com/office/drawing/2014/main" id="{08276231-97B1-FED0-9006-0F8481279D37}"/>
                </a:ext>
              </a:extLst>
            </p:cNvPr>
            <p:cNvSpPr>
              <a:spLocks/>
            </p:cNvSpPr>
            <p:nvPr/>
          </p:nvSpPr>
          <p:spPr bwMode="gray">
            <a:xfrm>
              <a:off x="10831257" y="2726076"/>
              <a:ext cx="57535" cy="107879"/>
            </a:xfrm>
            <a:custGeom>
              <a:avLst/>
              <a:gdLst>
                <a:gd name="T0" fmla="*/ 76 w 98"/>
                <a:gd name="T1" fmla="*/ 73 h 180"/>
                <a:gd name="T2" fmla="*/ 85 w 98"/>
                <a:gd name="T3" fmla="*/ 58 h 180"/>
                <a:gd name="T4" fmla="*/ 78 w 98"/>
                <a:gd name="T5" fmla="*/ 27 h 180"/>
                <a:gd name="T6" fmla="*/ 68 w 98"/>
                <a:gd name="T7" fmla="*/ 0 h 180"/>
                <a:gd name="T8" fmla="*/ 64 w 98"/>
                <a:gd name="T9" fmla="*/ 7 h 180"/>
                <a:gd name="T10" fmla="*/ 66 w 98"/>
                <a:gd name="T11" fmla="*/ 53 h 180"/>
                <a:gd name="T12" fmla="*/ 58 w 98"/>
                <a:gd name="T13" fmla="*/ 76 h 180"/>
                <a:gd name="T14" fmla="*/ 65 w 98"/>
                <a:gd name="T15" fmla="*/ 84 h 180"/>
                <a:gd name="T16" fmla="*/ 45 w 98"/>
                <a:gd name="T17" fmla="*/ 102 h 180"/>
                <a:gd name="T18" fmla="*/ 44 w 98"/>
                <a:gd name="T19" fmla="*/ 117 h 180"/>
                <a:gd name="T20" fmla="*/ 0 w 98"/>
                <a:gd name="T21" fmla="*/ 176 h 180"/>
                <a:gd name="T22" fmla="*/ 31 w 98"/>
                <a:gd name="T23" fmla="*/ 174 h 180"/>
                <a:gd name="T24" fmla="*/ 45 w 98"/>
                <a:gd name="T25" fmla="*/ 179 h 180"/>
                <a:gd name="T26" fmla="*/ 71 w 98"/>
                <a:gd name="T27" fmla="*/ 180 h 180"/>
                <a:gd name="T28" fmla="*/ 95 w 98"/>
                <a:gd name="T29" fmla="*/ 166 h 180"/>
                <a:gd name="T30" fmla="*/ 82 w 98"/>
                <a:gd name="T31" fmla="*/ 108 h 180"/>
                <a:gd name="T32" fmla="*/ 93 w 98"/>
                <a:gd name="T33" fmla="*/ 108 h 180"/>
                <a:gd name="T34" fmla="*/ 98 w 98"/>
                <a:gd name="T35" fmla="*/ 89 h 180"/>
                <a:gd name="T36" fmla="*/ 91 w 98"/>
                <a:gd name="T37" fmla="*/ 74 h 180"/>
                <a:gd name="T38" fmla="*/ 76 w 98"/>
                <a:gd name="T39" fmla="*/ 7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80">
                  <a:moveTo>
                    <a:pt x="76" y="73"/>
                  </a:moveTo>
                  <a:cubicBezTo>
                    <a:pt x="85" y="58"/>
                    <a:pt x="85" y="58"/>
                    <a:pt x="85" y="58"/>
                  </a:cubicBezTo>
                  <a:cubicBezTo>
                    <a:pt x="78" y="27"/>
                    <a:pt x="78" y="27"/>
                    <a:pt x="78" y="27"/>
                  </a:cubicBezTo>
                  <a:cubicBezTo>
                    <a:pt x="78" y="27"/>
                    <a:pt x="72" y="15"/>
                    <a:pt x="68" y="0"/>
                  </a:cubicBezTo>
                  <a:cubicBezTo>
                    <a:pt x="64" y="7"/>
                    <a:pt x="64" y="7"/>
                    <a:pt x="64" y="7"/>
                  </a:cubicBezTo>
                  <a:cubicBezTo>
                    <a:pt x="66" y="53"/>
                    <a:pt x="66" y="53"/>
                    <a:pt x="66" y="53"/>
                  </a:cubicBezTo>
                  <a:cubicBezTo>
                    <a:pt x="58" y="76"/>
                    <a:pt x="58" y="76"/>
                    <a:pt x="58" y="76"/>
                  </a:cubicBezTo>
                  <a:cubicBezTo>
                    <a:pt x="65" y="84"/>
                    <a:pt x="65" y="84"/>
                    <a:pt x="65" y="84"/>
                  </a:cubicBezTo>
                  <a:cubicBezTo>
                    <a:pt x="45" y="102"/>
                    <a:pt x="45" y="102"/>
                    <a:pt x="45" y="102"/>
                  </a:cubicBezTo>
                  <a:cubicBezTo>
                    <a:pt x="44" y="117"/>
                    <a:pt x="44" y="117"/>
                    <a:pt x="44" y="117"/>
                  </a:cubicBezTo>
                  <a:cubicBezTo>
                    <a:pt x="0" y="176"/>
                    <a:pt x="0" y="176"/>
                    <a:pt x="0" y="176"/>
                  </a:cubicBezTo>
                  <a:cubicBezTo>
                    <a:pt x="0" y="176"/>
                    <a:pt x="27" y="174"/>
                    <a:pt x="31" y="174"/>
                  </a:cubicBezTo>
                  <a:cubicBezTo>
                    <a:pt x="34" y="174"/>
                    <a:pt x="45" y="179"/>
                    <a:pt x="45" y="179"/>
                  </a:cubicBezTo>
                  <a:cubicBezTo>
                    <a:pt x="71" y="180"/>
                    <a:pt x="71" y="180"/>
                    <a:pt x="71" y="180"/>
                  </a:cubicBezTo>
                  <a:cubicBezTo>
                    <a:pt x="95" y="166"/>
                    <a:pt x="95" y="166"/>
                    <a:pt x="95" y="166"/>
                  </a:cubicBezTo>
                  <a:cubicBezTo>
                    <a:pt x="82" y="108"/>
                    <a:pt x="82" y="108"/>
                    <a:pt x="82" y="108"/>
                  </a:cubicBezTo>
                  <a:cubicBezTo>
                    <a:pt x="93" y="108"/>
                    <a:pt x="93" y="108"/>
                    <a:pt x="93" y="108"/>
                  </a:cubicBezTo>
                  <a:cubicBezTo>
                    <a:pt x="98" y="89"/>
                    <a:pt x="98" y="89"/>
                    <a:pt x="98" y="89"/>
                  </a:cubicBezTo>
                  <a:cubicBezTo>
                    <a:pt x="91" y="74"/>
                    <a:pt x="91" y="74"/>
                    <a:pt x="91" y="74"/>
                  </a:cubicBezTo>
                  <a:lnTo>
                    <a:pt x="76" y="7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43">
              <a:extLst>
                <a:ext uri="{FF2B5EF4-FFF2-40B4-BE49-F238E27FC236}">
                  <a16:creationId xmlns:a16="http://schemas.microsoft.com/office/drawing/2014/main" id="{8616D238-6BFA-657B-BBC3-3DCF90B67320}"/>
                </a:ext>
              </a:extLst>
            </p:cNvPr>
            <p:cNvSpPr>
              <a:spLocks/>
            </p:cNvSpPr>
            <p:nvPr/>
          </p:nvSpPr>
          <p:spPr bwMode="gray">
            <a:xfrm>
              <a:off x="10935540" y="2891491"/>
              <a:ext cx="82707" cy="14383"/>
            </a:xfrm>
            <a:custGeom>
              <a:avLst/>
              <a:gdLst>
                <a:gd name="T0" fmla="*/ 0 w 138"/>
                <a:gd name="T1" fmla="*/ 22 h 22"/>
                <a:gd name="T2" fmla="*/ 133 w 138"/>
                <a:gd name="T3" fmla="*/ 0 h 22"/>
                <a:gd name="T4" fmla="*/ 138 w 138"/>
                <a:gd name="T5" fmla="*/ 1 h 22"/>
                <a:gd name="T6" fmla="*/ 133 w 138"/>
                <a:gd name="T7" fmla="*/ 0 h 22"/>
                <a:gd name="T8" fmla="*/ 0 w 138"/>
                <a:gd name="T9" fmla="*/ 22 h 22"/>
              </a:gdLst>
              <a:ahLst/>
              <a:cxnLst>
                <a:cxn ang="0">
                  <a:pos x="T0" y="T1"/>
                </a:cxn>
                <a:cxn ang="0">
                  <a:pos x="T2" y="T3"/>
                </a:cxn>
                <a:cxn ang="0">
                  <a:pos x="T4" y="T5"/>
                </a:cxn>
                <a:cxn ang="0">
                  <a:pos x="T6" y="T7"/>
                </a:cxn>
                <a:cxn ang="0">
                  <a:pos x="T8" y="T9"/>
                </a:cxn>
              </a:cxnLst>
              <a:rect l="0" t="0" r="r" b="b"/>
              <a:pathLst>
                <a:path w="138" h="22">
                  <a:moveTo>
                    <a:pt x="0" y="22"/>
                  </a:moveTo>
                  <a:cubicBezTo>
                    <a:pt x="60" y="15"/>
                    <a:pt x="130" y="1"/>
                    <a:pt x="133" y="0"/>
                  </a:cubicBezTo>
                  <a:cubicBezTo>
                    <a:pt x="138" y="1"/>
                    <a:pt x="138" y="1"/>
                    <a:pt x="138" y="1"/>
                  </a:cubicBezTo>
                  <a:cubicBezTo>
                    <a:pt x="133" y="0"/>
                    <a:pt x="133" y="0"/>
                    <a:pt x="133" y="0"/>
                  </a:cubicBezTo>
                  <a:cubicBezTo>
                    <a:pt x="133" y="0"/>
                    <a:pt x="61" y="14"/>
                    <a:pt x="0"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44">
              <a:extLst>
                <a:ext uri="{FF2B5EF4-FFF2-40B4-BE49-F238E27FC236}">
                  <a16:creationId xmlns:a16="http://schemas.microsoft.com/office/drawing/2014/main" id="{95538E82-2E38-7C9B-6923-E9C3F7FCE7A4}"/>
                </a:ext>
              </a:extLst>
            </p:cNvPr>
            <p:cNvSpPr>
              <a:spLocks/>
            </p:cNvSpPr>
            <p:nvPr/>
          </p:nvSpPr>
          <p:spPr bwMode="gray">
            <a:xfrm>
              <a:off x="10897781" y="2907674"/>
              <a:ext cx="3596" cy="0"/>
            </a:xfrm>
            <a:custGeom>
              <a:avLst/>
              <a:gdLst>
                <a:gd name="T0" fmla="*/ 6 w 6"/>
                <a:gd name="T1" fmla="*/ 0 w 6"/>
                <a:gd name="T2" fmla="*/ 6 w 6"/>
              </a:gdLst>
              <a:ahLst/>
              <a:cxnLst>
                <a:cxn ang="0">
                  <a:pos x="T0" y="0"/>
                </a:cxn>
                <a:cxn ang="0">
                  <a:pos x="T1" y="0"/>
                </a:cxn>
                <a:cxn ang="0">
                  <a:pos x="T2" y="0"/>
                </a:cxn>
              </a:cxnLst>
              <a:rect l="0" t="0" r="r" b="b"/>
              <a:pathLst>
                <a:path w="6">
                  <a:moveTo>
                    <a:pt x="6" y="0"/>
                  </a:moveTo>
                  <a:cubicBezTo>
                    <a:pt x="4" y="0"/>
                    <a:pt x="2" y="0"/>
                    <a:pt x="0" y="0"/>
                  </a:cubicBezTo>
                  <a:cubicBezTo>
                    <a:pt x="2" y="0"/>
                    <a:pt x="4" y="0"/>
                    <a:pt x="6"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45">
              <a:extLst>
                <a:ext uri="{FF2B5EF4-FFF2-40B4-BE49-F238E27FC236}">
                  <a16:creationId xmlns:a16="http://schemas.microsoft.com/office/drawing/2014/main" id="{3EE7B976-F459-49C3-BD99-A4713DEBAD86}"/>
                </a:ext>
              </a:extLst>
            </p:cNvPr>
            <p:cNvSpPr>
              <a:spLocks/>
            </p:cNvSpPr>
            <p:nvPr/>
          </p:nvSpPr>
          <p:spPr bwMode="gray">
            <a:xfrm>
              <a:off x="11392226" y="2589431"/>
              <a:ext cx="8991" cy="3596"/>
            </a:xfrm>
            <a:custGeom>
              <a:avLst/>
              <a:gdLst>
                <a:gd name="T0" fmla="*/ 15 w 15"/>
                <a:gd name="T1" fmla="*/ 1 h 8"/>
                <a:gd name="T2" fmla="*/ 15 w 15"/>
                <a:gd name="T3" fmla="*/ 0 h 8"/>
                <a:gd name="T4" fmla="*/ 0 w 15"/>
                <a:gd name="T5" fmla="*/ 8 h 8"/>
                <a:gd name="T6" fmla="*/ 15 w 15"/>
                <a:gd name="T7" fmla="*/ 1 h 8"/>
              </a:gdLst>
              <a:ahLst/>
              <a:cxnLst>
                <a:cxn ang="0">
                  <a:pos x="T0" y="T1"/>
                </a:cxn>
                <a:cxn ang="0">
                  <a:pos x="T2" y="T3"/>
                </a:cxn>
                <a:cxn ang="0">
                  <a:pos x="T4" y="T5"/>
                </a:cxn>
                <a:cxn ang="0">
                  <a:pos x="T6" y="T7"/>
                </a:cxn>
              </a:cxnLst>
              <a:rect l="0" t="0" r="r" b="b"/>
              <a:pathLst>
                <a:path w="15" h="8">
                  <a:moveTo>
                    <a:pt x="15" y="1"/>
                  </a:moveTo>
                  <a:cubicBezTo>
                    <a:pt x="15" y="1"/>
                    <a:pt x="15" y="1"/>
                    <a:pt x="15" y="0"/>
                  </a:cubicBezTo>
                  <a:cubicBezTo>
                    <a:pt x="7" y="7"/>
                    <a:pt x="1" y="8"/>
                    <a:pt x="0" y="8"/>
                  </a:cubicBezTo>
                  <a:cubicBezTo>
                    <a:pt x="1" y="8"/>
                    <a:pt x="8" y="8"/>
                    <a:pt x="1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46">
              <a:extLst>
                <a:ext uri="{FF2B5EF4-FFF2-40B4-BE49-F238E27FC236}">
                  <a16:creationId xmlns:a16="http://schemas.microsoft.com/office/drawing/2014/main" id="{ECBE9EFB-B51F-4E60-4C39-BC66B9DC1B02}"/>
                </a:ext>
              </a:extLst>
            </p:cNvPr>
            <p:cNvSpPr>
              <a:spLocks/>
            </p:cNvSpPr>
            <p:nvPr/>
          </p:nvSpPr>
          <p:spPr bwMode="gray">
            <a:xfrm>
              <a:off x="10903176" y="2907674"/>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2" y="0"/>
                    <a:pt x="1" y="0"/>
                    <a:pt x="0" y="0"/>
                  </a:cubicBezTo>
                  <a:cubicBezTo>
                    <a:pt x="1" y="0"/>
                    <a:pt x="2"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47">
              <a:extLst>
                <a:ext uri="{FF2B5EF4-FFF2-40B4-BE49-F238E27FC236}">
                  <a16:creationId xmlns:a16="http://schemas.microsoft.com/office/drawing/2014/main" id="{8B9622FE-ABF7-F6F4-5F52-92E931E741B1}"/>
                </a:ext>
              </a:extLst>
            </p:cNvPr>
            <p:cNvSpPr>
              <a:spLocks/>
            </p:cNvSpPr>
            <p:nvPr/>
          </p:nvSpPr>
          <p:spPr bwMode="gray">
            <a:xfrm>
              <a:off x="9734491" y="3046116"/>
              <a:ext cx="0" cy="0"/>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1" y="2"/>
                    <a:pt x="0" y="2"/>
                  </a:cubicBezTo>
                  <a:cubicBezTo>
                    <a:pt x="1" y="2"/>
                    <a:pt x="1" y="1"/>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48">
              <a:extLst>
                <a:ext uri="{FF2B5EF4-FFF2-40B4-BE49-F238E27FC236}">
                  <a16:creationId xmlns:a16="http://schemas.microsoft.com/office/drawing/2014/main" id="{E821F3F2-B277-A3F9-63A2-1E768AD3F00F}"/>
                </a:ext>
              </a:extLst>
            </p:cNvPr>
            <p:cNvSpPr>
              <a:spLocks/>
            </p:cNvSpPr>
            <p:nvPr/>
          </p:nvSpPr>
          <p:spPr bwMode="gray">
            <a:xfrm>
              <a:off x="11307720" y="2404239"/>
              <a:ext cx="16183" cy="3596"/>
            </a:xfrm>
            <a:custGeom>
              <a:avLst/>
              <a:gdLst>
                <a:gd name="T0" fmla="*/ 28 w 28"/>
                <a:gd name="T1" fmla="*/ 0 h 6"/>
                <a:gd name="T2" fmla="*/ 5 w 28"/>
                <a:gd name="T3" fmla="*/ 3 h 6"/>
                <a:gd name="T4" fmla="*/ 0 w 28"/>
                <a:gd name="T5" fmla="*/ 6 h 6"/>
                <a:gd name="T6" fmla="*/ 28 w 28"/>
                <a:gd name="T7" fmla="*/ 0 h 6"/>
              </a:gdLst>
              <a:ahLst/>
              <a:cxnLst>
                <a:cxn ang="0">
                  <a:pos x="T0" y="T1"/>
                </a:cxn>
                <a:cxn ang="0">
                  <a:pos x="T2" y="T3"/>
                </a:cxn>
                <a:cxn ang="0">
                  <a:pos x="T4" y="T5"/>
                </a:cxn>
                <a:cxn ang="0">
                  <a:pos x="T6" y="T7"/>
                </a:cxn>
              </a:cxnLst>
              <a:rect l="0" t="0" r="r" b="b"/>
              <a:pathLst>
                <a:path w="28" h="6">
                  <a:moveTo>
                    <a:pt x="28" y="0"/>
                  </a:moveTo>
                  <a:cubicBezTo>
                    <a:pt x="28" y="0"/>
                    <a:pt x="16" y="0"/>
                    <a:pt x="5" y="3"/>
                  </a:cubicBezTo>
                  <a:cubicBezTo>
                    <a:pt x="4" y="4"/>
                    <a:pt x="2" y="5"/>
                    <a:pt x="0" y="6"/>
                  </a:cubicBezTo>
                  <a:cubicBezTo>
                    <a:pt x="12" y="4"/>
                    <a:pt x="28" y="0"/>
                    <a:pt x="2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50">
              <a:extLst>
                <a:ext uri="{FF2B5EF4-FFF2-40B4-BE49-F238E27FC236}">
                  <a16:creationId xmlns:a16="http://schemas.microsoft.com/office/drawing/2014/main" id="{A60F236C-38BB-BC28-BDEA-FCB38D968F96}"/>
                </a:ext>
              </a:extLst>
            </p:cNvPr>
            <p:cNvSpPr>
              <a:spLocks/>
            </p:cNvSpPr>
            <p:nvPr/>
          </p:nvSpPr>
          <p:spPr bwMode="gray">
            <a:xfrm>
              <a:off x="9027886" y="4448539"/>
              <a:ext cx="7192" cy="12586"/>
            </a:xfrm>
            <a:custGeom>
              <a:avLst/>
              <a:gdLst>
                <a:gd name="T0" fmla="*/ 0 w 4"/>
                <a:gd name="T1" fmla="*/ 7 h 7"/>
                <a:gd name="T2" fmla="*/ 4 w 4"/>
                <a:gd name="T3" fmla="*/ 0 h 7"/>
                <a:gd name="T4" fmla="*/ 0 w 4"/>
                <a:gd name="T5" fmla="*/ 7 h 7"/>
                <a:gd name="T6" fmla="*/ 0 w 4"/>
                <a:gd name="T7" fmla="*/ 7 h 7"/>
              </a:gdLst>
              <a:ahLst/>
              <a:cxnLst>
                <a:cxn ang="0">
                  <a:pos x="T0" y="T1"/>
                </a:cxn>
                <a:cxn ang="0">
                  <a:pos x="T2" y="T3"/>
                </a:cxn>
                <a:cxn ang="0">
                  <a:pos x="T4" y="T5"/>
                </a:cxn>
                <a:cxn ang="0">
                  <a:pos x="T6" y="T7"/>
                </a:cxn>
              </a:cxnLst>
              <a:rect l="0" t="0" r="r" b="b"/>
              <a:pathLst>
                <a:path w="4" h="7">
                  <a:moveTo>
                    <a:pt x="0" y="7"/>
                  </a:moveTo>
                  <a:lnTo>
                    <a:pt x="4" y="0"/>
                  </a:lnTo>
                  <a:lnTo>
                    <a:pt x="0" y="7"/>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51">
              <a:extLst>
                <a:ext uri="{FF2B5EF4-FFF2-40B4-BE49-F238E27FC236}">
                  <a16:creationId xmlns:a16="http://schemas.microsoft.com/office/drawing/2014/main" id="{D72B5B88-0A70-B73F-C948-1AF3825F6AB8}"/>
                </a:ext>
              </a:extLst>
            </p:cNvPr>
            <p:cNvSpPr>
              <a:spLocks/>
            </p:cNvSpPr>
            <p:nvPr/>
          </p:nvSpPr>
          <p:spPr bwMode="gray">
            <a:xfrm>
              <a:off x="9871137" y="2814178"/>
              <a:ext cx="5395" cy="3596"/>
            </a:xfrm>
            <a:custGeom>
              <a:avLst/>
              <a:gdLst>
                <a:gd name="T0" fmla="*/ 10 w 10"/>
                <a:gd name="T1" fmla="*/ 5 h 5"/>
                <a:gd name="T2" fmla="*/ 0 w 10"/>
                <a:gd name="T3" fmla="*/ 0 h 5"/>
                <a:gd name="T4" fmla="*/ 10 w 10"/>
                <a:gd name="T5" fmla="*/ 5 h 5"/>
              </a:gdLst>
              <a:ahLst/>
              <a:cxnLst>
                <a:cxn ang="0">
                  <a:pos x="T0" y="T1"/>
                </a:cxn>
                <a:cxn ang="0">
                  <a:pos x="T2" y="T3"/>
                </a:cxn>
                <a:cxn ang="0">
                  <a:pos x="T4" y="T5"/>
                </a:cxn>
              </a:cxnLst>
              <a:rect l="0" t="0" r="r" b="b"/>
              <a:pathLst>
                <a:path w="10" h="5">
                  <a:moveTo>
                    <a:pt x="10" y="5"/>
                  </a:moveTo>
                  <a:cubicBezTo>
                    <a:pt x="6" y="5"/>
                    <a:pt x="3" y="1"/>
                    <a:pt x="0" y="0"/>
                  </a:cubicBezTo>
                  <a:cubicBezTo>
                    <a:pt x="2" y="2"/>
                    <a:pt x="5" y="4"/>
                    <a:pt x="10"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52">
              <a:extLst>
                <a:ext uri="{FF2B5EF4-FFF2-40B4-BE49-F238E27FC236}">
                  <a16:creationId xmlns:a16="http://schemas.microsoft.com/office/drawing/2014/main" id="{AB5B1D72-89B5-3082-90DB-CE72F258030E}"/>
                </a:ext>
              </a:extLst>
            </p:cNvPr>
            <p:cNvSpPr>
              <a:spLocks/>
            </p:cNvSpPr>
            <p:nvPr/>
          </p:nvSpPr>
          <p:spPr bwMode="gray">
            <a:xfrm>
              <a:off x="11072186" y="4574398"/>
              <a:ext cx="1798"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53">
              <a:extLst>
                <a:ext uri="{FF2B5EF4-FFF2-40B4-BE49-F238E27FC236}">
                  <a16:creationId xmlns:a16="http://schemas.microsoft.com/office/drawing/2014/main" id="{9F28E465-A3F9-AFD0-6B10-8E96755CD340}"/>
                </a:ext>
              </a:extLst>
            </p:cNvPr>
            <p:cNvSpPr>
              <a:spLocks/>
            </p:cNvSpPr>
            <p:nvPr/>
          </p:nvSpPr>
          <p:spPr bwMode="gray">
            <a:xfrm>
              <a:off x="10804286" y="4443146"/>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54">
              <a:extLst>
                <a:ext uri="{FF2B5EF4-FFF2-40B4-BE49-F238E27FC236}">
                  <a16:creationId xmlns:a16="http://schemas.microsoft.com/office/drawing/2014/main" id="{7999780F-008D-FE05-2EA2-BF080A741D63}"/>
                </a:ext>
              </a:extLst>
            </p:cNvPr>
            <p:cNvSpPr>
              <a:spLocks/>
            </p:cNvSpPr>
            <p:nvPr/>
          </p:nvSpPr>
          <p:spPr bwMode="gray">
            <a:xfrm>
              <a:off x="10804286" y="44431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55">
              <a:extLst>
                <a:ext uri="{FF2B5EF4-FFF2-40B4-BE49-F238E27FC236}">
                  <a16:creationId xmlns:a16="http://schemas.microsoft.com/office/drawing/2014/main" id="{6A9A10BF-B64B-EFB4-8475-B90D7291EB7B}"/>
                </a:ext>
              </a:extLst>
            </p:cNvPr>
            <p:cNvSpPr>
              <a:spLocks/>
            </p:cNvSpPr>
            <p:nvPr/>
          </p:nvSpPr>
          <p:spPr bwMode="gray">
            <a:xfrm>
              <a:off x="10804286" y="444494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56">
              <a:extLst>
                <a:ext uri="{FF2B5EF4-FFF2-40B4-BE49-F238E27FC236}">
                  <a16:creationId xmlns:a16="http://schemas.microsoft.com/office/drawing/2014/main" id="{88E3CD8C-1FC7-872C-C869-819CDA979014}"/>
                </a:ext>
              </a:extLst>
            </p:cNvPr>
            <p:cNvSpPr>
              <a:spLocks/>
            </p:cNvSpPr>
            <p:nvPr/>
          </p:nvSpPr>
          <p:spPr bwMode="gray">
            <a:xfrm>
              <a:off x="10800690" y="4446742"/>
              <a:ext cx="1798" cy="179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57">
              <a:extLst>
                <a:ext uri="{FF2B5EF4-FFF2-40B4-BE49-F238E27FC236}">
                  <a16:creationId xmlns:a16="http://schemas.microsoft.com/office/drawing/2014/main" id="{CE565E65-3108-13CB-3840-C629CB6B48F8}"/>
                </a:ext>
              </a:extLst>
            </p:cNvPr>
            <p:cNvSpPr>
              <a:spLocks/>
            </p:cNvSpPr>
            <p:nvPr/>
          </p:nvSpPr>
          <p:spPr bwMode="gray">
            <a:xfrm>
              <a:off x="10802489" y="4446742"/>
              <a:ext cx="1798" cy="0"/>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1" y="1"/>
                    <a:pt x="0" y="2"/>
                  </a:cubicBezTo>
                  <a:cubicBezTo>
                    <a:pt x="1" y="1"/>
                    <a:pt x="1" y="1"/>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58">
              <a:extLst>
                <a:ext uri="{FF2B5EF4-FFF2-40B4-BE49-F238E27FC236}">
                  <a16:creationId xmlns:a16="http://schemas.microsoft.com/office/drawing/2014/main" id="{9CEDDADF-D1EA-C0BB-FFB5-AE91C314BBD2}"/>
                </a:ext>
              </a:extLst>
            </p:cNvPr>
            <p:cNvSpPr>
              <a:spLocks/>
            </p:cNvSpPr>
            <p:nvPr/>
          </p:nvSpPr>
          <p:spPr bwMode="gray">
            <a:xfrm>
              <a:off x="10800690" y="44377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59">
              <a:extLst>
                <a:ext uri="{FF2B5EF4-FFF2-40B4-BE49-F238E27FC236}">
                  <a16:creationId xmlns:a16="http://schemas.microsoft.com/office/drawing/2014/main" id="{3BDE9706-7159-6680-9132-B78AB7F57E81}"/>
                </a:ext>
              </a:extLst>
            </p:cNvPr>
            <p:cNvSpPr>
              <a:spLocks/>
            </p:cNvSpPr>
            <p:nvPr/>
          </p:nvSpPr>
          <p:spPr bwMode="gray">
            <a:xfrm>
              <a:off x="10795298" y="4432358"/>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60">
              <a:extLst>
                <a:ext uri="{FF2B5EF4-FFF2-40B4-BE49-F238E27FC236}">
                  <a16:creationId xmlns:a16="http://schemas.microsoft.com/office/drawing/2014/main" id="{0EF2346A-84FC-31F2-FF53-3E35B9C52269}"/>
                </a:ext>
              </a:extLst>
            </p:cNvPr>
            <p:cNvSpPr>
              <a:spLocks/>
            </p:cNvSpPr>
            <p:nvPr/>
          </p:nvSpPr>
          <p:spPr bwMode="gray">
            <a:xfrm>
              <a:off x="10795298" y="4430560"/>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61">
              <a:extLst>
                <a:ext uri="{FF2B5EF4-FFF2-40B4-BE49-F238E27FC236}">
                  <a16:creationId xmlns:a16="http://schemas.microsoft.com/office/drawing/2014/main" id="{F286F8D3-C2B0-03DD-002C-4662FDC4ED74}"/>
                </a:ext>
              </a:extLst>
            </p:cNvPr>
            <p:cNvSpPr>
              <a:spLocks/>
            </p:cNvSpPr>
            <p:nvPr/>
          </p:nvSpPr>
          <p:spPr bwMode="gray">
            <a:xfrm>
              <a:off x="10797095" y="4434156"/>
              <a:ext cx="0" cy="0"/>
            </a:xfrm>
            <a:custGeom>
              <a:avLst/>
              <a:gdLst>
                <a:gd name="T0" fmla="*/ 1 w 1"/>
                <a:gd name="T1" fmla="*/ 1 h 1"/>
                <a:gd name="T2" fmla="*/ 0 w 1"/>
                <a:gd name="T3" fmla="*/ 0 h 1"/>
                <a:gd name="T4" fmla="*/ 1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0" y="0"/>
                    <a:pt x="0" y="0"/>
                    <a:pt x="0" y="0"/>
                  </a:cubicBezTo>
                  <a:cubicBezTo>
                    <a:pt x="0" y="0"/>
                    <a:pt x="1" y="0"/>
                    <a:pt x="1" y="1"/>
                  </a:cubicBezTo>
                  <a:cubicBezTo>
                    <a:pt x="1" y="1"/>
                    <a:pt x="1" y="1"/>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62">
              <a:extLst>
                <a:ext uri="{FF2B5EF4-FFF2-40B4-BE49-F238E27FC236}">
                  <a16:creationId xmlns:a16="http://schemas.microsoft.com/office/drawing/2014/main" id="{F4E6270B-3E64-BDAF-936F-1CDE04050D1A}"/>
                </a:ext>
              </a:extLst>
            </p:cNvPr>
            <p:cNvSpPr>
              <a:spLocks/>
            </p:cNvSpPr>
            <p:nvPr/>
          </p:nvSpPr>
          <p:spPr bwMode="gray">
            <a:xfrm>
              <a:off x="10798893" y="4435954"/>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63">
              <a:extLst>
                <a:ext uri="{FF2B5EF4-FFF2-40B4-BE49-F238E27FC236}">
                  <a16:creationId xmlns:a16="http://schemas.microsoft.com/office/drawing/2014/main" id="{1C0AFD13-F26E-A2D0-FCEC-859A8AC9602C}"/>
                </a:ext>
              </a:extLst>
            </p:cNvPr>
            <p:cNvSpPr>
              <a:spLocks/>
            </p:cNvSpPr>
            <p:nvPr/>
          </p:nvSpPr>
          <p:spPr bwMode="gray">
            <a:xfrm>
              <a:off x="10800690"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64">
              <a:extLst>
                <a:ext uri="{FF2B5EF4-FFF2-40B4-BE49-F238E27FC236}">
                  <a16:creationId xmlns:a16="http://schemas.microsoft.com/office/drawing/2014/main" id="{7AD2E0B1-A254-A449-134D-A38427E54794}"/>
                </a:ext>
              </a:extLst>
            </p:cNvPr>
            <p:cNvSpPr>
              <a:spLocks/>
            </p:cNvSpPr>
            <p:nvPr/>
          </p:nvSpPr>
          <p:spPr bwMode="gray">
            <a:xfrm>
              <a:off x="10793498" y="4430560"/>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4" name="Freeform 65">
              <a:extLst>
                <a:ext uri="{FF2B5EF4-FFF2-40B4-BE49-F238E27FC236}">
                  <a16:creationId xmlns:a16="http://schemas.microsoft.com/office/drawing/2014/main" id="{5D5D364E-A56B-2CEE-D5FD-1492CE774D7F}"/>
                </a:ext>
              </a:extLst>
            </p:cNvPr>
            <p:cNvSpPr>
              <a:spLocks/>
            </p:cNvSpPr>
            <p:nvPr/>
          </p:nvSpPr>
          <p:spPr bwMode="gray">
            <a:xfrm>
              <a:off x="10798893" y="4448539"/>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5" name="Freeform 66">
              <a:extLst>
                <a:ext uri="{FF2B5EF4-FFF2-40B4-BE49-F238E27FC236}">
                  <a16:creationId xmlns:a16="http://schemas.microsoft.com/office/drawing/2014/main" id="{30E5A26D-239E-9EE0-9224-440CD2EBCF10}"/>
                </a:ext>
              </a:extLst>
            </p:cNvPr>
            <p:cNvSpPr>
              <a:spLocks/>
            </p:cNvSpPr>
            <p:nvPr/>
          </p:nvSpPr>
          <p:spPr bwMode="gray">
            <a:xfrm>
              <a:off x="10782710" y="4443146"/>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67">
              <a:extLst>
                <a:ext uri="{FF2B5EF4-FFF2-40B4-BE49-F238E27FC236}">
                  <a16:creationId xmlns:a16="http://schemas.microsoft.com/office/drawing/2014/main" id="{3C0F7F25-D3DE-31BD-25AF-BFB3B90BFBEC}"/>
                </a:ext>
              </a:extLst>
            </p:cNvPr>
            <p:cNvSpPr>
              <a:spLocks/>
            </p:cNvSpPr>
            <p:nvPr/>
          </p:nvSpPr>
          <p:spPr bwMode="gray">
            <a:xfrm>
              <a:off x="10780913" y="4443146"/>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7" name="Freeform 68">
              <a:extLst>
                <a:ext uri="{FF2B5EF4-FFF2-40B4-BE49-F238E27FC236}">
                  <a16:creationId xmlns:a16="http://schemas.microsoft.com/office/drawing/2014/main" id="{4F6C9E40-B3E1-E87E-8892-795FF7B08F4E}"/>
                </a:ext>
              </a:extLst>
            </p:cNvPr>
            <p:cNvSpPr>
              <a:spLocks/>
            </p:cNvSpPr>
            <p:nvPr/>
          </p:nvSpPr>
          <p:spPr bwMode="gray">
            <a:xfrm>
              <a:off x="9590653" y="4069167"/>
              <a:ext cx="16183" cy="8991"/>
            </a:xfrm>
            <a:custGeom>
              <a:avLst/>
              <a:gdLst>
                <a:gd name="T0" fmla="*/ 0 w 25"/>
                <a:gd name="T1" fmla="*/ 16 h 16"/>
                <a:gd name="T2" fmla="*/ 25 w 25"/>
                <a:gd name="T3" fmla="*/ 0 h 16"/>
                <a:gd name="T4" fmla="*/ 0 w 25"/>
                <a:gd name="T5" fmla="*/ 16 h 16"/>
              </a:gdLst>
              <a:ahLst/>
              <a:cxnLst>
                <a:cxn ang="0">
                  <a:pos x="T0" y="T1"/>
                </a:cxn>
                <a:cxn ang="0">
                  <a:pos x="T2" y="T3"/>
                </a:cxn>
                <a:cxn ang="0">
                  <a:pos x="T4" y="T5"/>
                </a:cxn>
              </a:cxnLst>
              <a:rect l="0" t="0" r="r" b="b"/>
              <a:pathLst>
                <a:path w="25" h="16">
                  <a:moveTo>
                    <a:pt x="0" y="16"/>
                  </a:moveTo>
                  <a:cubicBezTo>
                    <a:pt x="7" y="6"/>
                    <a:pt x="16" y="3"/>
                    <a:pt x="25" y="0"/>
                  </a:cubicBezTo>
                  <a:cubicBezTo>
                    <a:pt x="16" y="3"/>
                    <a:pt x="6" y="5"/>
                    <a:pt x="0"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69">
              <a:extLst>
                <a:ext uri="{FF2B5EF4-FFF2-40B4-BE49-F238E27FC236}">
                  <a16:creationId xmlns:a16="http://schemas.microsoft.com/office/drawing/2014/main" id="{5B77F98C-0562-E37F-C9E3-6F1851B9FF4E}"/>
                </a:ext>
              </a:extLst>
            </p:cNvPr>
            <p:cNvSpPr>
              <a:spLocks/>
            </p:cNvSpPr>
            <p:nvPr/>
          </p:nvSpPr>
          <p:spPr bwMode="gray">
            <a:xfrm>
              <a:off x="9610429" y="4060176"/>
              <a:ext cx="7192" cy="7192"/>
            </a:xfrm>
            <a:custGeom>
              <a:avLst/>
              <a:gdLst>
                <a:gd name="T0" fmla="*/ 0 w 10"/>
                <a:gd name="T1" fmla="*/ 14 h 14"/>
                <a:gd name="T2" fmla="*/ 10 w 10"/>
                <a:gd name="T3" fmla="*/ 7 h 14"/>
                <a:gd name="T4" fmla="*/ 10 w 10"/>
                <a:gd name="T5" fmla="*/ 0 h 14"/>
                <a:gd name="T6" fmla="*/ 0 w 10"/>
                <a:gd name="T7" fmla="*/ 14 h 14"/>
              </a:gdLst>
              <a:ahLst/>
              <a:cxnLst>
                <a:cxn ang="0">
                  <a:pos x="T0" y="T1"/>
                </a:cxn>
                <a:cxn ang="0">
                  <a:pos x="T2" y="T3"/>
                </a:cxn>
                <a:cxn ang="0">
                  <a:pos x="T4" y="T5"/>
                </a:cxn>
                <a:cxn ang="0">
                  <a:pos x="T6" y="T7"/>
                </a:cxn>
              </a:cxnLst>
              <a:rect l="0" t="0" r="r" b="b"/>
              <a:pathLst>
                <a:path w="10" h="14">
                  <a:moveTo>
                    <a:pt x="0" y="14"/>
                  </a:moveTo>
                  <a:cubicBezTo>
                    <a:pt x="4" y="12"/>
                    <a:pt x="7" y="10"/>
                    <a:pt x="10" y="7"/>
                  </a:cubicBezTo>
                  <a:cubicBezTo>
                    <a:pt x="10" y="0"/>
                    <a:pt x="10" y="0"/>
                    <a:pt x="10" y="0"/>
                  </a:cubicBezTo>
                  <a:cubicBezTo>
                    <a:pt x="10" y="8"/>
                    <a:pt x="6" y="11"/>
                    <a:pt x="0"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9" name="Freeform 70">
              <a:extLst>
                <a:ext uri="{FF2B5EF4-FFF2-40B4-BE49-F238E27FC236}">
                  <a16:creationId xmlns:a16="http://schemas.microsoft.com/office/drawing/2014/main" id="{691625C9-1480-EF13-C444-5A4095BCDB5C}"/>
                </a:ext>
              </a:extLst>
            </p:cNvPr>
            <p:cNvSpPr>
              <a:spLocks/>
            </p:cNvSpPr>
            <p:nvPr/>
          </p:nvSpPr>
          <p:spPr bwMode="gray">
            <a:xfrm>
              <a:off x="10678429" y="883150"/>
              <a:ext cx="5395" cy="12586"/>
            </a:xfrm>
            <a:custGeom>
              <a:avLst/>
              <a:gdLst>
                <a:gd name="T0" fmla="*/ 0 w 3"/>
                <a:gd name="T1" fmla="*/ 7 h 7"/>
                <a:gd name="T2" fmla="*/ 3 w 3"/>
                <a:gd name="T3" fmla="*/ 0 h 7"/>
                <a:gd name="T4" fmla="*/ 0 w 3"/>
                <a:gd name="T5" fmla="*/ 4 h 7"/>
                <a:gd name="T6" fmla="*/ 0 w 3"/>
                <a:gd name="T7" fmla="*/ 7 h 7"/>
              </a:gdLst>
              <a:ahLst/>
              <a:cxnLst>
                <a:cxn ang="0">
                  <a:pos x="T0" y="T1"/>
                </a:cxn>
                <a:cxn ang="0">
                  <a:pos x="T2" y="T3"/>
                </a:cxn>
                <a:cxn ang="0">
                  <a:pos x="T4" y="T5"/>
                </a:cxn>
                <a:cxn ang="0">
                  <a:pos x="T6" y="T7"/>
                </a:cxn>
              </a:cxnLst>
              <a:rect l="0" t="0" r="r" b="b"/>
              <a:pathLst>
                <a:path w="3" h="7">
                  <a:moveTo>
                    <a:pt x="0" y="7"/>
                  </a:moveTo>
                  <a:lnTo>
                    <a:pt x="3" y="0"/>
                  </a:lnTo>
                  <a:lnTo>
                    <a:pt x="0" y="4"/>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0" name="Freeform 71">
              <a:extLst>
                <a:ext uri="{FF2B5EF4-FFF2-40B4-BE49-F238E27FC236}">
                  <a16:creationId xmlns:a16="http://schemas.microsoft.com/office/drawing/2014/main" id="{B1C896ED-4282-FAD2-3721-054E7DE5BF97}"/>
                </a:ext>
              </a:extLst>
            </p:cNvPr>
            <p:cNvSpPr>
              <a:spLocks/>
            </p:cNvSpPr>
            <p:nvPr/>
          </p:nvSpPr>
          <p:spPr bwMode="gray">
            <a:xfrm>
              <a:off x="10795298" y="4448539"/>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72">
              <a:extLst>
                <a:ext uri="{FF2B5EF4-FFF2-40B4-BE49-F238E27FC236}">
                  <a16:creationId xmlns:a16="http://schemas.microsoft.com/office/drawing/2014/main" id="{6809DAC0-F88E-E1E8-3ADE-D8396662AA10}"/>
                </a:ext>
              </a:extLst>
            </p:cNvPr>
            <p:cNvSpPr>
              <a:spLocks/>
            </p:cNvSpPr>
            <p:nvPr/>
          </p:nvSpPr>
          <p:spPr bwMode="gray">
            <a:xfrm>
              <a:off x="10797095"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73">
              <a:extLst>
                <a:ext uri="{FF2B5EF4-FFF2-40B4-BE49-F238E27FC236}">
                  <a16:creationId xmlns:a16="http://schemas.microsoft.com/office/drawing/2014/main" id="{0823B00B-3420-7939-4036-84DE409A9D73}"/>
                </a:ext>
              </a:extLst>
            </p:cNvPr>
            <p:cNvSpPr>
              <a:spLocks/>
            </p:cNvSpPr>
            <p:nvPr/>
          </p:nvSpPr>
          <p:spPr bwMode="gray">
            <a:xfrm>
              <a:off x="10784510" y="4443146"/>
              <a:ext cx="7192" cy="3596"/>
            </a:xfrm>
            <a:custGeom>
              <a:avLst/>
              <a:gdLst>
                <a:gd name="T0" fmla="*/ 13 w 13"/>
                <a:gd name="T1" fmla="*/ 6 h 6"/>
                <a:gd name="T2" fmla="*/ 0 w 13"/>
                <a:gd name="T3" fmla="*/ 0 h 6"/>
                <a:gd name="T4" fmla="*/ 13 w 13"/>
                <a:gd name="T5" fmla="*/ 6 h 6"/>
              </a:gdLst>
              <a:ahLst/>
              <a:cxnLst>
                <a:cxn ang="0">
                  <a:pos x="T0" y="T1"/>
                </a:cxn>
                <a:cxn ang="0">
                  <a:pos x="T2" y="T3"/>
                </a:cxn>
                <a:cxn ang="0">
                  <a:pos x="T4" y="T5"/>
                </a:cxn>
              </a:cxnLst>
              <a:rect l="0" t="0" r="r" b="b"/>
              <a:pathLst>
                <a:path w="13" h="6">
                  <a:moveTo>
                    <a:pt x="13" y="6"/>
                  </a:moveTo>
                  <a:cubicBezTo>
                    <a:pt x="8" y="5"/>
                    <a:pt x="4" y="2"/>
                    <a:pt x="0" y="0"/>
                  </a:cubicBezTo>
                  <a:cubicBezTo>
                    <a:pt x="4" y="2"/>
                    <a:pt x="8" y="5"/>
                    <a:pt x="13"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75">
              <a:extLst>
                <a:ext uri="{FF2B5EF4-FFF2-40B4-BE49-F238E27FC236}">
                  <a16:creationId xmlns:a16="http://schemas.microsoft.com/office/drawing/2014/main" id="{DDE4E850-5B41-F41C-DCF9-AFB9310F2D8B}"/>
                </a:ext>
              </a:extLst>
            </p:cNvPr>
            <p:cNvSpPr>
              <a:spLocks/>
            </p:cNvSpPr>
            <p:nvPr/>
          </p:nvSpPr>
          <p:spPr bwMode="gray">
            <a:xfrm>
              <a:off x="10791701" y="444674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76">
              <a:extLst>
                <a:ext uri="{FF2B5EF4-FFF2-40B4-BE49-F238E27FC236}">
                  <a16:creationId xmlns:a16="http://schemas.microsoft.com/office/drawing/2014/main" id="{9984BCEB-3DF5-569F-F469-BB051E142A84}"/>
                </a:ext>
              </a:extLst>
            </p:cNvPr>
            <p:cNvSpPr>
              <a:spLocks/>
            </p:cNvSpPr>
            <p:nvPr/>
          </p:nvSpPr>
          <p:spPr bwMode="gray">
            <a:xfrm>
              <a:off x="10739559" y="4545630"/>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77">
              <a:extLst>
                <a:ext uri="{FF2B5EF4-FFF2-40B4-BE49-F238E27FC236}">
                  <a16:creationId xmlns:a16="http://schemas.microsoft.com/office/drawing/2014/main" id="{8B2A63E3-D3D4-9140-52C6-D7ADFCE68334}"/>
                </a:ext>
              </a:extLst>
            </p:cNvPr>
            <p:cNvSpPr>
              <a:spLocks/>
            </p:cNvSpPr>
            <p:nvPr/>
          </p:nvSpPr>
          <p:spPr bwMode="gray">
            <a:xfrm>
              <a:off x="10912166" y="4543832"/>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78">
              <a:extLst>
                <a:ext uri="{FF2B5EF4-FFF2-40B4-BE49-F238E27FC236}">
                  <a16:creationId xmlns:a16="http://schemas.microsoft.com/office/drawing/2014/main" id="{C719E250-674C-3BA4-E35A-7CD8C4D33A86}"/>
                </a:ext>
              </a:extLst>
            </p:cNvPr>
            <p:cNvSpPr>
              <a:spLocks/>
            </p:cNvSpPr>
            <p:nvPr/>
          </p:nvSpPr>
          <p:spPr bwMode="gray">
            <a:xfrm>
              <a:off x="10913964" y="4543832"/>
              <a:ext cx="3596" cy="3596"/>
            </a:xfrm>
            <a:custGeom>
              <a:avLst/>
              <a:gdLst>
                <a:gd name="T0" fmla="*/ 7 w 7"/>
                <a:gd name="T1" fmla="*/ 6 h 6"/>
                <a:gd name="T2" fmla="*/ 0 w 7"/>
                <a:gd name="T3" fmla="*/ 0 h 6"/>
                <a:gd name="T4" fmla="*/ 7 w 7"/>
                <a:gd name="T5" fmla="*/ 6 h 6"/>
              </a:gdLst>
              <a:ahLst/>
              <a:cxnLst>
                <a:cxn ang="0">
                  <a:pos x="T0" y="T1"/>
                </a:cxn>
                <a:cxn ang="0">
                  <a:pos x="T2" y="T3"/>
                </a:cxn>
                <a:cxn ang="0">
                  <a:pos x="T4" y="T5"/>
                </a:cxn>
              </a:cxnLst>
              <a:rect l="0" t="0" r="r" b="b"/>
              <a:pathLst>
                <a:path w="7" h="6">
                  <a:moveTo>
                    <a:pt x="7" y="6"/>
                  </a:moveTo>
                  <a:cubicBezTo>
                    <a:pt x="4" y="3"/>
                    <a:pt x="1" y="1"/>
                    <a:pt x="0" y="0"/>
                  </a:cubicBezTo>
                  <a:cubicBezTo>
                    <a:pt x="1" y="1"/>
                    <a:pt x="4" y="3"/>
                    <a:pt x="7"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79">
              <a:extLst>
                <a:ext uri="{FF2B5EF4-FFF2-40B4-BE49-F238E27FC236}">
                  <a16:creationId xmlns:a16="http://schemas.microsoft.com/office/drawing/2014/main" id="{311B4C67-2E49-FA64-4467-DA5624998395}"/>
                </a:ext>
              </a:extLst>
            </p:cNvPr>
            <p:cNvSpPr>
              <a:spLocks/>
            </p:cNvSpPr>
            <p:nvPr/>
          </p:nvSpPr>
          <p:spPr bwMode="gray">
            <a:xfrm>
              <a:off x="10833054" y="4529449"/>
              <a:ext cx="41354" cy="73718"/>
            </a:xfrm>
            <a:custGeom>
              <a:avLst/>
              <a:gdLst>
                <a:gd name="T0" fmla="*/ 0 w 23"/>
                <a:gd name="T1" fmla="*/ 41 h 41"/>
                <a:gd name="T2" fmla="*/ 23 w 23"/>
                <a:gd name="T3" fmla="*/ 0 h 41"/>
                <a:gd name="T4" fmla="*/ 14 w 23"/>
                <a:gd name="T5" fmla="*/ 15 h 41"/>
                <a:gd name="T6" fmla="*/ 0 w 23"/>
                <a:gd name="T7" fmla="*/ 41 h 41"/>
              </a:gdLst>
              <a:ahLst/>
              <a:cxnLst>
                <a:cxn ang="0">
                  <a:pos x="T0" y="T1"/>
                </a:cxn>
                <a:cxn ang="0">
                  <a:pos x="T2" y="T3"/>
                </a:cxn>
                <a:cxn ang="0">
                  <a:pos x="T4" y="T5"/>
                </a:cxn>
                <a:cxn ang="0">
                  <a:pos x="T6" y="T7"/>
                </a:cxn>
              </a:cxnLst>
              <a:rect l="0" t="0" r="r" b="b"/>
              <a:pathLst>
                <a:path w="23" h="41">
                  <a:moveTo>
                    <a:pt x="0" y="41"/>
                  </a:moveTo>
                  <a:lnTo>
                    <a:pt x="23" y="0"/>
                  </a:lnTo>
                  <a:lnTo>
                    <a:pt x="14" y="15"/>
                  </a:lnTo>
                  <a:lnTo>
                    <a:pt x="0" y="4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80">
              <a:extLst>
                <a:ext uri="{FF2B5EF4-FFF2-40B4-BE49-F238E27FC236}">
                  <a16:creationId xmlns:a16="http://schemas.microsoft.com/office/drawing/2014/main" id="{318DD6B1-03B8-E0B4-C497-56D900435D8D}"/>
                </a:ext>
              </a:extLst>
            </p:cNvPr>
            <p:cNvSpPr>
              <a:spLocks/>
            </p:cNvSpPr>
            <p:nvPr/>
          </p:nvSpPr>
          <p:spPr bwMode="gray">
            <a:xfrm>
              <a:off x="10919357" y="4547429"/>
              <a:ext cx="0" cy="179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81">
              <a:extLst>
                <a:ext uri="{FF2B5EF4-FFF2-40B4-BE49-F238E27FC236}">
                  <a16:creationId xmlns:a16="http://schemas.microsoft.com/office/drawing/2014/main" id="{E0CCF69E-24D7-4D56-48D5-5C9304EE2DDB}"/>
                </a:ext>
              </a:extLst>
            </p:cNvPr>
            <p:cNvSpPr>
              <a:spLocks/>
            </p:cNvSpPr>
            <p:nvPr/>
          </p:nvSpPr>
          <p:spPr bwMode="gray">
            <a:xfrm>
              <a:off x="10827661" y="441078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82">
              <a:extLst>
                <a:ext uri="{FF2B5EF4-FFF2-40B4-BE49-F238E27FC236}">
                  <a16:creationId xmlns:a16="http://schemas.microsoft.com/office/drawing/2014/main" id="{012180B4-75DB-24B4-FF41-FCBA7DA6D5D1}"/>
                </a:ext>
              </a:extLst>
            </p:cNvPr>
            <p:cNvSpPr>
              <a:spLocks/>
            </p:cNvSpPr>
            <p:nvPr/>
          </p:nvSpPr>
          <p:spPr bwMode="gray">
            <a:xfrm>
              <a:off x="11426387" y="3687995"/>
              <a:ext cx="23374" cy="39556"/>
            </a:xfrm>
            <a:custGeom>
              <a:avLst/>
              <a:gdLst>
                <a:gd name="T0" fmla="*/ 41 w 41"/>
                <a:gd name="T1" fmla="*/ 0 h 68"/>
                <a:gd name="T2" fmla="*/ 0 w 41"/>
                <a:gd name="T3" fmla="*/ 68 h 68"/>
                <a:gd name="T4" fmla="*/ 41 w 41"/>
                <a:gd name="T5" fmla="*/ 0 h 68"/>
              </a:gdLst>
              <a:ahLst/>
              <a:cxnLst>
                <a:cxn ang="0">
                  <a:pos x="T0" y="T1"/>
                </a:cxn>
                <a:cxn ang="0">
                  <a:pos x="T2" y="T3"/>
                </a:cxn>
                <a:cxn ang="0">
                  <a:pos x="T4" y="T5"/>
                </a:cxn>
              </a:cxnLst>
              <a:rect l="0" t="0" r="r" b="b"/>
              <a:pathLst>
                <a:path w="41" h="68">
                  <a:moveTo>
                    <a:pt x="41" y="0"/>
                  </a:moveTo>
                  <a:cubicBezTo>
                    <a:pt x="9" y="21"/>
                    <a:pt x="0" y="68"/>
                    <a:pt x="0" y="68"/>
                  </a:cubicBezTo>
                  <a:cubicBezTo>
                    <a:pt x="0" y="68"/>
                    <a:pt x="10" y="21"/>
                    <a:pt x="4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83">
              <a:extLst>
                <a:ext uri="{FF2B5EF4-FFF2-40B4-BE49-F238E27FC236}">
                  <a16:creationId xmlns:a16="http://schemas.microsoft.com/office/drawing/2014/main" id="{7A369D89-C950-1BA9-456C-CE030A4C2903}"/>
                </a:ext>
              </a:extLst>
            </p:cNvPr>
            <p:cNvSpPr>
              <a:spLocks/>
            </p:cNvSpPr>
            <p:nvPr/>
          </p:nvSpPr>
          <p:spPr bwMode="gray">
            <a:xfrm>
              <a:off x="11785981" y="3051511"/>
              <a:ext cx="23374" cy="21576"/>
            </a:xfrm>
            <a:custGeom>
              <a:avLst/>
              <a:gdLst>
                <a:gd name="T0" fmla="*/ 5 w 13"/>
                <a:gd name="T1" fmla="*/ 4 h 12"/>
                <a:gd name="T2" fmla="*/ 0 w 13"/>
                <a:gd name="T3" fmla="*/ 0 h 12"/>
                <a:gd name="T4" fmla="*/ 13 w 13"/>
                <a:gd name="T5" fmla="*/ 12 h 12"/>
                <a:gd name="T6" fmla="*/ 5 w 13"/>
                <a:gd name="T7" fmla="*/ 4 h 12"/>
              </a:gdLst>
              <a:ahLst/>
              <a:cxnLst>
                <a:cxn ang="0">
                  <a:pos x="T0" y="T1"/>
                </a:cxn>
                <a:cxn ang="0">
                  <a:pos x="T2" y="T3"/>
                </a:cxn>
                <a:cxn ang="0">
                  <a:pos x="T4" y="T5"/>
                </a:cxn>
                <a:cxn ang="0">
                  <a:pos x="T6" y="T7"/>
                </a:cxn>
              </a:cxnLst>
              <a:rect l="0" t="0" r="r" b="b"/>
              <a:pathLst>
                <a:path w="13" h="12">
                  <a:moveTo>
                    <a:pt x="5" y="4"/>
                  </a:moveTo>
                  <a:lnTo>
                    <a:pt x="0" y="0"/>
                  </a:lnTo>
                  <a:lnTo>
                    <a:pt x="13" y="12"/>
                  </a:lnTo>
                  <a:lnTo>
                    <a:pt x="5"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4">
              <a:extLst>
                <a:ext uri="{FF2B5EF4-FFF2-40B4-BE49-F238E27FC236}">
                  <a16:creationId xmlns:a16="http://schemas.microsoft.com/office/drawing/2014/main" id="{54C28D3C-0F23-C3D9-7FB4-9298895F06BE}"/>
                </a:ext>
              </a:extLst>
            </p:cNvPr>
            <p:cNvSpPr>
              <a:spLocks/>
            </p:cNvSpPr>
            <p:nvPr/>
          </p:nvSpPr>
          <p:spPr bwMode="gray">
            <a:xfrm>
              <a:off x="10917560" y="4547429"/>
              <a:ext cx="0"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1"/>
                    <a:pt x="0" y="0"/>
                  </a:cubicBezTo>
                  <a:cubicBezTo>
                    <a:pt x="1" y="1"/>
                    <a:pt x="1" y="1"/>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85">
              <a:extLst>
                <a:ext uri="{FF2B5EF4-FFF2-40B4-BE49-F238E27FC236}">
                  <a16:creationId xmlns:a16="http://schemas.microsoft.com/office/drawing/2014/main" id="{1CDE569C-40D4-EBD2-A9E2-E50EDA59CB14}"/>
                </a:ext>
              </a:extLst>
            </p:cNvPr>
            <p:cNvSpPr>
              <a:spLocks/>
            </p:cNvSpPr>
            <p:nvPr/>
          </p:nvSpPr>
          <p:spPr bwMode="gray">
            <a:xfrm>
              <a:off x="11834528" y="3017349"/>
              <a:ext cx="44950" cy="5395"/>
            </a:xfrm>
            <a:custGeom>
              <a:avLst/>
              <a:gdLst>
                <a:gd name="T0" fmla="*/ 75 w 75"/>
                <a:gd name="T1" fmla="*/ 4 h 7"/>
                <a:gd name="T2" fmla="*/ 63 w 75"/>
                <a:gd name="T3" fmla="*/ 3 h 7"/>
                <a:gd name="T4" fmla="*/ 0 w 75"/>
                <a:gd name="T5" fmla="*/ 0 h 7"/>
                <a:gd name="T6" fmla="*/ 75 w 75"/>
                <a:gd name="T7" fmla="*/ 4 h 7"/>
              </a:gdLst>
              <a:ahLst/>
              <a:cxnLst>
                <a:cxn ang="0">
                  <a:pos x="T0" y="T1"/>
                </a:cxn>
                <a:cxn ang="0">
                  <a:pos x="T2" y="T3"/>
                </a:cxn>
                <a:cxn ang="0">
                  <a:pos x="T4" y="T5"/>
                </a:cxn>
                <a:cxn ang="0">
                  <a:pos x="T6" y="T7"/>
                </a:cxn>
              </a:cxnLst>
              <a:rect l="0" t="0" r="r" b="b"/>
              <a:pathLst>
                <a:path w="75" h="7">
                  <a:moveTo>
                    <a:pt x="75" y="4"/>
                  </a:moveTo>
                  <a:cubicBezTo>
                    <a:pt x="63" y="3"/>
                    <a:pt x="63" y="3"/>
                    <a:pt x="63" y="3"/>
                  </a:cubicBezTo>
                  <a:cubicBezTo>
                    <a:pt x="0" y="0"/>
                    <a:pt x="0" y="0"/>
                    <a:pt x="0" y="0"/>
                  </a:cubicBezTo>
                  <a:cubicBezTo>
                    <a:pt x="0" y="0"/>
                    <a:pt x="60" y="7"/>
                    <a:pt x="75"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86">
              <a:extLst>
                <a:ext uri="{FF2B5EF4-FFF2-40B4-BE49-F238E27FC236}">
                  <a16:creationId xmlns:a16="http://schemas.microsoft.com/office/drawing/2014/main" id="{234FDCCA-1106-6A83-6970-890AA23A92CC}"/>
                </a:ext>
              </a:extLst>
            </p:cNvPr>
            <p:cNvSpPr>
              <a:spLocks/>
            </p:cNvSpPr>
            <p:nvPr/>
          </p:nvSpPr>
          <p:spPr bwMode="gray">
            <a:xfrm>
              <a:off x="10825862" y="441078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87">
              <a:extLst>
                <a:ext uri="{FF2B5EF4-FFF2-40B4-BE49-F238E27FC236}">
                  <a16:creationId xmlns:a16="http://schemas.microsoft.com/office/drawing/2014/main" id="{2305D551-04C8-4651-57BD-282C58A62538}"/>
                </a:ext>
              </a:extLst>
            </p:cNvPr>
            <p:cNvSpPr>
              <a:spLocks/>
            </p:cNvSpPr>
            <p:nvPr/>
          </p:nvSpPr>
          <p:spPr bwMode="gray">
            <a:xfrm>
              <a:off x="11136913" y="32942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88">
              <a:extLst>
                <a:ext uri="{FF2B5EF4-FFF2-40B4-BE49-F238E27FC236}">
                  <a16:creationId xmlns:a16="http://schemas.microsoft.com/office/drawing/2014/main" id="{EBEADE95-4096-FFDB-E1A2-1D35C560FE41}"/>
                </a:ext>
              </a:extLst>
            </p:cNvPr>
            <p:cNvSpPr>
              <a:spLocks/>
            </p:cNvSpPr>
            <p:nvPr/>
          </p:nvSpPr>
          <p:spPr bwMode="gray">
            <a:xfrm>
              <a:off x="10786307"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89">
              <a:extLst>
                <a:ext uri="{FF2B5EF4-FFF2-40B4-BE49-F238E27FC236}">
                  <a16:creationId xmlns:a16="http://schemas.microsoft.com/office/drawing/2014/main" id="{5D900690-B9AA-504A-64A7-1AA3E01D1511}"/>
                </a:ext>
              </a:extLst>
            </p:cNvPr>
            <p:cNvSpPr>
              <a:spLocks/>
            </p:cNvSpPr>
            <p:nvPr/>
          </p:nvSpPr>
          <p:spPr bwMode="gray">
            <a:xfrm>
              <a:off x="10786307" y="4423368"/>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9" name="Freeform 90">
              <a:extLst>
                <a:ext uri="{FF2B5EF4-FFF2-40B4-BE49-F238E27FC236}">
                  <a16:creationId xmlns:a16="http://schemas.microsoft.com/office/drawing/2014/main" id="{162233EA-0BE8-069A-88F3-49D0575F2771}"/>
                </a:ext>
              </a:extLst>
            </p:cNvPr>
            <p:cNvSpPr>
              <a:spLocks/>
            </p:cNvSpPr>
            <p:nvPr/>
          </p:nvSpPr>
          <p:spPr bwMode="gray">
            <a:xfrm>
              <a:off x="10788105" y="442336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91">
              <a:extLst>
                <a:ext uri="{FF2B5EF4-FFF2-40B4-BE49-F238E27FC236}">
                  <a16:creationId xmlns:a16="http://schemas.microsoft.com/office/drawing/2014/main" id="{8DF7EBF1-A21A-31E3-2580-E8121B5F6808}"/>
                </a:ext>
              </a:extLst>
            </p:cNvPr>
            <p:cNvSpPr>
              <a:spLocks/>
            </p:cNvSpPr>
            <p:nvPr/>
          </p:nvSpPr>
          <p:spPr bwMode="gray">
            <a:xfrm>
              <a:off x="10791701" y="4426963"/>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92">
              <a:extLst>
                <a:ext uri="{FF2B5EF4-FFF2-40B4-BE49-F238E27FC236}">
                  <a16:creationId xmlns:a16="http://schemas.microsoft.com/office/drawing/2014/main" id="{E4681896-3D91-DDB7-1457-4467E734EBEA}"/>
                </a:ext>
              </a:extLst>
            </p:cNvPr>
            <p:cNvSpPr>
              <a:spLocks/>
            </p:cNvSpPr>
            <p:nvPr/>
          </p:nvSpPr>
          <p:spPr bwMode="gray">
            <a:xfrm>
              <a:off x="10788105" y="44251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2" name="Freeform 93">
              <a:extLst>
                <a:ext uri="{FF2B5EF4-FFF2-40B4-BE49-F238E27FC236}">
                  <a16:creationId xmlns:a16="http://schemas.microsoft.com/office/drawing/2014/main" id="{3563E601-E820-F179-6120-B5079359555A}"/>
                </a:ext>
              </a:extLst>
            </p:cNvPr>
            <p:cNvSpPr>
              <a:spLocks/>
            </p:cNvSpPr>
            <p:nvPr/>
          </p:nvSpPr>
          <p:spPr bwMode="gray">
            <a:xfrm>
              <a:off x="10793498" y="4428762"/>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3" name="Freeform 94">
              <a:extLst>
                <a:ext uri="{FF2B5EF4-FFF2-40B4-BE49-F238E27FC236}">
                  <a16:creationId xmlns:a16="http://schemas.microsoft.com/office/drawing/2014/main" id="{759AFC33-8682-E54D-7CC3-52A5DDAE67FC}"/>
                </a:ext>
              </a:extLst>
            </p:cNvPr>
            <p:cNvSpPr>
              <a:spLocks/>
            </p:cNvSpPr>
            <p:nvPr/>
          </p:nvSpPr>
          <p:spPr bwMode="gray">
            <a:xfrm>
              <a:off x="10784510" y="4419772"/>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4" name="Freeform 95">
              <a:extLst>
                <a:ext uri="{FF2B5EF4-FFF2-40B4-BE49-F238E27FC236}">
                  <a16:creationId xmlns:a16="http://schemas.microsoft.com/office/drawing/2014/main" id="{9C8A491B-D470-E5D0-C202-C642ACDFF457}"/>
                </a:ext>
              </a:extLst>
            </p:cNvPr>
            <p:cNvSpPr>
              <a:spLocks/>
            </p:cNvSpPr>
            <p:nvPr/>
          </p:nvSpPr>
          <p:spPr bwMode="gray">
            <a:xfrm>
              <a:off x="10820469" y="4408983"/>
              <a:ext cx="1798"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5" name="Freeform 96">
              <a:extLst>
                <a:ext uri="{FF2B5EF4-FFF2-40B4-BE49-F238E27FC236}">
                  <a16:creationId xmlns:a16="http://schemas.microsoft.com/office/drawing/2014/main" id="{21086051-842F-46DB-0EDF-2341A48514AA}"/>
                </a:ext>
              </a:extLst>
            </p:cNvPr>
            <p:cNvSpPr>
              <a:spLocks/>
            </p:cNvSpPr>
            <p:nvPr/>
          </p:nvSpPr>
          <p:spPr bwMode="gray">
            <a:xfrm>
              <a:off x="10786307"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97">
              <a:extLst>
                <a:ext uri="{FF2B5EF4-FFF2-40B4-BE49-F238E27FC236}">
                  <a16:creationId xmlns:a16="http://schemas.microsoft.com/office/drawing/2014/main" id="{05DC831C-7FC4-223F-C605-22B0251E8C48}"/>
                </a:ext>
              </a:extLst>
            </p:cNvPr>
            <p:cNvSpPr>
              <a:spLocks/>
            </p:cNvSpPr>
            <p:nvPr/>
          </p:nvSpPr>
          <p:spPr bwMode="gray">
            <a:xfrm>
              <a:off x="10798893" y="4416175"/>
              <a:ext cx="14383" cy="1798"/>
            </a:xfrm>
            <a:custGeom>
              <a:avLst/>
              <a:gdLst>
                <a:gd name="T0" fmla="*/ 3 w 8"/>
                <a:gd name="T1" fmla="*/ 0 h 1"/>
                <a:gd name="T2" fmla="*/ 8 w 8"/>
                <a:gd name="T3" fmla="*/ 1 h 1"/>
                <a:gd name="T4" fmla="*/ 0 w 8"/>
                <a:gd name="T5" fmla="*/ 0 h 1"/>
                <a:gd name="T6" fmla="*/ 3 w 8"/>
                <a:gd name="T7" fmla="*/ 0 h 1"/>
              </a:gdLst>
              <a:ahLst/>
              <a:cxnLst>
                <a:cxn ang="0">
                  <a:pos x="T0" y="T1"/>
                </a:cxn>
                <a:cxn ang="0">
                  <a:pos x="T2" y="T3"/>
                </a:cxn>
                <a:cxn ang="0">
                  <a:pos x="T4" y="T5"/>
                </a:cxn>
                <a:cxn ang="0">
                  <a:pos x="T6" y="T7"/>
                </a:cxn>
              </a:cxnLst>
              <a:rect l="0" t="0" r="r" b="b"/>
              <a:pathLst>
                <a:path w="8" h="1">
                  <a:moveTo>
                    <a:pt x="3" y="0"/>
                  </a:moveTo>
                  <a:lnTo>
                    <a:pt x="8" y="1"/>
                  </a:lnTo>
                  <a:lnTo>
                    <a:pt x="0" y="0"/>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7" name="Freeform 98">
              <a:extLst>
                <a:ext uri="{FF2B5EF4-FFF2-40B4-BE49-F238E27FC236}">
                  <a16:creationId xmlns:a16="http://schemas.microsoft.com/office/drawing/2014/main" id="{D9D606E8-7417-F867-2AFB-8D8699EEE9D9}"/>
                </a:ext>
              </a:extLst>
            </p:cNvPr>
            <p:cNvSpPr>
              <a:spLocks/>
            </p:cNvSpPr>
            <p:nvPr/>
          </p:nvSpPr>
          <p:spPr bwMode="gray">
            <a:xfrm>
              <a:off x="10784510" y="4421570"/>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8" name="Freeform 99">
              <a:extLst>
                <a:ext uri="{FF2B5EF4-FFF2-40B4-BE49-F238E27FC236}">
                  <a16:creationId xmlns:a16="http://schemas.microsoft.com/office/drawing/2014/main" id="{49400C2F-9E78-E372-2049-68CF21785988}"/>
                </a:ext>
              </a:extLst>
            </p:cNvPr>
            <p:cNvSpPr>
              <a:spLocks/>
            </p:cNvSpPr>
            <p:nvPr/>
          </p:nvSpPr>
          <p:spPr bwMode="gray">
            <a:xfrm>
              <a:off x="10784510"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9" name="Freeform 100">
              <a:extLst>
                <a:ext uri="{FF2B5EF4-FFF2-40B4-BE49-F238E27FC236}">
                  <a16:creationId xmlns:a16="http://schemas.microsoft.com/office/drawing/2014/main" id="{43203720-99A0-FF34-4490-2790DDCD4309}"/>
                </a:ext>
              </a:extLst>
            </p:cNvPr>
            <p:cNvSpPr>
              <a:spLocks/>
            </p:cNvSpPr>
            <p:nvPr/>
          </p:nvSpPr>
          <p:spPr bwMode="gray">
            <a:xfrm>
              <a:off x="10793498" y="4446742"/>
              <a:ext cx="1798" cy="1798"/>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0" y="1"/>
                    <a:pt x="0" y="0"/>
                  </a:cubicBezTo>
                  <a:cubicBezTo>
                    <a:pt x="0" y="1"/>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0" name="Freeform 101">
              <a:extLst>
                <a:ext uri="{FF2B5EF4-FFF2-40B4-BE49-F238E27FC236}">
                  <a16:creationId xmlns:a16="http://schemas.microsoft.com/office/drawing/2014/main" id="{97407629-90FF-8C01-D4C9-37FA200D42A7}"/>
                </a:ext>
              </a:extLst>
            </p:cNvPr>
            <p:cNvSpPr>
              <a:spLocks/>
            </p:cNvSpPr>
            <p:nvPr/>
          </p:nvSpPr>
          <p:spPr bwMode="gray">
            <a:xfrm>
              <a:off x="9946652" y="3945106"/>
              <a:ext cx="10788" cy="43151"/>
            </a:xfrm>
            <a:custGeom>
              <a:avLst/>
              <a:gdLst>
                <a:gd name="T0" fmla="*/ 0 w 6"/>
                <a:gd name="T1" fmla="*/ 24 h 24"/>
                <a:gd name="T2" fmla="*/ 4 w 6"/>
                <a:gd name="T3" fmla="*/ 8 h 24"/>
                <a:gd name="T4" fmla="*/ 6 w 6"/>
                <a:gd name="T5" fmla="*/ 0 h 24"/>
                <a:gd name="T6" fmla="*/ 0 w 6"/>
                <a:gd name="T7" fmla="*/ 24 h 24"/>
              </a:gdLst>
              <a:ahLst/>
              <a:cxnLst>
                <a:cxn ang="0">
                  <a:pos x="T0" y="T1"/>
                </a:cxn>
                <a:cxn ang="0">
                  <a:pos x="T2" y="T3"/>
                </a:cxn>
                <a:cxn ang="0">
                  <a:pos x="T4" y="T5"/>
                </a:cxn>
                <a:cxn ang="0">
                  <a:pos x="T6" y="T7"/>
                </a:cxn>
              </a:cxnLst>
              <a:rect l="0" t="0" r="r" b="b"/>
              <a:pathLst>
                <a:path w="6" h="24">
                  <a:moveTo>
                    <a:pt x="0" y="24"/>
                  </a:moveTo>
                  <a:lnTo>
                    <a:pt x="4" y="8"/>
                  </a:lnTo>
                  <a:lnTo>
                    <a:pt x="6" y="0"/>
                  </a:lnTo>
                  <a:lnTo>
                    <a:pt x="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1" name="Freeform 102">
              <a:extLst>
                <a:ext uri="{FF2B5EF4-FFF2-40B4-BE49-F238E27FC236}">
                  <a16:creationId xmlns:a16="http://schemas.microsoft.com/office/drawing/2014/main" id="{5C23CBFA-2104-A4D7-9CEB-B1E0E2F81AEC}"/>
                </a:ext>
              </a:extLst>
            </p:cNvPr>
            <p:cNvSpPr>
              <a:spLocks/>
            </p:cNvSpPr>
            <p:nvPr/>
          </p:nvSpPr>
          <p:spPr bwMode="gray">
            <a:xfrm>
              <a:off x="10561560" y="3705976"/>
              <a:ext cx="5395" cy="7192"/>
            </a:xfrm>
            <a:custGeom>
              <a:avLst/>
              <a:gdLst>
                <a:gd name="T0" fmla="*/ 3 w 3"/>
                <a:gd name="T1" fmla="*/ 4 h 4"/>
                <a:gd name="T2" fmla="*/ 3 w 3"/>
                <a:gd name="T3" fmla="*/ 2 h 4"/>
                <a:gd name="T4" fmla="*/ 0 w 3"/>
                <a:gd name="T5" fmla="*/ 0 h 4"/>
                <a:gd name="T6" fmla="*/ 3 w 3"/>
                <a:gd name="T7" fmla="*/ 4 h 4"/>
              </a:gdLst>
              <a:ahLst/>
              <a:cxnLst>
                <a:cxn ang="0">
                  <a:pos x="T0" y="T1"/>
                </a:cxn>
                <a:cxn ang="0">
                  <a:pos x="T2" y="T3"/>
                </a:cxn>
                <a:cxn ang="0">
                  <a:pos x="T4" y="T5"/>
                </a:cxn>
                <a:cxn ang="0">
                  <a:pos x="T6" y="T7"/>
                </a:cxn>
              </a:cxnLst>
              <a:rect l="0" t="0" r="r" b="b"/>
              <a:pathLst>
                <a:path w="3" h="4">
                  <a:moveTo>
                    <a:pt x="3" y="4"/>
                  </a:moveTo>
                  <a:lnTo>
                    <a:pt x="3" y="2"/>
                  </a:lnTo>
                  <a:lnTo>
                    <a:pt x="0" y="0"/>
                  </a:lnTo>
                  <a:lnTo>
                    <a:pt x="3"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103">
              <a:extLst>
                <a:ext uri="{FF2B5EF4-FFF2-40B4-BE49-F238E27FC236}">
                  <a16:creationId xmlns:a16="http://schemas.microsoft.com/office/drawing/2014/main" id="{ECBBB955-6EBB-781F-06AF-10150E9F868B}"/>
                </a:ext>
              </a:extLst>
            </p:cNvPr>
            <p:cNvSpPr>
              <a:spLocks/>
            </p:cNvSpPr>
            <p:nvPr/>
          </p:nvSpPr>
          <p:spPr bwMode="gray">
            <a:xfrm>
              <a:off x="9371299" y="3274460"/>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3" name="Freeform 104">
              <a:extLst>
                <a:ext uri="{FF2B5EF4-FFF2-40B4-BE49-F238E27FC236}">
                  <a16:creationId xmlns:a16="http://schemas.microsoft.com/office/drawing/2014/main" id="{F5933726-3417-7D32-0691-9FF07DE1978E}"/>
                </a:ext>
              </a:extLst>
            </p:cNvPr>
            <p:cNvSpPr>
              <a:spLocks/>
            </p:cNvSpPr>
            <p:nvPr/>
          </p:nvSpPr>
          <p:spPr bwMode="gray">
            <a:xfrm>
              <a:off x="10584933" y="3801267"/>
              <a:ext cx="0" cy="3596"/>
            </a:xfrm>
            <a:custGeom>
              <a:avLst/>
              <a:gdLst>
                <a:gd name="T0" fmla="*/ 4 h 4"/>
                <a:gd name="T1" fmla="*/ 0 h 4"/>
                <a:gd name="T2" fmla="*/ 4 h 4"/>
              </a:gdLst>
              <a:ahLst/>
              <a:cxnLst>
                <a:cxn ang="0">
                  <a:pos x="0" y="T0"/>
                </a:cxn>
                <a:cxn ang="0">
                  <a:pos x="0" y="T1"/>
                </a:cxn>
                <a:cxn ang="0">
                  <a:pos x="0" y="T2"/>
                </a:cxn>
              </a:cxnLst>
              <a:rect l="0" t="0" r="r" b="b"/>
              <a:pathLst>
                <a:path h="4">
                  <a:moveTo>
                    <a:pt x="0" y="4"/>
                  </a:moveTo>
                  <a:cubicBezTo>
                    <a:pt x="0" y="3"/>
                    <a:pt x="0" y="1"/>
                    <a:pt x="0" y="0"/>
                  </a:cubicBezTo>
                  <a:cubicBezTo>
                    <a:pt x="0" y="1"/>
                    <a:pt x="0" y="3"/>
                    <a:pt x="0"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4" name="Freeform 105">
              <a:extLst>
                <a:ext uri="{FF2B5EF4-FFF2-40B4-BE49-F238E27FC236}">
                  <a16:creationId xmlns:a16="http://schemas.microsoft.com/office/drawing/2014/main" id="{8484DFA2-CA9F-0DAF-8E6D-9CB21495A150}"/>
                </a:ext>
              </a:extLst>
            </p:cNvPr>
            <p:cNvSpPr>
              <a:spLocks/>
            </p:cNvSpPr>
            <p:nvPr/>
          </p:nvSpPr>
          <p:spPr bwMode="gray">
            <a:xfrm>
              <a:off x="10277480" y="3704176"/>
              <a:ext cx="0" cy="1798"/>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0" y="0"/>
                  </a:cubicBezTo>
                  <a:cubicBezTo>
                    <a:pt x="0" y="1"/>
                    <a:pt x="1" y="1"/>
                    <a:pt x="1"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106">
              <a:extLst>
                <a:ext uri="{FF2B5EF4-FFF2-40B4-BE49-F238E27FC236}">
                  <a16:creationId xmlns:a16="http://schemas.microsoft.com/office/drawing/2014/main" id="{000874C4-982D-24EA-22FB-4464A059D104}"/>
                </a:ext>
              </a:extLst>
            </p:cNvPr>
            <p:cNvSpPr>
              <a:spLocks/>
            </p:cNvSpPr>
            <p:nvPr/>
          </p:nvSpPr>
          <p:spPr bwMode="gray">
            <a:xfrm>
              <a:off x="10365580" y="3394924"/>
              <a:ext cx="1798" cy="3596"/>
            </a:xfrm>
            <a:custGeom>
              <a:avLst/>
              <a:gdLst>
                <a:gd name="T0" fmla="*/ 3 w 3"/>
                <a:gd name="T1" fmla="*/ 0 h 7"/>
                <a:gd name="T2" fmla="*/ 0 w 3"/>
                <a:gd name="T3" fmla="*/ 7 h 7"/>
                <a:gd name="T4" fmla="*/ 3 w 3"/>
                <a:gd name="T5" fmla="*/ 0 h 7"/>
              </a:gdLst>
              <a:ahLst/>
              <a:cxnLst>
                <a:cxn ang="0">
                  <a:pos x="T0" y="T1"/>
                </a:cxn>
                <a:cxn ang="0">
                  <a:pos x="T2" y="T3"/>
                </a:cxn>
                <a:cxn ang="0">
                  <a:pos x="T4" y="T5"/>
                </a:cxn>
              </a:cxnLst>
              <a:rect l="0" t="0" r="r" b="b"/>
              <a:pathLst>
                <a:path w="3" h="7">
                  <a:moveTo>
                    <a:pt x="3" y="0"/>
                  </a:moveTo>
                  <a:cubicBezTo>
                    <a:pt x="2" y="1"/>
                    <a:pt x="1" y="4"/>
                    <a:pt x="0" y="7"/>
                  </a:cubicBezTo>
                  <a:cubicBezTo>
                    <a:pt x="3" y="4"/>
                    <a:pt x="3" y="4"/>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6" name="Freeform 107">
              <a:extLst>
                <a:ext uri="{FF2B5EF4-FFF2-40B4-BE49-F238E27FC236}">
                  <a16:creationId xmlns:a16="http://schemas.microsoft.com/office/drawing/2014/main" id="{9A249307-A699-3028-9CEE-D362D1E829E7}"/>
                </a:ext>
              </a:extLst>
            </p:cNvPr>
            <p:cNvSpPr>
              <a:spLocks/>
            </p:cNvSpPr>
            <p:nvPr/>
          </p:nvSpPr>
          <p:spPr bwMode="gray">
            <a:xfrm>
              <a:off x="9887318" y="3857006"/>
              <a:ext cx="1798" cy="1798"/>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1" y="1"/>
                    <a:pt x="2" y="1"/>
                    <a:pt x="4" y="1"/>
                  </a:cubicBezTo>
                  <a:cubicBezTo>
                    <a:pt x="3"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108">
              <a:extLst>
                <a:ext uri="{FF2B5EF4-FFF2-40B4-BE49-F238E27FC236}">
                  <a16:creationId xmlns:a16="http://schemas.microsoft.com/office/drawing/2014/main" id="{E65DF69C-62B5-1D46-7AA1-2DF54113B792}"/>
                </a:ext>
              </a:extLst>
            </p:cNvPr>
            <p:cNvSpPr>
              <a:spLocks/>
            </p:cNvSpPr>
            <p:nvPr/>
          </p:nvSpPr>
          <p:spPr bwMode="gray">
            <a:xfrm>
              <a:off x="9694935" y="3830035"/>
              <a:ext cx="1798" cy="5395"/>
            </a:xfrm>
            <a:custGeom>
              <a:avLst/>
              <a:gdLst>
                <a:gd name="T0" fmla="*/ 3 w 3"/>
                <a:gd name="T1" fmla="*/ 7 h 7"/>
                <a:gd name="T2" fmla="*/ 0 w 3"/>
                <a:gd name="T3" fmla="*/ 0 h 7"/>
                <a:gd name="T4" fmla="*/ 3 w 3"/>
                <a:gd name="T5" fmla="*/ 7 h 7"/>
              </a:gdLst>
              <a:ahLst/>
              <a:cxnLst>
                <a:cxn ang="0">
                  <a:pos x="T0" y="T1"/>
                </a:cxn>
                <a:cxn ang="0">
                  <a:pos x="T2" y="T3"/>
                </a:cxn>
                <a:cxn ang="0">
                  <a:pos x="T4" y="T5"/>
                </a:cxn>
              </a:cxnLst>
              <a:rect l="0" t="0" r="r" b="b"/>
              <a:pathLst>
                <a:path w="3" h="7">
                  <a:moveTo>
                    <a:pt x="3" y="7"/>
                  </a:moveTo>
                  <a:cubicBezTo>
                    <a:pt x="2" y="5"/>
                    <a:pt x="1" y="3"/>
                    <a:pt x="0" y="0"/>
                  </a:cubicBezTo>
                  <a:cubicBezTo>
                    <a:pt x="0" y="3"/>
                    <a:pt x="0" y="4"/>
                    <a:pt x="3"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109">
              <a:extLst>
                <a:ext uri="{FF2B5EF4-FFF2-40B4-BE49-F238E27FC236}">
                  <a16:creationId xmlns:a16="http://schemas.microsoft.com/office/drawing/2014/main" id="{345AD52A-71AB-41CF-8ABE-B1853397805B}"/>
                </a:ext>
              </a:extLst>
            </p:cNvPr>
            <p:cNvSpPr>
              <a:spLocks/>
            </p:cNvSpPr>
            <p:nvPr/>
          </p:nvSpPr>
          <p:spPr bwMode="gray">
            <a:xfrm>
              <a:off x="9689541" y="3783288"/>
              <a:ext cx="10788" cy="44950"/>
            </a:xfrm>
            <a:custGeom>
              <a:avLst/>
              <a:gdLst>
                <a:gd name="T0" fmla="*/ 20 w 20"/>
                <a:gd name="T1" fmla="*/ 0 h 76"/>
                <a:gd name="T2" fmla="*/ 8 w 20"/>
                <a:gd name="T3" fmla="*/ 76 h 76"/>
                <a:gd name="T4" fmla="*/ 20 w 20"/>
                <a:gd name="T5" fmla="*/ 0 h 76"/>
              </a:gdLst>
              <a:ahLst/>
              <a:cxnLst>
                <a:cxn ang="0">
                  <a:pos x="T0" y="T1"/>
                </a:cxn>
                <a:cxn ang="0">
                  <a:pos x="T2" y="T3"/>
                </a:cxn>
                <a:cxn ang="0">
                  <a:pos x="T4" y="T5"/>
                </a:cxn>
              </a:cxnLst>
              <a:rect l="0" t="0" r="r" b="b"/>
              <a:pathLst>
                <a:path w="20" h="76">
                  <a:moveTo>
                    <a:pt x="20" y="0"/>
                  </a:moveTo>
                  <a:cubicBezTo>
                    <a:pt x="8" y="21"/>
                    <a:pt x="0" y="53"/>
                    <a:pt x="8" y="76"/>
                  </a:cubicBezTo>
                  <a:cubicBezTo>
                    <a:pt x="1" y="53"/>
                    <a:pt x="9" y="22"/>
                    <a:pt x="2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9" name="Freeform 110">
              <a:extLst>
                <a:ext uri="{FF2B5EF4-FFF2-40B4-BE49-F238E27FC236}">
                  <a16:creationId xmlns:a16="http://schemas.microsoft.com/office/drawing/2014/main" id="{F4BCAA2B-CCA5-EA0D-1ECE-2F272480A0EE}"/>
                </a:ext>
              </a:extLst>
            </p:cNvPr>
            <p:cNvSpPr>
              <a:spLocks/>
            </p:cNvSpPr>
            <p:nvPr/>
          </p:nvSpPr>
          <p:spPr bwMode="gray">
            <a:xfrm>
              <a:off x="9603238" y="3385936"/>
              <a:ext cx="14383" cy="12586"/>
            </a:xfrm>
            <a:custGeom>
              <a:avLst/>
              <a:gdLst>
                <a:gd name="T0" fmla="*/ 0 w 24"/>
                <a:gd name="T1" fmla="*/ 0 h 21"/>
                <a:gd name="T2" fmla="*/ 24 w 24"/>
                <a:gd name="T3" fmla="*/ 21 h 21"/>
                <a:gd name="T4" fmla="*/ 0 w 24"/>
                <a:gd name="T5" fmla="*/ 0 h 21"/>
              </a:gdLst>
              <a:ahLst/>
              <a:cxnLst>
                <a:cxn ang="0">
                  <a:pos x="T0" y="T1"/>
                </a:cxn>
                <a:cxn ang="0">
                  <a:pos x="T2" y="T3"/>
                </a:cxn>
                <a:cxn ang="0">
                  <a:pos x="T4" y="T5"/>
                </a:cxn>
              </a:cxnLst>
              <a:rect l="0" t="0" r="r" b="b"/>
              <a:pathLst>
                <a:path w="24" h="21">
                  <a:moveTo>
                    <a:pt x="0" y="0"/>
                  </a:moveTo>
                  <a:cubicBezTo>
                    <a:pt x="7" y="10"/>
                    <a:pt x="15" y="18"/>
                    <a:pt x="24" y="21"/>
                  </a:cubicBezTo>
                  <a:cubicBezTo>
                    <a:pt x="17" y="18"/>
                    <a:pt x="8" y="1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111">
              <a:extLst>
                <a:ext uri="{FF2B5EF4-FFF2-40B4-BE49-F238E27FC236}">
                  <a16:creationId xmlns:a16="http://schemas.microsoft.com/office/drawing/2014/main" id="{9738D2AC-1F42-8E65-33B7-197EC2B485FC}"/>
                </a:ext>
              </a:extLst>
            </p:cNvPr>
            <p:cNvSpPr>
              <a:spLocks/>
            </p:cNvSpPr>
            <p:nvPr/>
          </p:nvSpPr>
          <p:spPr bwMode="gray">
            <a:xfrm>
              <a:off x="9599642" y="3450663"/>
              <a:ext cx="7192" cy="21576"/>
            </a:xfrm>
            <a:custGeom>
              <a:avLst/>
              <a:gdLst>
                <a:gd name="T0" fmla="*/ 12 w 12"/>
                <a:gd name="T1" fmla="*/ 0 h 36"/>
                <a:gd name="T2" fmla="*/ 1 w 12"/>
                <a:gd name="T3" fmla="*/ 25 h 36"/>
                <a:gd name="T4" fmla="*/ 0 w 12"/>
                <a:gd name="T5" fmla="*/ 36 h 36"/>
                <a:gd name="T6" fmla="*/ 12 w 12"/>
                <a:gd name="T7" fmla="*/ 0 h 36"/>
              </a:gdLst>
              <a:ahLst/>
              <a:cxnLst>
                <a:cxn ang="0">
                  <a:pos x="T0" y="T1"/>
                </a:cxn>
                <a:cxn ang="0">
                  <a:pos x="T2" y="T3"/>
                </a:cxn>
                <a:cxn ang="0">
                  <a:pos x="T4" y="T5"/>
                </a:cxn>
                <a:cxn ang="0">
                  <a:pos x="T6" y="T7"/>
                </a:cxn>
              </a:cxnLst>
              <a:rect l="0" t="0" r="r" b="b"/>
              <a:pathLst>
                <a:path w="12" h="36">
                  <a:moveTo>
                    <a:pt x="12" y="0"/>
                  </a:moveTo>
                  <a:cubicBezTo>
                    <a:pt x="5" y="7"/>
                    <a:pt x="5" y="14"/>
                    <a:pt x="1" y="25"/>
                  </a:cubicBezTo>
                  <a:cubicBezTo>
                    <a:pt x="0" y="36"/>
                    <a:pt x="0" y="36"/>
                    <a:pt x="0" y="36"/>
                  </a:cubicBezTo>
                  <a:cubicBezTo>
                    <a:pt x="1" y="26"/>
                    <a:pt x="5" y="8"/>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1" name="Freeform 112">
              <a:extLst>
                <a:ext uri="{FF2B5EF4-FFF2-40B4-BE49-F238E27FC236}">
                  <a16:creationId xmlns:a16="http://schemas.microsoft.com/office/drawing/2014/main" id="{695737C9-49A5-6488-ABE2-972C17E16F1D}"/>
                </a:ext>
              </a:extLst>
            </p:cNvPr>
            <p:cNvSpPr>
              <a:spLocks/>
            </p:cNvSpPr>
            <p:nvPr/>
          </p:nvSpPr>
          <p:spPr bwMode="gray">
            <a:xfrm>
              <a:off x="10944529" y="4493490"/>
              <a:ext cx="1798" cy="5395"/>
            </a:xfrm>
            <a:custGeom>
              <a:avLst/>
              <a:gdLst>
                <a:gd name="T0" fmla="*/ 1 w 1"/>
                <a:gd name="T1" fmla="*/ 0 h 3"/>
                <a:gd name="T2" fmla="*/ 0 w 1"/>
                <a:gd name="T3" fmla="*/ 3 h 3"/>
                <a:gd name="T4" fmla="*/ 0 w 1"/>
                <a:gd name="T5" fmla="*/ 3 h 3"/>
                <a:gd name="T6" fmla="*/ 1 w 1"/>
                <a:gd name="T7" fmla="*/ 0 h 3"/>
              </a:gdLst>
              <a:ahLst/>
              <a:cxnLst>
                <a:cxn ang="0">
                  <a:pos x="T0" y="T1"/>
                </a:cxn>
                <a:cxn ang="0">
                  <a:pos x="T2" y="T3"/>
                </a:cxn>
                <a:cxn ang="0">
                  <a:pos x="T4" y="T5"/>
                </a:cxn>
                <a:cxn ang="0">
                  <a:pos x="T6" y="T7"/>
                </a:cxn>
              </a:cxnLst>
              <a:rect l="0" t="0" r="r" b="b"/>
              <a:pathLst>
                <a:path w="1" h="3">
                  <a:moveTo>
                    <a:pt x="1" y="0"/>
                  </a:moveTo>
                  <a:lnTo>
                    <a:pt x="0" y="3"/>
                  </a:lnTo>
                  <a:lnTo>
                    <a:pt x="0" y="3"/>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2" name="Freeform 113">
              <a:extLst>
                <a:ext uri="{FF2B5EF4-FFF2-40B4-BE49-F238E27FC236}">
                  <a16:creationId xmlns:a16="http://schemas.microsoft.com/office/drawing/2014/main" id="{855A65AE-69F5-A898-6CD0-72DDCEBB203E}"/>
                </a:ext>
              </a:extLst>
            </p:cNvPr>
            <p:cNvSpPr>
              <a:spLocks/>
            </p:cNvSpPr>
            <p:nvPr/>
          </p:nvSpPr>
          <p:spPr bwMode="gray">
            <a:xfrm>
              <a:off x="9615824" y="3560339"/>
              <a:ext cx="10788" cy="7192"/>
            </a:xfrm>
            <a:custGeom>
              <a:avLst/>
              <a:gdLst>
                <a:gd name="T0" fmla="*/ 0 w 17"/>
                <a:gd name="T1" fmla="*/ 0 h 10"/>
                <a:gd name="T2" fmla="*/ 17 w 17"/>
                <a:gd name="T3" fmla="*/ 10 h 10"/>
                <a:gd name="T4" fmla="*/ 0 w 17"/>
                <a:gd name="T5" fmla="*/ 0 h 10"/>
              </a:gdLst>
              <a:ahLst/>
              <a:cxnLst>
                <a:cxn ang="0">
                  <a:pos x="T0" y="T1"/>
                </a:cxn>
                <a:cxn ang="0">
                  <a:pos x="T2" y="T3"/>
                </a:cxn>
                <a:cxn ang="0">
                  <a:pos x="T4" y="T5"/>
                </a:cxn>
              </a:cxnLst>
              <a:rect l="0" t="0" r="r" b="b"/>
              <a:pathLst>
                <a:path w="17" h="10">
                  <a:moveTo>
                    <a:pt x="0" y="0"/>
                  </a:moveTo>
                  <a:cubicBezTo>
                    <a:pt x="6" y="2"/>
                    <a:pt x="12" y="4"/>
                    <a:pt x="17" y="10"/>
                  </a:cubicBezTo>
                  <a:cubicBezTo>
                    <a:pt x="11" y="3"/>
                    <a:pt x="5"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4" name="Freeform 115">
              <a:extLst>
                <a:ext uri="{FF2B5EF4-FFF2-40B4-BE49-F238E27FC236}">
                  <a16:creationId xmlns:a16="http://schemas.microsoft.com/office/drawing/2014/main" id="{EED85A5B-281F-9C0F-81DF-DD85CF51FCBC}"/>
                </a:ext>
              </a:extLst>
            </p:cNvPr>
            <p:cNvSpPr>
              <a:spLocks/>
            </p:cNvSpPr>
            <p:nvPr/>
          </p:nvSpPr>
          <p:spPr bwMode="gray">
            <a:xfrm>
              <a:off x="10358389" y="3402116"/>
              <a:ext cx="7192" cy="7192"/>
            </a:xfrm>
            <a:custGeom>
              <a:avLst/>
              <a:gdLst>
                <a:gd name="T0" fmla="*/ 11 w 11"/>
                <a:gd name="T1" fmla="*/ 0 h 13"/>
                <a:gd name="T2" fmla="*/ 0 w 11"/>
                <a:gd name="T3" fmla="*/ 7 h 13"/>
                <a:gd name="T4" fmla="*/ 11 w 11"/>
                <a:gd name="T5" fmla="*/ 0 h 13"/>
              </a:gdLst>
              <a:ahLst/>
              <a:cxnLst>
                <a:cxn ang="0">
                  <a:pos x="T0" y="T1"/>
                </a:cxn>
                <a:cxn ang="0">
                  <a:pos x="T2" y="T3"/>
                </a:cxn>
                <a:cxn ang="0">
                  <a:pos x="T4" y="T5"/>
                </a:cxn>
              </a:cxnLst>
              <a:rect l="0" t="0" r="r" b="b"/>
              <a:pathLst>
                <a:path w="11" h="13">
                  <a:moveTo>
                    <a:pt x="11" y="0"/>
                  </a:moveTo>
                  <a:cubicBezTo>
                    <a:pt x="9" y="6"/>
                    <a:pt x="6" y="11"/>
                    <a:pt x="0" y="7"/>
                  </a:cubicBezTo>
                  <a:cubicBezTo>
                    <a:pt x="6" y="13"/>
                    <a:pt x="10" y="7"/>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5" name="Freeform 117">
              <a:extLst>
                <a:ext uri="{FF2B5EF4-FFF2-40B4-BE49-F238E27FC236}">
                  <a16:creationId xmlns:a16="http://schemas.microsoft.com/office/drawing/2014/main" id="{7F7EF072-D454-DE4D-E4D7-EF21150B38B2}"/>
                </a:ext>
              </a:extLst>
            </p:cNvPr>
            <p:cNvSpPr>
              <a:spLocks/>
            </p:cNvSpPr>
            <p:nvPr/>
          </p:nvSpPr>
          <p:spPr bwMode="gray">
            <a:xfrm>
              <a:off x="10759337" y="4079955"/>
              <a:ext cx="21576" cy="10788"/>
            </a:xfrm>
            <a:custGeom>
              <a:avLst/>
              <a:gdLst>
                <a:gd name="T0" fmla="*/ 0 w 12"/>
                <a:gd name="T1" fmla="*/ 6 h 6"/>
                <a:gd name="T2" fmla="*/ 1 w 12"/>
                <a:gd name="T3" fmla="*/ 6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1" y="6"/>
                  </a:lnTo>
                  <a:lnTo>
                    <a:pt x="12"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6" name="Freeform 118">
              <a:extLst>
                <a:ext uri="{FF2B5EF4-FFF2-40B4-BE49-F238E27FC236}">
                  <a16:creationId xmlns:a16="http://schemas.microsoft.com/office/drawing/2014/main" id="{BF61A348-228D-E2D2-7973-7BE61914D978}"/>
                </a:ext>
              </a:extLst>
            </p:cNvPr>
            <p:cNvSpPr>
              <a:spLocks/>
            </p:cNvSpPr>
            <p:nvPr/>
          </p:nvSpPr>
          <p:spPr bwMode="gray">
            <a:xfrm>
              <a:off x="11730245" y="843595"/>
              <a:ext cx="8991" cy="3596"/>
            </a:xfrm>
            <a:custGeom>
              <a:avLst/>
              <a:gdLst>
                <a:gd name="T0" fmla="*/ 3 w 5"/>
                <a:gd name="T1" fmla="*/ 2 h 2"/>
                <a:gd name="T2" fmla="*/ 5 w 5"/>
                <a:gd name="T3" fmla="*/ 0 h 2"/>
                <a:gd name="T4" fmla="*/ 0 w 5"/>
                <a:gd name="T5" fmla="*/ 0 h 2"/>
                <a:gd name="T6" fmla="*/ 3 w 5"/>
                <a:gd name="T7" fmla="*/ 2 h 2"/>
              </a:gdLst>
              <a:ahLst/>
              <a:cxnLst>
                <a:cxn ang="0">
                  <a:pos x="T0" y="T1"/>
                </a:cxn>
                <a:cxn ang="0">
                  <a:pos x="T2" y="T3"/>
                </a:cxn>
                <a:cxn ang="0">
                  <a:pos x="T4" y="T5"/>
                </a:cxn>
                <a:cxn ang="0">
                  <a:pos x="T6" y="T7"/>
                </a:cxn>
              </a:cxnLst>
              <a:rect l="0" t="0" r="r" b="b"/>
              <a:pathLst>
                <a:path w="5" h="2">
                  <a:moveTo>
                    <a:pt x="3" y="2"/>
                  </a:moveTo>
                  <a:lnTo>
                    <a:pt x="5" y="0"/>
                  </a:lnTo>
                  <a:lnTo>
                    <a:pt x="0" y="0"/>
                  </a:lnTo>
                  <a:lnTo>
                    <a:pt x="3"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7" name="Freeform 119">
              <a:extLst>
                <a:ext uri="{FF2B5EF4-FFF2-40B4-BE49-F238E27FC236}">
                  <a16:creationId xmlns:a16="http://schemas.microsoft.com/office/drawing/2014/main" id="{E45B086D-E226-CA94-C30B-9E288669E956}"/>
                </a:ext>
              </a:extLst>
            </p:cNvPr>
            <p:cNvSpPr>
              <a:spLocks/>
            </p:cNvSpPr>
            <p:nvPr/>
          </p:nvSpPr>
          <p:spPr bwMode="gray">
            <a:xfrm>
              <a:off x="9371299" y="3011955"/>
              <a:ext cx="363191" cy="366787"/>
            </a:xfrm>
            <a:custGeom>
              <a:avLst/>
              <a:gdLst>
                <a:gd name="T0" fmla="*/ 3 w 609"/>
                <a:gd name="T1" fmla="*/ 456 h 614"/>
                <a:gd name="T2" fmla="*/ 63 w 609"/>
                <a:gd name="T3" fmla="*/ 459 h 614"/>
                <a:gd name="T4" fmla="*/ 149 w 609"/>
                <a:gd name="T5" fmla="*/ 451 h 614"/>
                <a:gd name="T6" fmla="*/ 180 w 609"/>
                <a:gd name="T7" fmla="*/ 438 h 614"/>
                <a:gd name="T8" fmla="*/ 216 w 609"/>
                <a:gd name="T9" fmla="*/ 451 h 614"/>
                <a:gd name="T10" fmla="*/ 250 w 609"/>
                <a:gd name="T11" fmla="*/ 460 h 614"/>
                <a:gd name="T12" fmla="*/ 312 w 609"/>
                <a:gd name="T13" fmla="*/ 486 h 614"/>
                <a:gd name="T14" fmla="*/ 355 w 609"/>
                <a:gd name="T15" fmla="*/ 526 h 614"/>
                <a:gd name="T16" fmla="*/ 338 w 609"/>
                <a:gd name="T17" fmla="*/ 579 h 614"/>
                <a:gd name="T18" fmla="*/ 351 w 609"/>
                <a:gd name="T19" fmla="*/ 610 h 614"/>
                <a:gd name="T20" fmla="*/ 393 w 609"/>
                <a:gd name="T21" fmla="*/ 589 h 614"/>
                <a:gd name="T22" fmla="*/ 380 w 609"/>
                <a:gd name="T23" fmla="*/ 546 h 614"/>
                <a:gd name="T24" fmla="*/ 425 w 609"/>
                <a:gd name="T25" fmla="*/ 468 h 614"/>
                <a:gd name="T26" fmla="*/ 397 w 609"/>
                <a:gd name="T27" fmla="*/ 356 h 614"/>
                <a:gd name="T28" fmla="*/ 464 w 609"/>
                <a:gd name="T29" fmla="*/ 363 h 614"/>
                <a:gd name="T30" fmla="*/ 503 w 609"/>
                <a:gd name="T31" fmla="*/ 319 h 614"/>
                <a:gd name="T32" fmla="*/ 556 w 609"/>
                <a:gd name="T33" fmla="*/ 222 h 614"/>
                <a:gd name="T34" fmla="*/ 583 w 609"/>
                <a:gd name="T35" fmla="*/ 135 h 614"/>
                <a:gd name="T36" fmla="*/ 609 w 609"/>
                <a:gd name="T37" fmla="*/ 56 h 614"/>
                <a:gd name="T38" fmla="*/ 543 w 609"/>
                <a:gd name="T39" fmla="*/ 11 h 614"/>
                <a:gd name="T40" fmla="*/ 465 w 609"/>
                <a:gd name="T41" fmla="*/ 11 h 614"/>
                <a:gd name="T42" fmla="*/ 348 w 609"/>
                <a:gd name="T43" fmla="*/ 117 h 614"/>
                <a:gd name="T44" fmla="*/ 369 w 609"/>
                <a:gd name="T45" fmla="*/ 152 h 614"/>
                <a:gd name="T46" fmla="*/ 408 w 609"/>
                <a:gd name="T47" fmla="*/ 184 h 614"/>
                <a:gd name="T48" fmla="*/ 329 w 609"/>
                <a:gd name="T49" fmla="*/ 207 h 614"/>
                <a:gd name="T50" fmla="*/ 316 w 609"/>
                <a:gd name="T51" fmla="*/ 237 h 614"/>
                <a:gd name="T52" fmla="*/ 388 w 609"/>
                <a:gd name="T53" fmla="*/ 218 h 614"/>
                <a:gd name="T54" fmla="*/ 345 w 609"/>
                <a:gd name="T55" fmla="*/ 258 h 614"/>
                <a:gd name="T56" fmla="*/ 268 w 609"/>
                <a:gd name="T57" fmla="*/ 220 h 614"/>
                <a:gd name="T58" fmla="*/ 289 w 609"/>
                <a:gd name="T59" fmla="*/ 164 h 614"/>
                <a:gd name="T60" fmla="*/ 289 w 609"/>
                <a:gd name="T61" fmla="*/ 95 h 614"/>
                <a:gd name="T62" fmla="*/ 208 w 609"/>
                <a:gd name="T63" fmla="*/ 221 h 614"/>
                <a:gd name="T64" fmla="*/ 169 w 609"/>
                <a:gd name="T65" fmla="*/ 341 h 614"/>
                <a:gd name="T66" fmla="*/ 125 w 609"/>
                <a:gd name="T67" fmla="*/ 328 h 614"/>
                <a:gd name="T68" fmla="*/ 220 w 609"/>
                <a:gd name="T69" fmla="*/ 374 h 614"/>
                <a:gd name="T70" fmla="*/ 152 w 609"/>
                <a:gd name="T71" fmla="*/ 383 h 614"/>
                <a:gd name="T72" fmla="*/ 122 w 609"/>
                <a:gd name="T73" fmla="*/ 385 h 614"/>
                <a:gd name="T74" fmla="*/ 118 w 609"/>
                <a:gd name="T75" fmla="*/ 396 h 614"/>
                <a:gd name="T76" fmla="*/ 124 w 609"/>
                <a:gd name="T77" fmla="*/ 420 h 614"/>
                <a:gd name="T78" fmla="*/ 55 w 609"/>
                <a:gd name="T79" fmla="*/ 386 h 614"/>
                <a:gd name="T80" fmla="*/ 61 w 609"/>
                <a:gd name="T81" fmla="*/ 413 h 614"/>
                <a:gd name="T82" fmla="*/ 102 w 609"/>
                <a:gd name="T83" fmla="*/ 422 h 614"/>
                <a:gd name="T84" fmla="*/ 108 w 609"/>
                <a:gd name="T85" fmla="*/ 446 h 614"/>
                <a:gd name="T86" fmla="*/ 56 w 609"/>
                <a:gd name="T87" fmla="*/ 435 h 614"/>
                <a:gd name="T88" fmla="*/ 6 w 609"/>
                <a:gd name="T89" fmla="*/ 429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9" h="614">
                  <a:moveTo>
                    <a:pt x="1" y="440"/>
                  </a:moveTo>
                  <a:cubicBezTo>
                    <a:pt x="0" y="440"/>
                    <a:pt x="0" y="440"/>
                    <a:pt x="0" y="440"/>
                  </a:cubicBezTo>
                  <a:cubicBezTo>
                    <a:pt x="0" y="444"/>
                    <a:pt x="3" y="456"/>
                    <a:pt x="3" y="456"/>
                  </a:cubicBezTo>
                  <a:cubicBezTo>
                    <a:pt x="25" y="461"/>
                    <a:pt x="25" y="461"/>
                    <a:pt x="25" y="461"/>
                  </a:cubicBezTo>
                  <a:cubicBezTo>
                    <a:pt x="30" y="446"/>
                    <a:pt x="30" y="446"/>
                    <a:pt x="30" y="446"/>
                  </a:cubicBezTo>
                  <a:cubicBezTo>
                    <a:pt x="63" y="459"/>
                    <a:pt x="63" y="459"/>
                    <a:pt x="63" y="459"/>
                  </a:cubicBezTo>
                  <a:cubicBezTo>
                    <a:pt x="63" y="459"/>
                    <a:pt x="51" y="477"/>
                    <a:pt x="77" y="478"/>
                  </a:cubicBezTo>
                  <a:cubicBezTo>
                    <a:pt x="99" y="483"/>
                    <a:pt x="138" y="447"/>
                    <a:pt x="138" y="447"/>
                  </a:cubicBezTo>
                  <a:cubicBezTo>
                    <a:pt x="149" y="451"/>
                    <a:pt x="149" y="451"/>
                    <a:pt x="149" y="451"/>
                  </a:cubicBezTo>
                  <a:cubicBezTo>
                    <a:pt x="160" y="452"/>
                    <a:pt x="160" y="452"/>
                    <a:pt x="160" y="452"/>
                  </a:cubicBezTo>
                  <a:cubicBezTo>
                    <a:pt x="160" y="452"/>
                    <a:pt x="154" y="432"/>
                    <a:pt x="169" y="429"/>
                  </a:cubicBezTo>
                  <a:cubicBezTo>
                    <a:pt x="180" y="422"/>
                    <a:pt x="180" y="438"/>
                    <a:pt x="180" y="438"/>
                  </a:cubicBezTo>
                  <a:cubicBezTo>
                    <a:pt x="191" y="438"/>
                    <a:pt x="191" y="438"/>
                    <a:pt x="191" y="438"/>
                  </a:cubicBezTo>
                  <a:cubicBezTo>
                    <a:pt x="191" y="438"/>
                    <a:pt x="206" y="427"/>
                    <a:pt x="221" y="428"/>
                  </a:cubicBezTo>
                  <a:cubicBezTo>
                    <a:pt x="232" y="429"/>
                    <a:pt x="216" y="451"/>
                    <a:pt x="216" y="451"/>
                  </a:cubicBezTo>
                  <a:cubicBezTo>
                    <a:pt x="235" y="452"/>
                    <a:pt x="235" y="452"/>
                    <a:pt x="235" y="452"/>
                  </a:cubicBezTo>
                  <a:cubicBezTo>
                    <a:pt x="235" y="452"/>
                    <a:pt x="243" y="433"/>
                    <a:pt x="254" y="437"/>
                  </a:cubicBezTo>
                  <a:cubicBezTo>
                    <a:pt x="262" y="441"/>
                    <a:pt x="250" y="460"/>
                    <a:pt x="250" y="460"/>
                  </a:cubicBezTo>
                  <a:cubicBezTo>
                    <a:pt x="264" y="468"/>
                    <a:pt x="264" y="468"/>
                    <a:pt x="264" y="468"/>
                  </a:cubicBezTo>
                  <a:cubicBezTo>
                    <a:pt x="264" y="468"/>
                    <a:pt x="267" y="488"/>
                    <a:pt x="278" y="488"/>
                  </a:cubicBezTo>
                  <a:cubicBezTo>
                    <a:pt x="289" y="492"/>
                    <a:pt x="301" y="482"/>
                    <a:pt x="312" y="486"/>
                  </a:cubicBezTo>
                  <a:cubicBezTo>
                    <a:pt x="323" y="486"/>
                    <a:pt x="319" y="498"/>
                    <a:pt x="319" y="498"/>
                  </a:cubicBezTo>
                  <a:cubicBezTo>
                    <a:pt x="333" y="514"/>
                    <a:pt x="333" y="514"/>
                    <a:pt x="333" y="514"/>
                  </a:cubicBezTo>
                  <a:cubicBezTo>
                    <a:pt x="333" y="514"/>
                    <a:pt x="344" y="514"/>
                    <a:pt x="355" y="526"/>
                  </a:cubicBezTo>
                  <a:cubicBezTo>
                    <a:pt x="362" y="534"/>
                    <a:pt x="351" y="541"/>
                    <a:pt x="343" y="549"/>
                  </a:cubicBezTo>
                  <a:cubicBezTo>
                    <a:pt x="339" y="552"/>
                    <a:pt x="342" y="560"/>
                    <a:pt x="342" y="560"/>
                  </a:cubicBezTo>
                  <a:cubicBezTo>
                    <a:pt x="338" y="579"/>
                    <a:pt x="338" y="579"/>
                    <a:pt x="338" y="579"/>
                  </a:cubicBezTo>
                  <a:cubicBezTo>
                    <a:pt x="338" y="579"/>
                    <a:pt x="323" y="578"/>
                    <a:pt x="319" y="586"/>
                  </a:cubicBezTo>
                  <a:cubicBezTo>
                    <a:pt x="311" y="597"/>
                    <a:pt x="322" y="601"/>
                    <a:pt x="322" y="601"/>
                  </a:cubicBezTo>
                  <a:cubicBezTo>
                    <a:pt x="322" y="601"/>
                    <a:pt x="336" y="609"/>
                    <a:pt x="351" y="610"/>
                  </a:cubicBezTo>
                  <a:cubicBezTo>
                    <a:pt x="362" y="614"/>
                    <a:pt x="373" y="608"/>
                    <a:pt x="377" y="608"/>
                  </a:cubicBezTo>
                  <a:cubicBezTo>
                    <a:pt x="376" y="605"/>
                    <a:pt x="375" y="602"/>
                    <a:pt x="374" y="600"/>
                  </a:cubicBezTo>
                  <a:cubicBezTo>
                    <a:pt x="382" y="592"/>
                    <a:pt x="386" y="589"/>
                    <a:pt x="393" y="589"/>
                  </a:cubicBezTo>
                  <a:cubicBezTo>
                    <a:pt x="390" y="574"/>
                    <a:pt x="391" y="551"/>
                    <a:pt x="369" y="557"/>
                  </a:cubicBezTo>
                  <a:cubicBezTo>
                    <a:pt x="365" y="550"/>
                    <a:pt x="366" y="538"/>
                    <a:pt x="373" y="535"/>
                  </a:cubicBezTo>
                  <a:cubicBezTo>
                    <a:pt x="377" y="539"/>
                    <a:pt x="377" y="543"/>
                    <a:pt x="380" y="546"/>
                  </a:cubicBezTo>
                  <a:cubicBezTo>
                    <a:pt x="385" y="528"/>
                    <a:pt x="407" y="532"/>
                    <a:pt x="412" y="514"/>
                  </a:cubicBezTo>
                  <a:cubicBezTo>
                    <a:pt x="401" y="517"/>
                    <a:pt x="401" y="517"/>
                    <a:pt x="401" y="517"/>
                  </a:cubicBezTo>
                  <a:cubicBezTo>
                    <a:pt x="394" y="490"/>
                    <a:pt x="424" y="487"/>
                    <a:pt x="425" y="468"/>
                  </a:cubicBezTo>
                  <a:cubicBezTo>
                    <a:pt x="426" y="453"/>
                    <a:pt x="427" y="438"/>
                    <a:pt x="420" y="426"/>
                  </a:cubicBezTo>
                  <a:cubicBezTo>
                    <a:pt x="413" y="414"/>
                    <a:pt x="406" y="399"/>
                    <a:pt x="406" y="387"/>
                  </a:cubicBezTo>
                  <a:cubicBezTo>
                    <a:pt x="406" y="391"/>
                    <a:pt x="397" y="356"/>
                    <a:pt x="397" y="356"/>
                  </a:cubicBezTo>
                  <a:cubicBezTo>
                    <a:pt x="408" y="357"/>
                    <a:pt x="415" y="353"/>
                    <a:pt x="426" y="361"/>
                  </a:cubicBezTo>
                  <a:cubicBezTo>
                    <a:pt x="423" y="357"/>
                    <a:pt x="423" y="350"/>
                    <a:pt x="420" y="346"/>
                  </a:cubicBezTo>
                  <a:cubicBezTo>
                    <a:pt x="434" y="346"/>
                    <a:pt x="453" y="355"/>
                    <a:pt x="464" y="363"/>
                  </a:cubicBezTo>
                  <a:cubicBezTo>
                    <a:pt x="464" y="355"/>
                    <a:pt x="464" y="355"/>
                    <a:pt x="464" y="355"/>
                  </a:cubicBezTo>
                  <a:cubicBezTo>
                    <a:pt x="479" y="360"/>
                    <a:pt x="495" y="338"/>
                    <a:pt x="509" y="350"/>
                  </a:cubicBezTo>
                  <a:cubicBezTo>
                    <a:pt x="516" y="354"/>
                    <a:pt x="533" y="320"/>
                    <a:pt x="503" y="319"/>
                  </a:cubicBezTo>
                  <a:cubicBezTo>
                    <a:pt x="511" y="308"/>
                    <a:pt x="519" y="301"/>
                    <a:pt x="534" y="301"/>
                  </a:cubicBezTo>
                  <a:cubicBezTo>
                    <a:pt x="534" y="301"/>
                    <a:pt x="557" y="280"/>
                    <a:pt x="565" y="276"/>
                  </a:cubicBezTo>
                  <a:cubicBezTo>
                    <a:pt x="551" y="264"/>
                    <a:pt x="574" y="242"/>
                    <a:pt x="556" y="222"/>
                  </a:cubicBezTo>
                  <a:cubicBezTo>
                    <a:pt x="544" y="244"/>
                    <a:pt x="497" y="208"/>
                    <a:pt x="528" y="194"/>
                  </a:cubicBezTo>
                  <a:cubicBezTo>
                    <a:pt x="510" y="163"/>
                    <a:pt x="554" y="188"/>
                    <a:pt x="562" y="184"/>
                  </a:cubicBezTo>
                  <a:cubicBezTo>
                    <a:pt x="581" y="177"/>
                    <a:pt x="571" y="150"/>
                    <a:pt x="583" y="135"/>
                  </a:cubicBezTo>
                  <a:cubicBezTo>
                    <a:pt x="591" y="124"/>
                    <a:pt x="603" y="110"/>
                    <a:pt x="599" y="94"/>
                  </a:cubicBezTo>
                  <a:cubicBezTo>
                    <a:pt x="600" y="84"/>
                    <a:pt x="607" y="67"/>
                    <a:pt x="608" y="58"/>
                  </a:cubicBezTo>
                  <a:cubicBezTo>
                    <a:pt x="609" y="58"/>
                    <a:pt x="609" y="57"/>
                    <a:pt x="609" y="56"/>
                  </a:cubicBezTo>
                  <a:cubicBezTo>
                    <a:pt x="594" y="52"/>
                    <a:pt x="579" y="43"/>
                    <a:pt x="576" y="39"/>
                  </a:cubicBezTo>
                  <a:cubicBezTo>
                    <a:pt x="565" y="31"/>
                    <a:pt x="566" y="12"/>
                    <a:pt x="562" y="4"/>
                  </a:cubicBezTo>
                  <a:cubicBezTo>
                    <a:pt x="559" y="0"/>
                    <a:pt x="543" y="11"/>
                    <a:pt x="543" y="11"/>
                  </a:cubicBezTo>
                  <a:cubicBezTo>
                    <a:pt x="476" y="12"/>
                    <a:pt x="476" y="12"/>
                    <a:pt x="476" y="12"/>
                  </a:cubicBezTo>
                  <a:cubicBezTo>
                    <a:pt x="479" y="20"/>
                    <a:pt x="479" y="20"/>
                    <a:pt x="479" y="20"/>
                  </a:cubicBezTo>
                  <a:cubicBezTo>
                    <a:pt x="479" y="20"/>
                    <a:pt x="468" y="19"/>
                    <a:pt x="465" y="11"/>
                  </a:cubicBezTo>
                  <a:cubicBezTo>
                    <a:pt x="458" y="3"/>
                    <a:pt x="397" y="19"/>
                    <a:pt x="378" y="30"/>
                  </a:cubicBezTo>
                  <a:cubicBezTo>
                    <a:pt x="355" y="37"/>
                    <a:pt x="349" y="82"/>
                    <a:pt x="352" y="101"/>
                  </a:cubicBezTo>
                  <a:cubicBezTo>
                    <a:pt x="351" y="121"/>
                    <a:pt x="348" y="117"/>
                    <a:pt x="348" y="117"/>
                  </a:cubicBezTo>
                  <a:cubicBezTo>
                    <a:pt x="348" y="117"/>
                    <a:pt x="351" y="121"/>
                    <a:pt x="362" y="125"/>
                  </a:cubicBezTo>
                  <a:cubicBezTo>
                    <a:pt x="373" y="133"/>
                    <a:pt x="384" y="141"/>
                    <a:pt x="384" y="141"/>
                  </a:cubicBezTo>
                  <a:cubicBezTo>
                    <a:pt x="384" y="141"/>
                    <a:pt x="369" y="148"/>
                    <a:pt x="369" y="152"/>
                  </a:cubicBezTo>
                  <a:cubicBezTo>
                    <a:pt x="368" y="160"/>
                    <a:pt x="379" y="160"/>
                    <a:pt x="379" y="160"/>
                  </a:cubicBezTo>
                  <a:cubicBezTo>
                    <a:pt x="379" y="160"/>
                    <a:pt x="368" y="171"/>
                    <a:pt x="379" y="175"/>
                  </a:cubicBezTo>
                  <a:cubicBezTo>
                    <a:pt x="393" y="180"/>
                    <a:pt x="408" y="184"/>
                    <a:pt x="408" y="184"/>
                  </a:cubicBezTo>
                  <a:cubicBezTo>
                    <a:pt x="404" y="192"/>
                    <a:pt x="404" y="192"/>
                    <a:pt x="404" y="192"/>
                  </a:cubicBezTo>
                  <a:cubicBezTo>
                    <a:pt x="404" y="192"/>
                    <a:pt x="382" y="183"/>
                    <a:pt x="367" y="183"/>
                  </a:cubicBezTo>
                  <a:cubicBezTo>
                    <a:pt x="356" y="182"/>
                    <a:pt x="340" y="200"/>
                    <a:pt x="329" y="207"/>
                  </a:cubicBezTo>
                  <a:cubicBezTo>
                    <a:pt x="317" y="215"/>
                    <a:pt x="287" y="225"/>
                    <a:pt x="287" y="225"/>
                  </a:cubicBezTo>
                  <a:cubicBezTo>
                    <a:pt x="287" y="225"/>
                    <a:pt x="294" y="236"/>
                    <a:pt x="301" y="237"/>
                  </a:cubicBezTo>
                  <a:cubicBezTo>
                    <a:pt x="316" y="237"/>
                    <a:pt x="316" y="237"/>
                    <a:pt x="316" y="237"/>
                  </a:cubicBezTo>
                  <a:cubicBezTo>
                    <a:pt x="316" y="237"/>
                    <a:pt x="338" y="254"/>
                    <a:pt x="345" y="250"/>
                  </a:cubicBezTo>
                  <a:cubicBezTo>
                    <a:pt x="357" y="243"/>
                    <a:pt x="357" y="236"/>
                    <a:pt x="357" y="236"/>
                  </a:cubicBezTo>
                  <a:cubicBezTo>
                    <a:pt x="357" y="236"/>
                    <a:pt x="384" y="225"/>
                    <a:pt x="388" y="218"/>
                  </a:cubicBezTo>
                  <a:cubicBezTo>
                    <a:pt x="392" y="214"/>
                    <a:pt x="399" y="215"/>
                    <a:pt x="403" y="215"/>
                  </a:cubicBezTo>
                  <a:cubicBezTo>
                    <a:pt x="407" y="219"/>
                    <a:pt x="391" y="237"/>
                    <a:pt x="391" y="237"/>
                  </a:cubicBezTo>
                  <a:cubicBezTo>
                    <a:pt x="345" y="258"/>
                    <a:pt x="345" y="258"/>
                    <a:pt x="345" y="258"/>
                  </a:cubicBezTo>
                  <a:cubicBezTo>
                    <a:pt x="312" y="253"/>
                    <a:pt x="312" y="253"/>
                    <a:pt x="312" y="253"/>
                  </a:cubicBezTo>
                  <a:cubicBezTo>
                    <a:pt x="275" y="228"/>
                    <a:pt x="275" y="228"/>
                    <a:pt x="275" y="228"/>
                  </a:cubicBezTo>
                  <a:cubicBezTo>
                    <a:pt x="268" y="220"/>
                    <a:pt x="268" y="220"/>
                    <a:pt x="268" y="220"/>
                  </a:cubicBezTo>
                  <a:cubicBezTo>
                    <a:pt x="291" y="217"/>
                    <a:pt x="291" y="217"/>
                    <a:pt x="291" y="217"/>
                  </a:cubicBezTo>
                  <a:cubicBezTo>
                    <a:pt x="299" y="206"/>
                    <a:pt x="299" y="206"/>
                    <a:pt x="299" y="206"/>
                  </a:cubicBezTo>
                  <a:cubicBezTo>
                    <a:pt x="299" y="206"/>
                    <a:pt x="289" y="171"/>
                    <a:pt x="289" y="164"/>
                  </a:cubicBezTo>
                  <a:cubicBezTo>
                    <a:pt x="286" y="156"/>
                    <a:pt x="312" y="168"/>
                    <a:pt x="323" y="157"/>
                  </a:cubicBezTo>
                  <a:cubicBezTo>
                    <a:pt x="331" y="150"/>
                    <a:pt x="321" y="138"/>
                    <a:pt x="310" y="134"/>
                  </a:cubicBezTo>
                  <a:cubicBezTo>
                    <a:pt x="295" y="129"/>
                    <a:pt x="304" y="95"/>
                    <a:pt x="289" y="95"/>
                  </a:cubicBezTo>
                  <a:cubicBezTo>
                    <a:pt x="278" y="90"/>
                    <a:pt x="285" y="102"/>
                    <a:pt x="274" y="98"/>
                  </a:cubicBezTo>
                  <a:cubicBezTo>
                    <a:pt x="266" y="94"/>
                    <a:pt x="260" y="82"/>
                    <a:pt x="252" y="89"/>
                  </a:cubicBezTo>
                  <a:cubicBezTo>
                    <a:pt x="244" y="93"/>
                    <a:pt x="221" y="198"/>
                    <a:pt x="208" y="221"/>
                  </a:cubicBezTo>
                  <a:cubicBezTo>
                    <a:pt x="196" y="243"/>
                    <a:pt x="138" y="294"/>
                    <a:pt x="138" y="294"/>
                  </a:cubicBezTo>
                  <a:cubicBezTo>
                    <a:pt x="170" y="330"/>
                    <a:pt x="170" y="330"/>
                    <a:pt x="170" y="330"/>
                  </a:cubicBezTo>
                  <a:cubicBezTo>
                    <a:pt x="169" y="341"/>
                    <a:pt x="169" y="341"/>
                    <a:pt x="169" y="341"/>
                  </a:cubicBezTo>
                  <a:cubicBezTo>
                    <a:pt x="169" y="341"/>
                    <a:pt x="148" y="317"/>
                    <a:pt x="144" y="317"/>
                  </a:cubicBezTo>
                  <a:cubicBezTo>
                    <a:pt x="137" y="313"/>
                    <a:pt x="130" y="305"/>
                    <a:pt x="122" y="305"/>
                  </a:cubicBezTo>
                  <a:cubicBezTo>
                    <a:pt x="118" y="305"/>
                    <a:pt x="125" y="328"/>
                    <a:pt x="125" y="328"/>
                  </a:cubicBezTo>
                  <a:cubicBezTo>
                    <a:pt x="125" y="328"/>
                    <a:pt x="179" y="372"/>
                    <a:pt x="183" y="373"/>
                  </a:cubicBezTo>
                  <a:cubicBezTo>
                    <a:pt x="190" y="373"/>
                    <a:pt x="202" y="366"/>
                    <a:pt x="217" y="363"/>
                  </a:cubicBezTo>
                  <a:cubicBezTo>
                    <a:pt x="232" y="363"/>
                    <a:pt x="227" y="375"/>
                    <a:pt x="220" y="374"/>
                  </a:cubicBezTo>
                  <a:cubicBezTo>
                    <a:pt x="212" y="374"/>
                    <a:pt x="186" y="380"/>
                    <a:pt x="186" y="380"/>
                  </a:cubicBezTo>
                  <a:cubicBezTo>
                    <a:pt x="186" y="380"/>
                    <a:pt x="179" y="376"/>
                    <a:pt x="171" y="376"/>
                  </a:cubicBezTo>
                  <a:cubicBezTo>
                    <a:pt x="160" y="375"/>
                    <a:pt x="152" y="383"/>
                    <a:pt x="152" y="383"/>
                  </a:cubicBezTo>
                  <a:cubicBezTo>
                    <a:pt x="130" y="378"/>
                    <a:pt x="130" y="378"/>
                    <a:pt x="130" y="378"/>
                  </a:cubicBezTo>
                  <a:cubicBezTo>
                    <a:pt x="144" y="394"/>
                    <a:pt x="144" y="394"/>
                    <a:pt x="144" y="394"/>
                  </a:cubicBezTo>
                  <a:cubicBezTo>
                    <a:pt x="144" y="394"/>
                    <a:pt x="126" y="385"/>
                    <a:pt x="122" y="385"/>
                  </a:cubicBezTo>
                  <a:cubicBezTo>
                    <a:pt x="115" y="381"/>
                    <a:pt x="103" y="392"/>
                    <a:pt x="103" y="392"/>
                  </a:cubicBezTo>
                  <a:cubicBezTo>
                    <a:pt x="114" y="392"/>
                    <a:pt x="114" y="392"/>
                    <a:pt x="114" y="392"/>
                  </a:cubicBezTo>
                  <a:cubicBezTo>
                    <a:pt x="118" y="396"/>
                    <a:pt x="118" y="396"/>
                    <a:pt x="118" y="396"/>
                  </a:cubicBezTo>
                  <a:cubicBezTo>
                    <a:pt x="143" y="413"/>
                    <a:pt x="143" y="413"/>
                    <a:pt x="143" y="413"/>
                  </a:cubicBezTo>
                  <a:cubicBezTo>
                    <a:pt x="143" y="420"/>
                    <a:pt x="143" y="420"/>
                    <a:pt x="143" y="420"/>
                  </a:cubicBezTo>
                  <a:cubicBezTo>
                    <a:pt x="124" y="420"/>
                    <a:pt x="124" y="420"/>
                    <a:pt x="124" y="420"/>
                  </a:cubicBezTo>
                  <a:cubicBezTo>
                    <a:pt x="124" y="420"/>
                    <a:pt x="110" y="404"/>
                    <a:pt x="95" y="399"/>
                  </a:cubicBezTo>
                  <a:cubicBezTo>
                    <a:pt x="69" y="398"/>
                    <a:pt x="69" y="398"/>
                    <a:pt x="69" y="398"/>
                  </a:cubicBezTo>
                  <a:cubicBezTo>
                    <a:pt x="69" y="398"/>
                    <a:pt x="62" y="394"/>
                    <a:pt x="55" y="386"/>
                  </a:cubicBezTo>
                  <a:cubicBezTo>
                    <a:pt x="51" y="382"/>
                    <a:pt x="28" y="388"/>
                    <a:pt x="28" y="388"/>
                  </a:cubicBezTo>
                  <a:cubicBezTo>
                    <a:pt x="28" y="388"/>
                    <a:pt x="28" y="400"/>
                    <a:pt x="35" y="408"/>
                  </a:cubicBezTo>
                  <a:cubicBezTo>
                    <a:pt x="46" y="416"/>
                    <a:pt x="61" y="413"/>
                    <a:pt x="61" y="413"/>
                  </a:cubicBezTo>
                  <a:cubicBezTo>
                    <a:pt x="61" y="413"/>
                    <a:pt x="60" y="424"/>
                    <a:pt x="68" y="428"/>
                  </a:cubicBezTo>
                  <a:cubicBezTo>
                    <a:pt x="79" y="433"/>
                    <a:pt x="91" y="422"/>
                    <a:pt x="91" y="422"/>
                  </a:cubicBezTo>
                  <a:cubicBezTo>
                    <a:pt x="102" y="422"/>
                    <a:pt x="102" y="422"/>
                    <a:pt x="102" y="422"/>
                  </a:cubicBezTo>
                  <a:cubicBezTo>
                    <a:pt x="102" y="422"/>
                    <a:pt x="124" y="435"/>
                    <a:pt x="135" y="439"/>
                  </a:cubicBezTo>
                  <a:cubicBezTo>
                    <a:pt x="146" y="440"/>
                    <a:pt x="115" y="450"/>
                    <a:pt x="115" y="450"/>
                  </a:cubicBezTo>
                  <a:cubicBezTo>
                    <a:pt x="108" y="446"/>
                    <a:pt x="108" y="446"/>
                    <a:pt x="108" y="446"/>
                  </a:cubicBezTo>
                  <a:cubicBezTo>
                    <a:pt x="108" y="446"/>
                    <a:pt x="105" y="434"/>
                    <a:pt x="97" y="434"/>
                  </a:cubicBezTo>
                  <a:cubicBezTo>
                    <a:pt x="90" y="429"/>
                    <a:pt x="82" y="441"/>
                    <a:pt x="82" y="441"/>
                  </a:cubicBezTo>
                  <a:cubicBezTo>
                    <a:pt x="82" y="441"/>
                    <a:pt x="67" y="440"/>
                    <a:pt x="56" y="435"/>
                  </a:cubicBezTo>
                  <a:cubicBezTo>
                    <a:pt x="49" y="435"/>
                    <a:pt x="38" y="419"/>
                    <a:pt x="31" y="419"/>
                  </a:cubicBezTo>
                  <a:cubicBezTo>
                    <a:pt x="27" y="419"/>
                    <a:pt x="8" y="425"/>
                    <a:pt x="8" y="425"/>
                  </a:cubicBezTo>
                  <a:cubicBezTo>
                    <a:pt x="8" y="425"/>
                    <a:pt x="7" y="427"/>
                    <a:pt x="6" y="429"/>
                  </a:cubicBezTo>
                  <a:cubicBezTo>
                    <a:pt x="7" y="429"/>
                    <a:pt x="7" y="429"/>
                    <a:pt x="8" y="429"/>
                  </a:cubicBezTo>
                  <a:cubicBezTo>
                    <a:pt x="4" y="433"/>
                    <a:pt x="4" y="436"/>
                    <a:pt x="1" y="44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8" name="Freeform 120">
              <a:extLst>
                <a:ext uri="{FF2B5EF4-FFF2-40B4-BE49-F238E27FC236}">
                  <a16:creationId xmlns:a16="http://schemas.microsoft.com/office/drawing/2014/main" id="{42898A03-39B6-EEB4-D238-9577A7BBB205}"/>
                </a:ext>
              </a:extLst>
            </p:cNvPr>
            <p:cNvSpPr>
              <a:spLocks/>
            </p:cNvSpPr>
            <p:nvPr/>
          </p:nvSpPr>
          <p:spPr bwMode="gray">
            <a:xfrm>
              <a:off x="9524127" y="3031733"/>
              <a:ext cx="26971" cy="28768"/>
            </a:xfrm>
            <a:custGeom>
              <a:avLst/>
              <a:gdLst>
                <a:gd name="T0" fmla="*/ 30 w 46"/>
                <a:gd name="T1" fmla="*/ 35 h 49"/>
                <a:gd name="T2" fmla="*/ 28 w 46"/>
                <a:gd name="T3" fmla="*/ 4 h 49"/>
                <a:gd name="T4" fmla="*/ 17 w 46"/>
                <a:gd name="T5" fmla="*/ 7 h 49"/>
                <a:gd name="T6" fmla="*/ 0 w 46"/>
                <a:gd name="T7" fmla="*/ 33 h 49"/>
                <a:gd name="T8" fmla="*/ 7 w 46"/>
                <a:gd name="T9" fmla="*/ 45 h 49"/>
                <a:gd name="T10" fmla="*/ 30 w 46"/>
                <a:gd name="T11" fmla="*/ 35 h 49"/>
              </a:gdLst>
              <a:ahLst/>
              <a:cxnLst>
                <a:cxn ang="0">
                  <a:pos x="T0" y="T1"/>
                </a:cxn>
                <a:cxn ang="0">
                  <a:pos x="T2" y="T3"/>
                </a:cxn>
                <a:cxn ang="0">
                  <a:pos x="T4" y="T5"/>
                </a:cxn>
                <a:cxn ang="0">
                  <a:pos x="T6" y="T7"/>
                </a:cxn>
                <a:cxn ang="0">
                  <a:pos x="T8" y="T9"/>
                </a:cxn>
                <a:cxn ang="0">
                  <a:pos x="T10" y="T11"/>
                </a:cxn>
              </a:cxnLst>
              <a:rect l="0" t="0" r="r" b="b"/>
              <a:pathLst>
                <a:path w="46" h="49">
                  <a:moveTo>
                    <a:pt x="30" y="35"/>
                  </a:moveTo>
                  <a:cubicBezTo>
                    <a:pt x="46" y="13"/>
                    <a:pt x="32" y="8"/>
                    <a:pt x="28" y="4"/>
                  </a:cubicBezTo>
                  <a:cubicBezTo>
                    <a:pt x="24" y="0"/>
                    <a:pt x="17" y="7"/>
                    <a:pt x="17" y="7"/>
                  </a:cubicBezTo>
                  <a:cubicBezTo>
                    <a:pt x="0" y="33"/>
                    <a:pt x="0" y="33"/>
                    <a:pt x="0" y="33"/>
                  </a:cubicBezTo>
                  <a:cubicBezTo>
                    <a:pt x="7" y="45"/>
                    <a:pt x="7" y="45"/>
                    <a:pt x="7" y="45"/>
                  </a:cubicBezTo>
                  <a:cubicBezTo>
                    <a:pt x="7" y="45"/>
                    <a:pt x="18" y="49"/>
                    <a:pt x="30"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9" name="Freeform 121">
              <a:extLst>
                <a:ext uri="{FF2B5EF4-FFF2-40B4-BE49-F238E27FC236}">
                  <a16:creationId xmlns:a16="http://schemas.microsoft.com/office/drawing/2014/main" id="{B0CAED9E-93B5-143A-32F4-BE7914B9DA18}"/>
                </a:ext>
              </a:extLst>
            </p:cNvPr>
            <p:cNvSpPr>
              <a:spLocks/>
            </p:cNvSpPr>
            <p:nvPr/>
          </p:nvSpPr>
          <p:spPr bwMode="gray">
            <a:xfrm>
              <a:off x="9407259" y="3234905"/>
              <a:ext cx="23374" cy="12586"/>
            </a:xfrm>
            <a:custGeom>
              <a:avLst/>
              <a:gdLst>
                <a:gd name="T0" fmla="*/ 25 w 40"/>
                <a:gd name="T1" fmla="*/ 16 h 19"/>
                <a:gd name="T2" fmla="*/ 37 w 40"/>
                <a:gd name="T3" fmla="*/ 16 h 19"/>
                <a:gd name="T4" fmla="*/ 30 w 40"/>
                <a:gd name="T5" fmla="*/ 5 h 19"/>
                <a:gd name="T6" fmla="*/ 18 w 40"/>
                <a:gd name="T7" fmla="*/ 8 h 19"/>
                <a:gd name="T8" fmla="*/ 11 w 40"/>
                <a:gd name="T9" fmla="*/ 0 h 19"/>
                <a:gd name="T10" fmla="*/ 7 w 40"/>
                <a:gd name="T11" fmla="*/ 11 h 19"/>
                <a:gd name="T12" fmla="*/ 25 w 4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0" h="19">
                  <a:moveTo>
                    <a:pt x="25" y="16"/>
                  </a:moveTo>
                  <a:cubicBezTo>
                    <a:pt x="37" y="16"/>
                    <a:pt x="37" y="16"/>
                    <a:pt x="37" y="16"/>
                  </a:cubicBezTo>
                  <a:cubicBezTo>
                    <a:pt x="40" y="17"/>
                    <a:pt x="30" y="5"/>
                    <a:pt x="30" y="5"/>
                  </a:cubicBezTo>
                  <a:cubicBezTo>
                    <a:pt x="18" y="8"/>
                    <a:pt x="18" y="8"/>
                    <a:pt x="18" y="8"/>
                  </a:cubicBezTo>
                  <a:cubicBezTo>
                    <a:pt x="11" y="0"/>
                    <a:pt x="11" y="0"/>
                    <a:pt x="11" y="0"/>
                  </a:cubicBezTo>
                  <a:cubicBezTo>
                    <a:pt x="11" y="0"/>
                    <a:pt x="0" y="3"/>
                    <a:pt x="7" y="11"/>
                  </a:cubicBezTo>
                  <a:cubicBezTo>
                    <a:pt x="18" y="19"/>
                    <a:pt x="22" y="16"/>
                    <a:pt x="25"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0" name="Freeform 122">
              <a:extLst>
                <a:ext uri="{FF2B5EF4-FFF2-40B4-BE49-F238E27FC236}">
                  <a16:creationId xmlns:a16="http://schemas.microsoft.com/office/drawing/2014/main" id="{754A82CC-88DB-5A8D-B63D-84BEC88F14C0}"/>
                </a:ext>
              </a:extLst>
            </p:cNvPr>
            <p:cNvSpPr>
              <a:spLocks/>
            </p:cNvSpPr>
            <p:nvPr/>
          </p:nvSpPr>
          <p:spPr bwMode="gray">
            <a:xfrm>
              <a:off x="9653581" y="3002965"/>
              <a:ext cx="16183" cy="8991"/>
            </a:xfrm>
            <a:custGeom>
              <a:avLst/>
              <a:gdLst>
                <a:gd name="T0" fmla="*/ 8 w 9"/>
                <a:gd name="T1" fmla="*/ 0 h 5"/>
                <a:gd name="T2" fmla="*/ 0 w 9"/>
                <a:gd name="T3" fmla="*/ 1 h 5"/>
                <a:gd name="T4" fmla="*/ 0 w 9"/>
                <a:gd name="T5" fmla="*/ 5 h 5"/>
                <a:gd name="T6" fmla="*/ 9 w 9"/>
                <a:gd name="T7" fmla="*/ 3 h 5"/>
                <a:gd name="T8" fmla="*/ 8 w 9"/>
                <a:gd name="T9" fmla="*/ 0 h 5"/>
              </a:gdLst>
              <a:ahLst/>
              <a:cxnLst>
                <a:cxn ang="0">
                  <a:pos x="T0" y="T1"/>
                </a:cxn>
                <a:cxn ang="0">
                  <a:pos x="T2" y="T3"/>
                </a:cxn>
                <a:cxn ang="0">
                  <a:pos x="T4" y="T5"/>
                </a:cxn>
                <a:cxn ang="0">
                  <a:pos x="T6" y="T7"/>
                </a:cxn>
                <a:cxn ang="0">
                  <a:pos x="T8" y="T9"/>
                </a:cxn>
              </a:cxnLst>
              <a:rect l="0" t="0" r="r" b="b"/>
              <a:pathLst>
                <a:path w="9" h="5">
                  <a:moveTo>
                    <a:pt x="8" y="0"/>
                  </a:moveTo>
                  <a:lnTo>
                    <a:pt x="0" y="1"/>
                  </a:lnTo>
                  <a:lnTo>
                    <a:pt x="0" y="5"/>
                  </a:lnTo>
                  <a:lnTo>
                    <a:pt x="9" y="3"/>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1" name="Freeform 123">
              <a:extLst>
                <a:ext uri="{FF2B5EF4-FFF2-40B4-BE49-F238E27FC236}">
                  <a16:creationId xmlns:a16="http://schemas.microsoft.com/office/drawing/2014/main" id="{DF4E5C2C-6DA9-A9DC-9202-6D0C12FD9F70}"/>
                </a:ext>
              </a:extLst>
            </p:cNvPr>
            <p:cNvSpPr>
              <a:spLocks/>
            </p:cNvSpPr>
            <p:nvPr/>
          </p:nvSpPr>
          <p:spPr bwMode="gray">
            <a:xfrm>
              <a:off x="9612229" y="3006562"/>
              <a:ext cx="34162" cy="5395"/>
            </a:xfrm>
            <a:custGeom>
              <a:avLst/>
              <a:gdLst>
                <a:gd name="T0" fmla="*/ 22 w 60"/>
                <a:gd name="T1" fmla="*/ 8 h 11"/>
                <a:gd name="T2" fmla="*/ 34 w 60"/>
                <a:gd name="T3" fmla="*/ 1 h 11"/>
                <a:gd name="T4" fmla="*/ 0 w 60"/>
                <a:gd name="T5" fmla="*/ 3 h 11"/>
                <a:gd name="T6" fmla="*/ 22 w 60"/>
                <a:gd name="T7" fmla="*/ 8 h 11"/>
              </a:gdLst>
              <a:ahLst/>
              <a:cxnLst>
                <a:cxn ang="0">
                  <a:pos x="T0" y="T1"/>
                </a:cxn>
                <a:cxn ang="0">
                  <a:pos x="T2" y="T3"/>
                </a:cxn>
                <a:cxn ang="0">
                  <a:pos x="T4" y="T5"/>
                </a:cxn>
                <a:cxn ang="0">
                  <a:pos x="T6" y="T7"/>
                </a:cxn>
              </a:cxnLst>
              <a:rect l="0" t="0" r="r" b="b"/>
              <a:pathLst>
                <a:path w="60" h="11">
                  <a:moveTo>
                    <a:pt x="22" y="8"/>
                  </a:moveTo>
                  <a:cubicBezTo>
                    <a:pt x="33" y="8"/>
                    <a:pt x="60" y="2"/>
                    <a:pt x="34" y="1"/>
                  </a:cubicBezTo>
                  <a:cubicBezTo>
                    <a:pt x="11" y="0"/>
                    <a:pt x="0" y="3"/>
                    <a:pt x="0" y="3"/>
                  </a:cubicBezTo>
                  <a:cubicBezTo>
                    <a:pt x="0" y="11"/>
                    <a:pt x="11" y="7"/>
                    <a:pt x="22"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2" name="Freeform 124">
              <a:extLst>
                <a:ext uri="{FF2B5EF4-FFF2-40B4-BE49-F238E27FC236}">
                  <a16:creationId xmlns:a16="http://schemas.microsoft.com/office/drawing/2014/main" id="{C14E35B3-768A-3617-CDDD-01DB0F21FA5D}"/>
                </a:ext>
              </a:extLst>
            </p:cNvPr>
            <p:cNvSpPr>
              <a:spLocks/>
            </p:cNvSpPr>
            <p:nvPr/>
          </p:nvSpPr>
          <p:spPr bwMode="gray">
            <a:xfrm>
              <a:off x="9543905" y="3011955"/>
              <a:ext cx="21576" cy="16183"/>
            </a:xfrm>
            <a:custGeom>
              <a:avLst/>
              <a:gdLst>
                <a:gd name="T0" fmla="*/ 19 w 38"/>
                <a:gd name="T1" fmla="*/ 22 h 25"/>
                <a:gd name="T2" fmla="*/ 16 w 38"/>
                <a:gd name="T3" fmla="*/ 14 h 25"/>
                <a:gd name="T4" fmla="*/ 19 w 38"/>
                <a:gd name="T5" fmla="*/ 22 h 25"/>
              </a:gdLst>
              <a:ahLst/>
              <a:cxnLst>
                <a:cxn ang="0">
                  <a:pos x="T0" y="T1"/>
                </a:cxn>
                <a:cxn ang="0">
                  <a:pos x="T2" y="T3"/>
                </a:cxn>
                <a:cxn ang="0">
                  <a:pos x="T4" y="T5"/>
                </a:cxn>
              </a:cxnLst>
              <a:rect l="0" t="0" r="r" b="b"/>
              <a:pathLst>
                <a:path w="38" h="25">
                  <a:moveTo>
                    <a:pt x="19" y="22"/>
                  </a:moveTo>
                  <a:cubicBezTo>
                    <a:pt x="38" y="11"/>
                    <a:pt x="35" y="0"/>
                    <a:pt x="16" y="14"/>
                  </a:cubicBezTo>
                  <a:cubicBezTo>
                    <a:pt x="0" y="25"/>
                    <a:pt x="19" y="22"/>
                    <a:pt x="19"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3" name="Freeform 125">
              <a:extLst>
                <a:ext uri="{FF2B5EF4-FFF2-40B4-BE49-F238E27FC236}">
                  <a16:creationId xmlns:a16="http://schemas.microsoft.com/office/drawing/2014/main" id="{62297249-AD13-1141-2389-9789DE88A003}"/>
                </a:ext>
              </a:extLst>
            </p:cNvPr>
            <p:cNvSpPr>
              <a:spLocks/>
            </p:cNvSpPr>
            <p:nvPr/>
          </p:nvSpPr>
          <p:spPr bwMode="gray">
            <a:xfrm>
              <a:off x="9567278" y="3004764"/>
              <a:ext cx="37758" cy="12586"/>
            </a:xfrm>
            <a:custGeom>
              <a:avLst/>
              <a:gdLst>
                <a:gd name="T0" fmla="*/ 11 w 64"/>
                <a:gd name="T1" fmla="*/ 21 h 21"/>
                <a:gd name="T2" fmla="*/ 19 w 64"/>
                <a:gd name="T3" fmla="*/ 14 h 21"/>
                <a:gd name="T4" fmla="*/ 41 w 64"/>
                <a:gd name="T5" fmla="*/ 15 h 21"/>
                <a:gd name="T6" fmla="*/ 64 w 64"/>
                <a:gd name="T7" fmla="*/ 1 h 21"/>
                <a:gd name="T8" fmla="*/ 57 w 64"/>
                <a:gd name="T9" fmla="*/ 0 h 21"/>
                <a:gd name="T10" fmla="*/ 38 w 64"/>
                <a:gd name="T11" fmla="*/ 3 h 21"/>
                <a:gd name="T12" fmla="*/ 19 w 64"/>
                <a:gd name="T13" fmla="*/ 2 h 21"/>
                <a:gd name="T14" fmla="*/ 4 w 64"/>
                <a:gd name="T15" fmla="*/ 13 h 21"/>
                <a:gd name="T16" fmla="*/ 11 w 64"/>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21">
                  <a:moveTo>
                    <a:pt x="11" y="21"/>
                  </a:moveTo>
                  <a:cubicBezTo>
                    <a:pt x="19" y="14"/>
                    <a:pt x="19" y="14"/>
                    <a:pt x="19" y="14"/>
                  </a:cubicBezTo>
                  <a:cubicBezTo>
                    <a:pt x="41" y="15"/>
                    <a:pt x="41" y="15"/>
                    <a:pt x="41" y="15"/>
                  </a:cubicBezTo>
                  <a:cubicBezTo>
                    <a:pt x="64" y="1"/>
                    <a:pt x="64" y="1"/>
                    <a:pt x="64" y="1"/>
                  </a:cubicBezTo>
                  <a:cubicBezTo>
                    <a:pt x="57" y="0"/>
                    <a:pt x="57" y="0"/>
                    <a:pt x="57" y="0"/>
                  </a:cubicBezTo>
                  <a:cubicBezTo>
                    <a:pt x="38" y="3"/>
                    <a:pt x="38" y="3"/>
                    <a:pt x="38" y="3"/>
                  </a:cubicBezTo>
                  <a:cubicBezTo>
                    <a:pt x="19" y="2"/>
                    <a:pt x="19" y="2"/>
                    <a:pt x="19" y="2"/>
                  </a:cubicBezTo>
                  <a:cubicBezTo>
                    <a:pt x="19" y="2"/>
                    <a:pt x="8" y="6"/>
                    <a:pt x="4" y="13"/>
                  </a:cubicBezTo>
                  <a:cubicBezTo>
                    <a:pt x="0" y="20"/>
                    <a:pt x="11" y="21"/>
                    <a:pt x="11"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4" name="Freeform 126">
              <a:extLst>
                <a:ext uri="{FF2B5EF4-FFF2-40B4-BE49-F238E27FC236}">
                  <a16:creationId xmlns:a16="http://schemas.microsoft.com/office/drawing/2014/main" id="{38FAACB7-F4D3-C2D5-C99C-D598EA3721CB}"/>
                </a:ext>
              </a:extLst>
            </p:cNvPr>
            <p:cNvSpPr>
              <a:spLocks/>
            </p:cNvSpPr>
            <p:nvPr/>
          </p:nvSpPr>
          <p:spPr bwMode="gray">
            <a:xfrm>
              <a:off x="9427036" y="3211531"/>
              <a:ext cx="39556" cy="23374"/>
            </a:xfrm>
            <a:custGeom>
              <a:avLst/>
              <a:gdLst>
                <a:gd name="T0" fmla="*/ 4 w 66"/>
                <a:gd name="T1" fmla="*/ 8 h 41"/>
                <a:gd name="T2" fmla="*/ 22 w 66"/>
                <a:gd name="T3" fmla="*/ 13 h 41"/>
                <a:gd name="T4" fmla="*/ 37 w 66"/>
                <a:gd name="T5" fmla="*/ 28 h 41"/>
                <a:gd name="T6" fmla="*/ 59 w 66"/>
                <a:gd name="T7" fmla="*/ 41 h 41"/>
                <a:gd name="T8" fmla="*/ 66 w 66"/>
                <a:gd name="T9" fmla="*/ 38 h 41"/>
                <a:gd name="T10" fmla="*/ 30 w 66"/>
                <a:gd name="T11" fmla="*/ 1 h 41"/>
                <a:gd name="T12" fmla="*/ 4 w 66"/>
                <a:gd name="T13" fmla="*/ 0 h 41"/>
                <a:gd name="T14" fmla="*/ 4 w 66"/>
                <a:gd name="T15" fmla="*/ 8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41">
                  <a:moveTo>
                    <a:pt x="4" y="8"/>
                  </a:moveTo>
                  <a:cubicBezTo>
                    <a:pt x="11" y="12"/>
                    <a:pt x="22" y="13"/>
                    <a:pt x="22" y="13"/>
                  </a:cubicBezTo>
                  <a:cubicBezTo>
                    <a:pt x="22" y="13"/>
                    <a:pt x="22" y="20"/>
                    <a:pt x="37" y="28"/>
                  </a:cubicBezTo>
                  <a:cubicBezTo>
                    <a:pt x="48" y="37"/>
                    <a:pt x="51" y="41"/>
                    <a:pt x="59" y="41"/>
                  </a:cubicBezTo>
                  <a:cubicBezTo>
                    <a:pt x="66" y="41"/>
                    <a:pt x="66" y="38"/>
                    <a:pt x="66" y="38"/>
                  </a:cubicBezTo>
                  <a:cubicBezTo>
                    <a:pt x="30" y="1"/>
                    <a:pt x="30" y="1"/>
                    <a:pt x="30" y="1"/>
                  </a:cubicBezTo>
                  <a:cubicBezTo>
                    <a:pt x="4" y="0"/>
                    <a:pt x="4" y="0"/>
                    <a:pt x="4" y="0"/>
                  </a:cubicBezTo>
                  <a:cubicBezTo>
                    <a:pt x="4" y="0"/>
                    <a:pt x="0" y="8"/>
                    <a:pt x="4"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5" name="Freeform 127">
              <a:extLst>
                <a:ext uri="{FF2B5EF4-FFF2-40B4-BE49-F238E27FC236}">
                  <a16:creationId xmlns:a16="http://schemas.microsoft.com/office/drawing/2014/main" id="{3265787A-6F06-9549-E0F7-B1581389DCA0}"/>
                </a:ext>
              </a:extLst>
            </p:cNvPr>
            <p:cNvSpPr>
              <a:spLocks/>
            </p:cNvSpPr>
            <p:nvPr/>
          </p:nvSpPr>
          <p:spPr bwMode="gray">
            <a:xfrm>
              <a:off x="9410855" y="3218723"/>
              <a:ext cx="32364" cy="17980"/>
            </a:xfrm>
            <a:custGeom>
              <a:avLst/>
              <a:gdLst>
                <a:gd name="T0" fmla="*/ 15 w 52"/>
                <a:gd name="T1" fmla="*/ 12 h 29"/>
                <a:gd name="T2" fmla="*/ 29 w 52"/>
                <a:gd name="T3" fmla="*/ 28 h 29"/>
                <a:gd name="T4" fmla="*/ 52 w 52"/>
                <a:gd name="T5" fmla="*/ 29 h 29"/>
                <a:gd name="T6" fmla="*/ 52 w 52"/>
                <a:gd name="T7" fmla="*/ 25 h 29"/>
                <a:gd name="T8" fmla="*/ 45 w 52"/>
                <a:gd name="T9" fmla="*/ 21 h 29"/>
                <a:gd name="T10" fmla="*/ 30 w 52"/>
                <a:gd name="T11" fmla="*/ 5 h 29"/>
                <a:gd name="T12" fmla="*/ 1 w 52"/>
                <a:gd name="T13" fmla="*/ 4 h 29"/>
                <a:gd name="T14" fmla="*/ 15 w 52"/>
                <a:gd name="T15" fmla="*/ 12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29">
                  <a:moveTo>
                    <a:pt x="15" y="12"/>
                  </a:moveTo>
                  <a:cubicBezTo>
                    <a:pt x="22" y="16"/>
                    <a:pt x="29" y="28"/>
                    <a:pt x="29" y="28"/>
                  </a:cubicBezTo>
                  <a:cubicBezTo>
                    <a:pt x="52" y="29"/>
                    <a:pt x="52" y="29"/>
                    <a:pt x="52" y="29"/>
                  </a:cubicBezTo>
                  <a:cubicBezTo>
                    <a:pt x="52" y="25"/>
                    <a:pt x="52" y="25"/>
                    <a:pt x="52" y="25"/>
                  </a:cubicBezTo>
                  <a:cubicBezTo>
                    <a:pt x="45" y="21"/>
                    <a:pt x="45" y="21"/>
                    <a:pt x="45" y="21"/>
                  </a:cubicBezTo>
                  <a:cubicBezTo>
                    <a:pt x="45" y="21"/>
                    <a:pt x="45" y="6"/>
                    <a:pt x="30" y="5"/>
                  </a:cubicBezTo>
                  <a:cubicBezTo>
                    <a:pt x="16" y="1"/>
                    <a:pt x="1" y="0"/>
                    <a:pt x="1" y="4"/>
                  </a:cubicBezTo>
                  <a:cubicBezTo>
                    <a:pt x="0" y="11"/>
                    <a:pt x="15" y="12"/>
                    <a:pt x="15"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6" name="Freeform 128">
              <a:extLst>
                <a:ext uri="{FF2B5EF4-FFF2-40B4-BE49-F238E27FC236}">
                  <a16:creationId xmlns:a16="http://schemas.microsoft.com/office/drawing/2014/main" id="{F7063C7E-8CE6-D8B5-8C8C-37E4E954CCF6}"/>
                </a:ext>
              </a:extLst>
            </p:cNvPr>
            <p:cNvSpPr>
              <a:spLocks/>
            </p:cNvSpPr>
            <p:nvPr/>
          </p:nvSpPr>
          <p:spPr bwMode="gray">
            <a:xfrm>
              <a:off x="9297582" y="3263673"/>
              <a:ext cx="329030" cy="284081"/>
            </a:xfrm>
            <a:custGeom>
              <a:avLst/>
              <a:gdLst>
                <a:gd name="T0" fmla="*/ 8 w 553"/>
                <a:gd name="T1" fmla="*/ 89 h 478"/>
                <a:gd name="T2" fmla="*/ 0 w 553"/>
                <a:gd name="T3" fmla="*/ 116 h 478"/>
                <a:gd name="T4" fmla="*/ 28 w 553"/>
                <a:gd name="T5" fmla="*/ 144 h 478"/>
                <a:gd name="T6" fmla="*/ 51 w 553"/>
                <a:gd name="T7" fmla="*/ 134 h 478"/>
                <a:gd name="T8" fmla="*/ 87 w 553"/>
                <a:gd name="T9" fmla="*/ 162 h 478"/>
                <a:gd name="T10" fmla="*/ 93 w 553"/>
                <a:gd name="T11" fmla="*/ 212 h 478"/>
                <a:gd name="T12" fmla="*/ 141 w 553"/>
                <a:gd name="T13" fmla="*/ 222 h 478"/>
                <a:gd name="T14" fmla="*/ 166 w 553"/>
                <a:gd name="T15" fmla="*/ 250 h 478"/>
                <a:gd name="T16" fmla="*/ 197 w 553"/>
                <a:gd name="T17" fmla="*/ 305 h 478"/>
                <a:gd name="T18" fmla="*/ 198 w 553"/>
                <a:gd name="T19" fmla="*/ 351 h 478"/>
                <a:gd name="T20" fmla="*/ 246 w 553"/>
                <a:gd name="T21" fmla="*/ 365 h 478"/>
                <a:gd name="T22" fmla="*/ 270 w 553"/>
                <a:gd name="T23" fmla="*/ 350 h 478"/>
                <a:gd name="T24" fmla="*/ 292 w 553"/>
                <a:gd name="T25" fmla="*/ 355 h 478"/>
                <a:gd name="T26" fmla="*/ 290 w 553"/>
                <a:gd name="T27" fmla="*/ 394 h 478"/>
                <a:gd name="T28" fmla="*/ 320 w 553"/>
                <a:gd name="T29" fmla="*/ 403 h 478"/>
                <a:gd name="T30" fmla="*/ 362 w 553"/>
                <a:gd name="T31" fmla="*/ 447 h 478"/>
                <a:gd name="T32" fmla="*/ 433 w 553"/>
                <a:gd name="T33" fmla="*/ 477 h 478"/>
                <a:gd name="T34" fmla="*/ 436 w 553"/>
                <a:gd name="T35" fmla="*/ 477 h 478"/>
                <a:gd name="T36" fmla="*/ 437 w 553"/>
                <a:gd name="T37" fmla="*/ 381 h 478"/>
                <a:gd name="T38" fmla="*/ 476 w 553"/>
                <a:gd name="T39" fmla="*/ 330 h 478"/>
                <a:gd name="T40" fmla="*/ 517 w 553"/>
                <a:gd name="T41" fmla="*/ 314 h 478"/>
                <a:gd name="T42" fmla="*/ 549 w 553"/>
                <a:gd name="T43" fmla="*/ 299 h 478"/>
                <a:gd name="T44" fmla="*/ 522 w 553"/>
                <a:gd name="T45" fmla="*/ 240 h 478"/>
                <a:gd name="T46" fmla="*/ 513 w 553"/>
                <a:gd name="T47" fmla="*/ 205 h 478"/>
                <a:gd name="T48" fmla="*/ 475 w 553"/>
                <a:gd name="T49" fmla="*/ 188 h 478"/>
                <a:gd name="T50" fmla="*/ 443 w 553"/>
                <a:gd name="T51" fmla="*/ 164 h 478"/>
                <a:gd name="T52" fmla="*/ 466 w 553"/>
                <a:gd name="T53" fmla="*/ 138 h 478"/>
                <a:gd name="T54" fmla="*/ 479 w 553"/>
                <a:gd name="T55" fmla="*/ 104 h 478"/>
                <a:gd name="T56" fmla="*/ 443 w 553"/>
                <a:gd name="T57" fmla="*/ 76 h 478"/>
                <a:gd name="T58" fmla="*/ 402 w 553"/>
                <a:gd name="T59" fmla="*/ 66 h 478"/>
                <a:gd name="T60" fmla="*/ 374 w 553"/>
                <a:gd name="T61" fmla="*/ 38 h 478"/>
                <a:gd name="T62" fmla="*/ 359 w 553"/>
                <a:gd name="T63" fmla="*/ 30 h 478"/>
                <a:gd name="T64" fmla="*/ 345 w 553"/>
                <a:gd name="T65" fmla="*/ 6 h 478"/>
                <a:gd name="T66" fmla="*/ 304 w 553"/>
                <a:gd name="T67" fmla="*/ 16 h 478"/>
                <a:gd name="T68" fmla="*/ 284 w 553"/>
                <a:gd name="T69" fmla="*/ 30 h 478"/>
                <a:gd name="T70" fmla="*/ 262 w 553"/>
                <a:gd name="T71" fmla="*/ 25 h 478"/>
                <a:gd name="T72" fmla="*/ 187 w 553"/>
                <a:gd name="T73" fmla="*/ 37 h 478"/>
                <a:gd name="T74" fmla="*/ 149 w 553"/>
                <a:gd name="T75" fmla="*/ 39 h 478"/>
                <a:gd name="T76" fmla="*/ 124 w 553"/>
                <a:gd name="T77" fmla="*/ 18 h 478"/>
                <a:gd name="T78" fmla="*/ 130 w 553"/>
                <a:gd name="T79" fmla="*/ 7 h 478"/>
                <a:gd name="T80" fmla="*/ 41 w 553"/>
                <a:gd name="T81" fmla="*/ 41 h 478"/>
                <a:gd name="T82" fmla="*/ 5 w 553"/>
                <a:gd name="T83" fmla="*/ 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3" h="478">
                  <a:moveTo>
                    <a:pt x="9" y="74"/>
                  </a:moveTo>
                  <a:cubicBezTo>
                    <a:pt x="8" y="89"/>
                    <a:pt x="8" y="89"/>
                    <a:pt x="8" y="89"/>
                  </a:cubicBezTo>
                  <a:cubicBezTo>
                    <a:pt x="4" y="93"/>
                    <a:pt x="4" y="93"/>
                    <a:pt x="4" y="93"/>
                  </a:cubicBezTo>
                  <a:cubicBezTo>
                    <a:pt x="0" y="116"/>
                    <a:pt x="0" y="116"/>
                    <a:pt x="0" y="116"/>
                  </a:cubicBezTo>
                  <a:cubicBezTo>
                    <a:pt x="0" y="116"/>
                    <a:pt x="4" y="112"/>
                    <a:pt x="11" y="116"/>
                  </a:cubicBezTo>
                  <a:cubicBezTo>
                    <a:pt x="22" y="121"/>
                    <a:pt x="28" y="144"/>
                    <a:pt x="28" y="144"/>
                  </a:cubicBezTo>
                  <a:cubicBezTo>
                    <a:pt x="39" y="148"/>
                    <a:pt x="39" y="148"/>
                    <a:pt x="39" y="148"/>
                  </a:cubicBezTo>
                  <a:cubicBezTo>
                    <a:pt x="39" y="148"/>
                    <a:pt x="44" y="133"/>
                    <a:pt x="51" y="134"/>
                  </a:cubicBezTo>
                  <a:cubicBezTo>
                    <a:pt x="77" y="135"/>
                    <a:pt x="77" y="135"/>
                    <a:pt x="77" y="135"/>
                  </a:cubicBezTo>
                  <a:cubicBezTo>
                    <a:pt x="87" y="162"/>
                    <a:pt x="87" y="162"/>
                    <a:pt x="87" y="162"/>
                  </a:cubicBezTo>
                  <a:cubicBezTo>
                    <a:pt x="86" y="200"/>
                    <a:pt x="86" y="200"/>
                    <a:pt x="86" y="200"/>
                  </a:cubicBezTo>
                  <a:cubicBezTo>
                    <a:pt x="93" y="212"/>
                    <a:pt x="93" y="212"/>
                    <a:pt x="93" y="212"/>
                  </a:cubicBezTo>
                  <a:cubicBezTo>
                    <a:pt x="119" y="202"/>
                    <a:pt x="119" y="202"/>
                    <a:pt x="119" y="202"/>
                  </a:cubicBezTo>
                  <a:cubicBezTo>
                    <a:pt x="141" y="222"/>
                    <a:pt x="141" y="222"/>
                    <a:pt x="141" y="222"/>
                  </a:cubicBezTo>
                  <a:cubicBezTo>
                    <a:pt x="141" y="222"/>
                    <a:pt x="127" y="267"/>
                    <a:pt x="135" y="264"/>
                  </a:cubicBezTo>
                  <a:cubicBezTo>
                    <a:pt x="146" y="264"/>
                    <a:pt x="147" y="245"/>
                    <a:pt x="166" y="250"/>
                  </a:cubicBezTo>
                  <a:cubicBezTo>
                    <a:pt x="180" y="254"/>
                    <a:pt x="206" y="259"/>
                    <a:pt x="206" y="275"/>
                  </a:cubicBezTo>
                  <a:cubicBezTo>
                    <a:pt x="205" y="294"/>
                    <a:pt x="197" y="305"/>
                    <a:pt x="197" y="305"/>
                  </a:cubicBezTo>
                  <a:cubicBezTo>
                    <a:pt x="207" y="321"/>
                    <a:pt x="207" y="321"/>
                    <a:pt x="207" y="321"/>
                  </a:cubicBezTo>
                  <a:cubicBezTo>
                    <a:pt x="207" y="321"/>
                    <a:pt x="176" y="342"/>
                    <a:pt x="198" y="351"/>
                  </a:cubicBezTo>
                  <a:cubicBezTo>
                    <a:pt x="217" y="359"/>
                    <a:pt x="236" y="353"/>
                    <a:pt x="236" y="353"/>
                  </a:cubicBezTo>
                  <a:cubicBezTo>
                    <a:pt x="246" y="365"/>
                    <a:pt x="246" y="365"/>
                    <a:pt x="246" y="365"/>
                  </a:cubicBezTo>
                  <a:cubicBezTo>
                    <a:pt x="258" y="354"/>
                    <a:pt x="258" y="354"/>
                    <a:pt x="258" y="354"/>
                  </a:cubicBezTo>
                  <a:cubicBezTo>
                    <a:pt x="270" y="350"/>
                    <a:pt x="270" y="350"/>
                    <a:pt x="270" y="350"/>
                  </a:cubicBezTo>
                  <a:cubicBezTo>
                    <a:pt x="270" y="350"/>
                    <a:pt x="294" y="302"/>
                    <a:pt x="305" y="314"/>
                  </a:cubicBezTo>
                  <a:cubicBezTo>
                    <a:pt x="316" y="326"/>
                    <a:pt x="292" y="355"/>
                    <a:pt x="292" y="355"/>
                  </a:cubicBezTo>
                  <a:cubicBezTo>
                    <a:pt x="292" y="355"/>
                    <a:pt x="299" y="356"/>
                    <a:pt x="299" y="367"/>
                  </a:cubicBezTo>
                  <a:cubicBezTo>
                    <a:pt x="302" y="375"/>
                    <a:pt x="290" y="394"/>
                    <a:pt x="290" y="394"/>
                  </a:cubicBezTo>
                  <a:cubicBezTo>
                    <a:pt x="297" y="401"/>
                    <a:pt x="297" y="401"/>
                    <a:pt x="297" y="401"/>
                  </a:cubicBezTo>
                  <a:cubicBezTo>
                    <a:pt x="320" y="403"/>
                    <a:pt x="320" y="403"/>
                    <a:pt x="320" y="403"/>
                  </a:cubicBezTo>
                  <a:cubicBezTo>
                    <a:pt x="363" y="439"/>
                    <a:pt x="363" y="439"/>
                    <a:pt x="363" y="439"/>
                  </a:cubicBezTo>
                  <a:cubicBezTo>
                    <a:pt x="362" y="447"/>
                    <a:pt x="362" y="447"/>
                    <a:pt x="362" y="447"/>
                  </a:cubicBezTo>
                  <a:cubicBezTo>
                    <a:pt x="383" y="478"/>
                    <a:pt x="383" y="478"/>
                    <a:pt x="383" y="478"/>
                  </a:cubicBezTo>
                  <a:cubicBezTo>
                    <a:pt x="433" y="477"/>
                    <a:pt x="433" y="477"/>
                    <a:pt x="433" y="477"/>
                  </a:cubicBezTo>
                  <a:cubicBezTo>
                    <a:pt x="432" y="477"/>
                    <a:pt x="432" y="477"/>
                    <a:pt x="432" y="477"/>
                  </a:cubicBezTo>
                  <a:cubicBezTo>
                    <a:pt x="436" y="477"/>
                    <a:pt x="436" y="477"/>
                    <a:pt x="436" y="477"/>
                  </a:cubicBezTo>
                  <a:cubicBezTo>
                    <a:pt x="448" y="451"/>
                    <a:pt x="448" y="451"/>
                    <a:pt x="448" y="451"/>
                  </a:cubicBezTo>
                  <a:cubicBezTo>
                    <a:pt x="437" y="381"/>
                    <a:pt x="437" y="381"/>
                    <a:pt x="437" y="381"/>
                  </a:cubicBezTo>
                  <a:cubicBezTo>
                    <a:pt x="448" y="378"/>
                    <a:pt x="448" y="378"/>
                    <a:pt x="448" y="378"/>
                  </a:cubicBezTo>
                  <a:cubicBezTo>
                    <a:pt x="476" y="330"/>
                    <a:pt x="476" y="330"/>
                    <a:pt x="476" y="330"/>
                  </a:cubicBezTo>
                  <a:cubicBezTo>
                    <a:pt x="506" y="339"/>
                    <a:pt x="506" y="339"/>
                    <a:pt x="506" y="339"/>
                  </a:cubicBezTo>
                  <a:cubicBezTo>
                    <a:pt x="510" y="328"/>
                    <a:pt x="510" y="321"/>
                    <a:pt x="517" y="314"/>
                  </a:cubicBezTo>
                  <a:cubicBezTo>
                    <a:pt x="517" y="314"/>
                    <a:pt x="518" y="313"/>
                    <a:pt x="518" y="313"/>
                  </a:cubicBezTo>
                  <a:cubicBezTo>
                    <a:pt x="526" y="305"/>
                    <a:pt x="545" y="302"/>
                    <a:pt x="549" y="299"/>
                  </a:cubicBezTo>
                  <a:cubicBezTo>
                    <a:pt x="553" y="291"/>
                    <a:pt x="547" y="260"/>
                    <a:pt x="543" y="256"/>
                  </a:cubicBezTo>
                  <a:cubicBezTo>
                    <a:pt x="536" y="248"/>
                    <a:pt x="521" y="259"/>
                    <a:pt x="522" y="240"/>
                  </a:cubicBezTo>
                  <a:cubicBezTo>
                    <a:pt x="522" y="236"/>
                    <a:pt x="533" y="229"/>
                    <a:pt x="537" y="226"/>
                  </a:cubicBezTo>
                  <a:cubicBezTo>
                    <a:pt x="528" y="223"/>
                    <a:pt x="520" y="215"/>
                    <a:pt x="513" y="205"/>
                  </a:cubicBezTo>
                  <a:cubicBezTo>
                    <a:pt x="508" y="199"/>
                    <a:pt x="504" y="192"/>
                    <a:pt x="501" y="186"/>
                  </a:cubicBezTo>
                  <a:cubicBezTo>
                    <a:pt x="497" y="186"/>
                    <a:pt x="486" y="192"/>
                    <a:pt x="475" y="188"/>
                  </a:cubicBezTo>
                  <a:cubicBezTo>
                    <a:pt x="460" y="187"/>
                    <a:pt x="446" y="179"/>
                    <a:pt x="446" y="179"/>
                  </a:cubicBezTo>
                  <a:cubicBezTo>
                    <a:pt x="446" y="179"/>
                    <a:pt x="435" y="175"/>
                    <a:pt x="443" y="164"/>
                  </a:cubicBezTo>
                  <a:cubicBezTo>
                    <a:pt x="447" y="156"/>
                    <a:pt x="462" y="157"/>
                    <a:pt x="462" y="157"/>
                  </a:cubicBezTo>
                  <a:cubicBezTo>
                    <a:pt x="466" y="138"/>
                    <a:pt x="466" y="138"/>
                    <a:pt x="466" y="138"/>
                  </a:cubicBezTo>
                  <a:cubicBezTo>
                    <a:pt x="466" y="138"/>
                    <a:pt x="463" y="130"/>
                    <a:pt x="467" y="127"/>
                  </a:cubicBezTo>
                  <a:cubicBezTo>
                    <a:pt x="475" y="119"/>
                    <a:pt x="486" y="112"/>
                    <a:pt x="479" y="104"/>
                  </a:cubicBezTo>
                  <a:cubicBezTo>
                    <a:pt x="468" y="92"/>
                    <a:pt x="457" y="92"/>
                    <a:pt x="457" y="92"/>
                  </a:cubicBezTo>
                  <a:cubicBezTo>
                    <a:pt x="443" y="76"/>
                    <a:pt x="443" y="76"/>
                    <a:pt x="443" y="76"/>
                  </a:cubicBezTo>
                  <a:cubicBezTo>
                    <a:pt x="443" y="76"/>
                    <a:pt x="447" y="64"/>
                    <a:pt x="436" y="64"/>
                  </a:cubicBezTo>
                  <a:cubicBezTo>
                    <a:pt x="425" y="60"/>
                    <a:pt x="413" y="70"/>
                    <a:pt x="402" y="66"/>
                  </a:cubicBezTo>
                  <a:cubicBezTo>
                    <a:pt x="391" y="66"/>
                    <a:pt x="388" y="46"/>
                    <a:pt x="388" y="46"/>
                  </a:cubicBezTo>
                  <a:cubicBezTo>
                    <a:pt x="374" y="38"/>
                    <a:pt x="374" y="38"/>
                    <a:pt x="374" y="38"/>
                  </a:cubicBezTo>
                  <a:cubicBezTo>
                    <a:pt x="374" y="38"/>
                    <a:pt x="386" y="19"/>
                    <a:pt x="378" y="15"/>
                  </a:cubicBezTo>
                  <a:cubicBezTo>
                    <a:pt x="367" y="11"/>
                    <a:pt x="359" y="30"/>
                    <a:pt x="359" y="30"/>
                  </a:cubicBezTo>
                  <a:cubicBezTo>
                    <a:pt x="340" y="29"/>
                    <a:pt x="340" y="29"/>
                    <a:pt x="340" y="29"/>
                  </a:cubicBezTo>
                  <a:cubicBezTo>
                    <a:pt x="340" y="29"/>
                    <a:pt x="356" y="7"/>
                    <a:pt x="345" y="6"/>
                  </a:cubicBezTo>
                  <a:cubicBezTo>
                    <a:pt x="330" y="5"/>
                    <a:pt x="315" y="16"/>
                    <a:pt x="315" y="16"/>
                  </a:cubicBezTo>
                  <a:cubicBezTo>
                    <a:pt x="304" y="16"/>
                    <a:pt x="304" y="16"/>
                    <a:pt x="304" y="16"/>
                  </a:cubicBezTo>
                  <a:cubicBezTo>
                    <a:pt x="304" y="16"/>
                    <a:pt x="304" y="0"/>
                    <a:pt x="293" y="7"/>
                  </a:cubicBezTo>
                  <a:cubicBezTo>
                    <a:pt x="278" y="10"/>
                    <a:pt x="284" y="30"/>
                    <a:pt x="284" y="30"/>
                  </a:cubicBezTo>
                  <a:cubicBezTo>
                    <a:pt x="273" y="29"/>
                    <a:pt x="273" y="29"/>
                    <a:pt x="273" y="29"/>
                  </a:cubicBezTo>
                  <a:cubicBezTo>
                    <a:pt x="262" y="25"/>
                    <a:pt x="262" y="25"/>
                    <a:pt x="262" y="25"/>
                  </a:cubicBezTo>
                  <a:cubicBezTo>
                    <a:pt x="262" y="25"/>
                    <a:pt x="223" y="61"/>
                    <a:pt x="201" y="56"/>
                  </a:cubicBezTo>
                  <a:cubicBezTo>
                    <a:pt x="175" y="55"/>
                    <a:pt x="187" y="37"/>
                    <a:pt x="187" y="37"/>
                  </a:cubicBezTo>
                  <a:cubicBezTo>
                    <a:pt x="154" y="24"/>
                    <a:pt x="154" y="24"/>
                    <a:pt x="154" y="24"/>
                  </a:cubicBezTo>
                  <a:cubicBezTo>
                    <a:pt x="149" y="39"/>
                    <a:pt x="149" y="39"/>
                    <a:pt x="149" y="39"/>
                  </a:cubicBezTo>
                  <a:cubicBezTo>
                    <a:pt x="127" y="34"/>
                    <a:pt x="127" y="34"/>
                    <a:pt x="127" y="34"/>
                  </a:cubicBezTo>
                  <a:cubicBezTo>
                    <a:pt x="127" y="34"/>
                    <a:pt x="124" y="22"/>
                    <a:pt x="124" y="18"/>
                  </a:cubicBezTo>
                  <a:cubicBezTo>
                    <a:pt x="124" y="18"/>
                    <a:pt x="124" y="18"/>
                    <a:pt x="125" y="18"/>
                  </a:cubicBezTo>
                  <a:cubicBezTo>
                    <a:pt x="127" y="15"/>
                    <a:pt x="129" y="11"/>
                    <a:pt x="130" y="7"/>
                  </a:cubicBezTo>
                  <a:cubicBezTo>
                    <a:pt x="123" y="7"/>
                    <a:pt x="112" y="7"/>
                    <a:pt x="90" y="13"/>
                  </a:cubicBezTo>
                  <a:cubicBezTo>
                    <a:pt x="60" y="27"/>
                    <a:pt x="52" y="34"/>
                    <a:pt x="41" y="41"/>
                  </a:cubicBezTo>
                  <a:cubicBezTo>
                    <a:pt x="29" y="44"/>
                    <a:pt x="6" y="51"/>
                    <a:pt x="6" y="51"/>
                  </a:cubicBezTo>
                  <a:cubicBezTo>
                    <a:pt x="5" y="74"/>
                    <a:pt x="5" y="74"/>
                    <a:pt x="5" y="74"/>
                  </a:cubicBezTo>
                  <a:lnTo>
                    <a:pt x="9" y="7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7" name="Freeform 129">
              <a:extLst>
                <a:ext uri="{FF2B5EF4-FFF2-40B4-BE49-F238E27FC236}">
                  <a16:creationId xmlns:a16="http://schemas.microsoft.com/office/drawing/2014/main" id="{466FE640-B5DD-8E1E-9D98-579028779ACB}"/>
                </a:ext>
              </a:extLst>
            </p:cNvPr>
            <p:cNvSpPr>
              <a:spLocks/>
            </p:cNvSpPr>
            <p:nvPr/>
          </p:nvSpPr>
          <p:spPr bwMode="gray">
            <a:xfrm>
              <a:off x="9373097" y="3267268"/>
              <a:ext cx="3596" cy="7192"/>
            </a:xfrm>
            <a:custGeom>
              <a:avLst/>
              <a:gdLst>
                <a:gd name="T0" fmla="*/ 7 w 7"/>
                <a:gd name="T1" fmla="*/ 0 h 11"/>
                <a:gd name="T2" fmla="*/ 5 w 7"/>
                <a:gd name="T3" fmla="*/ 0 h 11"/>
                <a:gd name="T4" fmla="*/ 0 w 7"/>
                <a:gd name="T5" fmla="*/ 11 h 11"/>
                <a:gd name="T6" fmla="*/ 7 w 7"/>
                <a:gd name="T7" fmla="*/ 0 h 11"/>
              </a:gdLst>
              <a:ahLst/>
              <a:cxnLst>
                <a:cxn ang="0">
                  <a:pos x="T0" y="T1"/>
                </a:cxn>
                <a:cxn ang="0">
                  <a:pos x="T2" y="T3"/>
                </a:cxn>
                <a:cxn ang="0">
                  <a:pos x="T4" y="T5"/>
                </a:cxn>
                <a:cxn ang="0">
                  <a:pos x="T6" y="T7"/>
                </a:cxn>
              </a:cxnLst>
              <a:rect l="0" t="0" r="r" b="b"/>
              <a:pathLst>
                <a:path w="7" h="11">
                  <a:moveTo>
                    <a:pt x="7" y="0"/>
                  </a:moveTo>
                  <a:cubicBezTo>
                    <a:pt x="6" y="0"/>
                    <a:pt x="6" y="0"/>
                    <a:pt x="5" y="0"/>
                  </a:cubicBezTo>
                  <a:cubicBezTo>
                    <a:pt x="4" y="4"/>
                    <a:pt x="2" y="8"/>
                    <a:pt x="0" y="11"/>
                  </a:cubicBezTo>
                  <a:cubicBezTo>
                    <a:pt x="3" y="7"/>
                    <a:pt x="3"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8" name="Freeform 130">
              <a:extLst>
                <a:ext uri="{FF2B5EF4-FFF2-40B4-BE49-F238E27FC236}">
                  <a16:creationId xmlns:a16="http://schemas.microsoft.com/office/drawing/2014/main" id="{6B1369FB-4D19-E8BA-F34C-88E5F04F13A4}"/>
                </a:ext>
              </a:extLst>
            </p:cNvPr>
            <p:cNvSpPr>
              <a:spLocks/>
            </p:cNvSpPr>
            <p:nvPr/>
          </p:nvSpPr>
          <p:spPr bwMode="gray">
            <a:xfrm>
              <a:off x="9556490" y="3459651"/>
              <a:ext cx="73718" cy="106081"/>
            </a:xfrm>
            <a:custGeom>
              <a:avLst/>
              <a:gdLst>
                <a:gd name="T0" fmla="*/ 92 w 126"/>
                <a:gd name="T1" fmla="*/ 155 h 178"/>
                <a:gd name="T2" fmla="*/ 97 w 126"/>
                <a:gd name="T3" fmla="*/ 136 h 178"/>
                <a:gd name="T4" fmla="*/ 121 w 126"/>
                <a:gd name="T5" fmla="*/ 110 h 178"/>
                <a:gd name="T6" fmla="*/ 103 w 126"/>
                <a:gd name="T7" fmla="*/ 79 h 178"/>
                <a:gd name="T8" fmla="*/ 72 w 126"/>
                <a:gd name="T9" fmla="*/ 20 h 178"/>
                <a:gd name="T10" fmla="*/ 73 w 126"/>
                <a:gd name="T11" fmla="*/ 9 h 178"/>
                <a:gd name="T12" fmla="*/ 43 w 126"/>
                <a:gd name="T13" fmla="*/ 0 h 178"/>
                <a:gd name="T14" fmla="*/ 15 w 126"/>
                <a:gd name="T15" fmla="*/ 48 h 178"/>
                <a:gd name="T16" fmla="*/ 4 w 126"/>
                <a:gd name="T17" fmla="*/ 51 h 178"/>
                <a:gd name="T18" fmla="*/ 15 w 126"/>
                <a:gd name="T19" fmla="*/ 121 h 178"/>
                <a:gd name="T20" fmla="*/ 3 w 126"/>
                <a:gd name="T21" fmla="*/ 147 h 178"/>
                <a:gd name="T22" fmla="*/ 0 w 126"/>
                <a:gd name="T23" fmla="*/ 147 h 178"/>
                <a:gd name="T24" fmla="*/ 17 w 126"/>
                <a:gd name="T25" fmla="*/ 155 h 178"/>
                <a:gd name="T26" fmla="*/ 35 w 126"/>
                <a:gd name="T27" fmla="*/ 175 h 178"/>
                <a:gd name="T28" fmla="*/ 62 w 126"/>
                <a:gd name="T29" fmla="*/ 161 h 178"/>
                <a:gd name="T30" fmla="*/ 80 w 126"/>
                <a:gd name="T31" fmla="*/ 170 h 178"/>
                <a:gd name="T32" fmla="*/ 95 w 126"/>
                <a:gd name="T33" fmla="*/ 167 h 178"/>
                <a:gd name="T34" fmla="*/ 92 w 126"/>
                <a:gd name="T35" fmla="*/ 1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8">
                  <a:moveTo>
                    <a:pt x="92" y="155"/>
                  </a:moveTo>
                  <a:cubicBezTo>
                    <a:pt x="93" y="147"/>
                    <a:pt x="89" y="140"/>
                    <a:pt x="97" y="136"/>
                  </a:cubicBezTo>
                  <a:cubicBezTo>
                    <a:pt x="101" y="132"/>
                    <a:pt x="117" y="114"/>
                    <a:pt x="121" y="110"/>
                  </a:cubicBezTo>
                  <a:cubicBezTo>
                    <a:pt x="126" y="84"/>
                    <a:pt x="106" y="95"/>
                    <a:pt x="103" y="79"/>
                  </a:cubicBezTo>
                  <a:cubicBezTo>
                    <a:pt x="84" y="82"/>
                    <a:pt x="71" y="43"/>
                    <a:pt x="72" y="20"/>
                  </a:cubicBezTo>
                  <a:cubicBezTo>
                    <a:pt x="73" y="9"/>
                    <a:pt x="73" y="9"/>
                    <a:pt x="73" y="9"/>
                  </a:cubicBezTo>
                  <a:cubicBezTo>
                    <a:pt x="43" y="0"/>
                    <a:pt x="43" y="0"/>
                    <a:pt x="43" y="0"/>
                  </a:cubicBezTo>
                  <a:cubicBezTo>
                    <a:pt x="15" y="48"/>
                    <a:pt x="15" y="48"/>
                    <a:pt x="15" y="48"/>
                  </a:cubicBezTo>
                  <a:cubicBezTo>
                    <a:pt x="4" y="51"/>
                    <a:pt x="4" y="51"/>
                    <a:pt x="4" y="51"/>
                  </a:cubicBezTo>
                  <a:cubicBezTo>
                    <a:pt x="15" y="121"/>
                    <a:pt x="15" y="121"/>
                    <a:pt x="15" y="121"/>
                  </a:cubicBezTo>
                  <a:cubicBezTo>
                    <a:pt x="3" y="147"/>
                    <a:pt x="3" y="147"/>
                    <a:pt x="3" y="147"/>
                  </a:cubicBezTo>
                  <a:cubicBezTo>
                    <a:pt x="0" y="147"/>
                    <a:pt x="0" y="147"/>
                    <a:pt x="0" y="147"/>
                  </a:cubicBezTo>
                  <a:cubicBezTo>
                    <a:pt x="17" y="155"/>
                    <a:pt x="17" y="155"/>
                    <a:pt x="17" y="155"/>
                  </a:cubicBezTo>
                  <a:cubicBezTo>
                    <a:pt x="17" y="155"/>
                    <a:pt x="16" y="178"/>
                    <a:pt x="35" y="175"/>
                  </a:cubicBezTo>
                  <a:cubicBezTo>
                    <a:pt x="58" y="176"/>
                    <a:pt x="51" y="157"/>
                    <a:pt x="62" y="161"/>
                  </a:cubicBezTo>
                  <a:cubicBezTo>
                    <a:pt x="73" y="162"/>
                    <a:pt x="73" y="169"/>
                    <a:pt x="80" y="170"/>
                  </a:cubicBezTo>
                  <a:cubicBezTo>
                    <a:pt x="84" y="170"/>
                    <a:pt x="88" y="170"/>
                    <a:pt x="95" y="167"/>
                  </a:cubicBezTo>
                  <a:cubicBezTo>
                    <a:pt x="92" y="165"/>
                    <a:pt x="91" y="162"/>
                    <a:pt x="92" y="15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9" name="Freeform 131">
              <a:extLst>
                <a:ext uri="{FF2B5EF4-FFF2-40B4-BE49-F238E27FC236}">
                  <a16:creationId xmlns:a16="http://schemas.microsoft.com/office/drawing/2014/main" id="{323E56DC-E9AF-0E15-835C-6763B63D6DA7}"/>
                </a:ext>
              </a:extLst>
            </p:cNvPr>
            <p:cNvSpPr>
              <a:spLocks/>
            </p:cNvSpPr>
            <p:nvPr/>
          </p:nvSpPr>
          <p:spPr bwMode="gray">
            <a:xfrm>
              <a:off x="10124652" y="3375148"/>
              <a:ext cx="613111" cy="355999"/>
            </a:xfrm>
            <a:custGeom>
              <a:avLst/>
              <a:gdLst>
                <a:gd name="T0" fmla="*/ 283 w 1029"/>
                <a:gd name="T1" fmla="*/ 552 h 597"/>
                <a:gd name="T2" fmla="*/ 289 w 1029"/>
                <a:gd name="T3" fmla="*/ 580 h 597"/>
                <a:gd name="T4" fmla="*/ 337 w 1029"/>
                <a:gd name="T5" fmla="*/ 597 h 597"/>
                <a:gd name="T6" fmla="*/ 364 w 1029"/>
                <a:gd name="T7" fmla="*/ 579 h 597"/>
                <a:gd name="T8" fmla="*/ 397 w 1029"/>
                <a:gd name="T9" fmla="*/ 588 h 597"/>
                <a:gd name="T10" fmla="*/ 407 w 1029"/>
                <a:gd name="T11" fmla="*/ 539 h 597"/>
                <a:gd name="T12" fmla="*/ 439 w 1029"/>
                <a:gd name="T13" fmla="*/ 491 h 597"/>
                <a:gd name="T14" fmla="*/ 476 w 1029"/>
                <a:gd name="T15" fmla="*/ 500 h 597"/>
                <a:gd name="T16" fmla="*/ 517 w 1029"/>
                <a:gd name="T17" fmla="*/ 502 h 597"/>
                <a:gd name="T18" fmla="*/ 573 w 1029"/>
                <a:gd name="T19" fmla="*/ 520 h 597"/>
                <a:gd name="T20" fmla="*/ 654 w 1029"/>
                <a:gd name="T21" fmla="*/ 547 h 597"/>
                <a:gd name="T22" fmla="*/ 699 w 1029"/>
                <a:gd name="T23" fmla="*/ 542 h 597"/>
                <a:gd name="T24" fmla="*/ 732 w 1029"/>
                <a:gd name="T25" fmla="*/ 555 h 597"/>
                <a:gd name="T26" fmla="*/ 778 w 1029"/>
                <a:gd name="T27" fmla="*/ 519 h 597"/>
                <a:gd name="T28" fmla="*/ 880 w 1029"/>
                <a:gd name="T29" fmla="*/ 501 h 597"/>
                <a:gd name="T30" fmla="*/ 912 w 1029"/>
                <a:gd name="T31" fmla="*/ 468 h 597"/>
                <a:gd name="T32" fmla="*/ 960 w 1029"/>
                <a:gd name="T33" fmla="*/ 397 h 597"/>
                <a:gd name="T34" fmla="*/ 1003 w 1029"/>
                <a:gd name="T35" fmla="*/ 365 h 597"/>
                <a:gd name="T36" fmla="*/ 1016 w 1029"/>
                <a:gd name="T37" fmla="*/ 316 h 597"/>
                <a:gd name="T38" fmla="*/ 977 w 1029"/>
                <a:gd name="T39" fmla="*/ 268 h 597"/>
                <a:gd name="T40" fmla="*/ 885 w 1029"/>
                <a:gd name="T41" fmla="*/ 237 h 597"/>
                <a:gd name="T42" fmla="*/ 865 w 1029"/>
                <a:gd name="T43" fmla="*/ 259 h 597"/>
                <a:gd name="T44" fmla="*/ 837 w 1029"/>
                <a:gd name="T45" fmla="*/ 212 h 597"/>
                <a:gd name="T46" fmla="*/ 839 w 1029"/>
                <a:gd name="T47" fmla="*/ 177 h 597"/>
                <a:gd name="T48" fmla="*/ 765 w 1029"/>
                <a:gd name="T49" fmla="*/ 166 h 597"/>
                <a:gd name="T50" fmla="*/ 720 w 1029"/>
                <a:gd name="T51" fmla="*/ 172 h 597"/>
                <a:gd name="T52" fmla="*/ 741 w 1029"/>
                <a:gd name="T53" fmla="*/ 203 h 597"/>
                <a:gd name="T54" fmla="*/ 706 w 1029"/>
                <a:gd name="T55" fmla="*/ 217 h 597"/>
                <a:gd name="T56" fmla="*/ 656 w 1029"/>
                <a:gd name="T57" fmla="*/ 176 h 597"/>
                <a:gd name="T58" fmla="*/ 654 w 1029"/>
                <a:gd name="T59" fmla="*/ 123 h 597"/>
                <a:gd name="T60" fmla="*/ 587 w 1029"/>
                <a:gd name="T61" fmla="*/ 123 h 597"/>
                <a:gd name="T62" fmla="*/ 507 w 1029"/>
                <a:gd name="T63" fmla="*/ 70 h 597"/>
                <a:gd name="T64" fmla="*/ 482 w 1029"/>
                <a:gd name="T65" fmla="*/ 57 h 597"/>
                <a:gd name="T66" fmla="*/ 438 w 1029"/>
                <a:gd name="T67" fmla="*/ 21 h 597"/>
                <a:gd name="T68" fmla="*/ 437 w 1029"/>
                <a:gd name="T69" fmla="*/ 43 h 597"/>
                <a:gd name="T70" fmla="*/ 404 w 1029"/>
                <a:gd name="T71" fmla="*/ 42 h 597"/>
                <a:gd name="T72" fmla="*/ 392 w 1029"/>
                <a:gd name="T73" fmla="*/ 53 h 597"/>
                <a:gd name="T74" fmla="*/ 363 w 1029"/>
                <a:gd name="T75" fmla="*/ 32 h 597"/>
                <a:gd name="T76" fmla="*/ 319 w 1029"/>
                <a:gd name="T77" fmla="*/ 15 h 597"/>
                <a:gd name="T78" fmla="*/ 318 w 1029"/>
                <a:gd name="T79" fmla="*/ 42 h 597"/>
                <a:gd name="T80" fmla="*/ 230 w 1029"/>
                <a:gd name="T81" fmla="*/ 76 h 597"/>
                <a:gd name="T82" fmla="*/ 168 w 1029"/>
                <a:gd name="T83" fmla="*/ 122 h 597"/>
                <a:gd name="T84" fmla="*/ 107 w 1029"/>
                <a:gd name="T85" fmla="*/ 146 h 597"/>
                <a:gd name="T86" fmla="*/ 58 w 1029"/>
                <a:gd name="T87" fmla="*/ 163 h 597"/>
                <a:gd name="T88" fmla="*/ 9 w 1029"/>
                <a:gd name="T89" fmla="*/ 168 h 597"/>
                <a:gd name="T90" fmla="*/ 21 w 1029"/>
                <a:gd name="T91" fmla="*/ 223 h 597"/>
                <a:gd name="T92" fmla="*/ 64 w 1029"/>
                <a:gd name="T93" fmla="*/ 263 h 597"/>
                <a:gd name="T94" fmla="*/ 44 w 1029"/>
                <a:gd name="T95" fmla="*/ 300 h 597"/>
                <a:gd name="T96" fmla="*/ 71 w 1029"/>
                <a:gd name="T97" fmla="*/ 355 h 597"/>
                <a:gd name="T98" fmla="*/ 164 w 1029"/>
                <a:gd name="T99" fmla="*/ 455 h 597"/>
                <a:gd name="T100" fmla="*/ 229 w 1029"/>
                <a:gd name="T101" fmla="*/ 500 h 597"/>
                <a:gd name="T102" fmla="*/ 268 w 1029"/>
                <a:gd name="T103" fmla="*/ 54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9" h="597">
                  <a:moveTo>
                    <a:pt x="268" y="544"/>
                  </a:moveTo>
                  <a:cubicBezTo>
                    <a:pt x="268" y="544"/>
                    <a:pt x="275" y="552"/>
                    <a:pt x="283" y="552"/>
                  </a:cubicBezTo>
                  <a:cubicBezTo>
                    <a:pt x="287" y="556"/>
                    <a:pt x="293" y="572"/>
                    <a:pt x="293" y="572"/>
                  </a:cubicBezTo>
                  <a:cubicBezTo>
                    <a:pt x="289" y="580"/>
                    <a:pt x="289" y="580"/>
                    <a:pt x="289" y="580"/>
                  </a:cubicBezTo>
                  <a:cubicBezTo>
                    <a:pt x="300" y="588"/>
                    <a:pt x="300" y="588"/>
                    <a:pt x="300" y="588"/>
                  </a:cubicBezTo>
                  <a:cubicBezTo>
                    <a:pt x="337" y="597"/>
                    <a:pt x="337" y="597"/>
                    <a:pt x="337" y="597"/>
                  </a:cubicBezTo>
                  <a:cubicBezTo>
                    <a:pt x="353" y="575"/>
                    <a:pt x="353" y="575"/>
                    <a:pt x="353" y="575"/>
                  </a:cubicBezTo>
                  <a:cubicBezTo>
                    <a:pt x="364" y="579"/>
                    <a:pt x="364" y="579"/>
                    <a:pt x="364" y="579"/>
                  </a:cubicBezTo>
                  <a:cubicBezTo>
                    <a:pt x="375" y="580"/>
                    <a:pt x="375" y="580"/>
                    <a:pt x="375" y="580"/>
                  </a:cubicBezTo>
                  <a:cubicBezTo>
                    <a:pt x="375" y="580"/>
                    <a:pt x="390" y="588"/>
                    <a:pt x="397" y="588"/>
                  </a:cubicBezTo>
                  <a:cubicBezTo>
                    <a:pt x="401" y="589"/>
                    <a:pt x="391" y="569"/>
                    <a:pt x="391" y="561"/>
                  </a:cubicBezTo>
                  <a:cubicBezTo>
                    <a:pt x="395" y="554"/>
                    <a:pt x="407" y="539"/>
                    <a:pt x="407" y="539"/>
                  </a:cubicBezTo>
                  <a:cubicBezTo>
                    <a:pt x="433" y="552"/>
                    <a:pt x="433" y="552"/>
                    <a:pt x="433" y="552"/>
                  </a:cubicBezTo>
                  <a:cubicBezTo>
                    <a:pt x="439" y="491"/>
                    <a:pt x="439" y="491"/>
                    <a:pt x="439" y="491"/>
                  </a:cubicBezTo>
                  <a:cubicBezTo>
                    <a:pt x="462" y="492"/>
                    <a:pt x="462" y="492"/>
                    <a:pt x="462" y="492"/>
                  </a:cubicBezTo>
                  <a:cubicBezTo>
                    <a:pt x="462" y="492"/>
                    <a:pt x="465" y="500"/>
                    <a:pt x="476" y="500"/>
                  </a:cubicBezTo>
                  <a:cubicBezTo>
                    <a:pt x="484" y="497"/>
                    <a:pt x="488" y="493"/>
                    <a:pt x="488" y="493"/>
                  </a:cubicBezTo>
                  <a:cubicBezTo>
                    <a:pt x="488" y="493"/>
                    <a:pt x="514" y="502"/>
                    <a:pt x="517" y="502"/>
                  </a:cubicBezTo>
                  <a:cubicBezTo>
                    <a:pt x="521" y="503"/>
                    <a:pt x="550" y="523"/>
                    <a:pt x="550" y="523"/>
                  </a:cubicBezTo>
                  <a:cubicBezTo>
                    <a:pt x="550" y="523"/>
                    <a:pt x="558" y="520"/>
                    <a:pt x="573" y="520"/>
                  </a:cubicBezTo>
                  <a:cubicBezTo>
                    <a:pt x="588" y="521"/>
                    <a:pt x="605" y="549"/>
                    <a:pt x="605" y="549"/>
                  </a:cubicBezTo>
                  <a:cubicBezTo>
                    <a:pt x="654" y="547"/>
                    <a:pt x="654" y="547"/>
                    <a:pt x="654" y="547"/>
                  </a:cubicBezTo>
                  <a:cubicBezTo>
                    <a:pt x="662" y="532"/>
                    <a:pt x="662" y="532"/>
                    <a:pt x="662" y="532"/>
                  </a:cubicBezTo>
                  <a:cubicBezTo>
                    <a:pt x="699" y="542"/>
                    <a:pt x="699" y="542"/>
                    <a:pt x="699" y="542"/>
                  </a:cubicBezTo>
                  <a:cubicBezTo>
                    <a:pt x="706" y="553"/>
                    <a:pt x="706" y="553"/>
                    <a:pt x="706" y="553"/>
                  </a:cubicBezTo>
                  <a:cubicBezTo>
                    <a:pt x="732" y="555"/>
                    <a:pt x="732" y="555"/>
                    <a:pt x="732" y="555"/>
                  </a:cubicBezTo>
                  <a:cubicBezTo>
                    <a:pt x="743" y="563"/>
                    <a:pt x="743" y="563"/>
                    <a:pt x="743" y="563"/>
                  </a:cubicBezTo>
                  <a:cubicBezTo>
                    <a:pt x="747" y="552"/>
                    <a:pt x="763" y="526"/>
                    <a:pt x="778" y="519"/>
                  </a:cubicBezTo>
                  <a:cubicBezTo>
                    <a:pt x="794" y="512"/>
                    <a:pt x="834" y="529"/>
                    <a:pt x="834" y="529"/>
                  </a:cubicBezTo>
                  <a:cubicBezTo>
                    <a:pt x="880" y="501"/>
                    <a:pt x="880" y="501"/>
                    <a:pt x="880" y="501"/>
                  </a:cubicBezTo>
                  <a:cubicBezTo>
                    <a:pt x="880" y="501"/>
                    <a:pt x="873" y="489"/>
                    <a:pt x="885" y="478"/>
                  </a:cubicBezTo>
                  <a:cubicBezTo>
                    <a:pt x="897" y="467"/>
                    <a:pt x="904" y="483"/>
                    <a:pt x="912" y="468"/>
                  </a:cubicBezTo>
                  <a:cubicBezTo>
                    <a:pt x="924" y="453"/>
                    <a:pt x="917" y="426"/>
                    <a:pt x="926" y="411"/>
                  </a:cubicBezTo>
                  <a:cubicBezTo>
                    <a:pt x="937" y="400"/>
                    <a:pt x="944" y="408"/>
                    <a:pt x="960" y="397"/>
                  </a:cubicBezTo>
                  <a:cubicBezTo>
                    <a:pt x="975" y="387"/>
                    <a:pt x="980" y="360"/>
                    <a:pt x="980" y="360"/>
                  </a:cubicBezTo>
                  <a:cubicBezTo>
                    <a:pt x="1003" y="365"/>
                    <a:pt x="1003" y="365"/>
                    <a:pt x="1003" y="365"/>
                  </a:cubicBezTo>
                  <a:cubicBezTo>
                    <a:pt x="1029" y="355"/>
                    <a:pt x="1029" y="355"/>
                    <a:pt x="1029" y="355"/>
                  </a:cubicBezTo>
                  <a:cubicBezTo>
                    <a:pt x="1016" y="316"/>
                    <a:pt x="1016" y="316"/>
                    <a:pt x="1016" y="316"/>
                  </a:cubicBezTo>
                  <a:cubicBezTo>
                    <a:pt x="986" y="314"/>
                    <a:pt x="986" y="314"/>
                    <a:pt x="986" y="314"/>
                  </a:cubicBezTo>
                  <a:cubicBezTo>
                    <a:pt x="977" y="268"/>
                    <a:pt x="977" y="268"/>
                    <a:pt x="977" y="268"/>
                  </a:cubicBezTo>
                  <a:cubicBezTo>
                    <a:pt x="940" y="259"/>
                    <a:pt x="940" y="259"/>
                    <a:pt x="940" y="259"/>
                  </a:cubicBezTo>
                  <a:cubicBezTo>
                    <a:pt x="885" y="237"/>
                    <a:pt x="885" y="237"/>
                    <a:pt x="885" y="237"/>
                  </a:cubicBezTo>
                  <a:cubicBezTo>
                    <a:pt x="880" y="252"/>
                    <a:pt x="880" y="252"/>
                    <a:pt x="880" y="252"/>
                  </a:cubicBezTo>
                  <a:cubicBezTo>
                    <a:pt x="865" y="259"/>
                    <a:pt x="865" y="259"/>
                    <a:pt x="865" y="259"/>
                  </a:cubicBezTo>
                  <a:cubicBezTo>
                    <a:pt x="865" y="259"/>
                    <a:pt x="859" y="236"/>
                    <a:pt x="851" y="231"/>
                  </a:cubicBezTo>
                  <a:cubicBezTo>
                    <a:pt x="848" y="227"/>
                    <a:pt x="837" y="212"/>
                    <a:pt x="837" y="212"/>
                  </a:cubicBezTo>
                  <a:cubicBezTo>
                    <a:pt x="853" y="197"/>
                    <a:pt x="853" y="197"/>
                    <a:pt x="853" y="197"/>
                  </a:cubicBezTo>
                  <a:cubicBezTo>
                    <a:pt x="839" y="177"/>
                    <a:pt x="839" y="177"/>
                    <a:pt x="839" y="177"/>
                  </a:cubicBezTo>
                  <a:cubicBezTo>
                    <a:pt x="797" y="194"/>
                    <a:pt x="797" y="194"/>
                    <a:pt x="797" y="194"/>
                  </a:cubicBezTo>
                  <a:cubicBezTo>
                    <a:pt x="797" y="194"/>
                    <a:pt x="783" y="175"/>
                    <a:pt x="765" y="166"/>
                  </a:cubicBezTo>
                  <a:cubicBezTo>
                    <a:pt x="743" y="157"/>
                    <a:pt x="717" y="149"/>
                    <a:pt x="717" y="149"/>
                  </a:cubicBezTo>
                  <a:cubicBezTo>
                    <a:pt x="720" y="172"/>
                    <a:pt x="720" y="172"/>
                    <a:pt x="720" y="172"/>
                  </a:cubicBezTo>
                  <a:cubicBezTo>
                    <a:pt x="720" y="172"/>
                    <a:pt x="734" y="184"/>
                    <a:pt x="741" y="184"/>
                  </a:cubicBezTo>
                  <a:cubicBezTo>
                    <a:pt x="749" y="185"/>
                    <a:pt x="741" y="203"/>
                    <a:pt x="741" y="203"/>
                  </a:cubicBezTo>
                  <a:cubicBezTo>
                    <a:pt x="726" y="199"/>
                    <a:pt x="726" y="199"/>
                    <a:pt x="726" y="199"/>
                  </a:cubicBezTo>
                  <a:cubicBezTo>
                    <a:pt x="726" y="199"/>
                    <a:pt x="707" y="209"/>
                    <a:pt x="706" y="217"/>
                  </a:cubicBezTo>
                  <a:cubicBezTo>
                    <a:pt x="702" y="224"/>
                    <a:pt x="679" y="231"/>
                    <a:pt x="669" y="223"/>
                  </a:cubicBezTo>
                  <a:cubicBezTo>
                    <a:pt x="658" y="215"/>
                    <a:pt x="663" y="188"/>
                    <a:pt x="656" y="176"/>
                  </a:cubicBezTo>
                  <a:cubicBezTo>
                    <a:pt x="653" y="165"/>
                    <a:pt x="622" y="167"/>
                    <a:pt x="615" y="159"/>
                  </a:cubicBezTo>
                  <a:cubicBezTo>
                    <a:pt x="608" y="147"/>
                    <a:pt x="654" y="123"/>
                    <a:pt x="654" y="123"/>
                  </a:cubicBezTo>
                  <a:cubicBezTo>
                    <a:pt x="633" y="102"/>
                    <a:pt x="633" y="102"/>
                    <a:pt x="633" y="102"/>
                  </a:cubicBezTo>
                  <a:cubicBezTo>
                    <a:pt x="587" y="123"/>
                    <a:pt x="587" y="123"/>
                    <a:pt x="587" y="123"/>
                  </a:cubicBezTo>
                  <a:cubicBezTo>
                    <a:pt x="584" y="100"/>
                    <a:pt x="584" y="100"/>
                    <a:pt x="584" y="100"/>
                  </a:cubicBezTo>
                  <a:cubicBezTo>
                    <a:pt x="507" y="70"/>
                    <a:pt x="507" y="70"/>
                    <a:pt x="507" y="70"/>
                  </a:cubicBezTo>
                  <a:cubicBezTo>
                    <a:pt x="506" y="85"/>
                    <a:pt x="506" y="85"/>
                    <a:pt x="506" y="85"/>
                  </a:cubicBezTo>
                  <a:cubicBezTo>
                    <a:pt x="482" y="57"/>
                    <a:pt x="482" y="57"/>
                    <a:pt x="482" y="57"/>
                  </a:cubicBezTo>
                  <a:cubicBezTo>
                    <a:pt x="487" y="30"/>
                    <a:pt x="487" y="30"/>
                    <a:pt x="487" y="30"/>
                  </a:cubicBezTo>
                  <a:cubicBezTo>
                    <a:pt x="438" y="21"/>
                    <a:pt x="438" y="21"/>
                    <a:pt x="438" y="21"/>
                  </a:cubicBezTo>
                  <a:cubicBezTo>
                    <a:pt x="430" y="32"/>
                    <a:pt x="430" y="32"/>
                    <a:pt x="430" y="32"/>
                  </a:cubicBezTo>
                  <a:cubicBezTo>
                    <a:pt x="437" y="43"/>
                    <a:pt x="437" y="43"/>
                    <a:pt x="437" y="43"/>
                  </a:cubicBezTo>
                  <a:cubicBezTo>
                    <a:pt x="429" y="51"/>
                    <a:pt x="429" y="51"/>
                    <a:pt x="429" y="51"/>
                  </a:cubicBezTo>
                  <a:cubicBezTo>
                    <a:pt x="404" y="42"/>
                    <a:pt x="404" y="42"/>
                    <a:pt x="404" y="42"/>
                  </a:cubicBezTo>
                  <a:cubicBezTo>
                    <a:pt x="404" y="44"/>
                    <a:pt x="404" y="45"/>
                    <a:pt x="403" y="46"/>
                  </a:cubicBezTo>
                  <a:cubicBezTo>
                    <a:pt x="402" y="53"/>
                    <a:pt x="398" y="59"/>
                    <a:pt x="392" y="53"/>
                  </a:cubicBezTo>
                  <a:cubicBezTo>
                    <a:pt x="381" y="45"/>
                    <a:pt x="362" y="51"/>
                    <a:pt x="378" y="29"/>
                  </a:cubicBezTo>
                  <a:cubicBezTo>
                    <a:pt x="374" y="33"/>
                    <a:pt x="367" y="32"/>
                    <a:pt x="363" y="32"/>
                  </a:cubicBezTo>
                  <a:cubicBezTo>
                    <a:pt x="383" y="6"/>
                    <a:pt x="338" y="8"/>
                    <a:pt x="327" y="0"/>
                  </a:cubicBezTo>
                  <a:cubicBezTo>
                    <a:pt x="323" y="4"/>
                    <a:pt x="319" y="11"/>
                    <a:pt x="319" y="15"/>
                  </a:cubicBezTo>
                  <a:cubicBezTo>
                    <a:pt x="323" y="15"/>
                    <a:pt x="341" y="24"/>
                    <a:pt x="341" y="27"/>
                  </a:cubicBezTo>
                  <a:cubicBezTo>
                    <a:pt x="340" y="43"/>
                    <a:pt x="329" y="34"/>
                    <a:pt x="318" y="42"/>
                  </a:cubicBezTo>
                  <a:cubicBezTo>
                    <a:pt x="302" y="48"/>
                    <a:pt x="287" y="63"/>
                    <a:pt x="275" y="63"/>
                  </a:cubicBezTo>
                  <a:cubicBezTo>
                    <a:pt x="264" y="62"/>
                    <a:pt x="238" y="72"/>
                    <a:pt x="230" y="76"/>
                  </a:cubicBezTo>
                  <a:cubicBezTo>
                    <a:pt x="215" y="83"/>
                    <a:pt x="206" y="117"/>
                    <a:pt x="191" y="101"/>
                  </a:cubicBezTo>
                  <a:cubicBezTo>
                    <a:pt x="191" y="101"/>
                    <a:pt x="180" y="108"/>
                    <a:pt x="168" y="122"/>
                  </a:cubicBezTo>
                  <a:cubicBezTo>
                    <a:pt x="160" y="130"/>
                    <a:pt x="153" y="133"/>
                    <a:pt x="145" y="129"/>
                  </a:cubicBezTo>
                  <a:cubicBezTo>
                    <a:pt x="140" y="163"/>
                    <a:pt x="119" y="139"/>
                    <a:pt x="107" y="146"/>
                  </a:cubicBezTo>
                  <a:cubicBezTo>
                    <a:pt x="103" y="146"/>
                    <a:pt x="88" y="153"/>
                    <a:pt x="88" y="153"/>
                  </a:cubicBezTo>
                  <a:cubicBezTo>
                    <a:pt x="70" y="141"/>
                    <a:pt x="65" y="160"/>
                    <a:pt x="58" y="163"/>
                  </a:cubicBezTo>
                  <a:cubicBezTo>
                    <a:pt x="50" y="170"/>
                    <a:pt x="37" y="204"/>
                    <a:pt x="33" y="208"/>
                  </a:cubicBezTo>
                  <a:cubicBezTo>
                    <a:pt x="29" y="208"/>
                    <a:pt x="12" y="176"/>
                    <a:pt x="9" y="168"/>
                  </a:cubicBezTo>
                  <a:cubicBezTo>
                    <a:pt x="1" y="168"/>
                    <a:pt x="1" y="168"/>
                    <a:pt x="1" y="168"/>
                  </a:cubicBezTo>
                  <a:cubicBezTo>
                    <a:pt x="0" y="187"/>
                    <a:pt x="14" y="211"/>
                    <a:pt x="21" y="223"/>
                  </a:cubicBezTo>
                  <a:cubicBezTo>
                    <a:pt x="28" y="234"/>
                    <a:pt x="61" y="244"/>
                    <a:pt x="53" y="259"/>
                  </a:cubicBezTo>
                  <a:cubicBezTo>
                    <a:pt x="57" y="259"/>
                    <a:pt x="60" y="263"/>
                    <a:pt x="64" y="263"/>
                  </a:cubicBezTo>
                  <a:cubicBezTo>
                    <a:pt x="64" y="270"/>
                    <a:pt x="59" y="286"/>
                    <a:pt x="56" y="285"/>
                  </a:cubicBezTo>
                  <a:cubicBezTo>
                    <a:pt x="44" y="300"/>
                    <a:pt x="44" y="300"/>
                    <a:pt x="44" y="300"/>
                  </a:cubicBezTo>
                  <a:cubicBezTo>
                    <a:pt x="43" y="315"/>
                    <a:pt x="58" y="316"/>
                    <a:pt x="62" y="320"/>
                  </a:cubicBezTo>
                  <a:cubicBezTo>
                    <a:pt x="69" y="332"/>
                    <a:pt x="68" y="343"/>
                    <a:pt x="71" y="355"/>
                  </a:cubicBezTo>
                  <a:cubicBezTo>
                    <a:pt x="74" y="367"/>
                    <a:pt x="92" y="398"/>
                    <a:pt x="106" y="402"/>
                  </a:cubicBezTo>
                  <a:cubicBezTo>
                    <a:pt x="129" y="407"/>
                    <a:pt x="160" y="455"/>
                    <a:pt x="164" y="455"/>
                  </a:cubicBezTo>
                  <a:cubicBezTo>
                    <a:pt x="175" y="455"/>
                    <a:pt x="194" y="460"/>
                    <a:pt x="193" y="475"/>
                  </a:cubicBezTo>
                  <a:cubicBezTo>
                    <a:pt x="195" y="506"/>
                    <a:pt x="219" y="481"/>
                    <a:pt x="229" y="500"/>
                  </a:cubicBezTo>
                  <a:cubicBezTo>
                    <a:pt x="235" y="514"/>
                    <a:pt x="250" y="528"/>
                    <a:pt x="255" y="547"/>
                  </a:cubicBezTo>
                  <a:lnTo>
                    <a:pt x="268" y="54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0" name="Freeform 132">
              <a:extLst>
                <a:ext uri="{FF2B5EF4-FFF2-40B4-BE49-F238E27FC236}">
                  <a16:creationId xmlns:a16="http://schemas.microsoft.com/office/drawing/2014/main" id="{953FF8F2-253D-6661-9E5D-FCE3F700F6D9}"/>
                </a:ext>
              </a:extLst>
            </p:cNvPr>
            <p:cNvSpPr>
              <a:spLocks/>
            </p:cNvSpPr>
            <p:nvPr/>
          </p:nvSpPr>
          <p:spPr bwMode="gray">
            <a:xfrm>
              <a:off x="9883722" y="2539087"/>
              <a:ext cx="34162" cy="32364"/>
            </a:xfrm>
            <a:custGeom>
              <a:avLst/>
              <a:gdLst>
                <a:gd name="T0" fmla="*/ 54 w 57"/>
                <a:gd name="T1" fmla="*/ 0 h 56"/>
                <a:gd name="T2" fmla="*/ 47 w 57"/>
                <a:gd name="T3" fmla="*/ 0 h 56"/>
                <a:gd name="T4" fmla="*/ 39 w 57"/>
                <a:gd name="T5" fmla="*/ 7 h 56"/>
                <a:gd name="T6" fmla="*/ 20 w 57"/>
                <a:gd name="T7" fmla="*/ 14 h 56"/>
                <a:gd name="T8" fmla="*/ 16 w 57"/>
                <a:gd name="T9" fmla="*/ 29 h 56"/>
                <a:gd name="T10" fmla="*/ 8 w 57"/>
                <a:gd name="T11" fmla="*/ 33 h 56"/>
                <a:gd name="T12" fmla="*/ 0 w 57"/>
                <a:gd name="T13" fmla="*/ 44 h 56"/>
                <a:gd name="T14" fmla="*/ 7 w 57"/>
                <a:gd name="T15" fmla="*/ 52 h 56"/>
                <a:gd name="T16" fmla="*/ 14 w 57"/>
                <a:gd name="T17" fmla="*/ 56 h 56"/>
                <a:gd name="T18" fmla="*/ 30 w 57"/>
                <a:gd name="T19" fmla="*/ 49 h 56"/>
                <a:gd name="T20" fmla="*/ 45 w 57"/>
                <a:gd name="T21" fmla="*/ 31 h 56"/>
                <a:gd name="T22" fmla="*/ 42 w 57"/>
                <a:gd name="T23" fmla="*/ 15 h 56"/>
                <a:gd name="T24" fmla="*/ 50 w 57"/>
                <a:gd name="T25" fmla="*/ 16 h 56"/>
                <a:gd name="T26" fmla="*/ 54 w 57"/>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56">
                  <a:moveTo>
                    <a:pt x="54" y="0"/>
                  </a:moveTo>
                  <a:cubicBezTo>
                    <a:pt x="47" y="0"/>
                    <a:pt x="47" y="0"/>
                    <a:pt x="47" y="0"/>
                  </a:cubicBezTo>
                  <a:cubicBezTo>
                    <a:pt x="39" y="7"/>
                    <a:pt x="39" y="7"/>
                    <a:pt x="39" y="7"/>
                  </a:cubicBezTo>
                  <a:cubicBezTo>
                    <a:pt x="20" y="14"/>
                    <a:pt x="20" y="14"/>
                    <a:pt x="20" y="14"/>
                  </a:cubicBezTo>
                  <a:cubicBezTo>
                    <a:pt x="16" y="29"/>
                    <a:pt x="16" y="29"/>
                    <a:pt x="16" y="29"/>
                  </a:cubicBezTo>
                  <a:cubicBezTo>
                    <a:pt x="8" y="33"/>
                    <a:pt x="8" y="33"/>
                    <a:pt x="8" y="33"/>
                  </a:cubicBezTo>
                  <a:cubicBezTo>
                    <a:pt x="0" y="44"/>
                    <a:pt x="0" y="44"/>
                    <a:pt x="0" y="44"/>
                  </a:cubicBezTo>
                  <a:cubicBezTo>
                    <a:pt x="0" y="44"/>
                    <a:pt x="7" y="48"/>
                    <a:pt x="7" y="52"/>
                  </a:cubicBezTo>
                  <a:cubicBezTo>
                    <a:pt x="11" y="52"/>
                    <a:pt x="14" y="56"/>
                    <a:pt x="14" y="56"/>
                  </a:cubicBezTo>
                  <a:cubicBezTo>
                    <a:pt x="30" y="49"/>
                    <a:pt x="30" y="49"/>
                    <a:pt x="30" y="49"/>
                  </a:cubicBezTo>
                  <a:cubicBezTo>
                    <a:pt x="30" y="49"/>
                    <a:pt x="45" y="34"/>
                    <a:pt x="45" y="31"/>
                  </a:cubicBezTo>
                  <a:cubicBezTo>
                    <a:pt x="45" y="31"/>
                    <a:pt x="39" y="19"/>
                    <a:pt x="42" y="15"/>
                  </a:cubicBezTo>
                  <a:cubicBezTo>
                    <a:pt x="46" y="12"/>
                    <a:pt x="46" y="19"/>
                    <a:pt x="50" y="16"/>
                  </a:cubicBezTo>
                  <a:cubicBezTo>
                    <a:pt x="57" y="16"/>
                    <a:pt x="54" y="0"/>
                    <a:pt x="5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1" name="Freeform 133">
              <a:extLst>
                <a:ext uri="{FF2B5EF4-FFF2-40B4-BE49-F238E27FC236}">
                  <a16:creationId xmlns:a16="http://schemas.microsoft.com/office/drawing/2014/main" id="{784DA42D-C65B-36A3-2AD7-D1BD81C6BB84}"/>
                </a:ext>
              </a:extLst>
            </p:cNvPr>
            <p:cNvSpPr>
              <a:spLocks/>
            </p:cNvSpPr>
            <p:nvPr/>
          </p:nvSpPr>
          <p:spPr bwMode="gray">
            <a:xfrm>
              <a:off x="9916086" y="2553471"/>
              <a:ext cx="12586" cy="3596"/>
            </a:xfrm>
            <a:custGeom>
              <a:avLst/>
              <a:gdLst>
                <a:gd name="T0" fmla="*/ 2 w 7"/>
                <a:gd name="T1" fmla="*/ 2 h 2"/>
                <a:gd name="T2" fmla="*/ 7 w 7"/>
                <a:gd name="T3" fmla="*/ 0 h 2"/>
                <a:gd name="T4" fmla="*/ 0 w 7"/>
                <a:gd name="T5" fmla="*/ 1 h 2"/>
                <a:gd name="T6" fmla="*/ 2 w 7"/>
                <a:gd name="T7" fmla="*/ 2 h 2"/>
              </a:gdLst>
              <a:ahLst/>
              <a:cxnLst>
                <a:cxn ang="0">
                  <a:pos x="T0" y="T1"/>
                </a:cxn>
                <a:cxn ang="0">
                  <a:pos x="T2" y="T3"/>
                </a:cxn>
                <a:cxn ang="0">
                  <a:pos x="T4" y="T5"/>
                </a:cxn>
                <a:cxn ang="0">
                  <a:pos x="T6" y="T7"/>
                </a:cxn>
              </a:cxnLst>
              <a:rect l="0" t="0" r="r" b="b"/>
              <a:pathLst>
                <a:path w="7" h="2">
                  <a:moveTo>
                    <a:pt x="2" y="2"/>
                  </a:moveTo>
                  <a:lnTo>
                    <a:pt x="7" y="0"/>
                  </a:lnTo>
                  <a:lnTo>
                    <a:pt x="0" y="1"/>
                  </a:lnTo>
                  <a:lnTo>
                    <a:pt x="2"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2" name="Freeform 134">
              <a:extLst>
                <a:ext uri="{FF2B5EF4-FFF2-40B4-BE49-F238E27FC236}">
                  <a16:creationId xmlns:a16="http://schemas.microsoft.com/office/drawing/2014/main" id="{FFD53914-EFB7-FB20-1210-895459986F7A}"/>
                </a:ext>
              </a:extLst>
            </p:cNvPr>
            <p:cNvSpPr>
              <a:spLocks/>
            </p:cNvSpPr>
            <p:nvPr/>
          </p:nvSpPr>
          <p:spPr bwMode="gray">
            <a:xfrm>
              <a:off x="9858551" y="2436603"/>
              <a:ext cx="195981" cy="136646"/>
            </a:xfrm>
            <a:custGeom>
              <a:avLst/>
              <a:gdLst>
                <a:gd name="T0" fmla="*/ 11 w 328"/>
                <a:gd name="T1" fmla="*/ 226 h 230"/>
                <a:gd name="T2" fmla="*/ 22 w 328"/>
                <a:gd name="T3" fmla="*/ 230 h 230"/>
                <a:gd name="T4" fmla="*/ 29 w 328"/>
                <a:gd name="T5" fmla="*/ 223 h 230"/>
                <a:gd name="T6" fmla="*/ 37 w 328"/>
                <a:gd name="T7" fmla="*/ 219 h 230"/>
                <a:gd name="T8" fmla="*/ 30 w 328"/>
                <a:gd name="T9" fmla="*/ 208 h 230"/>
                <a:gd name="T10" fmla="*/ 50 w 328"/>
                <a:gd name="T11" fmla="*/ 189 h 230"/>
                <a:gd name="T12" fmla="*/ 62 w 328"/>
                <a:gd name="T13" fmla="*/ 171 h 230"/>
                <a:gd name="T14" fmla="*/ 84 w 328"/>
                <a:gd name="T15" fmla="*/ 164 h 230"/>
                <a:gd name="T16" fmla="*/ 85 w 328"/>
                <a:gd name="T17" fmla="*/ 157 h 230"/>
                <a:gd name="T18" fmla="*/ 88 w 328"/>
                <a:gd name="T19" fmla="*/ 161 h 230"/>
                <a:gd name="T20" fmla="*/ 96 w 328"/>
                <a:gd name="T21" fmla="*/ 161 h 230"/>
                <a:gd name="T22" fmla="*/ 96 w 328"/>
                <a:gd name="T23" fmla="*/ 157 h 230"/>
                <a:gd name="T24" fmla="*/ 122 w 328"/>
                <a:gd name="T25" fmla="*/ 155 h 230"/>
                <a:gd name="T26" fmla="*/ 137 w 328"/>
                <a:gd name="T27" fmla="*/ 163 h 230"/>
                <a:gd name="T28" fmla="*/ 160 w 328"/>
                <a:gd name="T29" fmla="*/ 153 h 230"/>
                <a:gd name="T30" fmla="*/ 186 w 328"/>
                <a:gd name="T31" fmla="*/ 154 h 230"/>
                <a:gd name="T32" fmla="*/ 190 w 328"/>
                <a:gd name="T33" fmla="*/ 143 h 230"/>
                <a:gd name="T34" fmla="*/ 194 w 328"/>
                <a:gd name="T35" fmla="*/ 150 h 230"/>
                <a:gd name="T36" fmla="*/ 205 w 328"/>
                <a:gd name="T37" fmla="*/ 147 h 230"/>
                <a:gd name="T38" fmla="*/ 227 w 328"/>
                <a:gd name="T39" fmla="*/ 148 h 230"/>
                <a:gd name="T40" fmla="*/ 253 w 328"/>
                <a:gd name="T41" fmla="*/ 165 h 230"/>
                <a:gd name="T42" fmla="*/ 271 w 328"/>
                <a:gd name="T43" fmla="*/ 169 h 230"/>
                <a:gd name="T44" fmla="*/ 288 w 328"/>
                <a:gd name="T45" fmla="*/ 140 h 230"/>
                <a:gd name="T46" fmla="*/ 308 w 328"/>
                <a:gd name="T47" fmla="*/ 114 h 230"/>
                <a:gd name="T48" fmla="*/ 304 w 328"/>
                <a:gd name="T49" fmla="*/ 102 h 230"/>
                <a:gd name="T50" fmla="*/ 306 w 328"/>
                <a:gd name="T51" fmla="*/ 68 h 230"/>
                <a:gd name="T52" fmla="*/ 292 w 328"/>
                <a:gd name="T53" fmla="*/ 44 h 230"/>
                <a:gd name="T54" fmla="*/ 312 w 328"/>
                <a:gd name="T55" fmla="*/ 11 h 230"/>
                <a:gd name="T56" fmla="*/ 328 w 328"/>
                <a:gd name="T57" fmla="*/ 4 h 230"/>
                <a:gd name="T58" fmla="*/ 324 w 328"/>
                <a:gd name="T59" fmla="*/ 0 h 230"/>
                <a:gd name="T60" fmla="*/ 309 w 328"/>
                <a:gd name="T61" fmla="*/ 3 h 230"/>
                <a:gd name="T62" fmla="*/ 297 w 328"/>
                <a:gd name="T63" fmla="*/ 14 h 230"/>
                <a:gd name="T64" fmla="*/ 270 w 328"/>
                <a:gd name="T65" fmla="*/ 35 h 230"/>
                <a:gd name="T66" fmla="*/ 232 w 328"/>
                <a:gd name="T67" fmla="*/ 37 h 230"/>
                <a:gd name="T68" fmla="*/ 196 w 328"/>
                <a:gd name="T69" fmla="*/ 93 h 230"/>
                <a:gd name="T70" fmla="*/ 150 w 328"/>
                <a:gd name="T71" fmla="*/ 129 h 230"/>
                <a:gd name="T72" fmla="*/ 109 w 328"/>
                <a:gd name="T73" fmla="*/ 123 h 230"/>
                <a:gd name="T74" fmla="*/ 94 w 328"/>
                <a:gd name="T75" fmla="*/ 130 h 230"/>
                <a:gd name="T76" fmla="*/ 71 w 328"/>
                <a:gd name="T77" fmla="*/ 133 h 230"/>
                <a:gd name="T78" fmla="*/ 56 w 328"/>
                <a:gd name="T79" fmla="*/ 125 h 230"/>
                <a:gd name="T80" fmla="*/ 17 w 328"/>
                <a:gd name="T81" fmla="*/ 173 h 230"/>
                <a:gd name="T82" fmla="*/ 0 w 328"/>
                <a:gd name="T83" fmla="*/ 210 h 230"/>
                <a:gd name="T84" fmla="*/ 8 w 328"/>
                <a:gd name="T85" fmla="*/ 210 h 230"/>
                <a:gd name="T86" fmla="*/ 11 w 328"/>
                <a:gd name="T87" fmla="*/ 22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230">
                  <a:moveTo>
                    <a:pt x="11" y="226"/>
                  </a:moveTo>
                  <a:cubicBezTo>
                    <a:pt x="11" y="226"/>
                    <a:pt x="18" y="230"/>
                    <a:pt x="22" y="230"/>
                  </a:cubicBezTo>
                  <a:cubicBezTo>
                    <a:pt x="25" y="230"/>
                    <a:pt x="29" y="223"/>
                    <a:pt x="29" y="223"/>
                  </a:cubicBezTo>
                  <a:cubicBezTo>
                    <a:pt x="37" y="219"/>
                    <a:pt x="37" y="219"/>
                    <a:pt x="37" y="219"/>
                  </a:cubicBezTo>
                  <a:cubicBezTo>
                    <a:pt x="37" y="219"/>
                    <a:pt x="34" y="212"/>
                    <a:pt x="30" y="208"/>
                  </a:cubicBezTo>
                  <a:cubicBezTo>
                    <a:pt x="30" y="200"/>
                    <a:pt x="46" y="193"/>
                    <a:pt x="50" y="189"/>
                  </a:cubicBezTo>
                  <a:cubicBezTo>
                    <a:pt x="54" y="186"/>
                    <a:pt x="62" y="171"/>
                    <a:pt x="62" y="171"/>
                  </a:cubicBezTo>
                  <a:cubicBezTo>
                    <a:pt x="84" y="164"/>
                    <a:pt x="84" y="164"/>
                    <a:pt x="84" y="164"/>
                  </a:cubicBezTo>
                  <a:cubicBezTo>
                    <a:pt x="85" y="157"/>
                    <a:pt x="85" y="157"/>
                    <a:pt x="85" y="157"/>
                  </a:cubicBezTo>
                  <a:cubicBezTo>
                    <a:pt x="88" y="161"/>
                    <a:pt x="88" y="161"/>
                    <a:pt x="88" y="161"/>
                  </a:cubicBezTo>
                  <a:cubicBezTo>
                    <a:pt x="96" y="161"/>
                    <a:pt x="96" y="161"/>
                    <a:pt x="96" y="161"/>
                  </a:cubicBezTo>
                  <a:cubicBezTo>
                    <a:pt x="96" y="157"/>
                    <a:pt x="96" y="157"/>
                    <a:pt x="96" y="157"/>
                  </a:cubicBezTo>
                  <a:cubicBezTo>
                    <a:pt x="122" y="155"/>
                    <a:pt x="122" y="155"/>
                    <a:pt x="122" y="155"/>
                  </a:cubicBezTo>
                  <a:cubicBezTo>
                    <a:pt x="122" y="155"/>
                    <a:pt x="130" y="159"/>
                    <a:pt x="137" y="163"/>
                  </a:cubicBezTo>
                  <a:cubicBezTo>
                    <a:pt x="141" y="163"/>
                    <a:pt x="160" y="153"/>
                    <a:pt x="160" y="153"/>
                  </a:cubicBezTo>
                  <a:cubicBezTo>
                    <a:pt x="186" y="154"/>
                    <a:pt x="186" y="154"/>
                    <a:pt x="186" y="154"/>
                  </a:cubicBezTo>
                  <a:cubicBezTo>
                    <a:pt x="186" y="154"/>
                    <a:pt x="187" y="142"/>
                    <a:pt x="190" y="143"/>
                  </a:cubicBezTo>
                  <a:cubicBezTo>
                    <a:pt x="198" y="143"/>
                    <a:pt x="194" y="150"/>
                    <a:pt x="194" y="150"/>
                  </a:cubicBezTo>
                  <a:cubicBezTo>
                    <a:pt x="194" y="150"/>
                    <a:pt x="197" y="151"/>
                    <a:pt x="205" y="147"/>
                  </a:cubicBezTo>
                  <a:cubicBezTo>
                    <a:pt x="227" y="148"/>
                    <a:pt x="227" y="148"/>
                    <a:pt x="227" y="148"/>
                  </a:cubicBezTo>
                  <a:cubicBezTo>
                    <a:pt x="235" y="148"/>
                    <a:pt x="249" y="161"/>
                    <a:pt x="253" y="165"/>
                  </a:cubicBezTo>
                  <a:cubicBezTo>
                    <a:pt x="260" y="169"/>
                    <a:pt x="264" y="173"/>
                    <a:pt x="271" y="169"/>
                  </a:cubicBezTo>
                  <a:cubicBezTo>
                    <a:pt x="279" y="170"/>
                    <a:pt x="288" y="140"/>
                    <a:pt x="288" y="140"/>
                  </a:cubicBezTo>
                  <a:cubicBezTo>
                    <a:pt x="308" y="114"/>
                    <a:pt x="308" y="114"/>
                    <a:pt x="308" y="114"/>
                  </a:cubicBezTo>
                  <a:cubicBezTo>
                    <a:pt x="308" y="114"/>
                    <a:pt x="304" y="106"/>
                    <a:pt x="304" y="102"/>
                  </a:cubicBezTo>
                  <a:cubicBezTo>
                    <a:pt x="301" y="98"/>
                    <a:pt x="309" y="83"/>
                    <a:pt x="306" y="68"/>
                  </a:cubicBezTo>
                  <a:cubicBezTo>
                    <a:pt x="307" y="49"/>
                    <a:pt x="295" y="52"/>
                    <a:pt x="292" y="44"/>
                  </a:cubicBezTo>
                  <a:cubicBezTo>
                    <a:pt x="292" y="40"/>
                    <a:pt x="308" y="14"/>
                    <a:pt x="312" y="11"/>
                  </a:cubicBezTo>
                  <a:cubicBezTo>
                    <a:pt x="316" y="7"/>
                    <a:pt x="328" y="4"/>
                    <a:pt x="328" y="4"/>
                  </a:cubicBezTo>
                  <a:cubicBezTo>
                    <a:pt x="324" y="0"/>
                    <a:pt x="324" y="0"/>
                    <a:pt x="324" y="0"/>
                  </a:cubicBezTo>
                  <a:cubicBezTo>
                    <a:pt x="309" y="3"/>
                    <a:pt x="309" y="3"/>
                    <a:pt x="309" y="3"/>
                  </a:cubicBezTo>
                  <a:cubicBezTo>
                    <a:pt x="309" y="3"/>
                    <a:pt x="301" y="10"/>
                    <a:pt x="297" y="14"/>
                  </a:cubicBezTo>
                  <a:cubicBezTo>
                    <a:pt x="289" y="21"/>
                    <a:pt x="270" y="35"/>
                    <a:pt x="270" y="35"/>
                  </a:cubicBezTo>
                  <a:cubicBezTo>
                    <a:pt x="270" y="35"/>
                    <a:pt x="236" y="34"/>
                    <a:pt x="232" y="37"/>
                  </a:cubicBezTo>
                  <a:cubicBezTo>
                    <a:pt x="225" y="37"/>
                    <a:pt x="201" y="82"/>
                    <a:pt x="196" y="93"/>
                  </a:cubicBezTo>
                  <a:cubicBezTo>
                    <a:pt x="192" y="101"/>
                    <a:pt x="169" y="126"/>
                    <a:pt x="150" y="129"/>
                  </a:cubicBezTo>
                  <a:cubicBezTo>
                    <a:pt x="127" y="132"/>
                    <a:pt x="116" y="124"/>
                    <a:pt x="109" y="123"/>
                  </a:cubicBezTo>
                  <a:cubicBezTo>
                    <a:pt x="98" y="123"/>
                    <a:pt x="94" y="130"/>
                    <a:pt x="94" y="130"/>
                  </a:cubicBezTo>
                  <a:cubicBezTo>
                    <a:pt x="94" y="130"/>
                    <a:pt x="75" y="133"/>
                    <a:pt x="71" y="133"/>
                  </a:cubicBezTo>
                  <a:cubicBezTo>
                    <a:pt x="71" y="133"/>
                    <a:pt x="68" y="125"/>
                    <a:pt x="56" y="125"/>
                  </a:cubicBezTo>
                  <a:cubicBezTo>
                    <a:pt x="49" y="128"/>
                    <a:pt x="29" y="158"/>
                    <a:pt x="17" y="173"/>
                  </a:cubicBezTo>
                  <a:cubicBezTo>
                    <a:pt x="5" y="187"/>
                    <a:pt x="0" y="210"/>
                    <a:pt x="0" y="210"/>
                  </a:cubicBezTo>
                  <a:cubicBezTo>
                    <a:pt x="8" y="210"/>
                    <a:pt x="8" y="210"/>
                    <a:pt x="8" y="210"/>
                  </a:cubicBezTo>
                  <a:lnTo>
                    <a:pt x="11" y="2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3" name="Freeform 135">
              <a:extLst>
                <a:ext uri="{FF2B5EF4-FFF2-40B4-BE49-F238E27FC236}">
                  <a16:creationId xmlns:a16="http://schemas.microsoft.com/office/drawing/2014/main" id="{FEB193DB-CB72-28A2-A9A6-CC347E818B3C}"/>
                </a:ext>
              </a:extLst>
            </p:cNvPr>
            <p:cNvSpPr>
              <a:spLocks/>
            </p:cNvSpPr>
            <p:nvPr/>
          </p:nvSpPr>
          <p:spPr bwMode="gray">
            <a:xfrm>
              <a:off x="10148026" y="2810582"/>
              <a:ext cx="39556" cy="25171"/>
            </a:xfrm>
            <a:custGeom>
              <a:avLst/>
              <a:gdLst>
                <a:gd name="T0" fmla="*/ 49 w 64"/>
                <a:gd name="T1" fmla="*/ 9 h 42"/>
                <a:gd name="T2" fmla="*/ 35 w 64"/>
                <a:gd name="T3" fmla="*/ 5 h 42"/>
                <a:gd name="T4" fmla="*/ 20 w 64"/>
                <a:gd name="T5" fmla="*/ 0 h 42"/>
                <a:gd name="T6" fmla="*/ 16 w 64"/>
                <a:gd name="T7" fmla="*/ 0 h 42"/>
                <a:gd name="T8" fmla="*/ 23 w 64"/>
                <a:gd name="T9" fmla="*/ 8 h 42"/>
                <a:gd name="T10" fmla="*/ 23 w 64"/>
                <a:gd name="T11" fmla="*/ 15 h 42"/>
                <a:gd name="T12" fmla="*/ 8 w 64"/>
                <a:gd name="T13" fmla="*/ 19 h 42"/>
                <a:gd name="T14" fmla="*/ 0 w 64"/>
                <a:gd name="T15" fmla="*/ 22 h 42"/>
                <a:gd name="T16" fmla="*/ 3 w 64"/>
                <a:gd name="T17" fmla="*/ 34 h 42"/>
                <a:gd name="T18" fmla="*/ 10 w 64"/>
                <a:gd name="T19" fmla="*/ 42 h 42"/>
                <a:gd name="T20" fmla="*/ 18 w 64"/>
                <a:gd name="T21" fmla="*/ 31 h 42"/>
                <a:gd name="T22" fmla="*/ 34 w 64"/>
                <a:gd name="T23" fmla="*/ 24 h 42"/>
                <a:gd name="T24" fmla="*/ 56 w 64"/>
                <a:gd name="T25" fmla="*/ 28 h 42"/>
                <a:gd name="T26" fmla="*/ 49 w 64"/>
                <a:gd name="T27"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42">
                  <a:moveTo>
                    <a:pt x="49" y="9"/>
                  </a:moveTo>
                  <a:cubicBezTo>
                    <a:pt x="46" y="9"/>
                    <a:pt x="34" y="8"/>
                    <a:pt x="35" y="5"/>
                  </a:cubicBezTo>
                  <a:cubicBezTo>
                    <a:pt x="31" y="4"/>
                    <a:pt x="20" y="0"/>
                    <a:pt x="20" y="0"/>
                  </a:cubicBezTo>
                  <a:cubicBezTo>
                    <a:pt x="16" y="0"/>
                    <a:pt x="16" y="0"/>
                    <a:pt x="16" y="0"/>
                  </a:cubicBezTo>
                  <a:cubicBezTo>
                    <a:pt x="23" y="8"/>
                    <a:pt x="23" y="8"/>
                    <a:pt x="23" y="8"/>
                  </a:cubicBezTo>
                  <a:cubicBezTo>
                    <a:pt x="23" y="8"/>
                    <a:pt x="30" y="16"/>
                    <a:pt x="23" y="15"/>
                  </a:cubicBezTo>
                  <a:cubicBezTo>
                    <a:pt x="19" y="19"/>
                    <a:pt x="8" y="19"/>
                    <a:pt x="8" y="19"/>
                  </a:cubicBezTo>
                  <a:cubicBezTo>
                    <a:pt x="0" y="22"/>
                    <a:pt x="0" y="22"/>
                    <a:pt x="0" y="22"/>
                  </a:cubicBezTo>
                  <a:cubicBezTo>
                    <a:pt x="3" y="34"/>
                    <a:pt x="3" y="34"/>
                    <a:pt x="3" y="34"/>
                  </a:cubicBezTo>
                  <a:cubicBezTo>
                    <a:pt x="7" y="41"/>
                    <a:pt x="10" y="42"/>
                    <a:pt x="10" y="42"/>
                  </a:cubicBezTo>
                  <a:cubicBezTo>
                    <a:pt x="18" y="31"/>
                    <a:pt x="18" y="31"/>
                    <a:pt x="18" y="31"/>
                  </a:cubicBezTo>
                  <a:cubicBezTo>
                    <a:pt x="18" y="31"/>
                    <a:pt x="30" y="23"/>
                    <a:pt x="34" y="24"/>
                  </a:cubicBezTo>
                  <a:cubicBezTo>
                    <a:pt x="37" y="24"/>
                    <a:pt x="45" y="32"/>
                    <a:pt x="56" y="28"/>
                  </a:cubicBezTo>
                  <a:cubicBezTo>
                    <a:pt x="64" y="25"/>
                    <a:pt x="57" y="9"/>
                    <a:pt x="49" y="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4" name="Freeform 136">
              <a:extLst>
                <a:ext uri="{FF2B5EF4-FFF2-40B4-BE49-F238E27FC236}">
                  <a16:creationId xmlns:a16="http://schemas.microsoft.com/office/drawing/2014/main" id="{DF93118D-7204-1D2F-647D-B924259BCBD2}"/>
                </a:ext>
              </a:extLst>
            </p:cNvPr>
            <p:cNvSpPr>
              <a:spLocks/>
            </p:cNvSpPr>
            <p:nvPr/>
          </p:nvSpPr>
          <p:spPr bwMode="gray">
            <a:xfrm>
              <a:off x="10072511" y="2688320"/>
              <a:ext cx="14383" cy="10788"/>
            </a:xfrm>
            <a:custGeom>
              <a:avLst/>
              <a:gdLst>
                <a:gd name="T0" fmla="*/ 25 w 25"/>
                <a:gd name="T1" fmla="*/ 20 h 20"/>
                <a:gd name="T2" fmla="*/ 15 w 25"/>
                <a:gd name="T3" fmla="*/ 8 h 20"/>
                <a:gd name="T4" fmla="*/ 0 w 25"/>
                <a:gd name="T5" fmla="*/ 0 h 20"/>
                <a:gd name="T6" fmla="*/ 11 w 25"/>
                <a:gd name="T7" fmla="*/ 12 h 20"/>
                <a:gd name="T8" fmla="*/ 25 w 25"/>
                <a:gd name="T9" fmla="*/ 20 h 20"/>
              </a:gdLst>
              <a:ahLst/>
              <a:cxnLst>
                <a:cxn ang="0">
                  <a:pos x="T0" y="T1"/>
                </a:cxn>
                <a:cxn ang="0">
                  <a:pos x="T2" y="T3"/>
                </a:cxn>
                <a:cxn ang="0">
                  <a:pos x="T4" y="T5"/>
                </a:cxn>
                <a:cxn ang="0">
                  <a:pos x="T6" y="T7"/>
                </a:cxn>
                <a:cxn ang="0">
                  <a:pos x="T8" y="T9"/>
                </a:cxn>
              </a:cxnLst>
              <a:rect l="0" t="0" r="r" b="b"/>
              <a:pathLst>
                <a:path w="25" h="20">
                  <a:moveTo>
                    <a:pt x="25" y="20"/>
                  </a:moveTo>
                  <a:cubicBezTo>
                    <a:pt x="25" y="20"/>
                    <a:pt x="18" y="12"/>
                    <a:pt x="15" y="8"/>
                  </a:cubicBezTo>
                  <a:cubicBezTo>
                    <a:pt x="11" y="4"/>
                    <a:pt x="0" y="0"/>
                    <a:pt x="0" y="0"/>
                  </a:cubicBezTo>
                  <a:cubicBezTo>
                    <a:pt x="0" y="0"/>
                    <a:pt x="3" y="12"/>
                    <a:pt x="11" y="12"/>
                  </a:cubicBezTo>
                  <a:cubicBezTo>
                    <a:pt x="14" y="16"/>
                    <a:pt x="25" y="20"/>
                    <a:pt x="25" y="2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5" name="Freeform 137">
              <a:extLst>
                <a:ext uri="{FF2B5EF4-FFF2-40B4-BE49-F238E27FC236}">
                  <a16:creationId xmlns:a16="http://schemas.microsoft.com/office/drawing/2014/main" id="{44327EF9-DA2F-1370-A90D-DECC11F20D62}"/>
                </a:ext>
              </a:extLst>
            </p:cNvPr>
            <p:cNvSpPr>
              <a:spLocks/>
            </p:cNvSpPr>
            <p:nvPr/>
          </p:nvSpPr>
          <p:spPr bwMode="gray">
            <a:xfrm>
              <a:off x="9874733" y="2571451"/>
              <a:ext cx="17980" cy="8991"/>
            </a:xfrm>
            <a:custGeom>
              <a:avLst/>
              <a:gdLst>
                <a:gd name="T0" fmla="*/ 19 w 30"/>
                <a:gd name="T1" fmla="*/ 8 h 16"/>
                <a:gd name="T2" fmla="*/ 15 w 30"/>
                <a:gd name="T3" fmla="*/ 0 h 16"/>
                <a:gd name="T4" fmla="*/ 8 w 30"/>
                <a:gd name="T5" fmla="*/ 0 h 16"/>
                <a:gd name="T6" fmla="*/ 8 w 30"/>
                <a:gd name="T7" fmla="*/ 4 h 16"/>
                <a:gd name="T8" fmla="*/ 0 w 30"/>
                <a:gd name="T9" fmla="*/ 7 h 16"/>
                <a:gd name="T10" fmla="*/ 7 w 30"/>
                <a:gd name="T11" fmla="*/ 15 h 16"/>
                <a:gd name="T12" fmla="*/ 26 w 30"/>
                <a:gd name="T13" fmla="*/ 12 h 16"/>
                <a:gd name="T14" fmla="*/ 19 w 3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6">
                  <a:moveTo>
                    <a:pt x="19" y="8"/>
                  </a:moveTo>
                  <a:cubicBezTo>
                    <a:pt x="15" y="0"/>
                    <a:pt x="15" y="0"/>
                    <a:pt x="15" y="0"/>
                  </a:cubicBezTo>
                  <a:cubicBezTo>
                    <a:pt x="8" y="0"/>
                    <a:pt x="8" y="0"/>
                    <a:pt x="8" y="0"/>
                  </a:cubicBezTo>
                  <a:cubicBezTo>
                    <a:pt x="8" y="4"/>
                    <a:pt x="8" y="4"/>
                    <a:pt x="8" y="4"/>
                  </a:cubicBezTo>
                  <a:cubicBezTo>
                    <a:pt x="0" y="7"/>
                    <a:pt x="0" y="7"/>
                    <a:pt x="0" y="7"/>
                  </a:cubicBezTo>
                  <a:cubicBezTo>
                    <a:pt x="0" y="7"/>
                    <a:pt x="4" y="11"/>
                    <a:pt x="7" y="15"/>
                  </a:cubicBezTo>
                  <a:cubicBezTo>
                    <a:pt x="11" y="15"/>
                    <a:pt x="22" y="16"/>
                    <a:pt x="26" y="12"/>
                  </a:cubicBezTo>
                  <a:cubicBezTo>
                    <a:pt x="30" y="9"/>
                    <a:pt x="19" y="8"/>
                    <a:pt x="19"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6" name="Freeform 138">
              <a:extLst>
                <a:ext uri="{FF2B5EF4-FFF2-40B4-BE49-F238E27FC236}">
                  <a16:creationId xmlns:a16="http://schemas.microsoft.com/office/drawing/2014/main" id="{48987F9D-F4FF-13A0-9586-83EE7797D920}"/>
                </a:ext>
              </a:extLst>
            </p:cNvPr>
            <p:cNvSpPr>
              <a:spLocks/>
            </p:cNvSpPr>
            <p:nvPr/>
          </p:nvSpPr>
          <p:spPr bwMode="gray">
            <a:xfrm>
              <a:off x="10056328" y="2664946"/>
              <a:ext cx="140242" cy="158222"/>
            </a:xfrm>
            <a:custGeom>
              <a:avLst/>
              <a:gdLst>
                <a:gd name="T0" fmla="*/ 88 w 238"/>
                <a:gd name="T1" fmla="*/ 41 h 265"/>
                <a:gd name="T2" fmla="*/ 56 w 238"/>
                <a:gd name="T3" fmla="*/ 78 h 265"/>
                <a:gd name="T4" fmla="*/ 26 w 238"/>
                <a:gd name="T5" fmla="*/ 80 h 265"/>
                <a:gd name="T6" fmla="*/ 0 w 238"/>
                <a:gd name="T7" fmla="*/ 75 h 265"/>
                <a:gd name="T8" fmla="*/ 11 w 238"/>
                <a:gd name="T9" fmla="*/ 87 h 265"/>
                <a:gd name="T10" fmla="*/ 7 w 238"/>
                <a:gd name="T11" fmla="*/ 91 h 265"/>
                <a:gd name="T12" fmla="*/ 14 w 238"/>
                <a:gd name="T13" fmla="*/ 99 h 265"/>
                <a:gd name="T14" fmla="*/ 32 w 238"/>
                <a:gd name="T15" fmla="*/ 122 h 265"/>
                <a:gd name="T16" fmla="*/ 27 w 238"/>
                <a:gd name="T17" fmla="*/ 134 h 265"/>
                <a:gd name="T18" fmla="*/ 37 w 238"/>
                <a:gd name="T19" fmla="*/ 161 h 265"/>
                <a:gd name="T20" fmla="*/ 50 w 238"/>
                <a:gd name="T21" fmla="*/ 204 h 265"/>
                <a:gd name="T22" fmla="*/ 88 w 238"/>
                <a:gd name="T23" fmla="*/ 209 h 265"/>
                <a:gd name="T24" fmla="*/ 106 w 238"/>
                <a:gd name="T25" fmla="*/ 218 h 265"/>
                <a:gd name="T26" fmla="*/ 106 w 238"/>
                <a:gd name="T27" fmla="*/ 225 h 265"/>
                <a:gd name="T28" fmla="*/ 113 w 238"/>
                <a:gd name="T29" fmla="*/ 233 h 265"/>
                <a:gd name="T30" fmla="*/ 94 w 238"/>
                <a:gd name="T31" fmla="*/ 232 h 265"/>
                <a:gd name="T32" fmla="*/ 123 w 238"/>
                <a:gd name="T33" fmla="*/ 257 h 265"/>
                <a:gd name="T34" fmla="*/ 145 w 238"/>
                <a:gd name="T35" fmla="*/ 265 h 265"/>
                <a:gd name="T36" fmla="*/ 161 w 238"/>
                <a:gd name="T37" fmla="*/ 247 h 265"/>
                <a:gd name="T38" fmla="*/ 143 w 238"/>
                <a:gd name="T39" fmla="*/ 223 h 265"/>
                <a:gd name="T40" fmla="*/ 204 w 238"/>
                <a:gd name="T41" fmla="*/ 192 h 265"/>
                <a:gd name="T42" fmla="*/ 169 w 238"/>
                <a:gd name="T43" fmla="*/ 152 h 265"/>
                <a:gd name="T44" fmla="*/ 185 w 238"/>
                <a:gd name="T45" fmla="*/ 118 h 265"/>
                <a:gd name="T46" fmla="*/ 212 w 238"/>
                <a:gd name="T47" fmla="*/ 108 h 265"/>
                <a:gd name="T48" fmla="*/ 222 w 238"/>
                <a:gd name="T49" fmla="*/ 135 h 265"/>
                <a:gd name="T50" fmla="*/ 228 w 238"/>
                <a:gd name="T51" fmla="*/ 93 h 265"/>
                <a:gd name="T52" fmla="*/ 219 w 238"/>
                <a:gd name="T53" fmla="*/ 43 h 265"/>
                <a:gd name="T54" fmla="*/ 228 w 238"/>
                <a:gd name="T55" fmla="*/ 13 h 265"/>
                <a:gd name="T56" fmla="*/ 156 w 238"/>
                <a:gd name="T57" fmla="*/ 17 h 265"/>
                <a:gd name="T58" fmla="*/ 133 w 238"/>
                <a:gd name="T59" fmla="*/ 32 h 265"/>
                <a:gd name="T60" fmla="*/ 154 w 238"/>
                <a:gd name="T61" fmla="*/ 56 h 265"/>
                <a:gd name="T62" fmla="*/ 156 w 238"/>
                <a:gd name="T63" fmla="*/ 94 h 265"/>
                <a:gd name="T64" fmla="*/ 149 w 238"/>
                <a:gd name="T65" fmla="*/ 97 h 265"/>
                <a:gd name="T66" fmla="*/ 142 w 238"/>
                <a:gd name="T67" fmla="*/ 86 h 265"/>
                <a:gd name="T68" fmla="*/ 150 w 238"/>
                <a:gd name="T69" fmla="*/ 67 h 265"/>
                <a:gd name="T70" fmla="*/ 140 w 238"/>
                <a:gd name="T71" fmla="*/ 40 h 265"/>
                <a:gd name="T72" fmla="*/ 131 w 238"/>
                <a:gd name="T73" fmla="*/ 70 h 265"/>
                <a:gd name="T74" fmla="*/ 119 w 238"/>
                <a:gd name="T75" fmla="*/ 104 h 265"/>
                <a:gd name="T76" fmla="*/ 104 w 238"/>
                <a:gd name="T77" fmla="*/ 88 h 265"/>
                <a:gd name="T78" fmla="*/ 109 w 238"/>
                <a:gd name="T79" fmla="*/ 69 h 265"/>
                <a:gd name="T80" fmla="*/ 113 w 238"/>
                <a:gd name="T81" fmla="*/ 54 h 265"/>
                <a:gd name="T82" fmla="*/ 126 w 238"/>
                <a:gd name="T83" fmla="*/ 31 h 265"/>
                <a:gd name="T84" fmla="*/ 85 w 238"/>
                <a:gd name="T85" fmla="*/ 29 h 265"/>
                <a:gd name="T86" fmla="*/ 59 w 238"/>
                <a:gd name="T87" fmla="*/ 2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8" h="265">
                  <a:moveTo>
                    <a:pt x="59" y="24"/>
                  </a:moveTo>
                  <a:cubicBezTo>
                    <a:pt x="59" y="24"/>
                    <a:pt x="81" y="33"/>
                    <a:pt x="88" y="41"/>
                  </a:cubicBezTo>
                  <a:cubicBezTo>
                    <a:pt x="91" y="49"/>
                    <a:pt x="65" y="55"/>
                    <a:pt x="65" y="55"/>
                  </a:cubicBezTo>
                  <a:cubicBezTo>
                    <a:pt x="65" y="55"/>
                    <a:pt x="64" y="74"/>
                    <a:pt x="56" y="78"/>
                  </a:cubicBezTo>
                  <a:cubicBezTo>
                    <a:pt x="49" y="81"/>
                    <a:pt x="34" y="73"/>
                    <a:pt x="34" y="73"/>
                  </a:cubicBezTo>
                  <a:cubicBezTo>
                    <a:pt x="26" y="80"/>
                    <a:pt x="26" y="80"/>
                    <a:pt x="26" y="80"/>
                  </a:cubicBezTo>
                  <a:cubicBezTo>
                    <a:pt x="15" y="76"/>
                    <a:pt x="15" y="76"/>
                    <a:pt x="15" y="76"/>
                  </a:cubicBezTo>
                  <a:cubicBezTo>
                    <a:pt x="0" y="75"/>
                    <a:pt x="0" y="75"/>
                    <a:pt x="0" y="75"/>
                  </a:cubicBezTo>
                  <a:cubicBezTo>
                    <a:pt x="0" y="83"/>
                    <a:pt x="0" y="83"/>
                    <a:pt x="0" y="83"/>
                  </a:cubicBezTo>
                  <a:cubicBezTo>
                    <a:pt x="11" y="87"/>
                    <a:pt x="11" y="87"/>
                    <a:pt x="11" y="87"/>
                  </a:cubicBezTo>
                  <a:cubicBezTo>
                    <a:pt x="18" y="91"/>
                    <a:pt x="18" y="91"/>
                    <a:pt x="18" y="91"/>
                  </a:cubicBezTo>
                  <a:cubicBezTo>
                    <a:pt x="7" y="91"/>
                    <a:pt x="7" y="91"/>
                    <a:pt x="7" y="91"/>
                  </a:cubicBezTo>
                  <a:cubicBezTo>
                    <a:pt x="7" y="98"/>
                    <a:pt x="7" y="98"/>
                    <a:pt x="7" y="98"/>
                  </a:cubicBezTo>
                  <a:cubicBezTo>
                    <a:pt x="14" y="99"/>
                    <a:pt x="14" y="99"/>
                    <a:pt x="14" y="99"/>
                  </a:cubicBezTo>
                  <a:cubicBezTo>
                    <a:pt x="32" y="111"/>
                    <a:pt x="32" y="111"/>
                    <a:pt x="32" y="111"/>
                  </a:cubicBezTo>
                  <a:cubicBezTo>
                    <a:pt x="32" y="122"/>
                    <a:pt x="32" y="122"/>
                    <a:pt x="32" y="122"/>
                  </a:cubicBezTo>
                  <a:cubicBezTo>
                    <a:pt x="24" y="126"/>
                    <a:pt x="24" y="126"/>
                    <a:pt x="24" y="126"/>
                  </a:cubicBezTo>
                  <a:cubicBezTo>
                    <a:pt x="27" y="134"/>
                    <a:pt x="27" y="134"/>
                    <a:pt x="27" y="134"/>
                  </a:cubicBezTo>
                  <a:cubicBezTo>
                    <a:pt x="38" y="138"/>
                    <a:pt x="38" y="138"/>
                    <a:pt x="38" y="138"/>
                  </a:cubicBezTo>
                  <a:cubicBezTo>
                    <a:pt x="37" y="161"/>
                    <a:pt x="37" y="161"/>
                    <a:pt x="37" y="161"/>
                  </a:cubicBezTo>
                  <a:cubicBezTo>
                    <a:pt x="22" y="172"/>
                    <a:pt x="22" y="172"/>
                    <a:pt x="22" y="172"/>
                  </a:cubicBezTo>
                  <a:cubicBezTo>
                    <a:pt x="50" y="204"/>
                    <a:pt x="50" y="204"/>
                    <a:pt x="50" y="204"/>
                  </a:cubicBezTo>
                  <a:cubicBezTo>
                    <a:pt x="50" y="204"/>
                    <a:pt x="65" y="200"/>
                    <a:pt x="73" y="201"/>
                  </a:cubicBezTo>
                  <a:cubicBezTo>
                    <a:pt x="77" y="201"/>
                    <a:pt x="80" y="213"/>
                    <a:pt x="88" y="209"/>
                  </a:cubicBezTo>
                  <a:cubicBezTo>
                    <a:pt x="95" y="210"/>
                    <a:pt x="99" y="198"/>
                    <a:pt x="107" y="202"/>
                  </a:cubicBezTo>
                  <a:cubicBezTo>
                    <a:pt x="110" y="210"/>
                    <a:pt x="106" y="218"/>
                    <a:pt x="106" y="218"/>
                  </a:cubicBezTo>
                  <a:cubicBezTo>
                    <a:pt x="113" y="218"/>
                    <a:pt x="113" y="218"/>
                    <a:pt x="113" y="218"/>
                  </a:cubicBezTo>
                  <a:cubicBezTo>
                    <a:pt x="106" y="225"/>
                    <a:pt x="106" y="225"/>
                    <a:pt x="106" y="225"/>
                  </a:cubicBezTo>
                  <a:cubicBezTo>
                    <a:pt x="109" y="233"/>
                    <a:pt x="109" y="233"/>
                    <a:pt x="109" y="233"/>
                  </a:cubicBezTo>
                  <a:cubicBezTo>
                    <a:pt x="113" y="233"/>
                    <a:pt x="113" y="233"/>
                    <a:pt x="113" y="233"/>
                  </a:cubicBezTo>
                  <a:cubicBezTo>
                    <a:pt x="112" y="241"/>
                    <a:pt x="112" y="241"/>
                    <a:pt x="112" y="241"/>
                  </a:cubicBezTo>
                  <a:cubicBezTo>
                    <a:pt x="94" y="232"/>
                    <a:pt x="94" y="232"/>
                    <a:pt x="94" y="232"/>
                  </a:cubicBezTo>
                  <a:cubicBezTo>
                    <a:pt x="94" y="236"/>
                    <a:pt x="94" y="236"/>
                    <a:pt x="94" y="236"/>
                  </a:cubicBezTo>
                  <a:cubicBezTo>
                    <a:pt x="123" y="257"/>
                    <a:pt x="123" y="257"/>
                    <a:pt x="123" y="257"/>
                  </a:cubicBezTo>
                  <a:cubicBezTo>
                    <a:pt x="138" y="254"/>
                    <a:pt x="138" y="254"/>
                    <a:pt x="138" y="254"/>
                  </a:cubicBezTo>
                  <a:cubicBezTo>
                    <a:pt x="145" y="265"/>
                    <a:pt x="145" y="265"/>
                    <a:pt x="145" y="265"/>
                  </a:cubicBezTo>
                  <a:cubicBezTo>
                    <a:pt x="164" y="259"/>
                    <a:pt x="164" y="259"/>
                    <a:pt x="164" y="259"/>
                  </a:cubicBezTo>
                  <a:cubicBezTo>
                    <a:pt x="164" y="259"/>
                    <a:pt x="153" y="251"/>
                    <a:pt x="161" y="247"/>
                  </a:cubicBezTo>
                  <a:cubicBezTo>
                    <a:pt x="165" y="243"/>
                    <a:pt x="172" y="236"/>
                    <a:pt x="165" y="232"/>
                  </a:cubicBezTo>
                  <a:cubicBezTo>
                    <a:pt x="154" y="231"/>
                    <a:pt x="143" y="231"/>
                    <a:pt x="143" y="223"/>
                  </a:cubicBezTo>
                  <a:cubicBezTo>
                    <a:pt x="147" y="220"/>
                    <a:pt x="170" y="202"/>
                    <a:pt x="181" y="202"/>
                  </a:cubicBezTo>
                  <a:cubicBezTo>
                    <a:pt x="189" y="203"/>
                    <a:pt x="200" y="203"/>
                    <a:pt x="204" y="192"/>
                  </a:cubicBezTo>
                  <a:cubicBezTo>
                    <a:pt x="205" y="180"/>
                    <a:pt x="194" y="165"/>
                    <a:pt x="187" y="164"/>
                  </a:cubicBezTo>
                  <a:cubicBezTo>
                    <a:pt x="180" y="160"/>
                    <a:pt x="165" y="156"/>
                    <a:pt x="169" y="152"/>
                  </a:cubicBezTo>
                  <a:cubicBezTo>
                    <a:pt x="173" y="148"/>
                    <a:pt x="173" y="133"/>
                    <a:pt x="173" y="133"/>
                  </a:cubicBezTo>
                  <a:cubicBezTo>
                    <a:pt x="173" y="133"/>
                    <a:pt x="182" y="118"/>
                    <a:pt x="185" y="118"/>
                  </a:cubicBezTo>
                  <a:cubicBezTo>
                    <a:pt x="189" y="115"/>
                    <a:pt x="204" y="115"/>
                    <a:pt x="204" y="115"/>
                  </a:cubicBezTo>
                  <a:cubicBezTo>
                    <a:pt x="204" y="115"/>
                    <a:pt x="208" y="104"/>
                    <a:pt x="212" y="108"/>
                  </a:cubicBezTo>
                  <a:cubicBezTo>
                    <a:pt x="219" y="108"/>
                    <a:pt x="212" y="108"/>
                    <a:pt x="212" y="116"/>
                  </a:cubicBezTo>
                  <a:cubicBezTo>
                    <a:pt x="211" y="119"/>
                    <a:pt x="214" y="139"/>
                    <a:pt x="222" y="135"/>
                  </a:cubicBezTo>
                  <a:cubicBezTo>
                    <a:pt x="230" y="132"/>
                    <a:pt x="238" y="121"/>
                    <a:pt x="238" y="121"/>
                  </a:cubicBezTo>
                  <a:cubicBezTo>
                    <a:pt x="238" y="121"/>
                    <a:pt x="231" y="94"/>
                    <a:pt x="228" y="93"/>
                  </a:cubicBezTo>
                  <a:cubicBezTo>
                    <a:pt x="228" y="90"/>
                    <a:pt x="225" y="78"/>
                    <a:pt x="225" y="74"/>
                  </a:cubicBezTo>
                  <a:cubicBezTo>
                    <a:pt x="219" y="43"/>
                    <a:pt x="219" y="43"/>
                    <a:pt x="219" y="43"/>
                  </a:cubicBezTo>
                  <a:cubicBezTo>
                    <a:pt x="219" y="43"/>
                    <a:pt x="219" y="28"/>
                    <a:pt x="223" y="24"/>
                  </a:cubicBezTo>
                  <a:cubicBezTo>
                    <a:pt x="231" y="25"/>
                    <a:pt x="235" y="17"/>
                    <a:pt x="228" y="13"/>
                  </a:cubicBezTo>
                  <a:cubicBezTo>
                    <a:pt x="220" y="9"/>
                    <a:pt x="187" y="0"/>
                    <a:pt x="187" y="0"/>
                  </a:cubicBezTo>
                  <a:cubicBezTo>
                    <a:pt x="187" y="0"/>
                    <a:pt x="168" y="10"/>
                    <a:pt x="156" y="17"/>
                  </a:cubicBezTo>
                  <a:cubicBezTo>
                    <a:pt x="145" y="21"/>
                    <a:pt x="133" y="24"/>
                    <a:pt x="133" y="24"/>
                  </a:cubicBezTo>
                  <a:cubicBezTo>
                    <a:pt x="133" y="32"/>
                    <a:pt x="133" y="32"/>
                    <a:pt x="133" y="32"/>
                  </a:cubicBezTo>
                  <a:cubicBezTo>
                    <a:pt x="133" y="32"/>
                    <a:pt x="148" y="29"/>
                    <a:pt x="152" y="32"/>
                  </a:cubicBezTo>
                  <a:cubicBezTo>
                    <a:pt x="155" y="40"/>
                    <a:pt x="154" y="56"/>
                    <a:pt x="154" y="56"/>
                  </a:cubicBezTo>
                  <a:cubicBezTo>
                    <a:pt x="161" y="75"/>
                    <a:pt x="161" y="75"/>
                    <a:pt x="161" y="75"/>
                  </a:cubicBezTo>
                  <a:cubicBezTo>
                    <a:pt x="156" y="94"/>
                    <a:pt x="156" y="94"/>
                    <a:pt x="156" y="94"/>
                  </a:cubicBezTo>
                  <a:cubicBezTo>
                    <a:pt x="160" y="102"/>
                    <a:pt x="160" y="102"/>
                    <a:pt x="160" y="102"/>
                  </a:cubicBezTo>
                  <a:cubicBezTo>
                    <a:pt x="149" y="97"/>
                    <a:pt x="149" y="97"/>
                    <a:pt x="149" y="97"/>
                  </a:cubicBezTo>
                  <a:cubicBezTo>
                    <a:pt x="134" y="100"/>
                    <a:pt x="134" y="100"/>
                    <a:pt x="134" y="100"/>
                  </a:cubicBezTo>
                  <a:cubicBezTo>
                    <a:pt x="142" y="86"/>
                    <a:pt x="142" y="86"/>
                    <a:pt x="142" y="86"/>
                  </a:cubicBezTo>
                  <a:cubicBezTo>
                    <a:pt x="153" y="86"/>
                    <a:pt x="153" y="86"/>
                    <a:pt x="153" y="86"/>
                  </a:cubicBezTo>
                  <a:cubicBezTo>
                    <a:pt x="153" y="82"/>
                    <a:pt x="154" y="71"/>
                    <a:pt x="150" y="67"/>
                  </a:cubicBezTo>
                  <a:cubicBezTo>
                    <a:pt x="151" y="44"/>
                    <a:pt x="151" y="44"/>
                    <a:pt x="151" y="44"/>
                  </a:cubicBezTo>
                  <a:cubicBezTo>
                    <a:pt x="151" y="44"/>
                    <a:pt x="144" y="36"/>
                    <a:pt x="140" y="40"/>
                  </a:cubicBezTo>
                  <a:cubicBezTo>
                    <a:pt x="133" y="43"/>
                    <a:pt x="139" y="59"/>
                    <a:pt x="139" y="59"/>
                  </a:cubicBezTo>
                  <a:cubicBezTo>
                    <a:pt x="139" y="59"/>
                    <a:pt x="132" y="62"/>
                    <a:pt x="131" y="70"/>
                  </a:cubicBezTo>
                  <a:cubicBezTo>
                    <a:pt x="131" y="89"/>
                    <a:pt x="131" y="89"/>
                    <a:pt x="131" y="89"/>
                  </a:cubicBezTo>
                  <a:cubicBezTo>
                    <a:pt x="119" y="104"/>
                    <a:pt x="119" y="104"/>
                    <a:pt x="119" y="104"/>
                  </a:cubicBezTo>
                  <a:cubicBezTo>
                    <a:pt x="123" y="88"/>
                    <a:pt x="123" y="88"/>
                    <a:pt x="123" y="88"/>
                  </a:cubicBezTo>
                  <a:cubicBezTo>
                    <a:pt x="104" y="88"/>
                    <a:pt x="104" y="88"/>
                    <a:pt x="104" y="88"/>
                  </a:cubicBezTo>
                  <a:cubicBezTo>
                    <a:pt x="116" y="80"/>
                    <a:pt x="116" y="80"/>
                    <a:pt x="116" y="80"/>
                  </a:cubicBezTo>
                  <a:cubicBezTo>
                    <a:pt x="109" y="69"/>
                    <a:pt x="109" y="69"/>
                    <a:pt x="109" y="69"/>
                  </a:cubicBezTo>
                  <a:cubicBezTo>
                    <a:pt x="98" y="68"/>
                    <a:pt x="98" y="68"/>
                    <a:pt x="98" y="68"/>
                  </a:cubicBezTo>
                  <a:cubicBezTo>
                    <a:pt x="98" y="68"/>
                    <a:pt x="113" y="57"/>
                    <a:pt x="113" y="54"/>
                  </a:cubicBezTo>
                  <a:cubicBezTo>
                    <a:pt x="114" y="46"/>
                    <a:pt x="114" y="42"/>
                    <a:pt x="118" y="39"/>
                  </a:cubicBezTo>
                  <a:cubicBezTo>
                    <a:pt x="122" y="39"/>
                    <a:pt x="126" y="31"/>
                    <a:pt x="126" y="31"/>
                  </a:cubicBezTo>
                  <a:cubicBezTo>
                    <a:pt x="122" y="27"/>
                    <a:pt x="122" y="27"/>
                    <a:pt x="122" y="27"/>
                  </a:cubicBezTo>
                  <a:cubicBezTo>
                    <a:pt x="122" y="27"/>
                    <a:pt x="92" y="33"/>
                    <a:pt x="85" y="29"/>
                  </a:cubicBezTo>
                  <a:cubicBezTo>
                    <a:pt x="74" y="25"/>
                    <a:pt x="55" y="13"/>
                    <a:pt x="55" y="13"/>
                  </a:cubicBezTo>
                  <a:lnTo>
                    <a:pt x="59"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7" name="Freeform 139">
              <a:extLst>
                <a:ext uri="{FF2B5EF4-FFF2-40B4-BE49-F238E27FC236}">
                  <a16:creationId xmlns:a16="http://schemas.microsoft.com/office/drawing/2014/main" id="{AC627C04-D3B5-FE5C-D0AA-E4525EFF8DE6}"/>
                </a:ext>
              </a:extLst>
            </p:cNvPr>
            <p:cNvSpPr>
              <a:spLocks/>
            </p:cNvSpPr>
            <p:nvPr/>
          </p:nvSpPr>
          <p:spPr bwMode="gray">
            <a:xfrm>
              <a:off x="10110267" y="2578643"/>
              <a:ext cx="16183" cy="8991"/>
            </a:xfrm>
            <a:custGeom>
              <a:avLst/>
              <a:gdLst>
                <a:gd name="T0" fmla="*/ 7 w 27"/>
                <a:gd name="T1" fmla="*/ 15 h 15"/>
                <a:gd name="T2" fmla="*/ 27 w 27"/>
                <a:gd name="T3" fmla="*/ 1 h 15"/>
                <a:gd name="T4" fmla="*/ 1 w 27"/>
                <a:gd name="T5" fmla="*/ 0 h 15"/>
                <a:gd name="T6" fmla="*/ 7 w 27"/>
                <a:gd name="T7" fmla="*/ 15 h 15"/>
              </a:gdLst>
              <a:ahLst/>
              <a:cxnLst>
                <a:cxn ang="0">
                  <a:pos x="T0" y="T1"/>
                </a:cxn>
                <a:cxn ang="0">
                  <a:pos x="T2" y="T3"/>
                </a:cxn>
                <a:cxn ang="0">
                  <a:pos x="T4" y="T5"/>
                </a:cxn>
                <a:cxn ang="0">
                  <a:pos x="T6" y="T7"/>
                </a:cxn>
              </a:cxnLst>
              <a:rect l="0" t="0" r="r" b="b"/>
              <a:pathLst>
                <a:path w="27" h="15">
                  <a:moveTo>
                    <a:pt x="7" y="15"/>
                  </a:moveTo>
                  <a:cubicBezTo>
                    <a:pt x="19" y="12"/>
                    <a:pt x="27" y="1"/>
                    <a:pt x="27" y="1"/>
                  </a:cubicBezTo>
                  <a:cubicBezTo>
                    <a:pt x="1" y="0"/>
                    <a:pt x="1" y="0"/>
                    <a:pt x="1" y="0"/>
                  </a:cubicBezTo>
                  <a:cubicBezTo>
                    <a:pt x="1" y="0"/>
                    <a:pt x="0" y="15"/>
                    <a:pt x="7"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8" name="Freeform 140">
              <a:extLst>
                <a:ext uri="{FF2B5EF4-FFF2-40B4-BE49-F238E27FC236}">
                  <a16:creationId xmlns:a16="http://schemas.microsoft.com/office/drawing/2014/main" id="{7E15443B-77E1-9EEF-79AF-77FFF1995D38}"/>
                </a:ext>
              </a:extLst>
            </p:cNvPr>
            <p:cNvSpPr>
              <a:spLocks/>
            </p:cNvSpPr>
            <p:nvPr/>
          </p:nvSpPr>
          <p:spPr bwMode="gray">
            <a:xfrm>
              <a:off x="10065318" y="2492339"/>
              <a:ext cx="23374" cy="19778"/>
            </a:xfrm>
            <a:custGeom>
              <a:avLst/>
              <a:gdLst>
                <a:gd name="T0" fmla="*/ 22 w 41"/>
                <a:gd name="T1" fmla="*/ 30 h 34"/>
                <a:gd name="T2" fmla="*/ 26 w 41"/>
                <a:gd name="T3" fmla="*/ 19 h 34"/>
                <a:gd name="T4" fmla="*/ 41 w 41"/>
                <a:gd name="T5" fmla="*/ 16 h 34"/>
                <a:gd name="T6" fmla="*/ 38 w 41"/>
                <a:gd name="T7" fmla="*/ 0 h 34"/>
                <a:gd name="T8" fmla="*/ 8 w 41"/>
                <a:gd name="T9" fmla="*/ 10 h 34"/>
                <a:gd name="T10" fmla="*/ 0 w 41"/>
                <a:gd name="T11" fmla="*/ 22 h 34"/>
                <a:gd name="T12" fmla="*/ 11 w 41"/>
                <a:gd name="T13" fmla="*/ 26 h 34"/>
                <a:gd name="T14" fmla="*/ 22 w 41"/>
                <a:gd name="T15" fmla="*/ 3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4">
                  <a:moveTo>
                    <a:pt x="22" y="30"/>
                  </a:moveTo>
                  <a:cubicBezTo>
                    <a:pt x="26" y="30"/>
                    <a:pt x="22" y="26"/>
                    <a:pt x="26" y="19"/>
                  </a:cubicBezTo>
                  <a:cubicBezTo>
                    <a:pt x="34" y="15"/>
                    <a:pt x="41" y="16"/>
                    <a:pt x="41" y="16"/>
                  </a:cubicBezTo>
                  <a:cubicBezTo>
                    <a:pt x="38" y="0"/>
                    <a:pt x="38" y="0"/>
                    <a:pt x="38" y="0"/>
                  </a:cubicBezTo>
                  <a:cubicBezTo>
                    <a:pt x="38" y="0"/>
                    <a:pt x="16" y="3"/>
                    <a:pt x="8" y="10"/>
                  </a:cubicBezTo>
                  <a:cubicBezTo>
                    <a:pt x="4" y="14"/>
                    <a:pt x="0" y="22"/>
                    <a:pt x="0" y="22"/>
                  </a:cubicBezTo>
                  <a:cubicBezTo>
                    <a:pt x="11" y="26"/>
                    <a:pt x="11" y="26"/>
                    <a:pt x="11" y="26"/>
                  </a:cubicBezTo>
                  <a:cubicBezTo>
                    <a:pt x="11" y="26"/>
                    <a:pt x="14" y="34"/>
                    <a:pt x="22"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9" name="Freeform 141">
              <a:extLst>
                <a:ext uri="{FF2B5EF4-FFF2-40B4-BE49-F238E27FC236}">
                  <a16:creationId xmlns:a16="http://schemas.microsoft.com/office/drawing/2014/main" id="{BA1F3825-FBD7-8A10-A545-4B80E2D75D23}"/>
                </a:ext>
              </a:extLst>
            </p:cNvPr>
            <p:cNvSpPr>
              <a:spLocks/>
            </p:cNvSpPr>
            <p:nvPr/>
          </p:nvSpPr>
          <p:spPr bwMode="gray">
            <a:xfrm>
              <a:off x="10200167" y="2724279"/>
              <a:ext cx="5395" cy="12586"/>
            </a:xfrm>
            <a:custGeom>
              <a:avLst/>
              <a:gdLst>
                <a:gd name="T0" fmla="*/ 7 w 10"/>
                <a:gd name="T1" fmla="*/ 12 h 23"/>
                <a:gd name="T2" fmla="*/ 0 w 10"/>
                <a:gd name="T3" fmla="*/ 11 h 23"/>
                <a:gd name="T4" fmla="*/ 7 w 10"/>
                <a:gd name="T5" fmla="*/ 12 h 23"/>
              </a:gdLst>
              <a:ahLst/>
              <a:cxnLst>
                <a:cxn ang="0">
                  <a:pos x="T0" y="T1"/>
                </a:cxn>
                <a:cxn ang="0">
                  <a:pos x="T2" y="T3"/>
                </a:cxn>
                <a:cxn ang="0">
                  <a:pos x="T4" y="T5"/>
                </a:cxn>
              </a:cxnLst>
              <a:rect l="0" t="0" r="r" b="b"/>
              <a:pathLst>
                <a:path w="10" h="23">
                  <a:moveTo>
                    <a:pt x="7" y="12"/>
                  </a:moveTo>
                  <a:cubicBezTo>
                    <a:pt x="8" y="0"/>
                    <a:pt x="0" y="11"/>
                    <a:pt x="0" y="11"/>
                  </a:cubicBezTo>
                  <a:cubicBezTo>
                    <a:pt x="3" y="23"/>
                    <a:pt x="10" y="23"/>
                    <a:pt x="7"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0" name="Freeform 142">
              <a:extLst>
                <a:ext uri="{FF2B5EF4-FFF2-40B4-BE49-F238E27FC236}">
                  <a16:creationId xmlns:a16="http://schemas.microsoft.com/office/drawing/2014/main" id="{FB884C36-10F1-C299-475B-F5517BF160AA}"/>
                </a:ext>
              </a:extLst>
            </p:cNvPr>
            <p:cNvSpPr>
              <a:spLocks/>
            </p:cNvSpPr>
            <p:nvPr/>
          </p:nvSpPr>
          <p:spPr bwMode="gray">
            <a:xfrm>
              <a:off x="9953844" y="2797996"/>
              <a:ext cx="28768" cy="34162"/>
            </a:xfrm>
            <a:custGeom>
              <a:avLst/>
              <a:gdLst>
                <a:gd name="T0" fmla="*/ 12 w 51"/>
                <a:gd name="T1" fmla="*/ 0 h 55"/>
                <a:gd name="T2" fmla="*/ 0 w 51"/>
                <a:gd name="T3" fmla="*/ 11 h 55"/>
                <a:gd name="T4" fmla="*/ 22 w 51"/>
                <a:gd name="T5" fmla="*/ 27 h 55"/>
                <a:gd name="T6" fmla="*/ 22 w 51"/>
                <a:gd name="T7" fmla="*/ 35 h 55"/>
                <a:gd name="T8" fmla="*/ 18 w 51"/>
                <a:gd name="T9" fmla="*/ 31 h 55"/>
                <a:gd name="T10" fmla="*/ 14 w 51"/>
                <a:gd name="T11" fmla="*/ 31 h 55"/>
                <a:gd name="T12" fmla="*/ 17 w 51"/>
                <a:gd name="T13" fmla="*/ 42 h 55"/>
                <a:gd name="T14" fmla="*/ 25 w 51"/>
                <a:gd name="T15" fmla="*/ 43 h 55"/>
                <a:gd name="T16" fmla="*/ 36 w 51"/>
                <a:gd name="T17" fmla="*/ 55 h 55"/>
                <a:gd name="T18" fmla="*/ 51 w 51"/>
                <a:gd name="T19" fmla="*/ 52 h 55"/>
                <a:gd name="T20" fmla="*/ 34 w 51"/>
                <a:gd name="T21" fmla="*/ 16 h 55"/>
                <a:gd name="T22" fmla="*/ 12 w 51"/>
                <a:gd name="T2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5">
                  <a:moveTo>
                    <a:pt x="12" y="0"/>
                  </a:moveTo>
                  <a:cubicBezTo>
                    <a:pt x="8" y="0"/>
                    <a:pt x="1" y="3"/>
                    <a:pt x="0" y="11"/>
                  </a:cubicBezTo>
                  <a:cubicBezTo>
                    <a:pt x="0" y="15"/>
                    <a:pt x="18" y="23"/>
                    <a:pt x="22" y="27"/>
                  </a:cubicBezTo>
                  <a:cubicBezTo>
                    <a:pt x="29" y="32"/>
                    <a:pt x="22" y="35"/>
                    <a:pt x="22" y="35"/>
                  </a:cubicBezTo>
                  <a:cubicBezTo>
                    <a:pt x="18" y="31"/>
                    <a:pt x="18" y="31"/>
                    <a:pt x="18" y="31"/>
                  </a:cubicBezTo>
                  <a:cubicBezTo>
                    <a:pt x="14" y="31"/>
                    <a:pt x="14" y="31"/>
                    <a:pt x="14" y="31"/>
                  </a:cubicBezTo>
                  <a:cubicBezTo>
                    <a:pt x="17" y="42"/>
                    <a:pt x="17" y="42"/>
                    <a:pt x="17" y="42"/>
                  </a:cubicBezTo>
                  <a:cubicBezTo>
                    <a:pt x="25" y="43"/>
                    <a:pt x="25" y="43"/>
                    <a:pt x="25" y="43"/>
                  </a:cubicBezTo>
                  <a:cubicBezTo>
                    <a:pt x="36" y="55"/>
                    <a:pt x="36" y="55"/>
                    <a:pt x="36" y="55"/>
                  </a:cubicBezTo>
                  <a:cubicBezTo>
                    <a:pt x="51" y="52"/>
                    <a:pt x="51" y="52"/>
                    <a:pt x="51" y="52"/>
                  </a:cubicBezTo>
                  <a:cubicBezTo>
                    <a:pt x="51" y="52"/>
                    <a:pt x="44" y="32"/>
                    <a:pt x="34" y="16"/>
                  </a:cubicBezTo>
                  <a:cubicBezTo>
                    <a:pt x="34" y="16"/>
                    <a:pt x="19" y="1"/>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143">
              <a:extLst>
                <a:ext uri="{FF2B5EF4-FFF2-40B4-BE49-F238E27FC236}">
                  <a16:creationId xmlns:a16="http://schemas.microsoft.com/office/drawing/2014/main" id="{4B5D9A70-9C5D-1C9D-D3EF-A52D82AE33DB}"/>
                </a:ext>
              </a:extLst>
            </p:cNvPr>
            <p:cNvSpPr>
              <a:spLocks/>
            </p:cNvSpPr>
            <p:nvPr/>
          </p:nvSpPr>
          <p:spPr bwMode="gray">
            <a:xfrm>
              <a:off x="10352995" y="2783612"/>
              <a:ext cx="39556" cy="41354"/>
            </a:xfrm>
            <a:custGeom>
              <a:avLst/>
              <a:gdLst>
                <a:gd name="T0" fmla="*/ 0 w 67"/>
                <a:gd name="T1" fmla="*/ 45 h 70"/>
                <a:gd name="T2" fmla="*/ 51 w 67"/>
                <a:gd name="T3" fmla="*/ 70 h 70"/>
                <a:gd name="T4" fmla="*/ 55 w 67"/>
                <a:gd name="T5" fmla="*/ 67 h 70"/>
                <a:gd name="T6" fmla="*/ 55 w 67"/>
                <a:gd name="T7" fmla="*/ 55 h 70"/>
                <a:gd name="T8" fmla="*/ 67 w 67"/>
                <a:gd name="T9" fmla="*/ 52 h 70"/>
                <a:gd name="T10" fmla="*/ 63 w 67"/>
                <a:gd name="T11" fmla="*/ 40 h 70"/>
                <a:gd name="T12" fmla="*/ 42 w 67"/>
                <a:gd name="T13" fmla="*/ 24 h 70"/>
                <a:gd name="T14" fmla="*/ 27 w 67"/>
                <a:gd name="T15" fmla="*/ 20 h 70"/>
                <a:gd name="T16" fmla="*/ 13 w 67"/>
                <a:gd name="T17" fmla="*/ 0 h 70"/>
                <a:gd name="T18" fmla="*/ 1 w 67"/>
                <a:gd name="T19" fmla="*/ 18 h 70"/>
                <a:gd name="T20" fmla="*/ 4 w 67"/>
                <a:gd name="T21" fmla="*/ 30 h 70"/>
                <a:gd name="T22" fmla="*/ 0 w 67"/>
                <a:gd name="T23" fmla="*/ 4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0">
                  <a:moveTo>
                    <a:pt x="0" y="45"/>
                  </a:moveTo>
                  <a:cubicBezTo>
                    <a:pt x="51" y="70"/>
                    <a:pt x="51" y="70"/>
                    <a:pt x="51" y="70"/>
                  </a:cubicBezTo>
                  <a:cubicBezTo>
                    <a:pt x="55" y="67"/>
                    <a:pt x="55" y="67"/>
                    <a:pt x="55" y="67"/>
                  </a:cubicBezTo>
                  <a:cubicBezTo>
                    <a:pt x="55" y="55"/>
                    <a:pt x="55" y="55"/>
                    <a:pt x="55" y="55"/>
                  </a:cubicBezTo>
                  <a:cubicBezTo>
                    <a:pt x="67" y="52"/>
                    <a:pt x="67" y="52"/>
                    <a:pt x="67" y="52"/>
                  </a:cubicBezTo>
                  <a:cubicBezTo>
                    <a:pt x="63" y="40"/>
                    <a:pt x="63" y="40"/>
                    <a:pt x="63" y="40"/>
                  </a:cubicBezTo>
                  <a:cubicBezTo>
                    <a:pt x="42" y="24"/>
                    <a:pt x="42" y="24"/>
                    <a:pt x="42" y="24"/>
                  </a:cubicBezTo>
                  <a:cubicBezTo>
                    <a:pt x="27" y="20"/>
                    <a:pt x="27" y="20"/>
                    <a:pt x="27" y="20"/>
                  </a:cubicBezTo>
                  <a:cubicBezTo>
                    <a:pt x="13" y="0"/>
                    <a:pt x="13" y="0"/>
                    <a:pt x="13" y="0"/>
                  </a:cubicBezTo>
                  <a:cubicBezTo>
                    <a:pt x="1" y="18"/>
                    <a:pt x="1" y="18"/>
                    <a:pt x="1" y="18"/>
                  </a:cubicBezTo>
                  <a:cubicBezTo>
                    <a:pt x="1" y="18"/>
                    <a:pt x="8" y="22"/>
                    <a:pt x="4" y="30"/>
                  </a:cubicBezTo>
                  <a:cubicBezTo>
                    <a:pt x="4" y="38"/>
                    <a:pt x="0" y="45"/>
                    <a:pt x="0" y="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2" name="Freeform 144">
              <a:extLst>
                <a:ext uri="{FF2B5EF4-FFF2-40B4-BE49-F238E27FC236}">
                  <a16:creationId xmlns:a16="http://schemas.microsoft.com/office/drawing/2014/main" id="{EE8EF652-5C5E-6DC2-F64F-C2317127DC3E}"/>
                </a:ext>
              </a:extLst>
            </p:cNvPr>
            <p:cNvSpPr>
              <a:spLocks/>
            </p:cNvSpPr>
            <p:nvPr/>
          </p:nvSpPr>
          <p:spPr bwMode="gray">
            <a:xfrm>
              <a:off x="10005984" y="2817774"/>
              <a:ext cx="8991" cy="1798"/>
            </a:xfrm>
            <a:custGeom>
              <a:avLst/>
              <a:gdLst>
                <a:gd name="T0" fmla="*/ 11 w 15"/>
                <a:gd name="T1" fmla="*/ 4 h 4"/>
                <a:gd name="T2" fmla="*/ 15 w 15"/>
                <a:gd name="T3" fmla="*/ 0 h 4"/>
                <a:gd name="T4" fmla="*/ 0 w 15"/>
                <a:gd name="T5" fmla="*/ 0 h 4"/>
                <a:gd name="T6" fmla="*/ 11 w 15"/>
                <a:gd name="T7" fmla="*/ 4 h 4"/>
              </a:gdLst>
              <a:ahLst/>
              <a:cxnLst>
                <a:cxn ang="0">
                  <a:pos x="T0" y="T1"/>
                </a:cxn>
                <a:cxn ang="0">
                  <a:pos x="T2" y="T3"/>
                </a:cxn>
                <a:cxn ang="0">
                  <a:pos x="T4" y="T5"/>
                </a:cxn>
                <a:cxn ang="0">
                  <a:pos x="T6" y="T7"/>
                </a:cxn>
              </a:cxnLst>
              <a:rect l="0" t="0" r="r" b="b"/>
              <a:pathLst>
                <a:path w="15" h="4">
                  <a:moveTo>
                    <a:pt x="11" y="4"/>
                  </a:moveTo>
                  <a:cubicBezTo>
                    <a:pt x="15" y="4"/>
                    <a:pt x="15" y="0"/>
                    <a:pt x="15" y="0"/>
                  </a:cubicBezTo>
                  <a:cubicBezTo>
                    <a:pt x="0" y="0"/>
                    <a:pt x="0" y="0"/>
                    <a:pt x="0" y="0"/>
                  </a:cubicBezTo>
                  <a:lnTo>
                    <a:pt x="11"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3" name="Freeform 145">
              <a:extLst>
                <a:ext uri="{FF2B5EF4-FFF2-40B4-BE49-F238E27FC236}">
                  <a16:creationId xmlns:a16="http://schemas.microsoft.com/office/drawing/2014/main" id="{61DDBF9F-D377-6BB0-92C2-C285E96535B2}"/>
                </a:ext>
              </a:extLst>
            </p:cNvPr>
            <p:cNvSpPr>
              <a:spLocks/>
            </p:cNvSpPr>
            <p:nvPr/>
          </p:nvSpPr>
          <p:spPr bwMode="gray">
            <a:xfrm>
              <a:off x="9962833" y="2727876"/>
              <a:ext cx="84505" cy="82707"/>
            </a:xfrm>
            <a:custGeom>
              <a:avLst/>
              <a:gdLst>
                <a:gd name="T0" fmla="*/ 59 w 143"/>
                <a:gd name="T1" fmla="*/ 123 h 140"/>
                <a:gd name="T2" fmla="*/ 81 w 143"/>
                <a:gd name="T3" fmla="*/ 136 h 140"/>
                <a:gd name="T4" fmla="*/ 104 w 143"/>
                <a:gd name="T5" fmla="*/ 125 h 140"/>
                <a:gd name="T6" fmla="*/ 126 w 143"/>
                <a:gd name="T7" fmla="*/ 130 h 140"/>
                <a:gd name="T8" fmla="*/ 143 w 143"/>
                <a:gd name="T9" fmla="*/ 97 h 140"/>
                <a:gd name="T10" fmla="*/ 136 w 143"/>
                <a:gd name="T11" fmla="*/ 81 h 140"/>
                <a:gd name="T12" fmla="*/ 140 w 143"/>
                <a:gd name="T13" fmla="*/ 77 h 140"/>
                <a:gd name="T14" fmla="*/ 130 w 143"/>
                <a:gd name="T15" fmla="*/ 46 h 140"/>
                <a:gd name="T16" fmla="*/ 108 w 143"/>
                <a:gd name="T17" fmla="*/ 45 h 140"/>
                <a:gd name="T18" fmla="*/ 127 w 143"/>
                <a:gd name="T19" fmla="*/ 38 h 140"/>
                <a:gd name="T20" fmla="*/ 131 w 143"/>
                <a:gd name="T21" fmla="*/ 23 h 140"/>
                <a:gd name="T22" fmla="*/ 117 w 143"/>
                <a:gd name="T23" fmla="*/ 0 h 140"/>
                <a:gd name="T24" fmla="*/ 114 w 143"/>
                <a:gd name="T25" fmla="*/ 3 h 140"/>
                <a:gd name="T26" fmla="*/ 117 w 143"/>
                <a:gd name="T27" fmla="*/ 19 h 140"/>
                <a:gd name="T28" fmla="*/ 113 w 143"/>
                <a:gd name="T29" fmla="*/ 22 h 140"/>
                <a:gd name="T30" fmla="*/ 116 w 143"/>
                <a:gd name="T31" fmla="*/ 30 h 140"/>
                <a:gd name="T32" fmla="*/ 97 w 143"/>
                <a:gd name="T33" fmla="*/ 45 h 140"/>
                <a:gd name="T34" fmla="*/ 93 w 143"/>
                <a:gd name="T35" fmla="*/ 37 h 140"/>
                <a:gd name="T36" fmla="*/ 105 w 143"/>
                <a:gd name="T37" fmla="*/ 26 h 140"/>
                <a:gd name="T38" fmla="*/ 80 w 143"/>
                <a:gd name="T39" fmla="*/ 2 h 140"/>
                <a:gd name="T40" fmla="*/ 76 w 143"/>
                <a:gd name="T41" fmla="*/ 9 h 140"/>
                <a:gd name="T42" fmla="*/ 69 w 143"/>
                <a:gd name="T43" fmla="*/ 1 h 140"/>
                <a:gd name="T44" fmla="*/ 19 w 143"/>
                <a:gd name="T45" fmla="*/ 22 h 140"/>
                <a:gd name="T46" fmla="*/ 12 w 143"/>
                <a:gd name="T47" fmla="*/ 14 h 140"/>
                <a:gd name="T48" fmla="*/ 0 w 143"/>
                <a:gd name="T49" fmla="*/ 25 h 140"/>
                <a:gd name="T50" fmla="*/ 7 w 143"/>
                <a:gd name="T51" fmla="*/ 33 h 140"/>
                <a:gd name="T52" fmla="*/ 0 w 143"/>
                <a:gd name="T53" fmla="*/ 32 h 140"/>
                <a:gd name="T54" fmla="*/ 3 w 143"/>
                <a:gd name="T55" fmla="*/ 44 h 140"/>
                <a:gd name="T56" fmla="*/ 11 w 143"/>
                <a:gd name="T57" fmla="*/ 44 h 140"/>
                <a:gd name="T58" fmla="*/ 6 w 143"/>
                <a:gd name="T59" fmla="*/ 56 h 140"/>
                <a:gd name="T60" fmla="*/ 17 w 143"/>
                <a:gd name="T61" fmla="*/ 60 h 140"/>
                <a:gd name="T62" fmla="*/ 20 w 143"/>
                <a:gd name="T63" fmla="*/ 87 h 140"/>
                <a:gd name="T64" fmla="*/ 30 w 143"/>
                <a:gd name="T65" fmla="*/ 114 h 140"/>
                <a:gd name="T66" fmla="*/ 34 w 143"/>
                <a:gd name="T67" fmla="*/ 114 h 140"/>
                <a:gd name="T68" fmla="*/ 34 w 143"/>
                <a:gd name="T69" fmla="*/ 99 h 140"/>
                <a:gd name="T70" fmla="*/ 46 w 143"/>
                <a:gd name="T71" fmla="*/ 100 h 140"/>
                <a:gd name="T72" fmla="*/ 52 w 143"/>
                <a:gd name="T73" fmla="*/ 111 h 140"/>
                <a:gd name="T74" fmla="*/ 41 w 143"/>
                <a:gd name="T75" fmla="*/ 118 h 140"/>
                <a:gd name="T76" fmla="*/ 55 w 143"/>
                <a:gd name="T77" fmla="*/ 127 h 140"/>
                <a:gd name="T78" fmla="*/ 59 w 143"/>
                <a:gd name="T79" fmla="*/ 12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3" h="140">
                  <a:moveTo>
                    <a:pt x="59" y="123"/>
                  </a:moveTo>
                  <a:cubicBezTo>
                    <a:pt x="59" y="123"/>
                    <a:pt x="63" y="131"/>
                    <a:pt x="81" y="136"/>
                  </a:cubicBezTo>
                  <a:cubicBezTo>
                    <a:pt x="100" y="140"/>
                    <a:pt x="104" y="125"/>
                    <a:pt x="104" y="125"/>
                  </a:cubicBezTo>
                  <a:cubicBezTo>
                    <a:pt x="104" y="125"/>
                    <a:pt x="122" y="138"/>
                    <a:pt x="126" y="130"/>
                  </a:cubicBezTo>
                  <a:cubicBezTo>
                    <a:pt x="134" y="119"/>
                    <a:pt x="143" y="97"/>
                    <a:pt x="143" y="97"/>
                  </a:cubicBezTo>
                  <a:cubicBezTo>
                    <a:pt x="143" y="97"/>
                    <a:pt x="132" y="88"/>
                    <a:pt x="136" y="81"/>
                  </a:cubicBezTo>
                  <a:cubicBezTo>
                    <a:pt x="136" y="77"/>
                    <a:pt x="140" y="77"/>
                    <a:pt x="140" y="77"/>
                  </a:cubicBezTo>
                  <a:cubicBezTo>
                    <a:pt x="130" y="46"/>
                    <a:pt x="130" y="46"/>
                    <a:pt x="130" y="46"/>
                  </a:cubicBezTo>
                  <a:cubicBezTo>
                    <a:pt x="108" y="45"/>
                    <a:pt x="108" y="45"/>
                    <a:pt x="108" y="45"/>
                  </a:cubicBezTo>
                  <a:cubicBezTo>
                    <a:pt x="115" y="42"/>
                    <a:pt x="123" y="42"/>
                    <a:pt x="127" y="38"/>
                  </a:cubicBezTo>
                  <a:cubicBezTo>
                    <a:pt x="131" y="31"/>
                    <a:pt x="135" y="31"/>
                    <a:pt x="131" y="23"/>
                  </a:cubicBezTo>
                  <a:cubicBezTo>
                    <a:pt x="124" y="15"/>
                    <a:pt x="117" y="0"/>
                    <a:pt x="117" y="0"/>
                  </a:cubicBezTo>
                  <a:cubicBezTo>
                    <a:pt x="114" y="3"/>
                    <a:pt x="114" y="3"/>
                    <a:pt x="114" y="3"/>
                  </a:cubicBezTo>
                  <a:cubicBezTo>
                    <a:pt x="117" y="19"/>
                    <a:pt x="117" y="19"/>
                    <a:pt x="117" y="19"/>
                  </a:cubicBezTo>
                  <a:cubicBezTo>
                    <a:pt x="113" y="22"/>
                    <a:pt x="113" y="22"/>
                    <a:pt x="113" y="22"/>
                  </a:cubicBezTo>
                  <a:cubicBezTo>
                    <a:pt x="116" y="30"/>
                    <a:pt x="116" y="30"/>
                    <a:pt x="116" y="30"/>
                  </a:cubicBezTo>
                  <a:cubicBezTo>
                    <a:pt x="97" y="45"/>
                    <a:pt x="97" y="45"/>
                    <a:pt x="97" y="45"/>
                  </a:cubicBezTo>
                  <a:cubicBezTo>
                    <a:pt x="93" y="37"/>
                    <a:pt x="93" y="37"/>
                    <a:pt x="93" y="37"/>
                  </a:cubicBezTo>
                  <a:cubicBezTo>
                    <a:pt x="105" y="26"/>
                    <a:pt x="105" y="26"/>
                    <a:pt x="105" y="26"/>
                  </a:cubicBezTo>
                  <a:cubicBezTo>
                    <a:pt x="80" y="2"/>
                    <a:pt x="80" y="2"/>
                    <a:pt x="80" y="2"/>
                  </a:cubicBezTo>
                  <a:cubicBezTo>
                    <a:pt x="76" y="9"/>
                    <a:pt x="76" y="9"/>
                    <a:pt x="76" y="9"/>
                  </a:cubicBezTo>
                  <a:cubicBezTo>
                    <a:pt x="69" y="1"/>
                    <a:pt x="69" y="1"/>
                    <a:pt x="69" y="1"/>
                  </a:cubicBezTo>
                  <a:cubicBezTo>
                    <a:pt x="19" y="22"/>
                    <a:pt x="19" y="22"/>
                    <a:pt x="19" y="22"/>
                  </a:cubicBezTo>
                  <a:cubicBezTo>
                    <a:pt x="12" y="14"/>
                    <a:pt x="12" y="14"/>
                    <a:pt x="12" y="14"/>
                  </a:cubicBezTo>
                  <a:cubicBezTo>
                    <a:pt x="0" y="25"/>
                    <a:pt x="0" y="25"/>
                    <a:pt x="0" y="25"/>
                  </a:cubicBezTo>
                  <a:cubicBezTo>
                    <a:pt x="7" y="33"/>
                    <a:pt x="7" y="33"/>
                    <a:pt x="7" y="33"/>
                  </a:cubicBezTo>
                  <a:cubicBezTo>
                    <a:pt x="0" y="32"/>
                    <a:pt x="0" y="32"/>
                    <a:pt x="0" y="32"/>
                  </a:cubicBezTo>
                  <a:cubicBezTo>
                    <a:pt x="3" y="44"/>
                    <a:pt x="3" y="44"/>
                    <a:pt x="3" y="44"/>
                  </a:cubicBezTo>
                  <a:cubicBezTo>
                    <a:pt x="11" y="44"/>
                    <a:pt x="11" y="44"/>
                    <a:pt x="11" y="44"/>
                  </a:cubicBezTo>
                  <a:cubicBezTo>
                    <a:pt x="6" y="56"/>
                    <a:pt x="6" y="56"/>
                    <a:pt x="6" y="56"/>
                  </a:cubicBezTo>
                  <a:cubicBezTo>
                    <a:pt x="17" y="60"/>
                    <a:pt x="17" y="60"/>
                    <a:pt x="17" y="60"/>
                  </a:cubicBezTo>
                  <a:cubicBezTo>
                    <a:pt x="17" y="60"/>
                    <a:pt x="13" y="83"/>
                    <a:pt x="20" y="87"/>
                  </a:cubicBezTo>
                  <a:cubicBezTo>
                    <a:pt x="27" y="91"/>
                    <a:pt x="30" y="114"/>
                    <a:pt x="30" y="114"/>
                  </a:cubicBezTo>
                  <a:cubicBezTo>
                    <a:pt x="34" y="114"/>
                    <a:pt x="34" y="114"/>
                    <a:pt x="34" y="114"/>
                  </a:cubicBezTo>
                  <a:cubicBezTo>
                    <a:pt x="34" y="99"/>
                    <a:pt x="34" y="99"/>
                    <a:pt x="34" y="99"/>
                  </a:cubicBezTo>
                  <a:cubicBezTo>
                    <a:pt x="46" y="100"/>
                    <a:pt x="46" y="100"/>
                    <a:pt x="46" y="100"/>
                  </a:cubicBezTo>
                  <a:cubicBezTo>
                    <a:pt x="52" y="111"/>
                    <a:pt x="52" y="111"/>
                    <a:pt x="52" y="111"/>
                  </a:cubicBezTo>
                  <a:cubicBezTo>
                    <a:pt x="41" y="118"/>
                    <a:pt x="41" y="118"/>
                    <a:pt x="41" y="118"/>
                  </a:cubicBezTo>
                  <a:cubicBezTo>
                    <a:pt x="55" y="127"/>
                    <a:pt x="55" y="127"/>
                    <a:pt x="55" y="127"/>
                  </a:cubicBezTo>
                  <a:lnTo>
                    <a:pt x="59" y="1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4" name="Freeform 146">
              <a:extLst>
                <a:ext uri="{FF2B5EF4-FFF2-40B4-BE49-F238E27FC236}">
                  <a16:creationId xmlns:a16="http://schemas.microsoft.com/office/drawing/2014/main" id="{FD10A544-B6D9-A1AB-2D29-99B9731D4408}"/>
                </a:ext>
              </a:extLst>
            </p:cNvPr>
            <p:cNvSpPr>
              <a:spLocks/>
            </p:cNvSpPr>
            <p:nvPr/>
          </p:nvSpPr>
          <p:spPr bwMode="gray">
            <a:xfrm>
              <a:off x="9853157" y="2738664"/>
              <a:ext cx="7192" cy="17980"/>
            </a:xfrm>
            <a:custGeom>
              <a:avLst/>
              <a:gdLst>
                <a:gd name="T0" fmla="*/ 6 w 11"/>
                <a:gd name="T1" fmla="*/ 31 h 31"/>
                <a:gd name="T2" fmla="*/ 10 w 11"/>
                <a:gd name="T3" fmla="*/ 19 h 31"/>
                <a:gd name="T4" fmla="*/ 7 w 11"/>
                <a:gd name="T5" fmla="*/ 8 h 31"/>
                <a:gd name="T6" fmla="*/ 0 w 11"/>
                <a:gd name="T7" fmla="*/ 0 h 31"/>
                <a:gd name="T8" fmla="*/ 0 w 11"/>
                <a:gd name="T9" fmla="*/ 11 h 31"/>
                <a:gd name="T10" fmla="*/ 3 w 11"/>
                <a:gd name="T11" fmla="*/ 19 h 31"/>
                <a:gd name="T12" fmla="*/ 6 w 1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1" h="31">
                  <a:moveTo>
                    <a:pt x="6" y="31"/>
                  </a:moveTo>
                  <a:cubicBezTo>
                    <a:pt x="10" y="19"/>
                    <a:pt x="10" y="19"/>
                    <a:pt x="10" y="19"/>
                  </a:cubicBezTo>
                  <a:cubicBezTo>
                    <a:pt x="11" y="8"/>
                    <a:pt x="7" y="8"/>
                    <a:pt x="7" y="8"/>
                  </a:cubicBezTo>
                  <a:cubicBezTo>
                    <a:pt x="0" y="0"/>
                    <a:pt x="0" y="0"/>
                    <a:pt x="0" y="0"/>
                  </a:cubicBezTo>
                  <a:cubicBezTo>
                    <a:pt x="0" y="11"/>
                    <a:pt x="0" y="11"/>
                    <a:pt x="0" y="11"/>
                  </a:cubicBezTo>
                  <a:cubicBezTo>
                    <a:pt x="3" y="19"/>
                    <a:pt x="3" y="19"/>
                    <a:pt x="3" y="19"/>
                  </a:cubicBezTo>
                  <a:lnTo>
                    <a:pt x="6" y="3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5" name="Freeform 147">
              <a:extLst>
                <a:ext uri="{FF2B5EF4-FFF2-40B4-BE49-F238E27FC236}">
                  <a16:creationId xmlns:a16="http://schemas.microsoft.com/office/drawing/2014/main" id="{1F862507-126F-A6A2-684F-D8510CBD182C}"/>
                </a:ext>
              </a:extLst>
            </p:cNvPr>
            <p:cNvSpPr>
              <a:spLocks/>
            </p:cNvSpPr>
            <p:nvPr/>
          </p:nvSpPr>
          <p:spPr bwMode="gray">
            <a:xfrm>
              <a:off x="9858551" y="2776420"/>
              <a:ext cx="10788" cy="17980"/>
            </a:xfrm>
            <a:custGeom>
              <a:avLst/>
              <a:gdLst>
                <a:gd name="T0" fmla="*/ 10 w 19"/>
                <a:gd name="T1" fmla="*/ 30 h 31"/>
                <a:gd name="T2" fmla="*/ 11 w 19"/>
                <a:gd name="T3" fmla="*/ 15 h 31"/>
                <a:gd name="T4" fmla="*/ 8 w 19"/>
                <a:gd name="T5" fmla="*/ 0 h 31"/>
                <a:gd name="T6" fmla="*/ 0 w 19"/>
                <a:gd name="T7" fmla="*/ 15 h 31"/>
                <a:gd name="T8" fmla="*/ 10 w 19"/>
                <a:gd name="T9" fmla="*/ 30 h 31"/>
              </a:gdLst>
              <a:ahLst/>
              <a:cxnLst>
                <a:cxn ang="0">
                  <a:pos x="T0" y="T1"/>
                </a:cxn>
                <a:cxn ang="0">
                  <a:pos x="T2" y="T3"/>
                </a:cxn>
                <a:cxn ang="0">
                  <a:pos x="T4" y="T5"/>
                </a:cxn>
                <a:cxn ang="0">
                  <a:pos x="T6" y="T7"/>
                </a:cxn>
                <a:cxn ang="0">
                  <a:pos x="T8" y="T9"/>
                </a:cxn>
              </a:cxnLst>
              <a:rect l="0" t="0" r="r" b="b"/>
              <a:pathLst>
                <a:path w="19" h="31">
                  <a:moveTo>
                    <a:pt x="10" y="30"/>
                  </a:moveTo>
                  <a:cubicBezTo>
                    <a:pt x="14" y="31"/>
                    <a:pt x="11" y="15"/>
                    <a:pt x="11" y="15"/>
                  </a:cubicBezTo>
                  <a:cubicBezTo>
                    <a:pt x="11" y="15"/>
                    <a:pt x="19" y="0"/>
                    <a:pt x="8" y="0"/>
                  </a:cubicBezTo>
                  <a:cubicBezTo>
                    <a:pt x="8" y="0"/>
                    <a:pt x="0" y="3"/>
                    <a:pt x="0" y="15"/>
                  </a:cubicBezTo>
                  <a:cubicBezTo>
                    <a:pt x="0" y="22"/>
                    <a:pt x="7" y="30"/>
                    <a:pt x="10"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6" name="Freeform 148">
              <a:extLst>
                <a:ext uri="{FF2B5EF4-FFF2-40B4-BE49-F238E27FC236}">
                  <a16:creationId xmlns:a16="http://schemas.microsoft.com/office/drawing/2014/main" id="{19DF828D-9006-8802-D117-AE1D91F8DF78}"/>
                </a:ext>
              </a:extLst>
            </p:cNvPr>
            <p:cNvSpPr>
              <a:spLocks/>
            </p:cNvSpPr>
            <p:nvPr/>
          </p:nvSpPr>
          <p:spPr bwMode="gray">
            <a:xfrm>
              <a:off x="10088691" y="2821370"/>
              <a:ext cx="10788" cy="7192"/>
            </a:xfrm>
            <a:custGeom>
              <a:avLst/>
              <a:gdLst>
                <a:gd name="T0" fmla="*/ 11 w 19"/>
                <a:gd name="T1" fmla="*/ 8 h 12"/>
                <a:gd name="T2" fmla="*/ 8 w 19"/>
                <a:gd name="T3" fmla="*/ 1 h 12"/>
                <a:gd name="T4" fmla="*/ 0 w 19"/>
                <a:gd name="T5" fmla="*/ 4 h 12"/>
                <a:gd name="T6" fmla="*/ 11 w 19"/>
                <a:gd name="T7" fmla="*/ 8 h 12"/>
              </a:gdLst>
              <a:ahLst/>
              <a:cxnLst>
                <a:cxn ang="0">
                  <a:pos x="T0" y="T1"/>
                </a:cxn>
                <a:cxn ang="0">
                  <a:pos x="T2" y="T3"/>
                </a:cxn>
                <a:cxn ang="0">
                  <a:pos x="T4" y="T5"/>
                </a:cxn>
                <a:cxn ang="0">
                  <a:pos x="T6" y="T7"/>
                </a:cxn>
              </a:cxnLst>
              <a:rect l="0" t="0" r="r" b="b"/>
              <a:pathLst>
                <a:path w="19" h="12">
                  <a:moveTo>
                    <a:pt x="11" y="8"/>
                  </a:moveTo>
                  <a:cubicBezTo>
                    <a:pt x="19" y="5"/>
                    <a:pt x="19" y="1"/>
                    <a:pt x="8" y="1"/>
                  </a:cubicBezTo>
                  <a:cubicBezTo>
                    <a:pt x="8" y="1"/>
                    <a:pt x="0" y="0"/>
                    <a:pt x="0" y="4"/>
                  </a:cubicBezTo>
                  <a:cubicBezTo>
                    <a:pt x="0" y="8"/>
                    <a:pt x="3" y="12"/>
                    <a:pt x="11"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7" name="Freeform 149">
              <a:extLst>
                <a:ext uri="{FF2B5EF4-FFF2-40B4-BE49-F238E27FC236}">
                  <a16:creationId xmlns:a16="http://schemas.microsoft.com/office/drawing/2014/main" id="{FA00BC8A-F977-026A-A0AA-45F4A79F03F6}"/>
                </a:ext>
              </a:extLst>
            </p:cNvPr>
            <p:cNvSpPr>
              <a:spLocks/>
            </p:cNvSpPr>
            <p:nvPr/>
          </p:nvSpPr>
          <p:spPr bwMode="gray">
            <a:xfrm>
              <a:off x="10117459" y="2819571"/>
              <a:ext cx="34162" cy="57535"/>
            </a:xfrm>
            <a:custGeom>
              <a:avLst/>
              <a:gdLst>
                <a:gd name="T0" fmla="*/ 22 w 58"/>
                <a:gd name="T1" fmla="*/ 12 h 97"/>
                <a:gd name="T2" fmla="*/ 18 w 58"/>
                <a:gd name="T3" fmla="*/ 4 h 97"/>
                <a:gd name="T4" fmla="*/ 0 w 58"/>
                <a:gd name="T5" fmla="*/ 4 h 97"/>
                <a:gd name="T6" fmla="*/ 10 w 58"/>
                <a:gd name="T7" fmla="*/ 31 h 97"/>
                <a:gd name="T8" fmla="*/ 20 w 58"/>
                <a:gd name="T9" fmla="*/ 50 h 97"/>
                <a:gd name="T10" fmla="*/ 18 w 58"/>
                <a:gd name="T11" fmla="*/ 96 h 97"/>
                <a:gd name="T12" fmla="*/ 29 w 58"/>
                <a:gd name="T13" fmla="*/ 97 h 97"/>
                <a:gd name="T14" fmla="*/ 34 w 58"/>
                <a:gd name="T15" fmla="*/ 70 h 97"/>
                <a:gd name="T16" fmla="*/ 58 w 58"/>
                <a:gd name="T17" fmla="*/ 29 h 97"/>
                <a:gd name="T18" fmla="*/ 33 w 58"/>
                <a:gd name="T19" fmla="*/ 9 h 97"/>
                <a:gd name="T20" fmla="*/ 22 w 58"/>
                <a:gd name="T21" fmla="*/ 1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97">
                  <a:moveTo>
                    <a:pt x="22" y="12"/>
                  </a:moveTo>
                  <a:cubicBezTo>
                    <a:pt x="18" y="4"/>
                    <a:pt x="18" y="4"/>
                    <a:pt x="18" y="4"/>
                  </a:cubicBezTo>
                  <a:cubicBezTo>
                    <a:pt x="18" y="4"/>
                    <a:pt x="4" y="0"/>
                    <a:pt x="0" y="4"/>
                  </a:cubicBezTo>
                  <a:cubicBezTo>
                    <a:pt x="0" y="4"/>
                    <a:pt x="3" y="23"/>
                    <a:pt x="10" y="31"/>
                  </a:cubicBezTo>
                  <a:cubicBezTo>
                    <a:pt x="17" y="43"/>
                    <a:pt x="20" y="50"/>
                    <a:pt x="20" y="50"/>
                  </a:cubicBezTo>
                  <a:cubicBezTo>
                    <a:pt x="18" y="96"/>
                    <a:pt x="18" y="96"/>
                    <a:pt x="18" y="96"/>
                  </a:cubicBezTo>
                  <a:cubicBezTo>
                    <a:pt x="29" y="97"/>
                    <a:pt x="29" y="97"/>
                    <a:pt x="29" y="97"/>
                  </a:cubicBezTo>
                  <a:cubicBezTo>
                    <a:pt x="34" y="70"/>
                    <a:pt x="34" y="70"/>
                    <a:pt x="34" y="70"/>
                  </a:cubicBezTo>
                  <a:cubicBezTo>
                    <a:pt x="58" y="29"/>
                    <a:pt x="58" y="29"/>
                    <a:pt x="58" y="29"/>
                  </a:cubicBezTo>
                  <a:cubicBezTo>
                    <a:pt x="33" y="9"/>
                    <a:pt x="33" y="9"/>
                    <a:pt x="33" y="9"/>
                  </a:cubicBezTo>
                  <a:lnTo>
                    <a:pt x="22"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8" name="Freeform 150">
              <a:extLst>
                <a:ext uri="{FF2B5EF4-FFF2-40B4-BE49-F238E27FC236}">
                  <a16:creationId xmlns:a16="http://schemas.microsoft.com/office/drawing/2014/main" id="{E6190B6F-FCE3-9738-3065-CFEF6ABD86A3}"/>
                </a:ext>
              </a:extLst>
            </p:cNvPr>
            <p:cNvSpPr>
              <a:spLocks/>
            </p:cNvSpPr>
            <p:nvPr/>
          </p:nvSpPr>
          <p:spPr bwMode="gray">
            <a:xfrm>
              <a:off x="10099479" y="2814178"/>
              <a:ext cx="5395" cy="8991"/>
            </a:xfrm>
            <a:custGeom>
              <a:avLst/>
              <a:gdLst>
                <a:gd name="T0" fmla="*/ 8 w 8"/>
                <a:gd name="T1" fmla="*/ 8 h 15"/>
                <a:gd name="T2" fmla="*/ 0 w 8"/>
                <a:gd name="T3" fmla="*/ 7 h 15"/>
                <a:gd name="T4" fmla="*/ 8 w 8"/>
                <a:gd name="T5" fmla="*/ 8 h 15"/>
              </a:gdLst>
              <a:ahLst/>
              <a:cxnLst>
                <a:cxn ang="0">
                  <a:pos x="T0" y="T1"/>
                </a:cxn>
                <a:cxn ang="0">
                  <a:pos x="T2" y="T3"/>
                </a:cxn>
                <a:cxn ang="0">
                  <a:pos x="T4" y="T5"/>
                </a:cxn>
              </a:cxnLst>
              <a:rect l="0" t="0" r="r" b="b"/>
              <a:pathLst>
                <a:path w="8" h="15">
                  <a:moveTo>
                    <a:pt x="8" y="8"/>
                  </a:moveTo>
                  <a:cubicBezTo>
                    <a:pt x="8" y="0"/>
                    <a:pt x="0" y="3"/>
                    <a:pt x="0" y="7"/>
                  </a:cubicBezTo>
                  <a:cubicBezTo>
                    <a:pt x="3" y="15"/>
                    <a:pt x="8" y="8"/>
                    <a:pt x="8"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9" name="Freeform 151">
              <a:extLst>
                <a:ext uri="{FF2B5EF4-FFF2-40B4-BE49-F238E27FC236}">
                  <a16:creationId xmlns:a16="http://schemas.microsoft.com/office/drawing/2014/main" id="{B2E9538C-31EE-9CB8-6614-527AA7E0599D}"/>
                </a:ext>
              </a:extLst>
            </p:cNvPr>
            <p:cNvSpPr>
              <a:spLocks/>
            </p:cNvSpPr>
            <p:nvPr/>
          </p:nvSpPr>
          <p:spPr bwMode="gray">
            <a:xfrm>
              <a:off x="10054531" y="2819571"/>
              <a:ext cx="70122" cy="53939"/>
            </a:xfrm>
            <a:custGeom>
              <a:avLst/>
              <a:gdLst>
                <a:gd name="T0" fmla="*/ 116 w 120"/>
                <a:gd name="T1" fmla="*/ 43 h 90"/>
                <a:gd name="T2" fmla="*/ 99 w 120"/>
                <a:gd name="T3" fmla="*/ 16 h 90"/>
                <a:gd name="T4" fmla="*/ 91 w 120"/>
                <a:gd name="T5" fmla="*/ 15 h 90"/>
                <a:gd name="T6" fmla="*/ 91 w 120"/>
                <a:gd name="T7" fmla="*/ 27 h 90"/>
                <a:gd name="T8" fmla="*/ 72 w 120"/>
                <a:gd name="T9" fmla="*/ 33 h 90"/>
                <a:gd name="T10" fmla="*/ 72 w 120"/>
                <a:gd name="T11" fmla="*/ 26 h 90"/>
                <a:gd name="T12" fmla="*/ 65 w 120"/>
                <a:gd name="T13" fmla="*/ 22 h 90"/>
                <a:gd name="T14" fmla="*/ 39 w 120"/>
                <a:gd name="T15" fmla="*/ 5 h 90"/>
                <a:gd name="T16" fmla="*/ 9 w 120"/>
                <a:gd name="T17" fmla="*/ 15 h 90"/>
                <a:gd name="T18" fmla="*/ 23 w 120"/>
                <a:gd name="T19" fmla="*/ 31 h 90"/>
                <a:gd name="T20" fmla="*/ 12 w 120"/>
                <a:gd name="T21" fmla="*/ 38 h 90"/>
                <a:gd name="T22" fmla="*/ 4 w 120"/>
                <a:gd name="T23" fmla="*/ 34 h 90"/>
                <a:gd name="T24" fmla="*/ 5 w 120"/>
                <a:gd name="T25" fmla="*/ 26 h 90"/>
                <a:gd name="T26" fmla="*/ 1 w 120"/>
                <a:gd name="T27" fmla="*/ 30 h 90"/>
                <a:gd name="T28" fmla="*/ 0 w 120"/>
                <a:gd name="T29" fmla="*/ 45 h 90"/>
                <a:gd name="T30" fmla="*/ 48 w 120"/>
                <a:gd name="T31" fmla="*/ 63 h 90"/>
                <a:gd name="T32" fmla="*/ 55 w 120"/>
                <a:gd name="T33" fmla="*/ 75 h 90"/>
                <a:gd name="T34" fmla="*/ 65 w 120"/>
                <a:gd name="T35" fmla="*/ 90 h 90"/>
                <a:gd name="T36" fmla="*/ 73 w 120"/>
                <a:gd name="T37" fmla="*/ 87 h 90"/>
                <a:gd name="T38" fmla="*/ 73 w 120"/>
                <a:gd name="T39" fmla="*/ 79 h 90"/>
                <a:gd name="T40" fmla="*/ 85 w 120"/>
                <a:gd name="T41" fmla="*/ 76 h 90"/>
                <a:gd name="T42" fmla="*/ 115 w 120"/>
                <a:gd name="T43" fmla="*/ 74 h 90"/>
                <a:gd name="T44" fmla="*/ 119 w 120"/>
                <a:gd name="T45" fmla="*/ 66 h 90"/>
                <a:gd name="T46" fmla="*/ 116 w 120"/>
                <a:gd name="T47" fmla="*/ 58 h 90"/>
                <a:gd name="T48" fmla="*/ 116 w 120"/>
                <a:gd name="T49" fmla="*/ 4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90">
                  <a:moveTo>
                    <a:pt x="116" y="43"/>
                  </a:moveTo>
                  <a:cubicBezTo>
                    <a:pt x="113" y="35"/>
                    <a:pt x="99" y="16"/>
                    <a:pt x="99" y="16"/>
                  </a:cubicBezTo>
                  <a:cubicBezTo>
                    <a:pt x="91" y="15"/>
                    <a:pt x="91" y="15"/>
                    <a:pt x="91" y="15"/>
                  </a:cubicBezTo>
                  <a:cubicBezTo>
                    <a:pt x="91" y="27"/>
                    <a:pt x="91" y="27"/>
                    <a:pt x="91" y="27"/>
                  </a:cubicBezTo>
                  <a:cubicBezTo>
                    <a:pt x="72" y="33"/>
                    <a:pt x="72" y="33"/>
                    <a:pt x="72" y="33"/>
                  </a:cubicBezTo>
                  <a:cubicBezTo>
                    <a:pt x="72" y="26"/>
                    <a:pt x="72" y="26"/>
                    <a:pt x="72" y="26"/>
                  </a:cubicBezTo>
                  <a:cubicBezTo>
                    <a:pt x="65" y="22"/>
                    <a:pt x="65" y="22"/>
                    <a:pt x="65" y="22"/>
                  </a:cubicBezTo>
                  <a:cubicBezTo>
                    <a:pt x="65" y="22"/>
                    <a:pt x="62" y="6"/>
                    <a:pt x="39" y="5"/>
                  </a:cubicBezTo>
                  <a:cubicBezTo>
                    <a:pt x="17" y="0"/>
                    <a:pt x="9" y="15"/>
                    <a:pt x="9" y="15"/>
                  </a:cubicBezTo>
                  <a:cubicBezTo>
                    <a:pt x="23" y="31"/>
                    <a:pt x="23" y="31"/>
                    <a:pt x="23" y="31"/>
                  </a:cubicBezTo>
                  <a:cubicBezTo>
                    <a:pt x="12" y="38"/>
                    <a:pt x="12" y="38"/>
                    <a:pt x="12" y="38"/>
                  </a:cubicBezTo>
                  <a:cubicBezTo>
                    <a:pt x="4" y="34"/>
                    <a:pt x="4" y="34"/>
                    <a:pt x="4" y="34"/>
                  </a:cubicBezTo>
                  <a:cubicBezTo>
                    <a:pt x="5" y="26"/>
                    <a:pt x="5" y="26"/>
                    <a:pt x="5" y="26"/>
                  </a:cubicBezTo>
                  <a:cubicBezTo>
                    <a:pt x="1" y="30"/>
                    <a:pt x="1" y="30"/>
                    <a:pt x="1" y="30"/>
                  </a:cubicBezTo>
                  <a:cubicBezTo>
                    <a:pt x="0" y="45"/>
                    <a:pt x="0" y="45"/>
                    <a:pt x="0" y="45"/>
                  </a:cubicBezTo>
                  <a:cubicBezTo>
                    <a:pt x="48" y="63"/>
                    <a:pt x="48" y="63"/>
                    <a:pt x="48" y="63"/>
                  </a:cubicBezTo>
                  <a:cubicBezTo>
                    <a:pt x="48" y="63"/>
                    <a:pt x="51" y="71"/>
                    <a:pt x="55" y="75"/>
                  </a:cubicBezTo>
                  <a:cubicBezTo>
                    <a:pt x="55" y="82"/>
                    <a:pt x="65" y="90"/>
                    <a:pt x="65" y="90"/>
                  </a:cubicBezTo>
                  <a:cubicBezTo>
                    <a:pt x="73" y="87"/>
                    <a:pt x="73" y="87"/>
                    <a:pt x="73" y="87"/>
                  </a:cubicBezTo>
                  <a:cubicBezTo>
                    <a:pt x="73" y="79"/>
                    <a:pt x="73" y="79"/>
                    <a:pt x="73" y="79"/>
                  </a:cubicBezTo>
                  <a:cubicBezTo>
                    <a:pt x="73" y="79"/>
                    <a:pt x="77" y="76"/>
                    <a:pt x="85" y="76"/>
                  </a:cubicBezTo>
                  <a:cubicBezTo>
                    <a:pt x="92" y="76"/>
                    <a:pt x="115" y="74"/>
                    <a:pt x="115" y="74"/>
                  </a:cubicBezTo>
                  <a:cubicBezTo>
                    <a:pt x="119" y="66"/>
                    <a:pt x="119" y="66"/>
                    <a:pt x="119" y="66"/>
                  </a:cubicBezTo>
                  <a:cubicBezTo>
                    <a:pt x="116" y="58"/>
                    <a:pt x="116" y="58"/>
                    <a:pt x="116" y="58"/>
                  </a:cubicBezTo>
                  <a:cubicBezTo>
                    <a:pt x="116" y="58"/>
                    <a:pt x="120" y="51"/>
                    <a:pt x="116" y="4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0" name="Freeform 152">
              <a:extLst>
                <a:ext uri="{FF2B5EF4-FFF2-40B4-BE49-F238E27FC236}">
                  <a16:creationId xmlns:a16="http://schemas.microsoft.com/office/drawing/2014/main" id="{9CC12B34-EBD8-EE9A-3899-40CD9EF68363}"/>
                </a:ext>
              </a:extLst>
            </p:cNvPr>
            <p:cNvSpPr>
              <a:spLocks/>
            </p:cNvSpPr>
            <p:nvPr/>
          </p:nvSpPr>
          <p:spPr bwMode="gray">
            <a:xfrm>
              <a:off x="10025763" y="2794400"/>
              <a:ext cx="30566" cy="59334"/>
            </a:xfrm>
            <a:custGeom>
              <a:avLst/>
              <a:gdLst>
                <a:gd name="T0" fmla="*/ 48 w 52"/>
                <a:gd name="T1" fmla="*/ 0 h 102"/>
                <a:gd name="T2" fmla="*/ 36 w 52"/>
                <a:gd name="T3" fmla="*/ 27 h 102"/>
                <a:gd name="T4" fmla="*/ 8 w 52"/>
                <a:gd name="T5" fmla="*/ 56 h 102"/>
                <a:gd name="T6" fmla="*/ 16 w 52"/>
                <a:gd name="T7" fmla="*/ 60 h 102"/>
                <a:gd name="T8" fmla="*/ 0 w 52"/>
                <a:gd name="T9" fmla="*/ 71 h 102"/>
                <a:gd name="T10" fmla="*/ 14 w 52"/>
                <a:gd name="T11" fmla="*/ 102 h 102"/>
                <a:gd name="T12" fmla="*/ 47 w 52"/>
                <a:gd name="T13" fmla="*/ 27 h 102"/>
                <a:gd name="T14" fmla="*/ 52 w 52"/>
                <a:gd name="T15" fmla="*/ 1 h 102"/>
                <a:gd name="T16" fmla="*/ 48 w 5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02">
                  <a:moveTo>
                    <a:pt x="48" y="0"/>
                  </a:moveTo>
                  <a:cubicBezTo>
                    <a:pt x="36" y="27"/>
                    <a:pt x="36" y="27"/>
                    <a:pt x="36" y="27"/>
                  </a:cubicBezTo>
                  <a:cubicBezTo>
                    <a:pt x="8" y="56"/>
                    <a:pt x="8" y="56"/>
                    <a:pt x="8" y="56"/>
                  </a:cubicBezTo>
                  <a:cubicBezTo>
                    <a:pt x="16" y="60"/>
                    <a:pt x="16" y="60"/>
                    <a:pt x="16" y="60"/>
                  </a:cubicBezTo>
                  <a:cubicBezTo>
                    <a:pt x="0" y="71"/>
                    <a:pt x="0" y="71"/>
                    <a:pt x="0" y="71"/>
                  </a:cubicBezTo>
                  <a:cubicBezTo>
                    <a:pt x="14" y="102"/>
                    <a:pt x="14" y="102"/>
                    <a:pt x="14" y="102"/>
                  </a:cubicBezTo>
                  <a:cubicBezTo>
                    <a:pt x="47" y="27"/>
                    <a:pt x="47" y="27"/>
                    <a:pt x="47" y="27"/>
                  </a:cubicBezTo>
                  <a:cubicBezTo>
                    <a:pt x="51" y="23"/>
                    <a:pt x="52" y="1"/>
                    <a:pt x="52" y="1"/>
                  </a:cubicBezTo>
                  <a:lnTo>
                    <a:pt x="4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1" name="Freeform 153">
              <a:extLst>
                <a:ext uri="{FF2B5EF4-FFF2-40B4-BE49-F238E27FC236}">
                  <a16:creationId xmlns:a16="http://schemas.microsoft.com/office/drawing/2014/main" id="{85102ED2-8F4A-706E-C088-AD2617CA105E}"/>
                </a:ext>
              </a:extLst>
            </p:cNvPr>
            <p:cNvSpPr>
              <a:spLocks/>
            </p:cNvSpPr>
            <p:nvPr/>
          </p:nvSpPr>
          <p:spPr bwMode="gray">
            <a:xfrm>
              <a:off x="10020369" y="2808784"/>
              <a:ext cx="14383" cy="12586"/>
            </a:xfrm>
            <a:custGeom>
              <a:avLst/>
              <a:gdLst>
                <a:gd name="T0" fmla="*/ 22 w 26"/>
                <a:gd name="T1" fmla="*/ 8 h 22"/>
                <a:gd name="T2" fmla="*/ 15 w 26"/>
                <a:gd name="T3" fmla="*/ 8 h 22"/>
                <a:gd name="T4" fmla="*/ 22 w 26"/>
                <a:gd name="T5" fmla="*/ 4 h 22"/>
                <a:gd name="T6" fmla="*/ 15 w 26"/>
                <a:gd name="T7" fmla="*/ 0 h 22"/>
                <a:gd name="T8" fmla="*/ 0 w 26"/>
                <a:gd name="T9" fmla="*/ 7 h 22"/>
                <a:gd name="T10" fmla="*/ 3 w 26"/>
                <a:gd name="T11" fmla="*/ 22 h 22"/>
                <a:gd name="T12" fmla="*/ 22 w 26"/>
                <a:gd name="T13" fmla="*/ 20 h 22"/>
                <a:gd name="T14" fmla="*/ 22 w 26"/>
                <a:gd name="T15" fmla="*/ 8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2">
                  <a:moveTo>
                    <a:pt x="22" y="8"/>
                  </a:moveTo>
                  <a:cubicBezTo>
                    <a:pt x="15" y="8"/>
                    <a:pt x="15" y="8"/>
                    <a:pt x="15" y="8"/>
                  </a:cubicBezTo>
                  <a:cubicBezTo>
                    <a:pt x="22" y="4"/>
                    <a:pt x="22" y="4"/>
                    <a:pt x="22" y="4"/>
                  </a:cubicBezTo>
                  <a:cubicBezTo>
                    <a:pt x="22" y="4"/>
                    <a:pt x="19" y="0"/>
                    <a:pt x="15" y="0"/>
                  </a:cubicBezTo>
                  <a:cubicBezTo>
                    <a:pt x="0" y="7"/>
                    <a:pt x="0" y="7"/>
                    <a:pt x="0" y="7"/>
                  </a:cubicBezTo>
                  <a:cubicBezTo>
                    <a:pt x="3" y="22"/>
                    <a:pt x="3" y="22"/>
                    <a:pt x="3" y="22"/>
                  </a:cubicBezTo>
                  <a:cubicBezTo>
                    <a:pt x="3" y="22"/>
                    <a:pt x="18" y="19"/>
                    <a:pt x="22" y="20"/>
                  </a:cubicBezTo>
                  <a:cubicBezTo>
                    <a:pt x="26" y="16"/>
                    <a:pt x="22" y="8"/>
                    <a:pt x="22"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2" name="Freeform 154">
              <a:extLst>
                <a:ext uri="{FF2B5EF4-FFF2-40B4-BE49-F238E27FC236}">
                  <a16:creationId xmlns:a16="http://schemas.microsoft.com/office/drawing/2014/main" id="{B31F5567-8516-B4D5-9DB1-AECD0F913DF2}"/>
                </a:ext>
              </a:extLst>
            </p:cNvPr>
            <p:cNvSpPr>
              <a:spLocks/>
            </p:cNvSpPr>
            <p:nvPr/>
          </p:nvSpPr>
          <p:spPr bwMode="gray">
            <a:xfrm>
              <a:off x="9995196" y="2815976"/>
              <a:ext cx="23374" cy="21576"/>
            </a:xfrm>
            <a:custGeom>
              <a:avLst/>
              <a:gdLst>
                <a:gd name="T0" fmla="*/ 18 w 40"/>
                <a:gd name="T1" fmla="*/ 20 h 35"/>
                <a:gd name="T2" fmla="*/ 11 w 40"/>
                <a:gd name="T3" fmla="*/ 8 h 35"/>
                <a:gd name="T4" fmla="*/ 0 w 40"/>
                <a:gd name="T5" fmla="*/ 0 h 35"/>
                <a:gd name="T6" fmla="*/ 7 w 40"/>
                <a:gd name="T7" fmla="*/ 23 h 35"/>
                <a:gd name="T8" fmla="*/ 18 w 40"/>
                <a:gd name="T9" fmla="*/ 35 h 35"/>
                <a:gd name="T10" fmla="*/ 40 w 40"/>
                <a:gd name="T11" fmla="*/ 32 h 35"/>
                <a:gd name="T12" fmla="*/ 26 w 40"/>
                <a:gd name="T13" fmla="*/ 20 h 35"/>
                <a:gd name="T14" fmla="*/ 18 w 40"/>
                <a:gd name="T15" fmla="*/ 2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5">
                  <a:moveTo>
                    <a:pt x="18" y="20"/>
                  </a:moveTo>
                  <a:cubicBezTo>
                    <a:pt x="18" y="20"/>
                    <a:pt x="18" y="16"/>
                    <a:pt x="11" y="8"/>
                  </a:cubicBezTo>
                  <a:cubicBezTo>
                    <a:pt x="8" y="4"/>
                    <a:pt x="0" y="0"/>
                    <a:pt x="0" y="0"/>
                  </a:cubicBezTo>
                  <a:cubicBezTo>
                    <a:pt x="0" y="0"/>
                    <a:pt x="3" y="19"/>
                    <a:pt x="7" y="23"/>
                  </a:cubicBezTo>
                  <a:cubicBezTo>
                    <a:pt x="14" y="27"/>
                    <a:pt x="18" y="35"/>
                    <a:pt x="18" y="35"/>
                  </a:cubicBezTo>
                  <a:cubicBezTo>
                    <a:pt x="40" y="32"/>
                    <a:pt x="40" y="32"/>
                    <a:pt x="40" y="32"/>
                  </a:cubicBezTo>
                  <a:cubicBezTo>
                    <a:pt x="26" y="20"/>
                    <a:pt x="26" y="20"/>
                    <a:pt x="26" y="20"/>
                  </a:cubicBezTo>
                  <a:lnTo>
                    <a:pt x="18" y="2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3" name="Freeform 155">
              <a:extLst>
                <a:ext uri="{FF2B5EF4-FFF2-40B4-BE49-F238E27FC236}">
                  <a16:creationId xmlns:a16="http://schemas.microsoft.com/office/drawing/2014/main" id="{75EA2E4F-5E2D-59C3-9A98-2F36F68F6109}"/>
                </a:ext>
              </a:extLst>
            </p:cNvPr>
            <p:cNvSpPr>
              <a:spLocks/>
            </p:cNvSpPr>
            <p:nvPr/>
          </p:nvSpPr>
          <p:spPr bwMode="gray">
            <a:xfrm>
              <a:off x="10027561" y="2675734"/>
              <a:ext cx="16183" cy="35959"/>
            </a:xfrm>
            <a:custGeom>
              <a:avLst/>
              <a:gdLst>
                <a:gd name="T0" fmla="*/ 0 w 27"/>
                <a:gd name="T1" fmla="*/ 35 h 58"/>
                <a:gd name="T2" fmla="*/ 4 w 27"/>
                <a:gd name="T3" fmla="*/ 50 h 58"/>
                <a:gd name="T4" fmla="*/ 14 w 27"/>
                <a:gd name="T5" fmla="*/ 58 h 58"/>
                <a:gd name="T6" fmla="*/ 26 w 27"/>
                <a:gd name="T7" fmla="*/ 40 h 58"/>
                <a:gd name="T8" fmla="*/ 20 w 27"/>
                <a:gd name="T9" fmla="*/ 20 h 58"/>
                <a:gd name="T10" fmla="*/ 13 w 27"/>
                <a:gd name="T11" fmla="*/ 16 h 58"/>
                <a:gd name="T12" fmla="*/ 10 w 27"/>
                <a:gd name="T13" fmla="*/ 1 h 58"/>
                <a:gd name="T14" fmla="*/ 2 w 27"/>
                <a:gd name="T15" fmla="*/ 0 h 58"/>
                <a:gd name="T16" fmla="*/ 9 w 27"/>
                <a:gd name="T17" fmla="*/ 23 h 58"/>
                <a:gd name="T18" fmla="*/ 0 w 27"/>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58">
                  <a:moveTo>
                    <a:pt x="0" y="35"/>
                  </a:moveTo>
                  <a:cubicBezTo>
                    <a:pt x="0" y="42"/>
                    <a:pt x="4" y="50"/>
                    <a:pt x="4" y="50"/>
                  </a:cubicBezTo>
                  <a:cubicBezTo>
                    <a:pt x="14" y="58"/>
                    <a:pt x="14" y="58"/>
                    <a:pt x="14" y="58"/>
                  </a:cubicBezTo>
                  <a:cubicBezTo>
                    <a:pt x="22" y="51"/>
                    <a:pt x="26" y="47"/>
                    <a:pt x="26" y="40"/>
                  </a:cubicBezTo>
                  <a:cubicBezTo>
                    <a:pt x="27" y="36"/>
                    <a:pt x="20" y="20"/>
                    <a:pt x="20" y="20"/>
                  </a:cubicBezTo>
                  <a:cubicBezTo>
                    <a:pt x="20" y="20"/>
                    <a:pt x="16" y="24"/>
                    <a:pt x="13" y="16"/>
                  </a:cubicBezTo>
                  <a:cubicBezTo>
                    <a:pt x="13" y="8"/>
                    <a:pt x="10" y="1"/>
                    <a:pt x="10" y="1"/>
                  </a:cubicBezTo>
                  <a:cubicBezTo>
                    <a:pt x="2" y="0"/>
                    <a:pt x="2" y="0"/>
                    <a:pt x="2" y="0"/>
                  </a:cubicBezTo>
                  <a:cubicBezTo>
                    <a:pt x="9" y="23"/>
                    <a:pt x="9" y="23"/>
                    <a:pt x="9" y="23"/>
                  </a:cubicBezTo>
                  <a:cubicBezTo>
                    <a:pt x="9" y="23"/>
                    <a:pt x="1" y="27"/>
                    <a:pt x="0"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4" name="Freeform 156">
              <a:extLst>
                <a:ext uri="{FF2B5EF4-FFF2-40B4-BE49-F238E27FC236}">
                  <a16:creationId xmlns:a16="http://schemas.microsoft.com/office/drawing/2014/main" id="{33636099-7ACF-98CC-F2AF-2F6700672F0E}"/>
                </a:ext>
              </a:extLst>
            </p:cNvPr>
            <p:cNvSpPr>
              <a:spLocks/>
            </p:cNvSpPr>
            <p:nvPr/>
          </p:nvSpPr>
          <p:spPr bwMode="gray">
            <a:xfrm>
              <a:off x="9835178" y="2528299"/>
              <a:ext cx="230141" cy="307455"/>
            </a:xfrm>
            <a:custGeom>
              <a:avLst/>
              <a:gdLst>
                <a:gd name="T0" fmla="*/ 148 w 386"/>
                <a:gd name="T1" fmla="*/ 510 h 513"/>
                <a:gd name="T2" fmla="*/ 168 w 386"/>
                <a:gd name="T3" fmla="*/ 500 h 513"/>
                <a:gd name="T4" fmla="*/ 194 w 386"/>
                <a:gd name="T5" fmla="*/ 501 h 513"/>
                <a:gd name="T6" fmla="*/ 209 w 386"/>
                <a:gd name="T7" fmla="*/ 494 h 513"/>
                <a:gd name="T8" fmla="*/ 169 w 386"/>
                <a:gd name="T9" fmla="*/ 462 h 513"/>
                <a:gd name="T10" fmla="*/ 178 w 386"/>
                <a:gd name="T11" fmla="*/ 443 h 513"/>
                <a:gd name="T12" fmla="*/ 206 w 386"/>
                <a:gd name="T13" fmla="*/ 406 h 513"/>
                <a:gd name="T14" fmla="*/ 199 w 386"/>
                <a:gd name="T15" fmla="*/ 387 h 513"/>
                <a:gd name="T16" fmla="*/ 185 w 386"/>
                <a:gd name="T17" fmla="*/ 355 h 513"/>
                <a:gd name="T18" fmla="*/ 220 w 386"/>
                <a:gd name="T19" fmla="*/ 326 h 513"/>
                <a:gd name="T20" fmla="*/ 210 w 386"/>
                <a:gd name="T21" fmla="*/ 307 h 513"/>
                <a:gd name="T22" fmla="*/ 260 w 386"/>
                <a:gd name="T23" fmla="*/ 286 h 513"/>
                <a:gd name="T24" fmla="*/ 260 w 386"/>
                <a:gd name="T25" fmla="*/ 271 h 513"/>
                <a:gd name="T26" fmla="*/ 282 w 386"/>
                <a:gd name="T27" fmla="*/ 280 h 513"/>
                <a:gd name="T28" fmla="*/ 296 w 386"/>
                <a:gd name="T29" fmla="*/ 234 h 513"/>
                <a:gd name="T30" fmla="*/ 324 w 386"/>
                <a:gd name="T31" fmla="*/ 190 h 513"/>
                <a:gd name="T32" fmla="*/ 327 w 386"/>
                <a:gd name="T33" fmla="*/ 209 h 513"/>
                <a:gd name="T34" fmla="*/ 334 w 386"/>
                <a:gd name="T35" fmla="*/ 209 h 513"/>
                <a:gd name="T36" fmla="*/ 345 w 386"/>
                <a:gd name="T37" fmla="*/ 218 h 513"/>
                <a:gd name="T38" fmla="*/ 369 w 386"/>
                <a:gd name="T39" fmla="*/ 192 h 513"/>
                <a:gd name="T40" fmla="*/ 382 w 386"/>
                <a:gd name="T41" fmla="*/ 154 h 513"/>
                <a:gd name="T42" fmla="*/ 372 w 386"/>
                <a:gd name="T43" fmla="*/ 123 h 513"/>
                <a:gd name="T44" fmla="*/ 309 w 386"/>
                <a:gd name="T45" fmla="*/ 109 h 513"/>
                <a:gd name="T46" fmla="*/ 294 w 386"/>
                <a:gd name="T47" fmla="*/ 112 h 513"/>
                <a:gd name="T48" fmla="*/ 317 w 386"/>
                <a:gd name="T49" fmla="*/ 90 h 513"/>
                <a:gd name="T50" fmla="*/ 311 w 386"/>
                <a:gd name="T51" fmla="*/ 67 h 513"/>
                <a:gd name="T52" fmla="*/ 298 w 386"/>
                <a:gd name="T53" fmla="*/ 20 h 513"/>
                <a:gd name="T54" fmla="*/ 239 w 386"/>
                <a:gd name="T55" fmla="*/ 2 h 513"/>
                <a:gd name="T56" fmla="*/ 216 w 386"/>
                <a:gd name="T57" fmla="*/ 9 h 513"/>
                <a:gd name="T58" fmla="*/ 169 w 386"/>
                <a:gd name="T59" fmla="*/ 60 h 513"/>
                <a:gd name="T60" fmla="*/ 168 w 386"/>
                <a:gd name="T61" fmla="*/ 79 h 513"/>
                <a:gd name="T62" fmla="*/ 189 w 386"/>
                <a:gd name="T63" fmla="*/ 107 h 513"/>
                <a:gd name="T64" fmla="*/ 175 w 386"/>
                <a:gd name="T65" fmla="*/ 95 h 513"/>
                <a:gd name="T66" fmla="*/ 152 w 386"/>
                <a:gd name="T67" fmla="*/ 105 h 513"/>
                <a:gd name="T68" fmla="*/ 161 w 386"/>
                <a:gd name="T69" fmla="*/ 75 h 513"/>
                <a:gd name="T70" fmla="*/ 124 w 386"/>
                <a:gd name="T71" fmla="*/ 69 h 513"/>
                <a:gd name="T72" fmla="*/ 96 w 386"/>
                <a:gd name="T73" fmla="*/ 99 h 513"/>
                <a:gd name="T74" fmla="*/ 81 w 386"/>
                <a:gd name="T75" fmla="*/ 102 h 513"/>
                <a:gd name="T76" fmla="*/ 42 w 386"/>
                <a:gd name="T77" fmla="*/ 65 h 513"/>
                <a:gd name="T78" fmla="*/ 20 w 386"/>
                <a:gd name="T79" fmla="*/ 133 h 513"/>
                <a:gd name="T80" fmla="*/ 34 w 386"/>
                <a:gd name="T81" fmla="*/ 157 h 513"/>
                <a:gd name="T82" fmla="*/ 18 w 386"/>
                <a:gd name="T83" fmla="*/ 171 h 513"/>
                <a:gd name="T84" fmla="*/ 25 w 386"/>
                <a:gd name="T85" fmla="*/ 187 h 513"/>
                <a:gd name="T86" fmla="*/ 8 w 386"/>
                <a:gd name="T87" fmla="*/ 221 h 513"/>
                <a:gd name="T88" fmla="*/ 35 w 386"/>
                <a:gd name="T89" fmla="*/ 210 h 513"/>
                <a:gd name="T90" fmla="*/ 25 w 386"/>
                <a:gd name="T91" fmla="*/ 260 h 513"/>
                <a:gd name="T92" fmla="*/ 17 w 386"/>
                <a:gd name="T93" fmla="*/ 271 h 513"/>
                <a:gd name="T94" fmla="*/ 0 w 386"/>
                <a:gd name="T95" fmla="*/ 327 h 513"/>
                <a:gd name="T96" fmla="*/ 19 w 386"/>
                <a:gd name="T97" fmla="*/ 321 h 513"/>
                <a:gd name="T98" fmla="*/ 51 w 386"/>
                <a:gd name="T99" fmla="*/ 357 h 513"/>
                <a:gd name="T100" fmla="*/ 67 w 386"/>
                <a:gd name="T101" fmla="*/ 399 h 513"/>
                <a:gd name="T102" fmla="*/ 64 w 386"/>
                <a:gd name="T103" fmla="*/ 472 h 513"/>
                <a:gd name="T104" fmla="*/ 71 w 386"/>
                <a:gd name="T105" fmla="*/ 484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6" h="513">
                  <a:moveTo>
                    <a:pt x="71" y="484"/>
                  </a:moveTo>
                  <a:cubicBezTo>
                    <a:pt x="94" y="481"/>
                    <a:pt x="108" y="489"/>
                    <a:pt x="130" y="494"/>
                  </a:cubicBezTo>
                  <a:cubicBezTo>
                    <a:pt x="138" y="495"/>
                    <a:pt x="133" y="513"/>
                    <a:pt x="148" y="510"/>
                  </a:cubicBezTo>
                  <a:cubicBezTo>
                    <a:pt x="156" y="503"/>
                    <a:pt x="160" y="492"/>
                    <a:pt x="163" y="511"/>
                  </a:cubicBezTo>
                  <a:cubicBezTo>
                    <a:pt x="163" y="511"/>
                    <a:pt x="163" y="507"/>
                    <a:pt x="167" y="507"/>
                  </a:cubicBezTo>
                  <a:cubicBezTo>
                    <a:pt x="168" y="500"/>
                    <a:pt x="168" y="500"/>
                    <a:pt x="168" y="500"/>
                  </a:cubicBezTo>
                  <a:cubicBezTo>
                    <a:pt x="183" y="493"/>
                    <a:pt x="183" y="493"/>
                    <a:pt x="183" y="493"/>
                  </a:cubicBezTo>
                  <a:cubicBezTo>
                    <a:pt x="183" y="493"/>
                    <a:pt x="191" y="486"/>
                    <a:pt x="194" y="486"/>
                  </a:cubicBezTo>
                  <a:cubicBezTo>
                    <a:pt x="198" y="486"/>
                    <a:pt x="194" y="497"/>
                    <a:pt x="194" y="501"/>
                  </a:cubicBezTo>
                  <a:cubicBezTo>
                    <a:pt x="194" y="505"/>
                    <a:pt x="201" y="509"/>
                    <a:pt x="208" y="509"/>
                  </a:cubicBezTo>
                  <a:cubicBezTo>
                    <a:pt x="212" y="506"/>
                    <a:pt x="205" y="502"/>
                    <a:pt x="201" y="498"/>
                  </a:cubicBezTo>
                  <a:cubicBezTo>
                    <a:pt x="202" y="494"/>
                    <a:pt x="209" y="494"/>
                    <a:pt x="209" y="494"/>
                  </a:cubicBezTo>
                  <a:cubicBezTo>
                    <a:pt x="202" y="475"/>
                    <a:pt x="202" y="475"/>
                    <a:pt x="202" y="475"/>
                  </a:cubicBezTo>
                  <a:cubicBezTo>
                    <a:pt x="181" y="458"/>
                    <a:pt x="181" y="458"/>
                    <a:pt x="181" y="458"/>
                  </a:cubicBezTo>
                  <a:cubicBezTo>
                    <a:pt x="169" y="462"/>
                    <a:pt x="169" y="462"/>
                    <a:pt x="169" y="462"/>
                  </a:cubicBezTo>
                  <a:cubicBezTo>
                    <a:pt x="169" y="462"/>
                    <a:pt x="177" y="454"/>
                    <a:pt x="181" y="455"/>
                  </a:cubicBezTo>
                  <a:cubicBezTo>
                    <a:pt x="185" y="451"/>
                    <a:pt x="181" y="443"/>
                    <a:pt x="181" y="443"/>
                  </a:cubicBezTo>
                  <a:cubicBezTo>
                    <a:pt x="178" y="443"/>
                    <a:pt x="178" y="443"/>
                    <a:pt x="178" y="443"/>
                  </a:cubicBezTo>
                  <a:cubicBezTo>
                    <a:pt x="193" y="428"/>
                    <a:pt x="193" y="428"/>
                    <a:pt x="193" y="428"/>
                  </a:cubicBezTo>
                  <a:cubicBezTo>
                    <a:pt x="193" y="428"/>
                    <a:pt x="201" y="429"/>
                    <a:pt x="205" y="425"/>
                  </a:cubicBezTo>
                  <a:cubicBezTo>
                    <a:pt x="209" y="421"/>
                    <a:pt x="206" y="406"/>
                    <a:pt x="206" y="406"/>
                  </a:cubicBezTo>
                  <a:cubicBezTo>
                    <a:pt x="198" y="409"/>
                    <a:pt x="198" y="409"/>
                    <a:pt x="198" y="409"/>
                  </a:cubicBezTo>
                  <a:cubicBezTo>
                    <a:pt x="206" y="406"/>
                    <a:pt x="206" y="406"/>
                    <a:pt x="206" y="406"/>
                  </a:cubicBezTo>
                  <a:cubicBezTo>
                    <a:pt x="206" y="406"/>
                    <a:pt x="199" y="390"/>
                    <a:pt x="199" y="387"/>
                  </a:cubicBezTo>
                  <a:cubicBezTo>
                    <a:pt x="199" y="379"/>
                    <a:pt x="207" y="368"/>
                    <a:pt x="207" y="368"/>
                  </a:cubicBezTo>
                  <a:cubicBezTo>
                    <a:pt x="204" y="356"/>
                    <a:pt x="204" y="356"/>
                    <a:pt x="204" y="356"/>
                  </a:cubicBezTo>
                  <a:cubicBezTo>
                    <a:pt x="204" y="356"/>
                    <a:pt x="185" y="359"/>
                    <a:pt x="185" y="355"/>
                  </a:cubicBezTo>
                  <a:cubicBezTo>
                    <a:pt x="189" y="352"/>
                    <a:pt x="208" y="349"/>
                    <a:pt x="208" y="349"/>
                  </a:cubicBezTo>
                  <a:cubicBezTo>
                    <a:pt x="235" y="327"/>
                    <a:pt x="235" y="327"/>
                    <a:pt x="235" y="327"/>
                  </a:cubicBezTo>
                  <a:cubicBezTo>
                    <a:pt x="220" y="326"/>
                    <a:pt x="220" y="326"/>
                    <a:pt x="220" y="326"/>
                  </a:cubicBezTo>
                  <a:cubicBezTo>
                    <a:pt x="220" y="326"/>
                    <a:pt x="213" y="315"/>
                    <a:pt x="210" y="314"/>
                  </a:cubicBezTo>
                  <a:cubicBezTo>
                    <a:pt x="199" y="310"/>
                    <a:pt x="199" y="310"/>
                    <a:pt x="199" y="310"/>
                  </a:cubicBezTo>
                  <a:cubicBezTo>
                    <a:pt x="199" y="310"/>
                    <a:pt x="203" y="306"/>
                    <a:pt x="210" y="307"/>
                  </a:cubicBezTo>
                  <a:cubicBezTo>
                    <a:pt x="214" y="307"/>
                    <a:pt x="228" y="319"/>
                    <a:pt x="240" y="316"/>
                  </a:cubicBezTo>
                  <a:cubicBezTo>
                    <a:pt x="251" y="313"/>
                    <a:pt x="259" y="298"/>
                    <a:pt x="259" y="298"/>
                  </a:cubicBezTo>
                  <a:cubicBezTo>
                    <a:pt x="260" y="286"/>
                    <a:pt x="260" y="286"/>
                    <a:pt x="260" y="286"/>
                  </a:cubicBezTo>
                  <a:cubicBezTo>
                    <a:pt x="260" y="282"/>
                    <a:pt x="238" y="274"/>
                    <a:pt x="238" y="274"/>
                  </a:cubicBezTo>
                  <a:cubicBezTo>
                    <a:pt x="238" y="270"/>
                    <a:pt x="249" y="274"/>
                    <a:pt x="249" y="274"/>
                  </a:cubicBezTo>
                  <a:cubicBezTo>
                    <a:pt x="260" y="271"/>
                    <a:pt x="260" y="271"/>
                    <a:pt x="260" y="271"/>
                  </a:cubicBezTo>
                  <a:cubicBezTo>
                    <a:pt x="275" y="272"/>
                    <a:pt x="275" y="272"/>
                    <a:pt x="275" y="272"/>
                  </a:cubicBezTo>
                  <a:cubicBezTo>
                    <a:pt x="279" y="279"/>
                    <a:pt x="279" y="279"/>
                    <a:pt x="279" y="279"/>
                  </a:cubicBezTo>
                  <a:cubicBezTo>
                    <a:pt x="282" y="280"/>
                    <a:pt x="282" y="280"/>
                    <a:pt x="282" y="280"/>
                  </a:cubicBezTo>
                  <a:cubicBezTo>
                    <a:pt x="282" y="280"/>
                    <a:pt x="287" y="268"/>
                    <a:pt x="287" y="265"/>
                  </a:cubicBezTo>
                  <a:cubicBezTo>
                    <a:pt x="291" y="261"/>
                    <a:pt x="295" y="257"/>
                    <a:pt x="295" y="257"/>
                  </a:cubicBezTo>
                  <a:cubicBezTo>
                    <a:pt x="296" y="234"/>
                    <a:pt x="296" y="234"/>
                    <a:pt x="296" y="234"/>
                  </a:cubicBezTo>
                  <a:cubicBezTo>
                    <a:pt x="296" y="231"/>
                    <a:pt x="289" y="215"/>
                    <a:pt x="289" y="211"/>
                  </a:cubicBezTo>
                  <a:cubicBezTo>
                    <a:pt x="289" y="207"/>
                    <a:pt x="313" y="182"/>
                    <a:pt x="321" y="182"/>
                  </a:cubicBezTo>
                  <a:cubicBezTo>
                    <a:pt x="324" y="182"/>
                    <a:pt x="324" y="190"/>
                    <a:pt x="324" y="190"/>
                  </a:cubicBezTo>
                  <a:cubicBezTo>
                    <a:pt x="312" y="205"/>
                    <a:pt x="312" y="205"/>
                    <a:pt x="312" y="205"/>
                  </a:cubicBezTo>
                  <a:cubicBezTo>
                    <a:pt x="312" y="212"/>
                    <a:pt x="312" y="212"/>
                    <a:pt x="312" y="212"/>
                  </a:cubicBezTo>
                  <a:cubicBezTo>
                    <a:pt x="312" y="212"/>
                    <a:pt x="323" y="209"/>
                    <a:pt x="327" y="209"/>
                  </a:cubicBezTo>
                  <a:cubicBezTo>
                    <a:pt x="330" y="213"/>
                    <a:pt x="326" y="217"/>
                    <a:pt x="323" y="220"/>
                  </a:cubicBezTo>
                  <a:cubicBezTo>
                    <a:pt x="319" y="220"/>
                    <a:pt x="330" y="225"/>
                    <a:pt x="334" y="225"/>
                  </a:cubicBezTo>
                  <a:cubicBezTo>
                    <a:pt x="337" y="221"/>
                    <a:pt x="334" y="209"/>
                    <a:pt x="334" y="209"/>
                  </a:cubicBezTo>
                  <a:cubicBezTo>
                    <a:pt x="334" y="209"/>
                    <a:pt x="339" y="198"/>
                    <a:pt x="342" y="198"/>
                  </a:cubicBezTo>
                  <a:cubicBezTo>
                    <a:pt x="346" y="199"/>
                    <a:pt x="349" y="206"/>
                    <a:pt x="346" y="206"/>
                  </a:cubicBezTo>
                  <a:cubicBezTo>
                    <a:pt x="342" y="210"/>
                    <a:pt x="342" y="214"/>
                    <a:pt x="345" y="218"/>
                  </a:cubicBezTo>
                  <a:cubicBezTo>
                    <a:pt x="349" y="218"/>
                    <a:pt x="357" y="214"/>
                    <a:pt x="357" y="214"/>
                  </a:cubicBezTo>
                  <a:cubicBezTo>
                    <a:pt x="357" y="203"/>
                    <a:pt x="357" y="203"/>
                    <a:pt x="357" y="203"/>
                  </a:cubicBezTo>
                  <a:cubicBezTo>
                    <a:pt x="369" y="192"/>
                    <a:pt x="369" y="192"/>
                    <a:pt x="369" y="192"/>
                  </a:cubicBezTo>
                  <a:cubicBezTo>
                    <a:pt x="369" y="188"/>
                    <a:pt x="369" y="188"/>
                    <a:pt x="369" y="188"/>
                  </a:cubicBezTo>
                  <a:cubicBezTo>
                    <a:pt x="385" y="174"/>
                    <a:pt x="385" y="174"/>
                    <a:pt x="385" y="174"/>
                  </a:cubicBezTo>
                  <a:cubicBezTo>
                    <a:pt x="382" y="154"/>
                    <a:pt x="382" y="154"/>
                    <a:pt x="382" y="154"/>
                  </a:cubicBezTo>
                  <a:cubicBezTo>
                    <a:pt x="386" y="151"/>
                    <a:pt x="386" y="151"/>
                    <a:pt x="386" y="151"/>
                  </a:cubicBezTo>
                  <a:cubicBezTo>
                    <a:pt x="386" y="139"/>
                    <a:pt x="386" y="139"/>
                    <a:pt x="386" y="139"/>
                  </a:cubicBezTo>
                  <a:cubicBezTo>
                    <a:pt x="386" y="132"/>
                    <a:pt x="372" y="123"/>
                    <a:pt x="372" y="123"/>
                  </a:cubicBezTo>
                  <a:cubicBezTo>
                    <a:pt x="330" y="129"/>
                    <a:pt x="330" y="129"/>
                    <a:pt x="330" y="129"/>
                  </a:cubicBezTo>
                  <a:cubicBezTo>
                    <a:pt x="316" y="121"/>
                    <a:pt x="316" y="121"/>
                    <a:pt x="316" y="121"/>
                  </a:cubicBezTo>
                  <a:cubicBezTo>
                    <a:pt x="316" y="121"/>
                    <a:pt x="313" y="109"/>
                    <a:pt x="309" y="109"/>
                  </a:cubicBezTo>
                  <a:cubicBezTo>
                    <a:pt x="305" y="105"/>
                    <a:pt x="298" y="112"/>
                    <a:pt x="298" y="112"/>
                  </a:cubicBezTo>
                  <a:cubicBezTo>
                    <a:pt x="297" y="120"/>
                    <a:pt x="297" y="120"/>
                    <a:pt x="297" y="120"/>
                  </a:cubicBezTo>
                  <a:cubicBezTo>
                    <a:pt x="294" y="112"/>
                    <a:pt x="294" y="112"/>
                    <a:pt x="294" y="112"/>
                  </a:cubicBezTo>
                  <a:cubicBezTo>
                    <a:pt x="306" y="101"/>
                    <a:pt x="306" y="101"/>
                    <a:pt x="306" y="101"/>
                  </a:cubicBezTo>
                  <a:cubicBezTo>
                    <a:pt x="309" y="101"/>
                    <a:pt x="309" y="101"/>
                    <a:pt x="309" y="101"/>
                  </a:cubicBezTo>
                  <a:cubicBezTo>
                    <a:pt x="317" y="90"/>
                    <a:pt x="317" y="90"/>
                    <a:pt x="317" y="90"/>
                  </a:cubicBezTo>
                  <a:cubicBezTo>
                    <a:pt x="310" y="86"/>
                    <a:pt x="310" y="86"/>
                    <a:pt x="310" y="86"/>
                  </a:cubicBezTo>
                  <a:cubicBezTo>
                    <a:pt x="314" y="75"/>
                    <a:pt x="314" y="75"/>
                    <a:pt x="314" y="75"/>
                  </a:cubicBezTo>
                  <a:cubicBezTo>
                    <a:pt x="311" y="67"/>
                    <a:pt x="311" y="67"/>
                    <a:pt x="311" y="67"/>
                  </a:cubicBezTo>
                  <a:cubicBezTo>
                    <a:pt x="309" y="36"/>
                    <a:pt x="309" y="36"/>
                    <a:pt x="309" y="36"/>
                  </a:cubicBezTo>
                  <a:cubicBezTo>
                    <a:pt x="313" y="25"/>
                    <a:pt x="313" y="25"/>
                    <a:pt x="313" y="25"/>
                  </a:cubicBezTo>
                  <a:cubicBezTo>
                    <a:pt x="313" y="21"/>
                    <a:pt x="298" y="20"/>
                    <a:pt x="298" y="20"/>
                  </a:cubicBezTo>
                  <a:cubicBezTo>
                    <a:pt x="277" y="0"/>
                    <a:pt x="277" y="0"/>
                    <a:pt x="277" y="0"/>
                  </a:cubicBezTo>
                  <a:cubicBezTo>
                    <a:pt x="269" y="0"/>
                    <a:pt x="269" y="0"/>
                    <a:pt x="269" y="0"/>
                  </a:cubicBezTo>
                  <a:cubicBezTo>
                    <a:pt x="239" y="2"/>
                    <a:pt x="239" y="2"/>
                    <a:pt x="239" y="2"/>
                  </a:cubicBezTo>
                  <a:cubicBezTo>
                    <a:pt x="239" y="2"/>
                    <a:pt x="227" y="9"/>
                    <a:pt x="227" y="13"/>
                  </a:cubicBezTo>
                  <a:cubicBezTo>
                    <a:pt x="223" y="17"/>
                    <a:pt x="216" y="24"/>
                    <a:pt x="212" y="20"/>
                  </a:cubicBezTo>
                  <a:cubicBezTo>
                    <a:pt x="212" y="16"/>
                    <a:pt x="220" y="13"/>
                    <a:pt x="216" y="9"/>
                  </a:cubicBezTo>
                  <a:cubicBezTo>
                    <a:pt x="217" y="1"/>
                    <a:pt x="186" y="7"/>
                    <a:pt x="186" y="7"/>
                  </a:cubicBezTo>
                  <a:cubicBezTo>
                    <a:pt x="167" y="29"/>
                    <a:pt x="167" y="29"/>
                    <a:pt x="167" y="29"/>
                  </a:cubicBezTo>
                  <a:cubicBezTo>
                    <a:pt x="167" y="29"/>
                    <a:pt x="169" y="56"/>
                    <a:pt x="169" y="60"/>
                  </a:cubicBezTo>
                  <a:cubicBezTo>
                    <a:pt x="165" y="60"/>
                    <a:pt x="173" y="64"/>
                    <a:pt x="173" y="64"/>
                  </a:cubicBezTo>
                  <a:cubicBezTo>
                    <a:pt x="173" y="64"/>
                    <a:pt x="172" y="68"/>
                    <a:pt x="169" y="68"/>
                  </a:cubicBezTo>
                  <a:cubicBezTo>
                    <a:pt x="165" y="71"/>
                    <a:pt x="168" y="79"/>
                    <a:pt x="168" y="79"/>
                  </a:cubicBezTo>
                  <a:cubicBezTo>
                    <a:pt x="172" y="79"/>
                    <a:pt x="179" y="83"/>
                    <a:pt x="179" y="83"/>
                  </a:cubicBezTo>
                  <a:cubicBezTo>
                    <a:pt x="178" y="106"/>
                    <a:pt x="178" y="106"/>
                    <a:pt x="178" y="106"/>
                  </a:cubicBezTo>
                  <a:cubicBezTo>
                    <a:pt x="189" y="107"/>
                    <a:pt x="189" y="107"/>
                    <a:pt x="189" y="107"/>
                  </a:cubicBezTo>
                  <a:cubicBezTo>
                    <a:pt x="189" y="107"/>
                    <a:pt x="185" y="114"/>
                    <a:pt x="178" y="114"/>
                  </a:cubicBezTo>
                  <a:cubicBezTo>
                    <a:pt x="170" y="117"/>
                    <a:pt x="171" y="106"/>
                    <a:pt x="171" y="106"/>
                  </a:cubicBezTo>
                  <a:cubicBezTo>
                    <a:pt x="175" y="95"/>
                    <a:pt x="175" y="95"/>
                    <a:pt x="175" y="95"/>
                  </a:cubicBezTo>
                  <a:cubicBezTo>
                    <a:pt x="164" y="87"/>
                    <a:pt x="164" y="87"/>
                    <a:pt x="164" y="87"/>
                  </a:cubicBezTo>
                  <a:cubicBezTo>
                    <a:pt x="164" y="87"/>
                    <a:pt x="156" y="94"/>
                    <a:pt x="153" y="94"/>
                  </a:cubicBezTo>
                  <a:cubicBezTo>
                    <a:pt x="152" y="105"/>
                    <a:pt x="152" y="105"/>
                    <a:pt x="152" y="105"/>
                  </a:cubicBezTo>
                  <a:cubicBezTo>
                    <a:pt x="148" y="105"/>
                    <a:pt x="148" y="105"/>
                    <a:pt x="148" y="105"/>
                  </a:cubicBezTo>
                  <a:cubicBezTo>
                    <a:pt x="145" y="97"/>
                    <a:pt x="145" y="97"/>
                    <a:pt x="145" y="97"/>
                  </a:cubicBezTo>
                  <a:cubicBezTo>
                    <a:pt x="161" y="75"/>
                    <a:pt x="161" y="75"/>
                    <a:pt x="161" y="75"/>
                  </a:cubicBezTo>
                  <a:cubicBezTo>
                    <a:pt x="154" y="56"/>
                    <a:pt x="154" y="56"/>
                    <a:pt x="154" y="56"/>
                  </a:cubicBezTo>
                  <a:cubicBezTo>
                    <a:pt x="136" y="55"/>
                    <a:pt x="136" y="55"/>
                    <a:pt x="136" y="55"/>
                  </a:cubicBezTo>
                  <a:cubicBezTo>
                    <a:pt x="128" y="54"/>
                    <a:pt x="124" y="62"/>
                    <a:pt x="124" y="69"/>
                  </a:cubicBezTo>
                  <a:cubicBezTo>
                    <a:pt x="120" y="73"/>
                    <a:pt x="127" y="73"/>
                    <a:pt x="127" y="73"/>
                  </a:cubicBezTo>
                  <a:cubicBezTo>
                    <a:pt x="116" y="77"/>
                    <a:pt x="116" y="77"/>
                    <a:pt x="116" y="77"/>
                  </a:cubicBezTo>
                  <a:cubicBezTo>
                    <a:pt x="96" y="99"/>
                    <a:pt x="96" y="99"/>
                    <a:pt x="96" y="99"/>
                  </a:cubicBezTo>
                  <a:cubicBezTo>
                    <a:pt x="96" y="99"/>
                    <a:pt x="107" y="107"/>
                    <a:pt x="107" y="114"/>
                  </a:cubicBezTo>
                  <a:cubicBezTo>
                    <a:pt x="106" y="126"/>
                    <a:pt x="88" y="121"/>
                    <a:pt x="88" y="121"/>
                  </a:cubicBezTo>
                  <a:cubicBezTo>
                    <a:pt x="81" y="102"/>
                    <a:pt x="81" y="102"/>
                    <a:pt x="81" y="102"/>
                  </a:cubicBezTo>
                  <a:cubicBezTo>
                    <a:pt x="81" y="102"/>
                    <a:pt x="55" y="97"/>
                    <a:pt x="44" y="92"/>
                  </a:cubicBezTo>
                  <a:cubicBezTo>
                    <a:pt x="33" y="88"/>
                    <a:pt x="37" y="81"/>
                    <a:pt x="37" y="73"/>
                  </a:cubicBezTo>
                  <a:cubicBezTo>
                    <a:pt x="38" y="69"/>
                    <a:pt x="42" y="65"/>
                    <a:pt x="42" y="65"/>
                  </a:cubicBezTo>
                  <a:cubicBezTo>
                    <a:pt x="38" y="58"/>
                    <a:pt x="38" y="58"/>
                    <a:pt x="38" y="58"/>
                  </a:cubicBezTo>
                  <a:cubicBezTo>
                    <a:pt x="30" y="80"/>
                    <a:pt x="30" y="80"/>
                    <a:pt x="30" y="80"/>
                  </a:cubicBezTo>
                  <a:cubicBezTo>
                    <a:pt x="25" y="91"/>
                    <a:pt x="20" y="133"/>
                    <a:pt x="20" y="133"/>
                  </a:cubicBezTo>
                  <a:cubicBezTo>
                    <a:pt x="24" y="130"/>
                    <a:pt x="24" y="130"/>
                    <a:pt x="24" y="130"/>
                  </a:cubicBezTo>
                  <a:cubicBezTo>
                    <a:pt x="41" y="157"/>
                    <a:pt x="41" y="157"/>
                    <a:pt x="41" y="157"/>
                  </a:cubicBezTo>
                  <a:cubicBezTo>
                    <a:pt x="34" y="157"/>
                    <a:pt x="34" y="157"/>
                    <a:pt x="34" y="157"/>
                  </a:cubicBezTo>
                  <a:cubicBezTo>
                    <a:pt x="30" y="149"/>
                    <a:pt x="30" y="149"/>
                    <a:pt x="30" y="149"/>
                  </a:cubicBezTo>
                  <a:cubicBezTo>
                    <a:pt x="23" y="145"/>
                    <a:pt x="23" y="145"/>
                    <a:pt x="23" y="145"/>
                  </a:cubicBezTo>
                  <a:cubicBezTo>
                    <a:pt x="18" y="171"/>
                    <a:pt x="18" y="171"/>
                    <a:pt x="18" y="171"/>
                  </a:cubicBezTo>
                  <a:cubicBezTo>
                    <a:pt x="26" y="168"/>
                    <a:pt x="26" y="168"/>
                    <a:pt x="26" y="168"/>
                  </a:cubicBezTo>
                  <a:cubicBezTo>
                    <a:pt x="32" y="184"/>
                    <a:pt x="32" y="184"/>
                    <a:pt x="32" y="184"/>
                  </a:cubicBezTo>
                  <a:cubicBezTo>
                    <a:pt x="25" y="187"/>
                    <a:pt x="25" y="187"/>
                    <a:pt x="25" y="187"/>
                  </a:cubicBezTo>
                  <a:cubicBezTo>
                    <a:pt x="21" y="179"/>
                    <a:pt x="21" y="179"/>
                    <a:pt x="21" y="179"/>
                  </a:cubicBezTo>
                  <a:cubicBezTo>
                    <a:pt x="14" y="183"/>
                    <a:pt x="14" y="183"/>
                    <a:pt x="14" y="183"/>
                  </a:cubicBezTo>
                  <a:cubicBezTo>
                    <a:pt x="8" y="221"/>
                    <a:pt x="8" y="221"/>
                    <a:pt x="8" y="221"/>
                  </a:cubicBezTo>
                  <a:cubicBezTo>
                    <a:pt x="12" y="217"/>
                    <a:pt x="12" y="217"/>
                    <a:pt x="12" y="217"/>
                  </a:cubicBezTo>
                  <a:cubicBezTo>
                    <a:pt x="20" y="202"/>
                    <a:pt x="20" y="202"/>
                    <a:pt x="20" y="202"/>
                  </a:cubicBezTo>
                  <a:cubicBezTo>
                    <a:pt x="35" y="210"/>
                    <a:pt x="35" y="210"/>
                    <a:pt x="35" y="210"/>
                  </a:cubicBezTo>
                  <a:cubicBezTo>
                    <a:pt x="34" y="233"/>
                    <a:pt x="34" y="233"/>
                    <a:pt x="34" y="233"/>
                  </a:cubicBezTo>
                  <a:cubicBezTo>
                    <a:pt x="34" y="233"/>
                    <a:pt x="48" y="242"/>
                    <a:pt x="44" y="249"/>
                  </a:cubicBezTo>
                  <a:cubicBezTo>
                    <a:pt x="40" y="257"/>
                    <a:pt x="32" y="264"/>
                    <a:pt x="25" y="260"/>
                  </a:cubicBezTo>
                  <a:cubicBezTo>
                    <a:pt x="14" y="255"/>
                    <a:pt x="19" y="229"/>
                    <a:pt x="19" y="229"/>
                  </a:cubicBezTo>
                  <a:cubicBezTo>
                    <a:pt x="15" y="229"/>
                    <a:pt x="15" y="229"/>
                    <a:pt x="15" y="229"/>
                  </a:cubicBezTo>
                  <a:cubicBezTo>
                    <a:pt x="15" y="229"/>
                    <a:pt x="18" y="263"/>
                    <a:pt x="17" y="271"/>
                  </a:cubicBezTo>
                  <a:cubicBezTo>
                    <a:pt x="17" y="282"/>
                    <a:pt x="5" y="297"/>
                    <a:pt x="5" y="297"/>
                  </a:cubicBezTo>
                  <a:cubicBezTo>
                    <a:pt x="8" y="301"/>
                    <a:pt x="8" y="301"/>
                    <a:pt x="8" y="301"/>
                  </a:cubicBezTo>
                  <a:cubicBezTo>
                    <a:pt x="0" y="327"/>
                    <a:pt x="0" y="327"/>
                    <a:pt x="0" y="327"/>
                  </a:cubicBezTo>
                  <a:cubicBezTo>
                    <a:pt x="7" y="332"/>
                    <a:pt x="7" y="332"/>
                    <a:pt x="7" y="332"/>
                  </a:cubicBezTo>
                  <a:cubicBezTo>
                    <a:pt x="25" y="348"/>
                    <a:pt x="25" y="348"/>
                    <a:pt x="25" y="348"/>
                  </a:cubicBezTo>
                  <a:cubicBezTo>
                    <a:pt x="19" y="321"/>
                    <a:pt x="19" y="321"/>
                    <a:pt x="19" y="321"/>
                  </a:cubicBezTo>
                  <a:cubicBezTo>
                    <a:pt x="26" y="321"/>
                    <a:pt x="26" y="321"/>
                    <a:pt x="26" y="321"/>
                  </a:cubicBezTo>
                  <a:cubicBezTo>
                    <a:pt x="32" y="348"/>
                    <a:pt x="32" y="348"/>
                    <a:pt x="32" y="348"/>
                  </a:cubicBezTo>
                  <a:cubicBezTo>
                    <a:pt x="51" y="357"/>
                    <a:pt x="51" y="357"/>
                    <a:pt x="51" y="357"/>
                  </a:cubicBezTo>
                  <a:cubicBezTo>
                    <a:pt x="58" y="357"/>
                    <a:pt x="58" y="357"/>
                    <a:pt x="58" y="357"/>
                  </a:cubicBezTo>
                  <a:cubicBezTo>
                    <a:pt x="72" y="388"/>
                    <a:pt x="72" y="388"/>
                    <a:pt x="72" y="388"/>
                  </a:cubicBezTo>
                  <a:cubicBezTo>
                    <a:pt x="67" y="399"/>
                    <a:pt x="67" y="399"/>
                    <a:pt x="67" y="399"/>
                  </a:cubicBezTo>
                  <a:cubicBezTo>
                    <a:pt x="67" y="399"/>
                    <a:pt x="70" y="415"/>
                    <a:pt x="70" y="426"/>
                  </a:cubicBezTo>
                  <a:cubicBezTo>
                    <a:pt x="70" y="434"/>
                    <a:pt x="58" y="449"/>
                    <a:pt x="57" y="456"/>
                  </a:cubicBezTo>
                  <a:cubicBezTo>
                    <a:pt x="57" y="464"/>
                    <a:pt x="64" y="468"/>
                    <a:pt x="64" y="472"/>
                  </a:cubicBezTo>
                  <a:cubicBezTo>
                    <a:pt x="60" y="472"/>
                    <a:pt x="60" y="475"/>
                    <a:pt x="60" y="479"/>
                  </a:cubicBezTo>
                  <a:cubicBezTo>
                    <a:pt x="60" y="479"/>
                    <a:pt x="60" y="479"/>
                    <a:pt x="61" y="479"/>
                  </a:cubicBezTo>
                  <a:cubicBezTo>
                    <a:pt x="64" y="480"/>
                    <a:pt x="67" y="484"/>
                    <a:pt x="71" y="48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5" name="Freeform 157">
              <a:extLst>
                <a:ext uri="{FF2B5EF4-FFF2-40B4-BE49-F238E27FC236}">
                  <a16:creationId xmlns:a16="http://schemas.microsoft.com/office/drawing/2014/main" id="{E34C9B90-5166-DBC5-C94E-3A3E1CCF0D40}"/>
                </a:ext>
              </a:extLst>
            </p:cNvPr>
            <p:cNvSpPr>
              <a:spLocks/>
            </p:cNvSpPr>
            <p:nvPr/>
          </p:nvSpPr>
          <p:spPr bwMode="gray">
            <a:xfrm>
              <a:off x="10214550" y="2893289"/>
              <a:ext cx="7192" cy="3596"/>
            </a:xfrm>
            <a:custGeom>
              <a:avLst/>
              <a:gdLst>
                <a:gd name="T0" fmla="*/ 11 w 11"/>
                <a:gd name="T1" fmla="*/ 0 h 7"/>
                <a:gd name="T2" fmla="*/ 0 w 11"/>
                <a:gd name="T3" fmla="*/ 3 h 7"/>
                <a:gd name="T4" fmla="*/ 11 w 11"/>
                <a:gd name="T5" fmla="*/ 0 h 7"/>
              </a:gdLst>
              <a:ahLst/>
              <a:cxnLst>
                <a:cxn ang="0">
                  <a:pos x="T0" y="T1"/>
                </a:cxn>
                <a:cxn ang="0">
                  <a:pos x="T2" y="T3"/>
                </a:cxn>
                <a:cxn ang="0">
                  <a:pos x="T4" y="T5"/>
                </a:cxn>
              </a:cxnLst>
              <a:rect l="0" t="0" r="r" b="b"/>
              <a:pathLst>
                <a:path w="11" h="7">
                  <a:moveTo>
                    <a:pt x="11" y="0"/>
                  </a:moveTo>
                  <a:cubicBezTo>
                    <a:pt x="0" y="3"/>
                    <a:pt x="0" y="3"/>
                    <a:pt x="0" y="3"/>
                  </a:cubicBezTo>
                  <a:cubicBezTo>
                    <a:pt x="0" y="3"/>
                    <a:pt x="7" y="7"/>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6" name="Freeform 158">
              <a:extLst>
                <a:ext uri="{FF2B5EF4-FFF2-40B4-BE49-F238E27FC236}">
                  <a16:creationId xmlns:a16="http://schemas.microsoft.com/office/drawing/2014/main" id="{6F5AF09E-A353-5F85-29FC-C947DF29A341}"/>
                </a:ext>
              </a:extLst>
            </p:cNvPr>
            <p:cNvSpPr>
              <a:spLocks/>
            </p:cNvSpPr>
            <p:nvPr/>
          </p:nvSpPr>
          <p:spPr bwMode="gray">
            <a:xfrm>
              <a:off x="10218146" y="2866319"/>
              <a:ext cx="5395" cy="25171"/>
            </a:xfrm>
            <a:custGeom>
              <a:avLst/>
              <a:gdLst>
                <a:gd name="T0" fmla="*/ 1 w 10"/>
                <a:gd name="T1" fmla="*/ 42 h 42"/>
                <a:gd name="T2" fmla="*/ 10 w 10"/>
                <a:gd name="T3" fmla="*/ 8 h 42"/>
                <a:gd name="T4" fmla="*/ 1 w 10"/>
                <a:gd name="T5" fmla="*/ 42 h 42"/>
              </a:gdLst>
              <a:ahLst/>
              <a:cxnLst>
                <a:cxn ang="0">
                  <a:pos x="T0" y="T1"/>
                </a:cxn>
                <a:cxn ang="0">
                  <a:pos x="T2" y="T3"/>
                </a:cxn>
                <a:cxn ang="0">
                  <a:pos x="T4" y="T5"/>
                </a:cxn>
              </a:cxnLst>
              <a:rect l="0" t="0" r="r" b="b"/>
              <a:pathLst>
                <a:path w="10" h="42">
                  <a:moveTo>
                    <a:pt x="1" y="42"/>
                  </a:moveTo>
                  <a:cubicBezTo>
                    <a:pt x="5" y="34"/>
                    <a:pt x="10" y="8"/>
                    <a:pt x="10" y="8"/>
                  </a:cubicBezTo>
                  <a:cubicBezTo>
                    <a:pt x="0" y="0"/>
                    <a:pt x="2" y="38"/>
                    <a:pt x="1" y="4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7" name="Freeform 159">
              <a:extLst>
                <a:ext uri="{FF2B5EF4-FFF2-40B4-BE49-F238E27FC236}">
                  <a16:creationId xmlns:a16="http://schemas.microsoft.com/office/drawing/2014/main" id="{B1969131-557A-ADEF-8710-8493BDEA81BE}"/>
                </a:ext>
              </a:extLst>
            </p:cNvPr>
            <p:cNvSpPr>
              <a:spLocks/>
            </p:cNvSpPr>
            <p:nvPr/>
          </p:nvSpPr>
          <p:spPr bwMode="gray">
            <a:xfrm>
              <a:off x="9716511" y="2970601"/>
              <a:ext cx="17980" cy="5395"/>
            </a:xfrm>
            <a:custGeom>
              <a:avLst/>
              <a:gdLst>
                <a:gd name="T0" fmla="*/ 30 w 30"/>
                <a:gd name="T1" fmla="*/ 8 h 11"/>
                <a:gd name="T2" fmla="*/ 0 w 30"/>
                <a:gd name="T3" fmla="*/ 10 h 11"/>
                <a:gd name="T4" fmla="*/ 11 w 30"/>
                <a:gd name="T5" fmla="*/ 11 h 11"/>
                <a:gd name="T6" fmla="*/ 30 w 30"/>
                <a:gd name="T7" fmla="*/ 8 h 11"/>
              </a:gdLst>
              <a:ahLst/>
              <a:cxnLst>
                <a:cxn ang="0">
                  <a:pos x="T0" y="T1"/>
                </a:cxn>
                <a:cxn ang="0">
                  <a:pos x="T2" y="T3"/>
                </a:cxn>
                <a:cxn ang="0">
                  <a:pos x="T4" y="T5"/>
                </a:cxn>
                <a:cxn ang="0">
                  <a:pos x="T6" y="T7"/>
                </a:cxn>
              </a:cxnLst>
              <a:rect l="0" t="0" r="r" b="b"/>
              <a:pathLst>
                <a:path w="30" h="11">
                  <a:moveTo>
                    <a:pt x="30" y="8"/>
                  </a:moveTo>
                  <a:cubicBezTo>
                    <a:pt x="26" y="0"/>
                    <a:pt x="7" y="10"/>
                    <a:pt x="0" y="10"/>
                  </a:cubicBezTo>
                  <a:cubicBezTo>
                    <a:pt x="11" y="11"/>
                    <a:pt x="11" y="11"/>
                    <a:pt x="11" y="11"/>
                  </a:cubicBezTo>
                  <a:cubicBezTo>
                    <a:pt x="15" y="11"/>
                    <a:pt x="22" y="11"/>
                    <a:pt x="30"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8" name="Freeform 160">
              <a:extLst>
                <a:ext uri="{FF2B5EF4-FFF2-40B4-BE49-F238E27FC236}">
                  <a16:creationId xmlns:a16="http://schemas.microsoft.com/office/drawing/2014/main" id="{4382C2AD-41F1-D2D2-4BD4-C5F8D0301B58}"/>
                </a:ext>
              </a:extLst>
            </p:cNvPr>
            <p:cNvSpPr>
              <a:spLocks/>
            </p:cNvSpPr>
            <p:nvPr/>
          </p:nvSpPr>
          <p:spPr bwMode="gray">
            <a:xfrm>
              <a:off x="10223541" y="2884299"/>
              <a:ext cx="8991" cy="8991"/>
            </a:xfrm>
            <a:custGeom>
              <a:avLst/>
              <a:gdLst>
                <a:gd name="T0" fmla="*/ 15 w 15"/>
                <a:gd name="T1" fmla="*/ 8 h 15"/>
                <a:gd name="T2" fmla="*/ 0 w 15"/>
                <a:gd name="T3" fmla="*/ 15 h 15"/>
                <a:gd name="T4" fmla="*/ 15 w 15"/>
                <a:gd name="T5" fmla="*/ 8 h 15"/>
              </a:gdLst>
              <a:ahLst/>
              <a:cxnLst>
                <a:cxn ang="0">
                  <a:pos x="T0" y="T1"/>
                </a:cxn>
                <a:cxn ang="0">
                  <a:pos x="T2" y="T3"/>
                </a:cxn>
                <a:cxn ang="0">
                  <a:pos x="T4" y="T5"/>
                </a:cxn>
              </a:cxnLst>
              <a:rect l="0" t="0" r="r" b="b"/>
              <a:pathLst>
                <a:path w="15" h="15">
                  <a:moveTo>
                    <a:pt x="15" y="8"/>
                  </a:moveTo>
                  <a:cubicBezTo>
                    <a:pt x="8" y="0"/>
                    <a:pt x="7" y="11"/>
                    <a:pt x="0" y="15"/>
                  </a:cubicBezTo>
                  <a:cubicBezTo>
                    <a:pt x="3" y="15"/>
                    <a:pt x="11" y="12"/>
                    <a:pt x="15"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9" name="Freeform 161">
              <a:extLst>
                <a:ext uri="{FF2B5EF4-FFF2-40B4-BE49-F238E27FC236}">
                  <a16:creationId xmlns:a16="http://schemas.microsoft.com/office/drawing/2014/main" id="{8017C65A-398B-C7A9-26FF-2FC30E765F9D}"/>
                </a:ext>
              </a:extLst>
            </p:cNvPr>
            <p:cNvSpPr>
              <a:spLocks/>
            </p:cNvSpPr>
            <p:nvPr/>
          </p:nvSpPr>
          <p:spPr bwMode="gray">
            <a:xfrm>
              <a:off x="9948449" y="3011955"/>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3" y="0"/>
                    <a:pt x="2" y="0"/>
                    <a:pt x="0" y="0"/>
                  </a:cubicBezTo>
                  <a:cubicBezTo>
                    <a:pt x="2" y="0"/>
                    <a:pt x="3"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0" name="Freeform 162">
              <a:extLst>
                <a:ext uri="{FF2B5EF4-FFF2-40B4-BE49-F238E27FC236}">
                  <a16:creationId xmlns:a16="http://schemas.microsoft.com/office/drawing/2014/main" id="{23F4D8D1-D39A-C476-4B1E-53BF306D27A2}"/>
                </a:ext>
              </a:extLst>
            </p:cNvPr>
            <p:cNvSpPr>
              <a:spLocks/>
            </p:cNvSpPr>
            <p:nvPr/>
          </p:nvSpPr>
          <p:spPr bwMode="gray">
            <a:xfrm>
              <a:off x="10277480" y="2934642"/>
              <a:ext cx="39556" cy="44950"/>
            </a:xfrm>
            <a:custGeom>
              <a:avLst/>
              <a:gdLst>
                <a:gd name="T0" fmla="*/ 7 w 69"/>
                <a:gd name="T1" fmla="*/ 31 h 76"/>
                <a:gd name="T2" fmla="*/ 14 w 69"/>
                <a:gd name="T3" fmla="*/ 39 h 76"/>
                <a:gd name="T4" fmla="*/ 36 w 69"/>
                <a:gd name="T5" fmla="*/ 55 h 76"/>
                <a:gd name="T6" fmla="*/ 25 w 69"/>
                <a:gd name="T7" fmla="*/ 55 h 76"/>
                <a:gd name="T8" fmla="*/ 25 w 69"/>
                <a:gd name="T9" fmla="*/ 43 h 76"/>
                <a:gd name="T10" fmla="*/ 9 w 69"/>
                <a:gd name="T11" fmla="*/ 73 h 76"/>
                <a:gd name="T12" fmla="*/ 24 w 69"/>
                <a:gd name="T13" fmla="*/ 74 h 76"/>
                <a:gd name="T14" fmla="*/ 69 w 69"/>
                <a:gd name="T15" fmla="*/ 76 h 76"/>
                <a:gd name="T16" fmla="*/ 44 w 69"/>
                <a:gd name="T17" fmla="*/ 37 h 76"/>
                <a:gd name="T18" fmla="*/ 1 w 69"/>
                <a:gd name="T19" fmla="*/ 0 h 76"/>
                <a:gd name="T20" fmla="*/ 0 w 69"/>
                <a:gd name="T21" fmla="*/ 34 h 76"/>
                <a:gd name="T22" fmla="*/ 7 w 69"/>
                <a:gd name="T23"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6">
                  <a:moveTo>
                    <a:pt x="7" y="31"/>
                  </a:moveTo>
                  <a:cubicBezTo>
                    <a:pt x="11" y="35"/>
                    <a:pt x="14" y="35"/>
                    <a:pt x="14" y="39"/>
                  </a:cubicBezTo>
                  <a:cubicBezTo>
                    <a:pt x="18" y="28"/>
                    <a:pt x="41" y="33"/>
                    <a:pt x="36" y="55"/>
                  </a:cubicBezTo>
                  <a:cubicBezTo>
                    <a:pt x="29" y="51"/>
                    <a:pt x="32" y="55"/>
                    <a:pt x="25" y="55"/>
                  </a:cubicBezTo>
                  <a:cubicBezTo>
                    <a:pt x="25" y="43"/>
                    <a:pt x="25" y="43"/>
                    <a:pt x="25" y="43"/>
                  </a:cubicBezTo>
                  <a:cubicBezTo>
                    <a:pt x="17" y="55"/>
                    <a:pt x="28" y="67"/>
                    <a:pt x="9" y="73"/>
                  </a:cubicBezTo>
                  <a:cubicBezTo>
                    <a:pt x="24" y="74"/>
                    <a:pt x="24" y="74"/>
                    <a:pt x="24" y="74"/>
                  </a:cubicBezTo>
                  <a:cubicBezTo>
                    <a:pt x="28" y="74"/>
                    <a:pt x="65" y="64"/>
                    <a:pt x="69" y="76"/>
                  </a:cubicBezTo>
                  <a:cubicBezTo>
                    <a:pt x="65" y="64"/>
                    <a:pt x="59" y="45"/>
                    <a:pt x="44" y="37"/>
                  </a:cubicBezTo>
                  <a:cubicBezTo>
                    <a:pt x="29" y="32"/>
                    <a:pt x="16" y="5"/>
                    <a:pt x="1" y="0"/>
                  </a:cubicBezTo>
                  <a:cubicBezTo>
                    <a:pt x="1" y="0"/>
                    <a:pt x="3" y="27"/>
                    <a:pt x="0" y="34"/>
                  </a:cubicBezTo>
                  <a:cubicBezTo>
                    <a:pt x="2" y="33"/>
                    <a:pt x="7" y="37"/>
                    <a:pt x="7" y="3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1" name="Freeform 163">
              <a:extLst>
                <a:ext uri="{FF2B5EF4-FFF2-40B4-BE49-F238E27FC236}">
                  <a16:creationId xmlns:a16="http://schemas.microsoft.com/office/drawing/2014/main" id="{43AE394D-2472-97AC-721E-CFF76703DDB5}"/>
                </a:ext>
              </a:extLst>
            </p:cNvPr>
            <p:cNvSpPr>
              <a:spLocks/>
            </p:cNvSpPr>
            <p:nvPr/>
          </p:nvSpPr>
          <p:spPr bwMode="gray">
            <a:xfrm>
              <a:off x="10221742" y="2859127"/>
              <a:ext cx="59334" cy="66525"/>
            </a:xfrm>
            <a:custGeom>
              <a:avLst/>
              <a:gdLst>
                <a:gd name="T0" fmla="*/ 24 w 97"/>
                <a:gd name="T1" fmla="*/ 49 h 111"/>
                <a:gd name="T2" fmla="*/ 9 w 97"/>
                <a:gd name="T3" fmla="*/ 60 h 111"/>
                <a:gd name="T4" fmla="*/ 20 w 97"/>
                <a:gd name="T5" fmla="*/ 64 h 111"/>
                <a:gd name="T6" fmla="*/ 12 w 97"/>
                <a:gd name="T7" fmla="*/ 76 h 111"/>
                <a:gd name="T8" fmla="*/ 4 w 97"/>
                <a:gd name="T9" fmla="*/ 90 h 111"/>
                <a:gd name="T10" fmla="*/ 29 w 97"/>
                <a:gd name="T11" fmla="*/ 103 h 111"/>
                <a:gd name="T12" fmla="*/ 29 w 97"/>
                <a:gd name="T13" fmla="*/ 107 h 111"/>
                <a:gd name="T14" fmla="*/ 44 w 97"/>
                <a:gd name="T15" fmla="*/ 108 h 111"/>
                <a:gd name="T16" fmla="*/ 37 w 97"/>
                <a:gd name="T17" fmla="*/ 100 h 111"/>
                <a:gd name="T18" fmla="*/ 45 w 97"/>
                <a:gd name="T19" fmla="*/ 85 h 111"/>
                <a:gd name="T20" fmla="*/ 75 w 97"/>
                <a:gd name="T21" fmla="*/ 82 h 111"/>
                <a:gd name="T22" fmla="*/ 67 w 97"/>
                <a:gd name="T23" fmla="*/ 90 h 111"/>
                <a:gd name="T24" fmla="*/ 79 w 97"/>
                <a:gd name="T25" fmla="*/ 86 h 111"/>
                <a:gd name="T26" fmla="*/ 71 w 97"/>
                <a:gd name="T27" fmla="*/ 94 h 111"/>
                <a:gd name="T28" fmla="*/ 82 w 97"/>
                <a:gd name="T29" fmla="*/ 98 h 111"/>
                <a:gd name="T30" fmla="*/ 90 w 97"/>
                <a:gd name="T31" fmla="*/ 83 h 111"/>
                <a:gd name="T32" fmla="*/ 65 w 97"/>
                <a:gd name="T33" fmla="*/ 59 h 111"/>
                <a:gd name="T34" fmla="*/ 55 w 97"/>
                <a:gd name="T35" fmla="*/ 28 h 111"/>
                <a:gd name="T36" fmla="*/ 41 w 97"/>
                <a:gd name="T37" fmla="*/ 12 h 111"/>
                <a:gd name="T38" fmla="*/ 42 w 97"/>
                <a:gd name="T39" fmla="*/ 0 h 111"/>
                <a:gd name="T40" fmla="*/ 10 w 97"/>
                <a:gd name="T41" fmla="*/ 30 h 111"/>
                <a:gd name="T42" fmla="*/ 22 w 97"/>
                <a:gd name="T43" fmla="*/ 15 h 111"/>
                <a:gd name="T44" fmla="*/ 22 w 97"/>
                <a:gd name="T45" fmla="*/ 30 h 111"/>
                <a:gd name="T46" fmla="*/ 37 w 97"/>
                <a:gd name="T47" fmla="*/ 19 h 111"/>
                <a:gd name="T48" fmla="*/ 55 w 97"/>
                <a:gd name="T49" fmla="*/ 35 h 111"/>
                <a:gd name="T50" fmla="*/ 40 w 97"/>
                <a:gd name="T51" fmla="*/ 31 h 111"/>
                <a:gd name="T52" fmla="*/ 36 w 97"/>
                <a:gd name="T53" fmla="*/ 38 h 111"/>
                <a:gd name="T54" fmla="*/ 37 w 97"/>
                <a:gd name="T55" fmla="*/ 27 h 111"/>
                <a:gd name="T56" fmla="*/ 32 w 97"/>
                <a:gd name="T57" fmla="*/ 42 h 111"/>
                <a:gd name="T58" fmla="*/ 6 w 97"/>
                <a:gd name="T59" fmla="*/ 37 h 111"/>
                <a:gd name="T60" fmla="*/ 24 w 97"/>
                <a:gd name="T61"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11">
                  <a:moveTo>
                    <a:pt x="24" y="49"/>
                  </a:moveTo>
                  <a:cubicBezTo>
                    <a:pt x="24" y="53"/>
                    <a:pt x="5" y="56"/>
                    <a:pt x="9" y="60"/>
                  </a:cubicBezTo>
                  <a:cubicBezTo>
                    <a:pt x="9" y="64"/>
                    <a:pt x="20" y="57"/>
                    <a:pt x="20" y="64"/>
                  </a:cubicBezTo>
                  <a:cubicBezTo>
                    <a:pt x="20" y="72"/>
                    <a:pt x="23" y="76"/>
                    <a:pt x="12" y="76"/>
                  </a:cubicBezTo>
                  <a:cubicBezTo>
                    <a:pt x="1" y="75"/>
                    <a:pt x="0" y="86"/>
                    <a:pt x="4" y="90"/>
                  </a:cubicBezTo>
                  <a:cubicBezTo>
                    <a:pt x="7" y="94"/>
                    <a:pt x="26" y="103"/>
                    <a:pt x="29" y="103"/>
                  </a:cubicBezTo>
                  <a:cubicBezTo>
                    <a:pt x="33" y="107"/>
                    <a:pt x="29" y="107"/>
                    <a:pt x="29" y="107"/>
                  </a:cubicBezTo>
                  <a:cubicBezTo>
                    <a:pt x="33" y="111"/>
                    <a:pt x="44" y="111"/>
                    <a:pt x="44" y="108"/>
                  </a:cubicBezTo>
                  <a:cubicBezTo>
                    <a:pt x="45" y="100"/>
                    <a:pt x="37" y="107"/>
                    <a:pt x="37" y="100"/>
                  </a:cubicBezTo>
                  <a:cubicBezTo>
                    <a:pt x="37" y="92"/>
                    <a:pt x="52" y="93"/>
                    <a:pt x="45" y="85"/>
                  </a:cubicBezTo>
                  <a:cubicBezTo>
                    <a:pt x="49" y="85"/>
                    <a:pt x="75" y="79"/>
                    <a:pt x="75" y="82"/>
                  </a:cubicBezTo>
                  <a:cubicBezTo>
                    <a:pt x="75" y="82"/>
                    <a:pt x="68" y="86"/>
                    <a:pt x="67" y="90"/>
                  </a:cubicBezTo>
                  <a:cubicBezTo>
                    <a:pt x="71" y="86"/>
                    <a:pt x="75" y="86"/>
                    <a:pt x="79" y="86"/>
                  </a:cubicBezTo>
                  <a:cubicBezTo>
                    <a:pt x="71" y="94"/>
                    <a:pt x="71" y="94"/>
                    <a:pt x="71" y="94"/>
                  </a:cubicBezTo>
                  <a:cubicBezTo>
                    <a:pt x="75" y="94"/>
                    <a:pt x="82" y="98"/>
                    <a:pt x="82" y="98"/>
                  </a:cubicBezTo>
                  <a:cubicBezTo>
                    <a:pt x="82" y="94"/>
                    <a:pt x="90" y="83"/>
                    <a:pt x="90" y="83"/>
                  </a:cubicBezTo>
                  <a:cubicBezTo>
                    <a:pt x="91" y="75"/>
                    <a:pt x="65" y="67"/>
                    <a:pt x="65" y="59"/>
                  </a:cubicBezTo>
                  <a:cubicBezTo>
                    <a:pt x="62" y="43"/>
                    <a:pt x="97" y="18"/>
                    <a:pt x="55" y="28"/>
                  </a:cubicBezTo>
                  <a:cubicBezTo>
                    <a:pt x="52" y="28"/>
                    <a:pt x="41" y="20"/>
                    <a:pt x="41" y="12"/>
                  </a:cubicBezTo>
                  <a:cubicBezTo>
                    <a:pt x="41" y="8"/>
                    <a:pt x="57" y="1"/>
                    <a:pt x="42" y="0"/>
                  </a:cubicBezTo>
                  <a:cubicBezTo>
                    <a:pt x="34" y="0"/>
                    <a:pt x="0" y="21"/>
                    <a:pt x="10" y="30"/>
                  </a:cubicBezTo>
                  <a:cubicBezTo>
                    <a:pt x="14" y="34"/>
                    <a:pt x="22" y="15"/>
                    <a:pt x="22" y="15"/>
                  </a:cubicBezTo>
                  <a:cubicBezTo>
                    <a:pt x="30" y="11"/>
                    <a:pt x="22" y="30"/>
                    <a:pt x="22" y="30"/>
                  </a:cubicBezTo>
                  <a:cubicBezTo>
                    <a:pt x="29" y="30"/>
                    <a:pt x="33" y="19"/>
                    <a:pt x="37" y="19"/>
                  </a:cubicBezTo>
                  <a:cubicBezTo>
                    <a:pt x="37" y="19"/>
                    <a:pt x="55" y="39"/>
                    <a:pt x="55" y="35"/>
                  </a:cubicBezTo>
                  <a:cubicBezTo>
                    <a:pt x="53" y="70"/>
                    <a:pt x="44" y="31"/>
                    <a:pt x="40" y="31"/>
                  </a:cubicBezTo>
                  <a:cubicBezTo>
                    <a:pt x="36" y="35"/>
                    <a:pt x="40" y="39"/>
                    <a:pt x="36" y="38"/>
                  </a:cubicBezTo>
                  <a:cubicBezTo>
                    <a:pt x="36" y="38"/>
                    <a:pt x="40" y="27"/>
                    <a:pt x="37" y="27"/>
                  </a:cubicBezTo>
                  <a:cubicBezTo>
                    <a:pt x="29" y="23"/>
                    <a:pt x="29" y="38"/>
                    <a:pt x="32" y="42"/>
                  </a:cubicBezTo>
                  <a:cubicBezTo>
                    <a:pt x="29" y="38"/>
                    <a:pt x="7" y="26"/>
                    <a:pt x="6" y="37"/>
                  </a:cubicBezTo>
                  <a:cubicBezTo>
                    <a:pt x="6" y="45"/>
                    <a:pt x="21" y="42"/>
                    <a:pt x="24" y="4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2" name="Freeform 164">
              <a:extLst>
                <a:ext uri="{FF2B5EF4-FFF2-40B4-BE49-F238E27FC236}">
                  <a16:creationId xmlns:a16="http://schemas.microsoft.com/office/drawing/2014/main" id="{263CD9A3-6E75-DB3F-9856-639686F45698}"/>
                </a:ext>
              </a:extLst>
            </p:cNvPr>
            <p:cNvSpPr>
              <a:spLocks/>
            </p:cNvSpPr>
            <p:nvPr/>
          </p:nvSpPr>
          <p:spPr bwMode="gray">
            <a:xfrm>
              <a:off x="10286469" y="2922057"/>
              <a:ext cx="5395" cy="5395"/>
            </a:xfrm>
            <a:custGeom>
              <a:avLst/>
              <a:gdLst>
                <a:gd name="T0" fmla="*/ 7 w 7"/>
                <a:gd name="T1" fmla="*/ 4 h 11"/>
                <a:gd name="T2" fmla="*/ 0 w 7"/>
                <a:gd name="T3" fmla="*/ 4 h 11"/>
                <a:gd name="T4" fmla="*/ 7 w 7"/>
                <a:gd name="T5" fmla="*/ 4 h 11"/>
              </a:gdLst>
              <a:ahLst/>
              <a:cxnLst>
                <a:cxn ang="0">
                  <a:pos x="T0" y="T1"/>
                </a:cxn>
                <a:cxn ang="0">
                  <a:pos x="T2" y="T3"/>
                </a:cxn>
                <a:cxn ang="0">
                  <a:pos x="T4" y="T5"/>
                </a:cxn>
              </a:cxnLst>
              <a:rect l="0" t="0" r="r" b="b"/>
              <a:pathLst>
                <a:path w="7" h="11">
                  <a:moveTo>
                    <a:pt x="7" y="4"/>
                  </a:moveTo>
                  <a:cubicBezTo>
                    <a:pt x="4" y="0"/>
                    <a:pt x="4" y="0"/>
                    <a:pt x="0" y="4"/>
                  </a:cubicBezTo>
                  <a:cubicBezTo>
                    <a:pt x="0" y="11"/>
                    <a:pt x="4" y="4"/>
                    <a:pt x="7"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3" name="Freeform 165">
              <a:extLst>
                <a:ext uri="{FF2B5EF4-FFF2-40B4-BE49-F238E27FC236}">
                  <a16:creationId xmlns:a16="http://schemas.microsoft.com/office/drawing/2014/main" id="{E31ABEA4-1BC0-0FB1-2B01-8B87F215E270}"/>
                </a:ext>
              </a:extLst>
            </p:cNvPr>
            <p:cNvSpPr>
              <a:spLocks/>
            </p:cNvSpPr>
            <p:nvPr/>
          </p:nvSpPr>
          <p:spPr bwMode="gray">
            <a:xfrm>
              <a:off x="9588854" y="2814178"/>
              <a:ext cx="796505" cy="1082383"/>
            </a:xfrm>
            <a:custGeom>
              <a:avLst/>
              <a:gdLst>
                <a:gd name="T0" fmla="*/ 191 w 1336"/>
                <a:gd name="T1" fmla="*/ 553 h 1815"/>
                <a:gd name="T2" fmla="*/ 99 w 1336"/>
                <a:gd name="T3" fmla="*/ 686 h 1815"/>
                <a:gd name="T4" fmla="*/ 41 w 1336"/>
                <a:gd name="T5" fmla="*/ 718 h 1815"/>
                <a:gd name="T6" fmla="*/ 15 w 1336"/>
                <a:gd name="T7" fmla="*/ 877 h 1815"/>
                <a:gd name="T8" fmla="*/ 13 w 1336"/>
                <a:gd name="T9" fmla="*/ 939 h 1815"/>
                <a:gd name="T10" fmla="*/ 60 w 1336"/>
                <a:gd name="T11" fmla="*/ 1052 h 1815"/>
                <a:gd name="T12" fmla="*/ 65 w 1336"/>
                <a:gd name="T13" fmla="*/ 1193 h 1815"/>
                <a:gd name="T14" fmla="*/ 61 w 1336"/>
                <a:gd name="T15" fmla="*/ 1262 h 1815"/>
                <a:gd name="T16" fmla="*/ 126 w 1336"/>
                <a:gd name="T17" fmla="*/ 1330 h 1815"/>
                <a:gd name="T18" fmla="*/ 196 w 1336"/>
                <a:gd name="T19" fmla="*/ 1341 h 1815"/>
                <a:gd name="T20" fmla="*/ 255 w 1336"/>
                <a:gd name="T21" fmla="*/ 1451 h 1815"/>
                <a:gd name="T22" fmla="*/ 175 w 1336"/>
                <a:gd name="T23" fmla="*/ 1700 h 1815"/>
                <a:gd name="T24" fmla="*/ 186 w 1336"/>
                <a:gd name="T25" fmla="*/ 1719 h 1815"/>
                <a:gd name="T26" fmla="*/ 322 w 1336"/>
                <a:gd name="T27" fmla="*/ 1707 h 1815"/>
                <a:gd name="T28" fmla="*/ 371 w 1336"/>
                <a:gd name="T29" fmla="*/ 1690 h 1815"/>
                <a:gd name="T30" fmla="*/ 499 w 1336"/>
                <a:gd name="T31" fmla="*/ 1749 h 1815"/>
                <a:gd name="T32" fmla="*/ 584 w 1336"/>
                <a:gd name="T33" fmla="*/ 1788 h 1815"/>
                <a:gd name="T34" fmla="*/ 630 w 1336"/>
                <a:gd name="T35" fmla="*/ 1745 h 1815"/>
                <a:gd name="T36" fmla="*/ 745 w 1336"/>
                <a:gd name="T37" fmla="*/ 1784 h 1815"/>
                <a:gd name="T38" fmla="*/ 847 w 1336"/>
                <a:gd name="T39" fmla="*/ 1747 h 1815"/>
                <a:gd name="T40" fmla="*/ 994 w 1336"/>
                <a:gd name="T41" fmla="*/ 1735 h 1815"/>
                <a:gd name="T42" fmla="*/ 1019 w 1336"/>
                <a:gd name="T43" fmla="*/ 1679 h 1815"/>
                <a:gd name="T44" fmla="*/ 1093 w 1336"/>
                <a:gd name="T45" fmla="*/ 1529 h 1815"/>
                <a:gd name="T46" fmla="*/ 1127 w 1336"/>
                <a:gd name="T47" fmla="*/ 1439 h 1815"/>
                <a:gd name="T48" fmla="*/ 960 w 1336"/>
                <a:gd name="T49" fmla="*/ 1259 h 1815"/>
                <a:gd name="T50" fmla="*/ 919 w 1336"/>
                <a:gd name="T51" fmla="*/ 1162 h 1815"/>
                <a:gd name="T52" fmla="*/ 986 w 1336"/>
                <a:gd name="T53" fmla="*/ 1092 h 1815"/>
                <a:gd name="T54" fmla="*/ 1128 w 1336"/>
                <a:gd name="T55" fmla="*/ 1015 h 1815"/>
                <a:gd name="T56" fmla="*/ 1225 w 1336"/>
                <a:gd name="T57" fmla="*/ 939 h 1815"/>
                <a:gd name="T58" fmla="*/ 1302 w 1336"/>
                <a:gd name="T59" fmla="*/ 981 h 1815"/>
                <a:gd name="T60" fmla="*/ 1286 w 1336"/>
                <a:gd name="T61" fmla="*/ 827 h 1815"/>
                <a:gd name="T62" fmla="*/ 1258 w 1336"/>
                <a:gd name="T63" fmla="*/ 627 h 1815"/>
                <a:gd name="T64" fmla="*/ 1235 w 1336"/>
                <a:gd name="T65" fmla="*/ 392 h 1815"/>
                <a:gd name="T66" fmla="*/ 1158 w 1336"/>
                <a:gd name="T67" fmla="*/ 270 h 1815"/>
                <a:gd name="T68" fmla="*/ 1098 w 1336"/>
                <a:gd name="T69" fmla="*/ 202 h 1815"/>
                <a:gd name="T70" fmla="*/ 991 w 1336"/>
                <a:gd name="T71" fmla="*/ 159 h 1815"/>
                <a:gd name="T72" fmla="*/ 1041 w 1336"/>
                <a:gd name="T73" fmla="*/ 138 h 1815"/>
                <a:gd name="T74" fmla="*/ 888 w 1336"/>
                <a:gd name="T75" fmla="*/ 208 h 1815"/>
                <a:gd name="T76" fmla="*/ 838 w 1336"/>
                <a:gd name="T77" fmla="*/ 247 h 1815"/>
                <a:gd name="T78" fmla="*/ 770 w 1336"/>
                <a:gd name="T79" fmla="*/ 256 h 1815"/>
                <a:gd name="T80" fmla="*/ 785 w 1336"/>
                <a:gd name="T81" fmla="*/ 172 h 1815"/>
                <a:gd name="T82" fmla="*/ 690 w 1336"/>
                <a:gd name="T83" fmla="*/ 129 h 1815"/>
                <a:gd name="T84" fmla="*/ 645 w 1336"/>
                <a:gd name="T85" fmla="*/ 51 h 1815"/>
                <a:gd name="T86" fmla="*/ 541 w 1336"/>
                <a:gd name="T87" fmla="*/ 15 h 1815"/>
                <a:gd name="T88" fmla="*/ 463 w 1336"/>
                <a:gd name="T89" fmla="*/ 8 h 1815"/>
                <a:gd name="T90" fmla="*/ 504 w 1336"/>
                <a:gd name="T91" fmla="*/ 101 h 1815"/>
                <a:gd name="T92" fmla="*/ 481 w 1336"/>
                <a:gd name="T93" fmla="*/ 181 h 1815"/>
                <a:gd name="T94" fmla="*/ 556 w 1336"/>
                <a:gd name="T95" fmla="*/ 276 h 1815"/>
                <a:gd name="T96" fmla="*/ 478 w 1336"/>
                <a:gd name="T97" fmla="*/ 257 h 1815"/>
                <a:gd name="T98" fmla="*/ 412 w 1336"/>
                <a:gd name="T99" fmla="*/ 315 h 1815"/>
                <a:gd name="T100" fmla="*/ 374 w 1336"/>
                <a:gd name="T101" fmla="*/ 325 h 1815"/>
                <a:gd name="T102" fmla="*/ 232 w 1336"/>
                <a:gd name="T103" fmla="*/ 314 h 1815"/>
                <a:gd name="T104" fmla="*/ 234 w 1336"/>
                <a:gd name="T105" fmla="*/ 425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36" h="1815">
                  <a:moveTo>
                    <a:pt x="234" y="425"/>
                  </a:moveTo>
                  <a:cubicBezTo>
                    <a:pt x="238" y="441"/>
                    <a:pt x="226" y="455"/>
                    <a:pt x="218" y="466"/>
                  </a:cubicBezTo>
                  <a:cubicBezTo>
                    <a:pt x="206" y="481"/>
                    <a:pt x="216" y="508"/>
                    <a:pt x="197" y="515"/>
                  </a:cubicBezTo>
                  <a:cubicBezTo>
                    <a:pt x="189" y="519"/>
                    <a:pt x="145" y="494"/>
                    <a:pt x="163" y="525"/>
                  </a:cubicBezTo>
                  <a:cubicBezTo>
                    <a:pt x="132" y="539"/>
                    <a:pt x="179" y="575"/>
                    <a:pt x="191" y="553"/>
                  </a:cubicBezTo>
                  <a:cubicBezTo>
                    <a:pt x="209" y="573"/>
                    <a:pt x="186" y="595"/>
                    <a:pt x="200" y="607"/>
                  </a:cubicBezTo>
                  <a:cubicBezTo>
                    <a:pt x="192" y="611"/>
                    <a:pt x="169" y="632"/>
                    <a:pt x="169" y="632"/>
                  </a:cubicBezTo>
                  <a:cubicBezTo>
                    <a:pt x="154" y="632"/>
                    <a:pt x="146" y="639"/>
                    <a:pt x="138" y="650"/>
                  </a:cubicBezTo>
                  <a:cubicBezTo>
                    <a:pt x="168" y="651"/>
                    <a:pt x="151" y="685"/>
                    <a:pt x="144" y="681"/>
                  </a:cubicBezTo>
                  <a:cubicBezTo>
                    <a:pt x="130" y="669"/>
                    <a:pt x="114" y="691"/>
                    <a:pt x="99" y="686"/>
                  </a:cubicBezTo>
                  <a:cubicBezTo>
                    <a:pt x="99" y="694"/>
                    <a:pt x="99" y="694"/>
                    <a:pt x="99" y="694"/>
                  </a:cubicBezTo>
                  <a:cubicBezTo>
                    <a:pt x="88" y="686"/>
                    <a:pt x="69" y="677"/>
                    <a:pt x="55" y="677"/>
                  </a:cubicBezTo>
                  <a:cubicBezTo>
                    <a:pt x="58" y="681"/>
                    <a:pt x="58" y="688"/>
                    <a:pt x="61" y="692"/>
                  </a:cubicBezTo>
                  <a:cubicBezTo>
                    <a:pt x="50" y="684"/>
                    <a:pt x="43" y="688"/>
                    <a:pt x="32" y="687"/>
                  </a:cubicBezTo>
                  <a:cubicBezTo>
                    <a:pt x="32" y="687"/>
                    <a:pt x="41" y="722"/>
                    <a:pt x="41" y="718"/>
                  </a:cubicBezTo>
                  <a:cubicBezTo>
                    <a:pt x="41" y="730"/>
                    <a:pt x="48" y="745"/>
                    <a:pt x="55" y="757"/>
                  </a:cubicBezTo>
                  <a:cubicBezTo>
                    <a:pt x="62" y="769"/>
                    <a:pt x="61" y="784"/>
                    <a:pt x="60" y="799"/>
                  </a:cubicBezTo>
                  <a:cubicBezTo>
                    <a:pt x="59" y="818"/>
                    <a:pt x="29" y="821"/>
                    <a:pt x="36" y="848"/>
                  </a:cubicBezTo>
                  <a:cubicBezTo>
                    <a:pt x="47" y="845"/>
                    <a:pt x="47" y="845"/>
                    <a:pt x="47" y="845"/>
                  </a:cubicBezTo>
                  <a:cubicBezTo>
                    <a:pt x="42" y="863"/>
                    <a:pt x="20" y="859"/>
                    <a:pt x="15" y="877"/>
                  </a:cubicBezTo>
                  <a:cubicBezTo>
                    <a:pt x="12" y="874"/>
                    <a:pt x="12" y="870"/>
                    <a:pt x="8" y="866"/>
                  </a:cubicBezTo>
                  <a:cubicBezTo>
                    <a:pt x="1" y="869"/>
                    <a:pt x="0" y="881"/>
                    <a:pt x="4" y="888"/>
                  </a:cubicBezTo>
                  <a:cubicBezTo>
                    <a:pt x="26" y="882"/>
                    <a:pt x="25" y="905"/>
                    <a:pt x="28" y="920"/>
                  </a:cubicBezTo>
                  <a:cubicBezTo>
                    <a:pt x="21" y="920"/>
                    <a:pt x="17" y="923"/>
                    <a:pt x="9" y="931"/>
                  </a:cubicBezTo>
                  <a:cubicBezTo>
                    <a:pt x="9" y="931"/>
                    <a:pt x="13" y="935"/>
                    <a:pt x="13" y="939"/>
                  </a:cubicBezTo>
                  <a:cubicBezTo>
                    <a:pt x="15" y="945"/>
                    <a:pt x="19" y="952"/>
                    <a:pt x="24" y="958"/>
                  </a:cubicBezTo>
                  <a:cubicBezTo>
                    <a:pt x="32" y="968"/>
                    <a:pt x="41" y="976"/>
                    <a:pt x="48" y="979"/>
                  </a:cubicBezTo>
                  <a:cubicBezTo>
                    <a:pt x="44" y="982"/>
                    <a:pt x="33" y="989"/>
                    <a:pt x="33" y="993"/>
                  </a:cubicBezTo>
                  <a:cubicBezTo>
                    <a:pt x="32" y="1012"/>
                    <a:pt x="47" y="1001"/>
                    <a:pt x="54" y="1009"/>
                  </a:cubicBezTo>
                  <a:cubicBezTo>
                    <a:pt x="58" y="1013"/>
                    <a:pt x="64" y="1044"/>
                    <a:pt x="60" y="1052"/>
                  </a:cubicBezTo>
                  <a:cubicBezTo>
                    <a:pt x="56" y="1055"/>
                    <a:pt x="37" y="1058"/>
                    <a:pt x="29" y="1066"/>
                  </a:cubicBezTo>
                  <a:cubicBezTo>
                    <a:pt x="29" y="1066"/>
                    <a:pt x="28" y="1067"/>
                    <a:pt x="28" y="1067"/>
                  </a:cubicBezTo>
                  <a:cubicBezTo>
                    <a:pt x="21" y="1075"/>
                    <a:pt x="17" y="1093"/>
                    <a:pt x="16" y="1103"/>
                  </a:cubicBezTo>
                  <a:cubicBezTo>
                    <a:pt x="15" y="1126"/>
                    <a:pt x="28" y="1165"/>
                    <a:pt x="47" y="1162"/>
                  </a:cubicBezTo>
                  <a:cubicBezTo>
                    <a:pt x="50" y="1178"/>
                    <a:pt x="70" y="1167"/>
                    <a:pt x="65" y="1193"/>
                  </a:cubicBezTo>
                  <a:cubicBezTo>
                    <a:pt x="61" y="1197"/>
                    <a:pt x="45" y="1215"/>
                    <a:pt x="41" y="1219"/>
                  </a:cubicBezTo>
                  <a:cubicBezTo>
                    <a:pt x="33" y="1223"/>
                    <a:pt x="37" y="1230"/>
                    <a:pt x="36" y="1238"/>
                  </a:cubicBezTo>
                  <a:cubicBezTo>
                    <a:pt x="36" y="1246"/>
                    <a:pt x="36" y="1249"/>
                    <a:pt x="40" y="1250"/>
                  </a:cubicBezTo>
                  <a:cubicBezTo>
                    <a:pt x="41" y="1251"/>
                    <a:pt x="43" y="1251"/>
                    <a:pt x="44" y="1252"/>
                  </a:cubicBezTo>
                  <a:cubicBezTo>
                    <a:pt x="49" y="1253"/>
                    <a:pt x="55" y="1255"/>
                    <a:pt x="61" y="1262"/>
                  </a:cubicBezTo>
                  <a:cubicBezTo>
                    <a:pt x="65" y="1266"/>
                    <a:pt x="64" y="1278"/>
                    <a:pt x="57" y="1281"/>
                  </a:cubicBezTo>
                  <a:cubicBezTo>
                    <a:pt x="61" y="1277"/>
                    <a:pt x="81" y="1317"/>
                    <a:pt x="82" y="1313"/>
                  </a:cubicBezTo>
                  <a:cubicBezTo>
                    <a:pt x="85" y="1321"/>
                    <a:pt x="77" y="1324"/>
                    <a:pt x="88" y="1328"/>
                  </a:cubicBezTo>
                  <a:cubicBezTo>
                    <a:pt x="100" y="1329"/>
                    <a:pt x="103" y="1329"/>
                    <a:pt x="100" y="1318"/>
                  </a:cubicBezTo>
                  <a:cubicBezTo>
                    <a:pt x="108" y="1318"/>
                    <a:pt x="126" y="1323"/>
                    <a:pt x="126" y="1330"/>
                  </a:cubicBezTo>
                  <a:cubicBezTo>
                    <a:pt x="128" y="1353"/>
                    <a:pt x="133" y="1334"/>
                    <a:pt x="140" y="1335"/>
                  </a:cubicBezTo>
                  <a:cubicBezTo>
                    <a:pt x="140" y="1335"/>
                    <a:pt x="159" y="1347"/>
                    <a:pt x="166" y="1347"/>
                  </a:cubicBezTo>
                  <a:cubicBezTo>
                    <a:pt x="170" y="1348"/>
                    <a:pt x="170" y="1344"/>
                    <a:pt x="181" y="1341"/>
                  </a:cubicBezTo>
                  <a:cubicBezTo>
                    <a:pt x="181" y="1341"/>
                    <a:pt x="174" y="1336"/>
                    <a:pt x="185" y="1337"/>
                  </a:cubicBezTo>
                  <a:cubicBezTo>
                    <a:pt x="189" y="1337"/>
                    <a:pt x="193" y="1341"/>
                    <a:pt x="196" y="1341"/>
                  </a:cubicBezTo>
                  <a:cubicBezTo>
                    <a:pt x="189" y="1341"/>
                    <a:pt x="203" y="1357"/>
                    <a:pt x="207" y="1357"/>
                  </a:cubicBezTo>
                  <a:cubicBezTo>
                    <a:pt x="214" y="1361"/>
                    <a:pt x="247" y="1382"/>
                    <a:pt x="251" y="1374"/>
                  </a:cubicBezTo>
                  <a:cubicBezTo>
                    <a:pt x="263" y="1364"/>
                    <a:pt x="291" y="1392"/>
                    <a:pt x="302" y="1396"/>
                  </a:cubicBezTo>
                  <a:cubicBezTo>
                    <a:pt x="287" y="1403"/>
                    <a:pt x="290" y="1422"/>
                    <a:pt x="282" y="1433"/>
                  </a:cubicBezTo>
                  <a:cubicBezTo>
                    <a:pt x="274" y="1441"/>
                    <a:pt x="259" y="1436"/>
                    <a:pt x="255" y="1451"/>
                  </a:cubicBezTo>
                  <a:cubicBezTo>
                    <a:pt x="235" y="1473"/>
                    <a:pt x="235" y="1473"/>
                    <a:pt x="235" y="1473"/>
                  </a:cubicBezTo>
                  <a:cubicBezTo>
                    <a:pt x="214" y="1526"/>
                    <a:pt x="214" y="1526"/>
                    <a:pt x="214" y="1526"/>
                  </a:cubicBezTo>
                  <a:cubicBezTo>
                    <a:pt x="217" y="1537"/>
                    <a:pt x="209" y="1552"/>
                    <a:pt x="201" y="1563"/>
                  </a:cubicBezTo>
                  <a:cubicBezTo>
                    <a:pt x="193" y="1574"/>
                    <a:pt x="191" y="1616"/>
                    <a:pt x="187" y="1624"/>
                  </a:cubicBezTo>
                  <a:cubicBezTo>
                    <a:pt x="176" y="1646"/>
                    <a:pt x="168" y="1677"/>
                    <a:pt x="175" y="1700"/>
                  </a:cubicBezTo>
                  <a:cubicBezTo>
                    <a:pt x="175" y="1701"/>
                    <a:pt x="175" y="1703"/>
                    <a:pt x="176" y="1704"/>
                  </a:cubicBezTo>
                  <a:cubicBezTo>
                    <a:pt x="176" y="1704"/>
                    <a:pt x="176" y="1704"/>
                    <a:pt x="176" y="1704"/>
                  </a:cubicBezTo>
                  <a:cubicBezTo>
                    <a:pt x="177" y="1707"/>
                    <a:pt x="178" y="1709"/>
                    <a:pt x="179" y="1711"/>
                  </a:cubicBezTo>
                  <a:cubicBezTo>
                    <a:pt x="183" y="1712"/>
                    <a:pt x="190" y="1716"/>
                    <a:pt x="194" y="1716"/>
                  </a:cubicBezTo>
                  <a:cubicBezTo>
                    <a:pt x="190" y="1716"/>
                    <a:pt x="187" y="1716"/>
                    <a:pt x="186" y="1719"/>
                  </a:cubicBezTo>
                  <a:cubicBezTo>
                    <a:pt x="197" y="1731"/>
                    <a:pt x="213" y="1709"/>
                    <a:pt x="250" y="1726"/>
                  </a:cubicBezTo>
                  <a:cubicBezTo>
                    <a:pt x="261" y="1734"/>
                    <a:pt x="269" y="1712"/>
                    <a:pt x="288" y="1717"/>
                  </a:cubicBezTo>
                  <a:cubicBezTo>
                    <a:pt x="299" y="1717"/>
                    <a:pt x="302" y="1733"/>
                    <a:pt x="321" y="1726"/>
                  </a:cubicBezTo>
                  <a:cubicBezTo>
                    <a:pt x="321" y="1714"/>
                    <a:pt x="329" y="1711"/>
                    <a:pt x="332" y="1723"/>
                  </a:cubicBezTo>
                  <a:cubicBezTo>
                    <a:pt x="359" y="1705"/>
                    <a:pt x="325" y="1711"/>
                    <a:pt x="322" y="1707"/>
                  </a:cubicBezTo>
                  <a:cubicBezTo>
                    <a:pt x="314" y="1703"/>
                    <a:pt x="310" y="1710"/>
                    <a:pt x="311" y="1699"/>
                  </a:cubicBezTo>
                  <a:cubicBezTo>
                    <a:pt x="308" y="1687"/>
                    <a:pt x="327" y="1680"/>
                    <a:pt x="334" y="1677"/>
                  </a:cubicBezTo>
                  <a:cubicBezTo>
                    <a:pt x="334" y="1677"/>
                    <a:pt x="342" y="1673"/>
                    <a:pt x="345" y="1681"/>
                  </a:cubicBezTo>
                  <a:cubicBezTo>
                    <a:pt x="357" y="1674"/>
                    <a:pt x="360" y="1693"/>
                    <a:pt x="367" y="1705"/>
                  </a:cubicBezTo>
                  <a:cubicBezTo>
                    <a:pt x="371" y="1701"/>
                    <a:pt x="371" y="1694"/>
                    <a:pt x="371" y="1690"/>
                  </a:cubicBezTo>
                  <a:cubicBezTo>
                    <a:pt x="374" y="1698"/>
                    <a:pt x="378" y="1709"/>
                    <a:pt x="385" y="1714"/>
                  </a:cubicBezTo>
                  <a:cubicBezTo>
                    <a:pt x="389" y="1714"/>
                    <a:pt x="404" y="1703"/>
                    <a:pt x="415" y="1707"/>
                  </a:cubicBezTo>
                  <a:cubicBezTo>
                    <a:pt x="426" y="1712"/>
                    <a:pt x="437" y="1716"/>
                    <a:pt x="448" y="1720"/>
                  </a:cubicBezTo>
                  <a:cubicBezTo>
                    <a:pt x="474" y="1729"/>
                    <a:pt x="474" y="1741"/>
                    <a:pt x="496" y="1746"/>
                  </a:cubicBezTo>
                  <a:cubicBezTo>
                    <a:pt x="497" y="1747"/>
                    <a:pt x="498" y="1748"/>
                    <a:pt x="499" y="1749"/>
                  </a:cubicBezTo>
                  <a:cubicBezTo>
                    <a:pt x="500" y="1749"/>
                    <a:pt x="502" y="1750"/>
                    <a:pt x="503" y="1750"/>
                  </a:cubicBezTo>
                  <a:cubicBezTo>
                    <a:pt x="518" y="1751"/>
                    <a:pt x="511" y="1731"/>
                    <a:pt x="526" y="1739"/>
                  </a:cubicBezTo>
                  <a:cubicBezTo>
                    <a:pt x="530" y="1740"/>
                    <a:pt x="544" y="1756"/>
                    <a:pt x="555" y="1764"/>
                  </a:cubicBezTo>
                  <a:cubicBezTo>
                    <a:pt x="565" y="1776"/>
                    <a:pt x="562" y="1776"/>
                    <a:pt x="568" y="1795"/>
                  </a:cubicBezTo>
                  <a:cubicBezTo>
                    <a:pt x="568" y="1791"/>
                    <a:pt x="580" y="1784"/>
                    <a:pt x="584" y="1788"/>
                  </a:cubicBezTo>
                  <a:cubicBezTo>
                    <a:pt x="595" y="1792"/>
                    <a:pt x="579" y="1811"/>
                    <a:pt x="579" y="1815"/>
                  </a:cubicBezTo>
                  <a:cubicBezTo>
                    <a:pt x="594" y="1811"/>
                    <a:pt x="624" y="1798"/>
                    <a:pt x="629" y="1779"/>
                  </a:cubicBezTo>
                  <a:cubicBezTo>
                    <a:pt x="630" y="1764"/>
                    <a:pt x="616" y="1752"/>
                    <a:pt x="630" y="1745"/>
                  </a:cubicBezTo>
                  <a:cubicBezTo>
                    <a:pt x="630" y="1745"/>
                    <a:pt x="630" y="1744"/>
                    <a:pt x="631" y="1744"/>
                  </a:cubicBezTo>
                  <a:cubicBezTo>
                    <a:pt x="630" y="1745"/>
                    <a:pt x="630" y="1745"/>
                    <a:pt x="630" y="1745"/>
                  </a:cubicBezTo>
                  <a:cubicBezTo>
                    <a:pt x="628" y="1747"/>
                    <a:pt x="634" y="1766"/>
                    <a:pt x="641" y="1753"/>
                  </a:cubicBezTo>
                  <a:cubicBezTo>
                    <a:pt x="649" y="1745"/>
                    <a:pt x="693" y="1759"/>
                    <a:pt x="690" y="1759"/>
                  </a:cubicBezTo>
                  <a:cubicBezTo>
                    <a:pt x="697" y="1763"/>
                    <a:pt x="693" y="1767"/>
                    <a:pt x="689" y="1770"/>
                  </a:cubicBezTo>
                  <a:cubicBezTo>
                    <a:pt x="697" y="1774"/>
                    <a:pt x="704" y="1782"/>
                    <a:pt x="703" y="1794"/>
                  </a:cubicBezTo>
                  <a:cubicBezTo>
                    <a:pt x="718" y="1794"/>
                    <a:pt x="733" y="1791"/>
                    <a:pt x="745" y="1784"/>
                  </a:cubicBezTo>
                  <a:cubicBezTo>
                    <a:pt x="740" y="1796"/>
                    <a:pt x="740" y="1796"/>
                    <a:pt x="740" y="1796"/>
                  </a:cubicBezTo>
                  <a:cubicBezTo>
                    <a:pt x="756" y="1792"/>
                    <a:pt x="760" y="1777"/>
                    <a:pt x="775" y="1786"/>
                  </a:cubicBezTo>
                  <a:cubicBezTo>
                    <a:pt x="775" y="1782"/>
                    <a:pt x="771" y="1778"/>
                    <a:pt x="771" y="1778"/>
                  </a:cubicBezTo>
                  <a:cubicBezTo>
                    <a:pt x="775" y="1770"/>
                    <a:pt x="798" y="1756"/>
                    <a:pt x="806" y="1753"/>
                  </a:cubicBezTo>
                  <a:cubicBezTo>
                    <a:pt x="821" y="1750"/>
                    <a:pt x="836" y="1750"/>
                    <a:pt x="847" y="1747"/>
                  </a:cubicBezTo>
                  <a:cubicBezTo>
                    <a:pt x="855" y="1747"/>
                    <a:pt x="892" y="1753"/>
                    <a:pt x="896" y="1749"/>
                  </a:cubicBezTo>
                  <a:cubicBezTo>
                    <a:pt x="908" y="1738"/>
                    <a:pt x="882" y="1730"/>
                    <a:pt x="905" y="1715"/>
                  </a:cubicBezTo>
                  <a:cubicBezTo>
                    <a:pt x="904" y="1735"/>
                    <a:pt x="904" y="1735"/>
                    <a:pt x="904" y="1735"/>
                  </a:cubicBezTo>
                  <a:cubicBezTo>
                    <a:pt x="923" y="1728"/>
                    <a:pt x="934" y="1736"/>
                    <a:pt x="948" y="1748"/>
                  </a:cubicBezTo>
                  <a:cubicBezTo>
                    <a:pt x="963" y="1760"/>
                    <a:pt x="968" y="1722"/>
                    <a:pt x="994" y="1735"/>
                  </a:cubicBezTo>
                  <a:cubicBezTo>
                    <a:pt x="990" y="1739"/>
                    <a:pt x="985" y="1761"/>
                    <a:pt x="989" y="1765"/>
                  </a:cubicBezTo>
                  <a:cubicBezTo>
                    <a:pt x="992" y="1773"/>
                    <a:pt x="1022" y="1786"/>
                    <a:pt x="1029" y="1783"/>
                  </a:cubicBezTo>
                  <a:cubicBezTo>
                    <a:pt x="1033" y="1775"/>
                    <a:pt x="1038" y="1745"/>
                    <a:pt x="1039" y="1741"/>
                  </a:cubicBezTo>
                  <a:cubicBezTo>
                    <a:pt x="1032" y="1729"/>
                    <a:pt x="1028" y="1725"/>
                    <a:pt x="1009" y="1728"/>
                  </a:cubicBezTo>
                  <a:cubicBezTo>
                    <a:pt x="1014" y="1705"/>
                    <a:pt x="1033" y="1702"/>
                    <a:pt x="1019" y="1679"/>
                  </a:cubicBezTo>
                  <a:cubicBezTo>
                    <a:pt x="1012" y="1667"/>
                    <a:pt x="1005" y="1667"/>
                    <a:pt x="1001" y="1655"/>
                  </a:cubicBezTo>
                  <a:cubicBezTo>
                    <a:pt x="998" y="1647"/>
                    <a:pt x="976" y="1635"/>
                    <a:pt x="991" y="1628"/>
                  </a:cubicBezTo>
                  <a:cubicBezTo>
                    <a:pt x="1006" y="1625"/>
                    <a:pt x="1023" y="1599"/>
                    <a:pt x="1030" y="1595"/>
                  </a:cubicBezTo>
                  <a:cubicBezTo>
                    <a:pt x="1042" y="1592"/>
                    <a:pt x="1053" y="1589"/>
                    <a:pt x="1064" y="1589"/>
                  </a:cubicBezTo>
                  <a:cubicBezTo>
                    <a:pt x="1087" y="1590"/>
                    <a:pt x="1100" y="1545"/>
                    <a:pt x="1093" y="1529"/>
                  </a:cubicBezTo>
                  <a:cubicBezTo>
                    <a:pt x="1108" y="1522"/>
                    <a:pt x="1120" y="1523"/>
                    <a:pt x="1138" y="1539"/>
                  </a:cubicBezTo>
                  <a:cubicBezTo>
                    <a:pt x="1146" y="1528"/>
                    <a:pt x="1154" y="1509"/>
                    <a:pt x="1155" y="1494"/>
                  </a:cubicBezTo>
                  <a:cubicBezTo>
                    <a:pt x="1155" y="1493"/>
                    <a:pt x="1154" y="1493"/>
                    <a:pt x="1154" y="1492"/>
                  </a:cubicBezTo>
                  <a:cubicBezTo>
                    <a:pt x="1154" y="1490"/>
                    <a:pt x="1151" y="1489"/>
                    <a:pt x="1151" y="1486"/>
                  </a:cubicBezTo>
                  <a:cubicBezTo>
                    <a:pt x="1148" y="1467"/>
                    <a:pt x="1134" y="1455"/>
                    <a:pt x="1127" y="1439"/>
                  </a:cubicBezTo>
                  <a:cubicBezTo>
                    <a:pt x="1117" y="1420"/>
                    <a:pt x="1093" y="1445"/>
                    <a:pt x="1091" y="1414"/>
                  </a:cubicBezTo>
                  <a:cubicBezTo>
                    <a:pt x="1092" y="1399"/>
                    <a:pt x="1073" y="1394"/>
                    <a:pt x="1062" y="1394"/>
                  </a:cubicBezTo>
                  <a:cubicBezTo>
                    <a:pt x="1058" y="1394"/>
                    <a:pt x="1027" y="1346"/>
                    <a:pt x="1004" y="1341"/>
                  </a:cubicBezTo>
                  <a:cubicBezTo>
                    <a:pt x="990" y="1337"/>
                    <a:pt x="972" y="1306"/>
                    <a:pt x="969" y="1294"/>
                  </a:cubicBezTo>
                  <a:cubicBezTo>
                    <a:pt x="966" y="1282"/>
                    <a:pt x="967" y="1271"/>
                    <a:pt x="960" y="1259"/>
                  </a:cubicBezTo>
                  <a:cubicBezTo>
                    <a:pt x="956" y="1255"/>
                    <a:pt x="941" y="1254"/>
                    <a:pt x="942" y="1239"/>
                  </a:cubicBezTo>
                  <a:cubicBezTo>
                    <a:pt x="954" y="1224"/>
                    <a:pt x="954" y="1224"/>
                    <a:pt x="954" y="1224"/>
                  </a:cubicBezTo>
                  <a:cubicBezTo>
                    <a:pt x="957" y="1225"/>
                    <a:pt x="962" y="1209"/>
                    <a:pt x="962" y="1202"/>
                  </a:cubicBezTo>
                  <a:cubicBezTo>
                    <a:pt x="958" y="1202"/>
                    <a:pt x="955" y="1198"/>
                    <a:pt x="951" y="1198"/>
                  </a:cubicBezTo>
                  <a:cubicBezTo>
                    <a:pt x="959" y="1183"/>
                    <a:pt x="926" y="1173"/>
                    <a:pt x="919" y="1162"/>
                  </a:cubicBezTo>
                  <a:cubicBezTo>
                    <a:pt x="912" y="1150"/>
                    <a:pt x="898" y="1126"/>
                    <a:pt x="899" y="1107"/>
                  </a:cubicBezTo>
                  <a:cubicBezTo>
                    <a:pt x="907" y="1107"/>
                    <a:pt x="907" y="1107"/>
                    <a:pt x="907" y="1107"/>
                  </a:cubicBezTo>
                  <a:cubicBezTo>
                    <a:pt x="910" y="1115"/>
                    <a:pt x="927" y="1147"/>
                    <a:pt x="931" y="1147"/>
                  </a:cubicBezTo>
                  <a:cubicBezTo>
                    <a:pt x="935" y="1143"/>
                    <a:pt x="948" y="1109"/>
                    <a:pt x="956" y="1102"/>
                  </a:cubicBezTo>
                  <a:cubicBezTo>
                    <a:pt x="963" y="1099"/>
                    <a:pt x="968" y="1080"/>
                    <a:pt x="986" y="1092"/>
                  </a:cubicBezTo>
                  <a:cubicBezTo>
                    <a:pt x="986" y="1092"/>
                    <a:pt x="1001" y="1085"/>
                    <a:pt x="1005" y="1085"/>
                  </a:cubicBezTo>
                  <a:cubicBezTo>
                    <a:pt x="1017" y="1078"/>
                    <a:pt x="1038" y="1102"/>
                    <a:pt x="1043" y="1068"/>
                  </a:cubicBezTo>
                  <a:cubicBezTo>
                    <a:pt x="1051" y="1072"/>
                    <a:pt x="1058" y="1069"/>
                    <a:pt x="1066" y="1061"/>
                  </a:cubicBezTo>
                  <a:cubicBezTo>
                    <a:pt x="1078" y="1047"/>
                    <a:pt x="1089" y="1040"/>
                    <a:pt x="1089" y="1040"/>
                  </a:cubicBezTo>
                  <a:cubicBezTo>
                    <a:pt x="1104" y="1056"/>
                    <a:pt x="1113" y="1022"/>
                    <a:pt x="1128" y="1015"/>
                  </a:cubicBezTo>
                  <a:cubicBezTo>
                    <a:pt x="1136" y="1011"/>
                    <a:pt x="1162" y="1001"/>
                    <a:pt x="1173" y="1002"/>
                  </a:cubicBezTo>
                  <a:cubicBezTo>
                    <a:pt x="1185" y="1002"/>
                    <a:pt x="1200" y="987"/>
                    <a:pt x="1216" y="981"/>
                  </a:cubicBezTo>
                  <a:cubicBezTo>
                    <a:pt x="1227" y="973"/>
                    <a:pt x="1238" y="982"/>
                    <a:pt x="1239" y="966"/>
                  </a:cubicBezTo>
                  <a:cubicBezTo>
                    <a:pt x="1239" y="963"/>
                    <a:pt x="1221" y="954"/>
                    <a:pt x="1217" y="954"/>
                  </a:cubicBezTo>
                  <a:cubicBezTo>
                    <a:pt x="1217" y="950"/>
                    <a:pt x="1221" y="943"/>
                    <a:pt x="1225" y="939"/>
                  </a:cubicBezTo>
                  <a:cubicBezTo>
                    <a:pt x="1236" y="947"/>
                    <a:pt x="1281" y="945"/>
                    <a:pt x="1261" y="971"/>
                  </a:cubicBezTo>
                  <a:cubicBezTo>
                    <a:pt x="1265" y="971"/>
                    <a:pt x="1272" y="972"/>
                    <a:pt x="1276" y="968"/>
                  </a:cubicBezTo>
                  <a:cubicBezTo>
                    <a:pt x="1260" y="990"/>
                    <a:pt x="1279" y="984"/>
                    <a:pt x="1290" y="992"/>
                  </a:cubicBezTo>
                  <a:cubicBezTo>
                    <a:pt x="1296" y="996"/>
                    <a:pt x="1299" y="991"/>
                    <a:pt x="1301" y="985"/>
                  </a:cubicBezTo>
                  <a:cubicBezTo>
                    <a:pt x="1301" y="984"/>
                    <a:pt x="1302" y="982"/>
                    <a:pt x="1302" y="981"/>
                  </a:cubicBezTo>
                  <a:cubicBezTo>
                    <a:pt x="1302" y="980"/>
                    <a:pt x="1303" y="980"/>
                    <a:pt x="1303" y="980"/>
                  </a:cubicBezTo>
                  <a:cubicBezTo>
                    <a:pt x="1304" y="977"/>
                    <a:pt x="1305" y="974"/>
                    <a:pt x="1306" y="973"/>
                  </a:cubicBezTo>
                  <a:cubicBezTo>
                    <a:pt x="1317" y="966"/>
                    <a:pt x="1327" y="928"/>
                    <a:pt x="1327" y="913"/>
                  </a:cubicBezTo>
                  <a:cubicBezTo>
                    <a:pt x="1336" y="891"/>
                    <a:pt x="1318" y="878"/>
                    <a:pt x="1319" y="855"/>
                  </a:cubicBezTo>
                  <a:cubicBezTo>
                    <a:pt x="1320" y="833"/>
                    <a:pt x="1301" y="835"/>
                    <a:pt x="1286" y="827"/>
                  </a:cubicBezTo>
                  <a:cubicBezTo>
                    <a:pt x="1275" y="819"/>
                    <a:pt x="1295" y="805"/>
                    <a:pt x="1288" y="797"/>
                  </a:cubicBezTo>
                  <a:cubicBezTo>
                    <a:pt x="1281" y="777"/>
                    <a:pt x="1256" y="761"/>
                    <a:pt x="1271" y="742"/>
                  </a:cubicBezTo>
                  <a:cubicBezTo>
                    <a:pt x="1279" y="731"/>
                    <a:pt x="1296" y="698"/>
                    <a:pt x="1277" y="693"/>
                  </a:cubicBezTo>
                  <a:cubicBezTo>
                    <a:pt x="1274" y="693"/>
                    <a:pt x="1286" y="659"/>
                    <a:pt x="1275" y="655"/>
                  </a:cubicBezTo>
                  <a:cubicBezTo>
                    <a:pt x="1261" y="646"/>
                    <a:pt x="1261" y="642"/>
                    <a:pt x="1258" y="627"/>
                  </a:cubicBezTo>
                  <a:cubicBezTo>
                    <a:pt x="1255" y="608"/>
                    <a:pt x="1270" y="612"/>
                    <a:pt x="1270" y="601"/>
                  </a:cubicBezTo>
                  <a:cubicBezTo>
                    <a:pt x="1272" y="574"/>
                    <a:pt x="1229" y="522"/>
                    <a:pt x="1196" y="517"/>
                  </a:cubicBezTo>
                  <a:cubicBezTo>
                    <a:pt x="1200" y="509"/>
                    <a:pt x="1201" y="490"/>
                    <a:pt x="1205" y="487"/>
                  </a:cubicBezTo>
                  <a:cubicBezTo>
                    <a:pt x="1213" y="476"/>
                    <a:pt x="1228" y="476"/>
                    <a:pt x="1232" y="461"/>
                  </a:cubicBezTo>
                  <a:cubicBezTo>
                    <a:pt x="1237" y="438"/>
                    <a:pt x="1245" y="416"/>
                    <a:pt x="1235" y="392"/>
                  </a:cubicBezTo>
                  <a:cubicBezTo>
                    <a:pt x="1221" y="369"/>
                    <a:pt x="1234" y="327"/>
                    <a:pt x="1209" y="315"/>
                  </a:cubicBezTo>
                  <a:cubicBezTo>
                    <a:pt x="1209" y="311"/>
                    <a:pt x="1220" y="308"/>
                    <a:pt x="1217" y="304"/>
                  </a:cubicBezTo>
                  <a:cubicBezTo>
                    <a:pt x="1213" y="300"/>
                    <a:pt x="1194" y="306"/>
                    <a:pt x="1183" y="302"/>
                  </a:cubicBezTo>
                  <a:cubicBezTo>
                    <a:pt x="1179" y="302"/>
                    <a:pt x="1169" y="294"/>
                    <a:pt x="1165" y="290"/>
                  </a:cubicBezTo>
                  <a:cubicBezTo>
                    <a:pt x="1161" y="286"/>
                    <a:pt x="1150" y="281"/>
                    <a:pt x="1158" y="270"/>
                  </a:cubicBezTo>
                  <a:cubicBezTo>
                    <a:pt x="1174" y="260"/>
                    <a:pt x="1159" y="266"/>
                    <a:pt x="1159" y="251"/>
                  </a:cubicBezTo>
                  <a:cubicBezTo>
                    <a:pt x="1160" y="236"/>
                    <a:pt x="1144" y="247"/>
                    <a:pt x="1149" y="224"/>
                  </a:cubicBezTo>
                  <a:cubicBezTo>
                    <a:pt x="1153" y="216"/>
                    <a:pt x="1142" y="216"/>
                    <a:pt x="1142" y="208"/>
                  </a:cubicBezTo>
                  <a:cubicBezTo>
                    <a:pt x="1143" y="201"/>
                    <a:pt x="1108" y="222"/>
                    <a:pt x="1108" y="222"/>
                  </a:cubicBezTo>
                  <a:cubicBezTo>
                    <a:pt x="1108" y="222"/>
                    <a:pt x="1098" y="206"/>
                    <a:pt x="1098" y="202"/>
                  </a:cubicBezTo>
                  <a:cubicBezTo>
                    <a:pt x="1098" y="202"/>
                    <a:pt x="1061" y="181"/>
                    <a:pt x="1058" y="174"/>
                  </a:cubicBezTo>
                  <a:cubicBezTo>
                    <a:pt x="1058" y="166"/>
                    <a:pt x="1048" y="143"/>
                    <a:pt x="1048" y="139"/>
                  </a:cubicBezTo>
                  <a:cubicBezTo>
                    <a:pt x="1044" y="146"/>
                    <a:pt x="1029" y="146"/>
                    <a:pt x="1029" y="153"/>
                  </a:cubicBezTo>
                  <a:cubicBezTo>
                    <a:pt x="1032" y="168"/>
                    <a:pt x="1016" y="154"/>
                    <a:pt x="1017" y="153"/>
                  </a:cubicBezTo>
                  <a:cubicBezTo>
                    <a:pt x="1010" y="156"/>
                    <a:pt x="999" y="148"/>
                    <a:pt x="991" y="159"/>
                  </a:cubicBezTo>
                  <a:cubicBezTo>
                    <a:pt x="977" y="151"/>
                    <a:pt x="968" y="185"/>
                    <a:pt x="971" y="185"/>
                  </a:cubicBezTo>
                  <a:cubicBezTo>
                    <a:pt x="949" y="184"/>
                    <a:pt x="972" y="166"/>
                    <a:pt x="965" y="165"/>
                  </a:cubicBezTo>
                  <a:cubicBezTo>
                    <a:pt x="961" y="161"/>
                    <a:pt x="984" y="151"/>
                    <a:pt x="992" y="151"/>
                  </a:cubicBezTo>
                  <a:cubicBezTo>
                    <a:pt x="988" y="151"/>
                    <a:pt x="1007" y="145"/>
                    <a:pt x="1007" y="145"/>
                  </a:cubicBezTo>
                  <a:cubicBezTo>
                    <a:pt x="1018" y="145"/>
                    <a:pt x="1037" y="150"/>
                    <a:pt x="1041" y="138"/>
                  </a:cubicBezTo>
                  <a:cubicBezTo>
                    <a:pt x="1037" y="146"/>
                    <a:pt x="1018" y="141"/>
                    <a:pt x="1004" y="137"/>
                  </a:cubicBezTo>
                  <a:cubicBezTo>
                    <a:pt x="992" y="136"/>
                    <a:pt x="978" y="120"/>
                    <a:pt x="977" y="143"/>
                  </a:cubicBezTo>
                  <a:cubicBezTo>
                    <a:pt x="977" y="151"/>
                    <a:pt x="958" y="154"/>
                    <a:pt x="950" y="161"/>
                  </a:cubicBezTo>
                  <a:cubicBezTo>
                    <a:pt x="938" y="179"/>
                    <a:pt x="929" y="202"/>
                    <a:pt x="918" y="201"/>
                  </a:cubicBezTo>
                  <a:cubicBezTo>
                    <a:pt x="907" y="201"/>
                    <a:pt x="899" y="208"/>
                    <a:pt x="888" y="208"/>
                  </a:cubicBezTo>
                  <a:cubicBezTo>
                    <a:pt x="877" y="207"/>
                    <a:pt x="873" y="199"/>
                    <a:pt x="866" y="203"/>
                  </a:cubicBezTo>
                  <a:cubicBezTo>
                    <a:pt x="862" y="203"/>
                    <a:pt x="835" y="224"/>
                    <a:pt x="838" y="228"/>
                  </a:cubicBezTo>
                  <a:cubicBezTo>
                    <a:pt x="839" y="228"/>
                    <a:pt x="839" y="228"/>
                    <a:pt x="839" y="229"/>
                  </a:cubicBezTo>
                  <a:cubicBezTo>
                    <a:pt x="846" y="232"/>
                    <a:pt x="850" y="217"/>
                    <a:pt x="858" y="218"/>
                  </a:cubicBezTo>
                  <a:cubicBezTo>
                    <a:pt x="854" y="218"/>
                    <a:pt x="838" y="244"/>
                    <a:pt x="838" y="247"/>
                  </a:cubicBezTo>
                  <a:cubicBezTo>
                    <a:pt x="833" y="266"/>
                    <a:pt x="834" y="255"/>
                    <a:pt x="822" y="254"/>
                  </a:cubicBezTo>
                  <a:cubicBezTo>
                    <a:pt x="807" y="254"/>
                    <a:pt x="807" y="254"/>
                    <a:pt x="807" y="254"/>
                  </a:cubicBezTo>
                  <a:cubicBezTo>
                    <a:pt x="811" y="254"/>
                    <a:pt x="801" y="238"/>
                    <a:pt x="797" y="234"/>
                  </a:cubicBezTo>
                  <a:cubicBezTo>
                    <a:pt x="793" y="234"/>
                    <a:pt x="775" y="233"/>
                    <a:pt x="771" y="237"/>
                  </a:cubicBezTo>
                  <a:cubicBezTo>
                    <a:pt x="755" y="247"/>
                    <a:pt x="748" y="243"/>
                    <a:pt x="770" y="256"/>
                  </a:cubicBezTo>
                  <a:cubicBezTo>
                    <a:pt x="752" y="247"/>
                    <a:pt x="731" y="281"/>
                    <a:pt x="720" y="280"/>
                  </a:cubicBezTo>
                  <a:cubicBezTo>
                    <a:pt x="713" y="280"/>
                    <a:pt x="751" y="251"/>
                    <a:pt x="751" y="251"/>
                  </a:cubicBezTo>
                  <a:cubicBezTo>
                    <a:pt x="752" y="236"/>
                    <a:pt x="748" y="239"/>
                    <a:pt x="738" y="223"/>
                  </a:cubicBezTo>
                  <a:cubicBezTo>
                    <a:pt x="738" y="223"/>
                    <a:pt x="772" y="198"/>
                    <a:pt x="776" y="199"/>
                  </a:cubicBezTo>
                  <a:cubicBezTo>
                    <a:pt x="792" y="192"/>
                    <a:pt x="784" y="184"/>
                    <a:pt x="785" y="172"/>
                  </a:cubicBezTo>
                  <a:cubicBezTo>
                    <a:pt x="786" y="145"/>
                    <a:pt x="789" y="161"/>
                    <a:pt x="794" y="146"/>
                  </a:cubicBezTo>
                  <a:cubicBezTo>
                    <a:pt x="798" y="138"/>
                    <a:pt x="778" y="149"/>
                    <a:pt x="775" y="149"/>
                  </a:cubicBezTo>
                  <a:cubicBezTo>
                    <a:pt x="775" y="149"/>
                    <a:pt x="768" y="141"/>
                    <a:pt x="752" y="155"/>
                  </a:cubicBezTo>
                  <a:cubicBezTo>
                    <a:pt x="737" y="166"/>
                    <a:pt x="737" y="155"/>
                    <a:pt x="722" y="146"/>
                  </a:cubicBezTo>
                  <a:cubicBezTo>
                    <a:pt x="715" y="138"/>
                    <a:pt x="701" y="134"/>
                    <a:pt x="690" y="129"/>
                  </a:cubicBezTo>
                  <a:cubicBezTo>
                    <a:pt x="671" y="121"/>
                    <a:pt x="674" y="152"/>
                    <a:pt x="662" y="151"/>
                  </a:cubicBezTo>
                  <a:cubicBezTo>
                    <a:pt x="667" y="124"/>
                    <a:pt x="667" y="124"/>
                    <a:pt x="667" y="124"/>
                  </a:cubicBezTo>
                  <a:cubicBezTo>
                    <a:pt x="668" y="109"/>
                    <a:pt x="634" y="123"/>
                    <a:pt x="626" y="119"/>
                  </a:cubicBezTo>
                  <a:cubicBezTo>
                    <a:pt x="637" y="123"/>
                    <a:pt x="658" y="78"/>
                    <a:pt x="644" y="66"/>
                  </a:cubicBezTo>
                  <a:cubicBezTo>
                    <a:pt x="655" y="74"/>
                    <a:pt x="645" y="51"/>
                    <a:pt x="645" y="51"/>
                  </a:cubicBezTo>
                  <a:cubicBezTo>
                    <a:pt x="645" y="32"/>
                    <a:pt x="634" y="46"/>
                    <a:pt x="630" y="46"/>
                  </a:cubicBezTo>
                  <a:cubicBezTo>
                    <a:pt x="618" y="49"/>
                    <a:pt x="601" y="22"/>
                    <a:pt x="593" y="22"/>
                  </a:cubicBezTo>
                  <a:cubicBezTo>
                    <a:pt x="594" y="18"/>
                    <a:pt x="574" y="32"/>
                    <a:pt x="574" y="32"/>
                  </a:cubicBezTo>
                  <a:cubicBezTo>
                    <a:pt x="571" y="13"/>
                    <a:pt x="567" y="24"/>
                    <a:pt x="559" y="31"/>
                  </a:cubicBezTo>
                  <a:cubicBezTo>
                    <a:pt x="544" y="34"/>
                    <a:pt x="549" y="16"/>
                    <a:pt x="541" y="15"/>
                  </a:cubicBezTo>
                  <a:cubicBezTo>
                    <a:pt x="519" y="10"/>
                    <a:pt x="505" y="2"/>
                    <a:pt x="482" y="5"/>
                  </a:cubicBezTo>
                  <a:cubicBezTo>
                    <a:pt x="477" y="4"/>
                    <a:pt x="474" y="2"/>
                    <a:pt x="472" y="0"/>
                  </a:cubicBezTo>
                  <a:cubicBezTo>
                    <a:pt x="471" y="0"/>
                    <a:pt x="471" y="0"/>
                    <a:pt x="471" y="0"/>
                  </a:cubicBezTo>
                  <a:cubicBezTo>
                    <a:pt x="471" y="0"/>
                    <a:pt x="471" y="0"/>
                    <a:pt x="471" y="0"/>
                  </a:cubicBezTo>
                  <a:cubicBezTo>
                    <a:pt x="469" y="0"/>
                    <a:pt x="467" y="1"/>
                    <a:pt x="463" y="8"/>
                  </a:cubicBezTo>
                  <a:cubicBezTo>
                    <a:pt x="459" y="15"/>
                    <a:pt x="476" y="38"/>
                    <a:pt x="473" y="42"/>
                  </a:cubicBezTo>
                  <a:cubicBezTo>
                    <a:pt x="474" y="43"/>
                    <a:pt x="486" y="78"/>
                    <a:pt x="486" y="78"/>
                  </a:cubicBezTo>
                  <a:cubicBezTo>
                    <a:pt x="486" y="78"/>
                    <a:pt x="508" y="86"/>
                    <a:pt x="504" y="94"/>
                  </a:cubicBezTo>
                  <a:cubicBezTo>
                    <a:pt x="500" y="101"/>
                    <a:pt x="482" y="89"/>
                    <a:pt x="481" y="104"/>
                  </a:cubicBezTo>
                  <a:cubicBezTo>
                    <a:pt x="484" y="120"/>
                    <a:pt x="504" y="101"/>
                    <a:pt x="504" y="101"/>
                  </a:cubicBezTo>
                  <a:cubicBezTo>
                    <a:pt x="504" y="101"/>
                    <a:pt x="499" y="116"/>
                    <a:pt x="492" y="124"/>
                  </a:cubicBezTo>
                  <a:cubicBezTo>
                    <a:pt x="492" y="124"/>
                    <a:pt x="451" y="118"/>
                    <a:pt x="458" y="126"/>
                  </a:cubicBezTo>
                  <a:cubicBezTo>
                    <a:pt x="461" y="126"/>
                    <a:pt x="461" y="130"/>
                    <a:pt x="461" y="130"/>
                  </a:cubicBezTo>
                  <a:cubicBezTo>
                    <a:pt x="416" y="147"/>
                    <a:pt x="497" y="162"/>
                    <a:pt x="498" y="147"/>
                  </a:cubicBezTo>
                  <a:cubicBezTo>
                    <a:pt x="497" y="162"/>
                    <a:pt x="471" y="157"/>
                    <a:pt x="481" y="181"/>
                  </a:cubicBezTo>
                  <a:cubicBezTo>
                    <a:pt x="481" y="184"/>
                    <a:pt x="492" y="189"/>
                    <a:pt x="496" y="197"/>
                  </a:cubicBezTo>
                  <a:cubicBezTo>
                    <a:pt x="506" y="216"/>
                    <a:pt x="488" y="204"/>
                    <a:pt x="480" y="211"/>
                  </a:cubicBezTo>
                  <a:cubicBezTo>
                    <a:pt x="476" y="215"/>
                    <a:pt x="483" y="223"/>
                    <a:pt x="487" y="227"/>
                  </a:cubicBezTo>
                  <a:cubicBezTo>
                    <a:pt x="489" y="254"/>
                    <a:pt x="512" y="240"/>
                    <a:pt x="531" y="244"/>
                  </a:cubicBezTo>
                  <a:cubicBezTo>
                    <a:pt x="546" y="249"/>
                    <a:pt x="553" y="261"/>
                    <a:pt x="556" y="276"/>
                  </a:cubicBezTo>
                  <a:cubicBezTo>
                    <a:pt x="562" y="291"/>
                    <a:pt x="580" y="329"/>
                    <a:pt x="601" y="332"/>
                  </a:cubicBezTo>
                  <a:cubicBezTo>
                    <a:pt x="603" y="332"/>
                    <a:pt x="604" y="332"/>
                    <a:pt x="605" y="332"/>
                  </a:cubicBezTo>
                  <a:cubicBezTo>
                    <a:pt x="604" y="332"/>
                    <a:pt x="603" y="332"/>
                    <a:pt x="601" y="332"/>
                  </a:cubicBezTo>
                  <a:cubicBezTo>
                    <a:pt x="570" y="331"/>
                    <a:pt x="554" y="298"/>
                    <a:pt x="548" y="272"/>
                  </a:cubicBezTo>
                  <a:cubicBezTo>
                    <a:pt x="539" y="233"/>
                    <a:pt x="500" y="269"/>
                    <a:pt x="478" y="257"/>
                  </a:cubicBezTo>
                  <a:cubicBezTo>
                    <a:pt x="445" y="240"/>
                    <a:pt x="453" y="237"/>
                    <a:pt x="432" y="274"/>
                  </a:cubicBezTo>
                  <a:cubicBezTo>
                    <a:pt x="420" y="292"/>
                    <a:pt x="445" y="313"/>
                    <a:pt x="437" y="324"/>
                  </a:cubicBezTo>
                  <a:cubicBezTo>
                    <a:pt x="437" y="328"/>
                    <a:pt x="421" y="354"/>
                    <a:pt x="425" y="354"/>
                  </a:cubicBezTo>
                  <a:cubicBezTo>
                    <a:pt x="417" y="354"/>
                    <a:pt x="426" y="331"/>
                    <a:pt x="426" y="331"/>
                  </a:cubicBezTo>
                  <a:cubicBezTo>
                    <a:pt x="430" y="316"/>
                    <a:pt x="426" y="320"/>
                    <a:pt x="412" y="315"/>
                  </a:cubicBezTo>
                  <a:cubicBezTo>
                    <a:pt x="404" y="311"/>
                    <a:pt x="402" y="288"/>
                    <a:pt x="393" y="310"/>
                  </a:cubicBezTo>
                  <a:cubicBezTo>
                    <a:pt x="385" y="325"/>
                    <a:pt x="393" y="322"/>
                    <a:pt x="400" y="322"/>
                  </a:cubicBezTo>
                  <a:cubicBezTo>
                    <a:pt x="404" y="322"/>
                    <a:pt x="395" y="345"/>
                    <a:pt x="395" y="345"/>
                  </a:cubicBezTo>
                  <a:cubicBezTo>
                    <a:pt x="387" y="360"/>
                    <a:pt x="381" y="340"/>
                    <a:pt x="373" y="336"/>
                  </a:cubicBezTo>
                  <a:cubicBezTo>
                    <a:pt x="370" y="336"/>
                    <a:pt x="355" y="331"/>
                    <a:pt x="374" y="325"/>
                  </a:cubicBezTo>
                  <a:cubicBezTo>
                    <a:pt x="393" y="314"/>
                    <a:pt x="361" y="274"/>
                    <a:pt x="350" y="274"/>
                  </a:cubicBezTo>
                  <a:cubicBezTo>
                    <a:pt x="331" y="269"/>
                    <a:pt x="312" y="280"/>
                    <a:pt x="294" y="279"/>
                  </a:cubicBezTo>
                  <a:cubicBezTo>
                    <a:pt x="286" y="278"/>
                    <a:pt x="275" y="274"/>
                    <a:pt x="264" y="274"/>
                  </a:cubicBezTo>
                  <a:cubicBezTo>
                    <a:pt x="249" y="273"/>
                    <a:pt x="229" y="295"/>
                    <a:pt x="236" y="307"/>
                  </a:cubicBezTo>
                  <a:cubicBezTo>
                    <a:pt x="232" y="306"/>
                    <a:pt x="236" y="310"/>
                    <a:pt x="232" y="314"/>
                  </a:cubicBezTo>
                  <a:cubicBezTo>
                    <a:pt x="225" y="306"/>
                    <a:pt x="229" y="310"/>
                    <a:pt x="221" y="306"/>
                  </a:cubicBezTo>
                  <a:cubicBezTo>
                    <a:pt x="224" y="321"/>
                    <a:pt x="220" y="336"/>
                    <a:pt x="215" y="352"/>
                  </a:cubicBezTo>
                  <a:cubicBezTo>
                    <a:pt x="253" y="357"/>
                    <a:pt x="241" y="360"/>
                    <a:pt x="244" y="387"/>
                  </a:cubicBezTo>
                  <a:cubicBezTo>
                    <a:pt x="244" y="388"/>
                    <a:pt x="244" y="389"/>
                    <a:pt x="243" y="389"/>
                  </a:cubicBezTo>
                  <a:cubicBezTo>
                    <a:pt x="242" y="401"/>
                    <a:pt x="235" y="414"/>
                    <a:pt x="234" y="42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4" name="Freeform 166">
              <a:extLst>
                <a:ext uri="{FF2B5EF4-FFF2-40B4-BE49-F238E27FC236}">
                  <a16:creationId xmlns:a16="http://schemas.microsoft.com/office/drawing/2014/main" id="{3E6AD48B-E1CB-3888-36CC-B5E19E1261A6}"/>
                </a:ext>
              </a:extLst>
            </p:cNvPr>
            <p:cNvSpPr>
              <a:spLocks/>
            </p:cNvSpPr>
            <p:nvPr/>
          </p:nvSpPr>
          <p:spPr bwMode="gray">
            <a:xfrm>
              <a:off x="10275681" y="2954421"/>
              <a:ext cx="1798" cy="1798"/>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167">
              <a:extLst>
                <a:ext uri="{FF2B5EF4-FFF2-40B4-BE49-F238E27FC236}">
                  <a16:creationId xmlns:a16="http://schemas.microsoft.com/office/drawing/2014/main" id="{C37BCCA6-D81A-32C9-C937-7ECCC60CBD84}"/>
                </a:ext>
              </a:extLst>
            </p:cNvPr>
            <p:cNvSpPr>
              <a:spLocks/>
            </p:cNvSpPr>
            <p:nvPr/>
          </p:nvSpPr>
          <p:spPr bwMode="gray">
            <a:xfrm>
              <a:off x="10088691" y="2950825"/>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0"/>
                    <a:pt x="1" y="1"/>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6" name="Freeform 168">
              <a:extLst>
                <a:ext uri="{FF2B5EF4-FFF2-40B4-BE49-F238E27FC236}">
                  <a16:creationId xmlns:a16="http://schemas.microsoft.com/office/drawing/2014/main" id="{2A201F07-466E-6B3B-1E35-B676607627C3}"/>
                </a:ext>
              </a:extLst>
            </p:cNvPr>
            <p:cNvSpPr>
              <a:spLocks/>
            </p:cNvSpPr>
            <p:nvPr/>
          </p:nvSpPr>
          <p:spPr bwMode="gray">
            <a:xfrm>
              <a:off x="9757864" y="2965208"/>
              <a:ext cx="17980" cy="8991"/>
            </a:xfrm>
            <a:custGeom>
              <a:avLst/>
              <a:gdLst>
                <a:gd name="T0" fmla="*/ 11 w 30"/>
                <a:gd name="T1" fmla="*/ 14 h 15"/>
                <a:gd name="T2" fmla="*/ 30 w 30"/>
                <a:gd name="T3" fmla="*/ 8 h 15"/>
                <a:gd name="T4" fmla="*/ 15 w 30"/>
                <a:gd name="T5" fmla="*/ 3 h 15"/>
                <a:gd name="T6" fmla="*/ 11 w 30"/>
                <a:gd name="T7" fmla="*/ 14 h 15"/>
              </a:gdLst>
              <a:ahLst/>
              <a:cxnLst>
                <a:cxn ang="0">
                  <a:pos x="T0" y="T1"/>
                </a:cxn>
                <a:cxn ang="0">
                  <a:pos x="T2" y="T3"/>
                </a:cxn>
                <a:cxn ang="0">
                  <a:pos x="T4" y="T5"/>
                </a:cxn>
                <a:cxn ang="0">
                  <a:pos x="T6" y="T7"/>
                </a:cxn>
              </a:cxnLst>
              <a:rect l="0" t="0" r="r" b="b"/>
              <a:pathLst>
                <a:path w="30" h="15">
                  <a:moveTo>
                    <a:pt x="11" y="14"/>
                  </a:moveTo>
                  <a:cubicBezTo>
                    <a:pt x="15" y="15"/>
                    <a:pt x="26" y="7"/>
                    <a:pt x="30" y="8"/>
                  </a:cubicBezTo>
                  <a:cubicBezTo>
                    <a:pt x="30" y="4"/>
                    <a:pt x="27" y="0"/>
                    <a:pt x="15" y="3"/>
                  </a:cubicBezTo>
                  <a:cubicBezTo>
                    <a:pt x="19" y="3"/>
                    <a:pt x="0" y="14"/>
                    <a:pt x="11"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169">
              <a:extLst>
                <a:ext uri="{FF2B5EF4-FFF2-40B4-BE49-F238E27FC236}">
                  <a16:creationId xmlns:a16="http://schemas.microsoft.com/office/drawing/2014/main" id="{8472CD79-AEB3-D5C2-3B32-3978EF24ABBC}"/>
                </a:ext>
              </a:extLst>
            </p:cNvPr>
            <p:cNvSpPr>
              <a:spLocks/>
            </p:cNvSpPr>
            <p:nvPr/>
          </p:nvSpPr>
          <p:spPr bwMode="gray">
            <a:xfrm>
              <a:off x="9808207" y="2970601"/>
              <a:ext cx="0" cy="0"/>
            </a:xfrm>
            <a:custGeom>
              <a:avLst/>
              <a:gdLst>
                <a:gd name="T0" fmla="*/ 1 w 1"/>
                <a:gd name="T1" fmla="*/ 1 w 1"/>
              </a:gdLst>
              <a:ahLst/>
              <a:cxnLst>
                <a:cxn ang="0">
                  <a:pos x="T0" y="0"/>
                </a:cxn>
                <a:cxn ang="0">
                  <a:pos x="T1" y="0"/>
                </a:cxn>
              </a:cxnLst>
              <a:rect l="0" t="0" r="r" b="b"/>
              <a:pathLst>
                <a:path w="1">
                  <a:moveTo>
                    <a:pt x="1" y="0"/>
                  </a:move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8" name="Freeform 170">
              <a:extLst>
                <a:ext uri="{FF2B5EF4-FFF2-40B4-BE49-F238E27FC236}">
                  <a16:creationId xmlns:a16="http://schemas.microsoft.com/office/drawing/2014/main" id="{CF647485-7BAD-BF74-A3A3-91EC2A719B82}"/>
                </a:ext>
              </a:extLst>
            </p:cNvPr>
            <p:cNvSpPr>
              <a:spLocks/>
            </p:cNvSpPr>
            <p:nvPr/>
          </p:nvSpPr>
          <p:spPr bwMode="gray">
            <a:xfrm>
              <a:off x="9810006" y="2968804"/>
              <a:ext cx="1798" cy="0"/>
            </a:xfrm>
            <a:custGeom>
              <a:avLst/>
              <a:gdLst>
                <a:gd name="T0" fmla="*/ 0 w 2"/>
                <a:gd name="T1" fmla="*/ 0 h 1"/>
                <a:gd name="T2" fmla="*/ 0 w 2"/>
                <a:gd name="T3" fmla="*/ 0 h 1"/>
              </a:gdLst>
              <a:ahLst/>
              <a:cxnLst>
                <a:cxn ang="0">
                  <a:pos x="T0" y="T1"/>
                </a:cxn>
                <a:cxn ang="0">
                  <a:pos x="T2" y="T3"/>
                </a:cxn>
              </a:cxnLst>
              <a:rect l="0" t="0" r="r" b="b"/>
              <a:pathLst>
                <a:path w="2" h="1">
                  <a:moveTo>
                    <a:pt x="0" y="0"/>
                  </a:moveTo>
                  <a:cubicBezTo>
                    <a:pt x="2"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9" name="Freeform 171">
              <a:extLst>
                <a:ext uri="{FF2B5EF4-FFF2-40B4-BE49-F238E27FC236}">
                  <a16:creationId xmlns:a16="http://schemas.microsoft.com/office/drawing/2014/main" id="{BF9068FD-3D06-1CE9-7AB7-F1EB367CA333}"/>
                </a:ext>
              </a:extLst>
            </p:cNvPr>
            <p:cNvSpPr>
              <a:spLocks/>
            </p:cNvSpPr>
            <p:nvPr/>
          </p:nvSpPr>
          <p:spPr bwMode="gray">
            <a:xfrm>
              <a:off x="9810006" y="2968804"/>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0" name="Freeform 172">
              <a:extLst>
                <a:ext uri="{FF2B5EF4-FFF2-40B4-BE49-F238E27FC236}">
                  <a16:creationId xmlns:a16="http://schemas.microsoft.com/office/drawing/2014/main" id="{F44A8F8C-171C-DE37-28D6-0682B30EEF1B}"/>
                </a:ext>
              </a:extLst>
            </p:cNvPr>
            <p:cNvSpPr>
              <a:spLocks/>
            </p:cNvSpPr>
            <p:nvPr/>
          </p:nvSpPr>
          <p:spPr bwMode="gray">
            <a:xfrm>
              <a:off x="9808207" y="2968804"/>
              <a:ext cx="1798" cy="1798"/>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0" y="2"/>
                    <a:pt x="1" y="1"/>
                    <a:pt x="1" y="0"/>
                  </a:cubicBezTo>
                  <a:cubicBezTo>
                    <a:pt x="1" y="0"/>
                    <a:pt x="0" y="1"/>
                    <a:pt x="0"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1" name="Freeform 173">
              <a:extLst>
                <a:ext uri="{FF2B5EF4-FFF2-40B4-BE49-F238E27FC236}">
                  <a16:creationId xmlns:a16="http://schemas.microsoft.com/office/drawing/2014/main" id="{A5DC23DA-CE6E-8512-6EC0-C23D1487965C}"/>
                </a:ext>
              </a:extLst>
            </p:cNvPr>
            <p:cNvSpPr>
              <a:spLocks/>
            </p:cNvSpPr>
            <p:nvPr/>
          </p:nvSpPr>
          <p:spPr bwMode="gray">
            <a:xfrm>
              <a:off x="9806410" y="2970601"/>
              <a:ext cx="5395" cy="3596"/>
            </a:xfrm>
            <a:custGeom>
              <a:avLst/>
              <a:gdLst>
                <a:gd name="T0" fmla="*/ 4 w 8"/>
                <a:gd name="T1" fmla="*/ 4 h 4"/>
                <a:gd name="T2" fmla="*/ 4 w 8"/>
                <a:gd name="T3" fmla="*/ 0 h 4"/>
                <a:gd name="T4" fmla="*/ 4 w 8"/>
                <a:gd name="T5" fmla="*/ 4 h 4"/>
              </a:gdLst>
              <a:ahLst/>
              <a:cxnLst>
                <a:cxn ang="0">
                  <a:pos x="T0" y="T1"/>
                </a:cxn>
                <a:cxn ang="0">
                  <a:pos x="T2" y="T3"/>
                </a:cxn>
                <a:cxn ang="0">
                  <a:pos x="T4" y="T5"/>
                </a:cxn>
              </a:cxnLst>
              <a:rect l="0" t="0" r="r" b="b"/>
              <a:pathLst>
                <a:path w="8" h="4">
                  <a:moveTo>
                    <a:pt x="4" y="4"/>
                  </a:moveTo>
                  <a:cubicBezTo>
                    <a:pt x="8" y="4"/>
                    <a:pt x="8" y="0"/>
                    <a:pt x="4" y="0"/>
                  </a:cubicBezTo>
                  <a:cubicBezTo>
                    <a:pt x="4" y="0"/>
                    <a:pt x="0"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2" name="Freeform 174">
              <a:extLst>
                <a:ext uri="{FF2B5EF4-FFF2-40B4-BE49-F238E27FC236}">
                  <a16:creationId xmlns:a16="http://schemas.microsoft.com/office/drawing/2014/main" id="{A746F245-AD21-2325-8458-9479040FB1A1}"/>
                </a:ext>
              </a:extLst>
            </p:cNvPr>
            <p:cNvSpPr>
              <a:spLocks/>
            </p:cNvSpPr>
            <p:nvPr/>
          </p:nvSpPr>
          <p:spPr bwMode="gray">
            <a:xfrm>
              <a:off x="10052732" y="2871713"/>
              <a:ext cx="26971" cy="28768"/>
            </a:xfrm>
            <a:custGeom>
              <a:avLst/>
              <a:gdLst>
                <a:gd name="T0" fmla="*/ 2 w 44"/>
                <a:gd name="T1" fmla="*/ 35 h 48"/>
                <a:gd name="T2" fmla="*/ 14 w 44"/>
                <a:gd name="T3" fmla="*/ 35 h 48"/>
                <a:gd name="T4" fmla="*/ 43 w 44"/>
                <a:gd name="T5" fmla="*/ 48 h 48"/>
                <a:gd name="T6" fmla="*/ 2 w 44"/>
                <a:gd name="T7" fmla="*/ 35 h 48"/>
              </a:gdLst>
              <a:ahLst/>
              <a:cxnLst>
                <a:cxn ang="0">
                  <a:pos x="T0" y="T1"/>
                </a:cxn>
                <a:cxn ang="0">
                  <a:pos x="T2" y="T3"/>
                </a:cxn>
                <a:cxn ang="0">
                  <a:pos x="T4" y="T5"/>
                </a:cxn>
                <a:cxn ang="0">
                  <a:pos x="T6" y="T7"/>
                </a:cxn>
              </a:cxnLst>
              <a:rect l="0" t="0" r="r" b="b"/>
              <a:pathLst>
                <a:path w="44" h="48">
                  <a:moveTo>
                    <a:pt x="2" y="35"/>
                  </a:moveTo>
                  <a:cubicBezTo>
                    <a:pt x="6" y="39"/>
                    <a:pt x="10" y="39"/>
                    <a:pt x="14" y="35"/>
                  </a:cubicBezTo>
                  <a:cubicBezTo>
                    <a:pt x="24" y="44"/>
                    <a:pt x="32" y="48"/>
                    <a:pt x="43" y="48"/>
                  </a:cubicBezTo>
                  <a:cubicBezTo>
                    <a:pt x="44" y="25"/>
                    <a:pt x="0" y="0"/>
                    <a:pt x="2"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3" name="Freeform 175">
              <a:extLst>
                <a:ext uri="{FF2B5EF4-FFF2-40B4-BE49-F238E27FC236}">
                  <a16:creationId xmlns:a16="http://schemas.microsoft.com/office/drawing/2014/main" id="{A4693B60-656B-6FA6-746E-26DE22ECC18D}"/>
                </a:ext>
              </a:extLst>
            </p:cNvPr>
            <p:cNvSpPr>
              <a:spLocks/>
            </p:cNvSpPr>
            <p:nvPr/>
          </p:nvSpPr>
          <p:spPr bwMode="gray">
            <a:xfrm>
              <a:off x="9777642" y="2965208"/>
              <a:ext cx="17980" cy="7192"/>
            </a:xfrm>
            <a:custGeom>
              <a:avLst/>
              <a:gdLst>
                <a:gd name="T0" fmla="*/ 26 w 30"/>
                <a:gd name="T1" fmla="*/ 5 h 12"/>
                <a:gd name="T2" fmla="*/ 11 w 30"/>
                <a:gd name="T3" fmla="*/ 1 h 12"/>
                <a:gd name="T4" fmla="*/ 4 w 30"/>
                <a:gd name="T5" fmla="*/ 8 h 12"/>
                <a:gd name="T6" fmla="*/ 26 w 30"/>
                <a:gd name="T7" fmla="*/ 5 h 12"/>
              </a:gdLst>
              <a:ahLst/>
              <a:cxnLst>
                <a:cxn ang="0">
                  <a:pos x="T0" y="T1"/>
                </a:cxn>
                <a:cxn ang="0">
                  <a:pos x="T2" y="T3"/>
                </a:cxn>
                <a:cxn ang="0">
                  <a:pos x="T4" y="T5"/>
                </a:cxn>
                <a:cxn ang="0">
                  <a:pos x="T6" y="T7"/>
                </a:cxn>
              </a:cxnLst>
              <a:rect l="0" t="0" r="r" b="b"/>
              <a:pathLst>
                <a:path w="30" h="12">
                  <a:moveTo>
                    <a:pt x="26" y="5"/>
                  </a:moveTo>
                  <a:cubicBezTo>
                    <a:pt x="30" y="2"/>
                    <a:pt x="11" y="1"/>
                    <a:pt x="11" y="1"/>
                  </a:cubicBezTo>
                  <a:cubicBezTo>
                    <a:pt x="11" y="1"/>
                    <a:pt x="0" y="0"/>
                    <a:pt x="4" y="8"/>
                  </a:cubicBezTo>
                  <a:cubicBezTo>
                    <a:pt x="7" y="12"/>
                    <a:pt x="19" y="5"/>
                    <a:pt x="26"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4" name="Freeform 176">
              <a:extLst>
                <a:ext uri="{FF2B5EF4-FFF2-40B4-BE49-F238E27FC236}">
                  <a16:creationId xmlns:a16="http://schemas.microsoft.com/office/drawing/2014/main" id="{E2897403-2839-BCB8-69D8-7362D62348D2}"/>
                </a:ext>
              </a:extLst>
            </p:cNvPr>
            <p:cNvSpPr>
              <a:spLocks/>
            </p:cNvSpPr>
            <p:nvPr/>
          </p:nvSpPr>
          <p:spPr bwMode="gray">
            <a:xfrm>
              <a:off x="9835178" y="2839350"/>
              <a:ext cx="8991" cy="19778"/>
            </a:xfrm>
            <a:custGeom>
              <a:avLst/>
              <a:gdLst>
                <a:gd name="T0" fmla="*/ 15 w 15"/>
                <a:gd name="T1" fmla="*/ 27 h 35"/>
                <a:gd name="T2" fmla="*/ 12 w 15"/>
                <a:gd name="T3" fmla="*/ 0 h 35"/>
                <a:gd name="T4" fmla="*/ 0 w 15"/>
                <a:gd name="T5" fmla="*/ 15 h 35"/>
                <a:gd name="T6" fmla="*/ 15 w 15"/>
                <a:gd name="T7" fmla="*/ 27 h 35"/>
              </a:gdLst>
              <a:ahLst/>
              <a:cxnLst>
                <a:cxn ang="0">
                  <a:pos x="T0" y="T1"/>
                </a:cxn>
                <a:cxn ang="0">
                  <a:pos x="T2" y="T3"/>
                </a:cxn>
                <a:cxn ang="0">
                  <a:pos x="T4" y="T5"/>
                </a:cxn>
                <a:cxn ang="0">
                  <a:pos x="T6" y="T7"/>
                </a:cxn>
              </a:cxnLst>
              <a:rect l="0" t="0" r="r" b="b"/>
              <a:pathLst>
                <a:path w="15" h="35">
                  <a:moveTo>
                    <a:pt x="15" y="27"/>
                  </a:moveTo>
                  <a:cubicBezTo>
                    <a:pt x="15" y="23"/>
                    <a:pt x="9" y="0"/>
                    <a:pt x="12" y="0"/>
                  </a:cubicBezTo>
                  <a:cubicBezTo>
                    <a:pt x="9" y="0"/>
                    <a:pt x="4" y="11"/>
                    <a:pt x="0" y="15"/>
                  </a:cubicBezTo>
                  <a:cubicBezTo>
                    <a:pt x="0" y="15"/>
                    <a:pt x="11" y="35"/>
                    <a:pt x="15" y="2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5" name="Freeform 177">
              <a:extLst>
                <a:ext uri="{FF2B5EF4-FFF2-40B4-BE49-F238E27FC236}">
                  <a16:creationId xmlns:a16="http://schemas.microsoft.com/office/drawing/2014/main" id="{728BA378-9C6B-011C-513A-BC4197CA5EB5}"/>
                </a:ext>
              </a:extLst>
            </p:cNvPr>
            <p:cNvSpPr>
              <a:spLocks/>
            </p:cNvSpPr>
            <p:nvPr/>
          </p:nvSpPr>
          <p:spPr bwMode="gray">
            <a:xfrm>
              <a:off x="9790227" y="2965208"/>
              <a:ext cx="19778" cy="3596"/>
            </a:xfrm>
            <a:custGeom>
              <a:avLst/>
              <a:gdLst>
                <a:gd name="T0" fmla="*/ 15 w 34"/>
                <a:gd name="T1" fmla="*/ 3 h 7"/>
                <a:gd name="T2" fmla="*/ 26 w 34"/>
                <a:gd name="T3" fmla="*/ 7 h 7"/>
                <a:gd name="T4" fmla="*/ 15 w 34"/>
                <a:gd name="T5" fmla="*/ 3 h 7"/>
              </a:gdLst>
              <a:ahLst/>
              <a:cxnLst>
                <a:cxn ang="0">
                  <a:pos x="T0" y="T1"/>
                </a:cxn>
                <a:cxn ang="0">
                  <a:pos x="T2" y="T3"/>
                </a:cxn>
                <a:cxn ang="0">
                  <a:pos x="T4" y="T5"/>
                </a:cxn>
              </a:cxnLst>
              <a:rect l="0" t="0" r="r" b="b"/>
              <a:pathLst>
                <a:path w="34" h="7">
                  <a:moveTo>
                    <a:pt x="15" y="3"/>
                  </a:moveTo>
                  <a:cubicBezTo>
                    <a:pt x="18" y="7"/>
                    <a:pt x="22" y="7"/>
                    <a:pt x="26" y="7"/>
                  </a:cubicBezTo>
                  <a:cubicBezTo>
                    <a:pt x="34" y="0"/>
                    <a:pt x="0" y="2"/>
                    <a:pt x="1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6" name="Freeform 178">
              <a:extLst>
                <a:ext uri="{FF2B5EF4-FFF2-40B4-BE49-F238E27FC236}">
                  <a16:creationId xmlns:a16="http://schemas.microsoft.com/office/drawing/2014/main" id="{600EB4D8-6352-34DD-57A5-B6685AA6D153}"/>
                </a:ext>
              </a:extLst>
            </p:cNvPr>
            <p:cNvSpPr>
              <a:spLocks/>
            </p:cNvSpPr>
            <p:nvPr/>
          </p:nvSpPr>
          <p:spPr bwMode="gray">
            <a:xfrm>
              <a:off x="9813601" y="2974198"/>
              <a:ext cx="14383" cy="5395"/>
            </a:xfrm>
            <a:custGeom>
              <a:avLst/>
              <a:gdLst>
                <a:gd name="T0" fmla="*/ 8 w 23"/>
                <a:gd name="T1" fmla="*/ 7 h 8"/>
                <a:gd name="T2" fmla="*/ 12 w 23"/>
                <a:gd name="T3" fmla="*/ 0 h 8"/>
                <a:gd name="T4" fmla="*/ 8 w 23"/>
                <a:gd name="T5" fmla="*/ 7 h 8"/>
              </a:gdLst>
              <a:ahLst/>
              <a:cxnLst>
                <a:cxn ang="0">
                  <a:pos x="T0" y="T1"/>
                </a:cxn>
                <a:cxn ang="0">
                  <a:pos x="T2" y="T3"/>
                </a:cxn>
                <a:cxn ang="0">
                  <a:pos x="T4" y="T5"/>
                </a:cxn>
              </a:cxnLst>
              <a:rect l="0" t="0" r="r" b="b"/>
              <a:pathLst>
                <a:path w="23" h="8">
                  <a:moveTo>
                    <a:pt x="8" y="7"/>
                  </a:moveTo>
                  <a:cubicBezTo>
                    <a:pt x="11" y="8"/>
                    <a:pt x="23" y="1"/>
                    <a:pt x="12" y="0"/>
                  </a:cubicBezTo>
                  <a:cubicBezTo>
                    <a:pt x="12" y="0"/>
                    <a:pt x="0" y="7"/>
                    <a:pt x="8"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7" name="Freeform 179">
              <a:extLst>
                <a:ext uri="{FF2B5EF4-FFF2-40B4-BE49-F238E27FC236}">
                  <a16:creationId xmlns:a16="http://schemas.microsoft.com/office/drawing/2014/main" id="{3488EA93-8357-B72B-7E06-3D14A69F0D29}"/>
                </a:ext>
              </a:extLst>
            </p:cNvPr>
            <p:cNvSpPr>
              <a:spLocks/>
            </p:cNvSpPr>
            <p:nvPr/>
          </p:nvSpPr>
          <p:spPr bwMode="gray">
            <a:xfrm>
              <a:off x="9802813" y="2909471"/>
              <a:ext cx="5395" cy="3596"/>
            </a:xfrm>
            <a:custGeom>
              <a:avLst/>
              <a:gdLst>
                <a:gd name="T0" fmla="*/ 3 w 7"/>
                <a:gd name="T1" fmla="*/ 4 h 4"/>
                <a:gd name="T2" fmla="*/ 4 w 7"/>
                <a:gd name="T3" fmla="*/ 0 h 4"/>
                <a:gd name="T4" fmla="*/ 3 w 7"/>
                <a:gd name="T5" fmla="*/ 4 h 4"/>
              </a:gdLst>
              <a:ahLst/>
              <a:cxnLst>
                <a:cxn ang="0">
                  <a:pos x="T0" y="T1"/>
                </a:cxn>
                <a:cxn ang="0">
                  <a:pos x="T2" y="T3"/>
                </a:cxn>
                <a:cxn ang="0">
                  <a:pos x="T4" y="T5"/>
                </a:cxn>
              </a:cxnLst>
              <a:rect l="0" t="0" r="r" b="b"/>
              <a:pathLst>
                <a:path w="7" h="4">
                  <a:moveTo>
                    <a:pt x="3" y="4"/>
                  </a:moveTo>
                  <a:cubicBezTo>
                    <a:pt x="7" y="4"/>
                    <a:pt x="7" y="0"/>
                    <a:pt x="4" y="0"/>
                  </a:cubicBezTo>
                  <a:cubicBezTo>
                    <a:pt x="4" y="0"/>
                    <a:pt x="0" y="3"/>
                    <a:pt x="3"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8" name="Freeform 180">
              <a:extLst>
                <a:ext uri="{FF2B5EF4-FFF2-40B4-BE49-F238E27FC236}">
                  <a16:creationId xmlns:a16="http://schemas.microsoft.com/office/drawing/2014/main" id="{E07B2977-5C91-5A60-5636-C092C0ECE749}"/>
                </a:ext>
              </a:extLst>
            </p:cNvPr>
            <p:cNvSpPr>
              <a:spLocks/>
            </p:cNvSpPr>
            <p:nvPr/>
          </p:nvSpPr>
          <p:spPr bwMode="gray">
            <a:xfrm>
              <a:off x="9801015" y="2907674"/>
              <a:ext cx="1798" cy="7192"/>
            </a:xfrm>
            <a:custGeom>
              <a:avLst/>
              <a:gdLst>
                <a:gd name="T0" fmla="*/ 4 w 4"/>
                <a:gd name="T1" fmla="*/ 0 h 11"/>
                <a:gd name="T2" fmla="*/ 4 w 4"/>
                <a:gd name="T3" fmla="*/ 11 h 11"/>
                <a:gd name="T4" fmla="*/ 4 w 4"/>
                <a:gd name="T5" fmla="*/ 0 h 11"/>
              </a:gdLst>
              <a:ahLst/>
              <a:cxnLst>
                <a:cxn ang="0">
                  <a:pos x="T0" y="T1"/>
                </a:cxn>
                <a:cxn ang="0">
                  <a:pos x="T2" y="T3"/>
                </a:cxn>
                <a:cxn ang="0">
                  <a:pos x="T4" y="T5"/>
                </a:cxn>
              </a:cxnLst>
              <a:rect l="0" t="0" r="r" b="b"/>
              <a:pathLst>
                <a:path w="4" h="11">
                  <a:moveTo>
                    <a:pt x="4" y="0"/>
                  </a:moveTo>
                  <a:cubicBezTo>
                    <a:pt x="0" y="3"/>
                    <a:pt x="0" y="7"/>
                    <a:pt x="4" y="11"/>
                  </a:cubicBez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9" name="Freeform 181">
              <a:extLst>
                <a:ext uri="{FF2B5EF4-FFF2-40B4-BE49-F238E27FC236}">
                  <a16:creationId xmlns:a16="http://schemas.microsoft.com/office/drawing/2014/main" id="{CBA3AF06-B520-0663-E418-59B692013635}"/>
                </a:ext>
              </a:extLst>
            </p:cNvPr>
            <p:cNvSpPr>
              <a:spLocks/>
            </p:cNvSpPr>
            <p:nvPr/>
          </p:nvSpPr>
          <p:spPr bwMode="gray">
            <a:xfrm>
              <a:off x="9840571" y="2941834"/>
              <a:ext cx="8991" cy="12586"/>
            </a:xfrm>
            <a:custGeom>
              <a:avLst/>
              <a:gdLst>
                <a:gd name="T0" fmla="*/ 4 w 15"/>
                <a:gd name="T1" fmla="*/ 4 h 23"/>
                <a:gd name="T2" fmla="*/ 11 w 15"/>
                <a:gd name="T3" fmla="*/ 8 h 23"/>
                <a:gd name="T4" fmla="*/ 4 w 15"/>
                <a:gd name="T5" fmla="*/ 4 h 23"/>
              </a:gdLst>
              <a:ahLst/>
              <a:cxnLst>
                <a:cxn ang="0">
                  <a:pos x="T0" y="T1"/>
                </a:cxn>
                <a:cxn ang="0">
                  <a:pos x="T2" y="T3"/>
                </a:cxn>
                <a:cxn ang="0">
                  <a:pos x="T4" y="T5"/>
                </a:cxn>
              </a:cxnLst>
              <a:rect l="0" t="0" r="r" b="b"/>
              <a:pathLst>
                <a:path w="15" h="23">
                  <a:moveTo>
                    <a:pt x="4" y="4"/>
                  </a:moveTo>
                  <a:cubicBezTo>
                    <a:pt x="0" y="0"/>
                    <a:pt x="7" y="23"/>
                    <a:pt x="11" y="8"/>
                  </a:cubicBezTo>
                  <a:cubicBezTo>
                    <a:pt x="15" y="5"/>
                    <a:pt x="4"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0" name="Freeform 182">
              <a:extLst>
                <a:ext uri="{FF2B5EF4-FFF2-40B4-BE49-F238E27FC236}">
                  <a16:creationId xmlns:a16="http://schemas.microsoft.com/office/drawing/2014/main" id="{FE555AA0-5092-603B-0F75-208A49C77FBA}"/>
                </a:ext>
              </a:extLst>
            </p:cNvPr>
            <p:cNvSpPr>
              <a:spLocks/>
            </p:cNvSpPr>
            <p:nvPr/>
          </p:nvSpPr>
          <p:spPr bwMode="gray">
            <a:xfrm>
              <a:off x="9845966" y="2950825"/>
              <a:ext cx="7192" cy="1798"/>
            </a:xfrm>
            <a:custGeom>
              <a:avLst/>
              <a:gdLst>
                <a:gd name="T0" fmla="*/ 8 w 12"/>
                <a:gd name="T1" fmla="*/ 4 h 4"/>
                <a:gd name="T2" fmla="*/ 8 w 12"/>
                <a:gd name="T3" fmla="*/ 0 h 4"/>
                <a:gd name="T4" fmla="*/ 8 w 12"/>
                <a:gd name="T5" fmla="*/ 4 h 4"/>
              </a:gdLst>
              <a:ahLst/>
              <a:cxnLst>
                <a:cxn ang="0">
                  <a:pos x="T0" y="T1"/>
                </a:cxn>
                <a:cxn ang="0">
                  <a:pos x="T2" y="T3"/>
                </a:cxn>
                <a:cxn ang="0">
                  <a:pos x="T4" y="T5"/>
                </a:cxn>
              </a:cxnLst>
              <a:rect l="0" t="0" r="r" b="b"/>
              <a:pathLst>
                <a:path w="12" h="4">
                  <a:moveTo>
                    <a:pt x="8" y="4"/>
                  </a:moveTo>
                  <a:cubicBezTo>
                    <a:pt x="12" y="4"/>
                    <a:pt x="8" y="0"/>
                    <a:pt x="8" y="0"/>
                  </a:cubicBezTo>
                  <a:cubicBezTo>
                    <a:pt x="1" y="0"/>
                    <a:pt x="0" y="4"/>
                    <a:pt x="8"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1" name="Freeform 183">
              <a:extLst>
                <a:ext uri="{FF2B5EF4-FFF2-40B4-BE49-F238E27FC236}">
                  <a16:creationId xmlns:a16="http://schemas.microsoft.com/office/drawing/2014/main" id="{6F0F0ACF-4054-8C52-5EFB-19804ED10406}"/>
                </a:ext>
              </a:extLst>
            </p:cNvPr>
            <p:cNvSpPr>
              <a:spLocks/>
            </p:cNvSpPr>
            <p:nvPr/>
          </p:nvSpPr>
          <p:spPr bwMode="gray">
            <a:xfrm>
              <a:off x="9838774" y="2864521"/>
              <a:ext cx="14383" cy="7192"/>
            </a:xfrm>
            <a:custGeom>
              <a:avLst/>
              <a:gdLst>
                <a:gd name="T0" fmla="*/ 19 w 26"/>
                <a:gd name="T1" fmla="*/ 0 h 12"/>
                <a:gd name="T2" fmla="*/ 19 w 26"/>
                <a:gd name="T3" fmla="*/ 8 h 12"/>
                <a:gd name="T4" fmla="*/ 19 w 26"/>
                <a:gd name="T5" fmla="*/ 0 h 12"/>
              </a:gdLst>
              <a:ahLst/>
              <a:cxnLst>
                <a:cxn ang="0">
                  <a:pos x="T0" y="T1"/>
                </a:cxn>
                <a:cxn ang="0">
                  <a:pos x="T2" y="T3"/>
                </a:cxn>
                <a:cxn ang="0">
                  <a:pos x="T4" y="T5"/>
                </a:cxn>
              </a:cxnLst>
              <a:rect l="0" t="0" r="r" b="b"/>
              <a:pathLst>
                <a:path w="26" h="12">
                  <a:moveTo>
                    <a:pt x="19" y="0"/>
                  </a:moveTo>
                  <a:cubicBezTo>
                    <a:pt x="0" y="3"/>
                    <a:pt x="26" y="12"/>
                    <a:pt x="19" y="8"/>
                  </a:cubicBezTo>
                  <a:cubicBezTo>
                    <a:pt x="23" y="4"/>
                    <a:pt x="23" y="0"/>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2" name="Freeform 184">
              <a:extLst>
                <a:ext uri="{FF2B5EF4-FFF2-40B4-BE49-F238E27FC236}">
                  <a16:creationId xmlns:a16="http://schemas.microsoft.com/office/drawing/2014/main" id="{370D4B9D-4AB2-A08A-2F49-540B85F87BD6}"/>
                </a:ext>
              </a:extLst>
            </p:cNvPr>
            <p:cNvSpPr>
              <a:spLocks/>
            </p:cNvSpPr>
            <p:nvPr/>
          </p:nvSpPr>
          <p:spPr bwMode="gray">
            <a:xfrm>
              <a:off x="9835178" y="2961613"/>
              <a:ext cx="5395" cy="3596"/>
            </a:xfrm>
            <a:custGeom>
              <a:avLst/>
              <a:gdLst>
                <a:gd name="T0" fmla="*/ 7 w 11"/>
                <a:gd name="T1" fmla="*/ 8 h 8"/>
                <a:gd name="T2" fmla="*/ 8 w 11"/>
                <a:gd name="T3" fmla="*/ 0 h 8"/>
                <a:gd name="T4" fmla="*/ 7 w 11"/>
                <a:gd name="T5" fmla="*/ 8 h 8"/>
              </a:gdLst>
              <a:ahLst/>
              <a:cxnLst>
                <a:cxn ang="0">
                  <a:pos x="T0" y="T1"/>
                </a:cxn>
                <a:cxn ang="0">
                  <a:pos x="T2" y="T3"/>
                </a:cxn>
                <a:cxn ang="0">
                  <a:pos x="T4" y="T5"/>
                </a:cxn>
              </a:cxnLst>
              <a:rect l="0" t="0" r="r" b="b"/>
              <a:pathLst>
                <a:path w="11" h="8">
                  <a:moveTo>
                    <a:pt x="7" y="8"/>
                  </a:moveTo>
                  <a:cubicBezTo>
                    <a:pt x="11" y="4"/>
                    <a:pt x="8" y="0"/>
                    <a:pt x="8" y="0"/>
                  </a:cubicBezTo>
                  <a:cubicBezTo>
                    <a:pt x="0" y="0"/>
                    <a:pt x="0" y="8"/>
                    <a:pt x="7"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3" name="Freeform 185">
              <a:extLst>
                <a:ext uri="{FF2B5EF4-FFF2-40B4-BE49-F238E27FC236}">
                  <a16:creationId xmlns:a16="http://schemas.microsoft.com/office/drawing/2014/main" id="{FFA9D5C2-CCC1-0DB1-36CA-556605ABA5C5}"/>
                </a:ext>
              </a:extLst>
            </p:cNvPr>
            <p:cNvSpPr>
              <a:spLocks/>
            </p:cNvSpPr>
            <p:nvPr/>
          </p:nvSpPr>
          <p:spPr bwMode="gray">
            <a:xfrm>
              <a:off x="9845966" y="2869915"/>
              <a:ext cx="5395" cy="12586"/>
            </a:xfrm>
            <a:custGeom>
              <a:avLst/>
              <a:gdLst>
                <a:gd name="T0" fmla="*/ 11 w 11"/>
                <a:gd name="T1" fmla="*/ 16 h 19"/>
                <a:gd name="T2" fmla="*/ 7 w 11"/>
                <a:gd name="T3" fmla="*/ 8 h 19"/>
                <a:gd name="T4" fmla="*/ 11 w 11"/>
                <a:gd name="T5" fmla="*/ 16 h 19"/>
              </a:gdLst>
              <a:ahLst/>
              <a:cxnLst>
                <a:cxn ang="0">
                  <a:pos x="T0" y="T1"/>
                </a:cxn>
                <a:cxn ang="0">
                  <a:pos x="T2" y="T3"/>
                </a:cxn>
                <a:cxn ang="0">
                  <a:pos x="T4" y="T5"/>
                </a:cxn>
              </a:cxnLst>
              <a:rect l="0" t="0" r="r" b="b"/>
              <a:pathLst>
                <a:path w="11" h="19">
                  <a:moveTo>
                    <a:pt x="11" y="16"/>
                  </a:moveTo>
                  <a:cubicBezTo>
                    <a:pt x="11" y="16"/>
                    <a:pt x="11" y="12"/>
                    <a:pt x="7" y="8"/>
                  </a:cubicBezTo>
                  <a:cubicBezTo>
                    <a:pt x="0" y="0"/>
                    <a:pt x="3" y="19"/>
                    <a:pt x="11"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4" name="Freeform 186">
              <a:extLst>
                <a:ext uri="{FF2B5EF4-FFF2-40B4-BE49-F238E27FC236}">
                  <a16:creationId xmlns:a16="http://schemas.microsoft.com/office/drawing/2014/main" id="{5B60CED2-6D8D-6328-AFE1-A917A8CA8D4F}"/>
                </a:ext>
              </a:extLst>
            </p:cNvPr>
            <p:cNvSpPr>
              <a:spLocks/>
            </p:cNvSpPr>
            <p:nvPr/>
          </p:nvSpPr>
          <p:spPr bwMode="gray">
            <a:xfrm>
              <a:off x="9863945" y="2929249"/>
              <a:ext cx="3596" cy="8991"/>
            </a:xfrm>
            <a:custGeom>
              <a:avLst/>
              <a:gdLst>
                <a:gd name="T0" fmla="*/ 3 w 4"/>
                <a:gd name="T1" fmla="*/ 12 h 15"/>
                <a:gd name="T2" fmla="*/ 4 w 4"/>
                <a:gd name="T3" fmla="*/ 4 h 15"/>
                <a:gd name="T4" fmla="*/ 0 w 4"/>
                <a:gd name="T5" fmla="*/ 8 h 15"/>
                <a:gd name="T6" fmla="*/ 3 w 4"/>
                <a:gd name="T7" fmla="*/ 12 h 15"/>
              </a:gdLst>
              <a:ahLst/>
              <a:cxnLst>
                <a:cxn ang="0">
                  <a:pos x="T0" y="T1"/>
                </a:cxn>
                <a:cxn ang="0">
                  <a:pos x="T2" y="T3"/>
                </a:cxn>
                <a:cxn ang="0">
                  <a:pos x="T4" y="T5"/>
                </a:cxn>
                <a:cxn ang="0">
                  <a:pos x="T6" y="T7"/>
                </a:cxn>
              </a:cxnLst>
              <a:rect l="0" t="0" r="r" b="b"/>
              <a:pathLst>
                <a:path w="4" h="15">
                  <a:moveTo>
                    <a:pt x="3" y="12"/>
                  </a:moveTo>
                  <a:cubicBezTo>
                    <a:pt x="4" y="4"/>
                    <a:pt x="4" y="4"/>
                    <a:pt x="4" y="4"/>
                  </a:cubicBezTo>
                  <a:cubicBezTo>
                    <a:pt x="4" y="4"/>
                    <a:pt x="0" y="0"/>
                    <a:pt x="0" y="8"/>
                  </a:cubicBezTo>
                  <a:cubicBezTo>
                    <a:pt x="0" y="15"/>
                    <a:pt x="3" y="12"/>
                    <a:pt x="3"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5" name="Freeform 187">
              <a:extLst>
                <a:ext uri="{FF2B5EF4-FFF2-40B4-BE49-F238E27FC236}">
                  <a16:creationId xmlns:a16="http://schemas.microsoft.com/office/drawing/2014/main" id="{9C1A1ECC-2E49-80DE-CBEF-9B0DEB2F8B6B}"/>
                </a:ext>
              </a:extLst>
            </p:cNvPr>
            <p:cNvSpPr>
              <a:spLocks/>
            </p:cNvSpPr>
            <p:nvPr/>
          </p:nvSpPr>
          <p:spPr bwMode="gray">
            <a:xfrm>
              <a:off x="9847763" y="2857330"/>
              <a:ext cx="3596" cy="7192"/>
            </a:xfrm>
            <a:custGeom>
              <a:avLst/>
              <a:gdLst>
                <a:gd name="T0" fmla="*/ 4 w 4"/>
                <a:gd name="T1" fmla="*/ 4 h 12"/>
                <a:gd name="T2" fmla="*/ 0 w 4"/>
                <a:gd name="T3" fmla="*/ 4 h 12"/>
                <a:gd name="T4" fmla="*/ 4 w 4"/>
                <a:gd name="T5" fmla="*/ 4 h 12"/>
              </a:gdLst>
              <a:ahLst/>
              <a:cxnLst>
                <a:cxn ang="0">
                  <a:pos x="T0" y="T1"/>
                </a:cxn>
                <a:cxn ang="0">
                  <a:pos x="T2" y="T3"/>
                </a:cxn>
                <a:cxn ang="0">
                  <a:pos x="T4" y="T5"/>
                </a:cxn>
              </a:cxnLst>
              <a:rect l="0" t="0" r="r" b="b"/>
              <a:pathLst>
                <a:path w="4" h="12">
                  <a:moveTo>
                    <a:pt x="4" y="4"/>
                  </a:moveTo>
                  <a:cubicBezTo>
                    <a:pt x="4" y="0"/>
                    <a:pt x="0" y="0"/>
                    <a:pt x="0" y="4"/>
                  </a:cubicBezTo>
                  <a:cubicBezTo>
                    <a:pt x="0" y="12"/>
                    <a:pt x="4"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6" name="Freeform 188">
              <a:extLst>
                <a:ext uri="{FF2B5EF4-FFF2-40B4-BE49-F238E27FC236}">
                  <a16:creationId xmlns:a16="http://schemas.microsoft.com/office/drawing/2014/main" id="{28DCDE72-EF85-AD92-16FC-BC9357645F94}"/>
                </a:ext>
              </a:extLst>
            </p:cNvPr>
            <p:cNvSpPr>
              <a:spLocks/>
            </p:cNvSpPr>
            <p:nvPr/>
          </p:nvSpPr>
          <p:spPr bwMode="gray">
            <a:xfrm>
              <a:off x="10076106" y="2950825"/>
              <a:ext cx="14383" cy="10788"/>
            </a:xfrm>
            <a:custGeom>
              <a:avLst/>
              <a:gdLst>
                <a:gd name="T0" fmla="*/ 7 w 25"/>
                <a:gd name="T1" fmla="*/ 11 h 19"/>
                <a:gd name="T2" fmla="*/ 18 w 25"/>
                <a:gd name="T3" fmla="*/ 12 h 19"/>
                <a:gd name="T4" fmla="*/ 18 w 25"/>
                <a:gd name="T5" fmla="*/ 15 h 19"/>
                <a:gd name="T6" fmla="*/ 23 w 25"/>
                <a:gd name="T7" fmla="*/ 1 h 19"/>
                <a:gd name="T8" fmla="*/ 22 w 25"/>
                <a:gd name="T9" fmla="*/ 0 h 19"/>
                <a:gd name="T10" fmla="*/ 7 w 25"/>
                <a:gd name="T11" fmla="*/ 11 h 19"/>
              </a:gdLst>
              <a:ahLst/>
              <a:cxnLst>
                <a:cxn ang="0">
                  <a:pos x="T0" y="T1"/>
                </a:cxn>
                <a:cxn ang="0">
                  <a:pos x="T2" y="T3"/>
                </a:cxn>
                <a:cxn ang="0">
                  <a:pos x="T4" y="T5"/>
                </a:cxn>
                <a:cxn ang="0">
                  <a:pos x="T6" y="T7"/>
                </a:cxn>
                <a:cxn ang="0">
                  <a:pos x="T8" y="T9"/>
                </a:cxn>
                <a:cxn ang="0">
                  <a:pos x="T10" y="T11"/>
                </a:cxn>
              </a:cxnLst>
              <a:rect l="0" t="0" r="r" b="b"/>
              <a:pathLst>
                <a:path w="25" h="19">
                  <a:moveTo>
                    <a:pt x="7" y="11"/>
                  </a:moveTo>
                  <a:cubicBezTo>
                    <a:pt x="10" y="19"/>
                    <a:pt x="14" y="11"/>
                    <a:pt x="18" y="12"/>
                  </a:cubicBezTo>
                  <a:cubicBezTo>
                    <a:pt x="14" y="15"/>
                    <a:pt x="14" y="15"/>
                    <a:pt x="18" y="15"/>
                  </a:cubicBezTo>
                  <a:cubicBezTo>
                    <a:pt x="18" y="15"/>
                    <a:pt x="25" y="2"/>
                    <a:pt x="23" y="1"/>
                  </a:cubicBezTo>
                  <a:cubicBezTo>
                    <a:pt x="23" y="0"/>
                    <a:pt x="23" y="0"/>
                    <a:pt x="22" y="0"/>
                  </a:cubicBezTo>
                  <a:cubicBezTo>
                    <a:pt x="22" y="0"/>
                    <a:pt x="0" y="7"/>
                    <a:pt x="7"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7" name="Freeform 189">
              <a:extLst>
                <a:ext uri="{FF2B5EF4-FFF2-40B4-BE49-F238E27FC236}">
                  <a16:creationId xmlns:a16="http://schemas.microsoft.com/office/drawing/2014/main" id="{9C2A0242-FA23-7CA8-9616-15660AA27530}"/>
                </a:ext>
              </a:extLst>
            </p:cNvPr>
            <p:cNvSpPr>
              <a:spLocks/>
            </p:cNvSpPr>
            <p:nvPr/>
          </p:nvSpPr>
          <p:spPr bwMode="gray">
            <a:xfrm>
              <a:off x="10194773" y="2905874"/>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8" name="Freeform 190">
              <a:extLst>
                <a:ext uri="{FF2B5EF4-FFF2-40B4-BE49-F238E27FC236}">
                  <a16:creationId xmlns:a16="http://schemas.microsoft.com/office/drawing/2014/main" id="{C030A2CF-3E3E-F6C8-3B36-5F08C7276108}"/>
                </a:ext>
              </a:extLst>
            </p:cNvPr>
            <p:cNvSpPr>
              <a:spLocks/>
            </p:cNvSpPr>
            <p:nvPr/>
          </p:nvSpPr>
          <p:spPr bwMode="gray">
            <a:xfrm>
              <a:off x="9871137" y="2839350"/>
              <a:ext cx="0" cy="17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9" name="Freeform 191">
              <a:extLst>
                <a:ext uri="{FF2B5EF4-FFF2-40B4-BE49-F238E27FC236}">
                  <a16:creationId xmlns:a16="http://schemas.microsoft.com/office/drawing/2014/main" id="{F599A997-79A6-1561-6EA6-6D07B5F045EF}"/>
                </a:ext>
              </a:extLst>
            </p:cNvPr>
            <p:cNvSpPr>
              <a:spLocks/>
            </p:cNvSpPr>
            <p:nvPr/>
          </p:nvSpPr>
          <p:spPr bwMode="gray">
            <a:xfrm>
              <a:off x="9711117" y="2975996"/>
              <a:ext cx="3596" cy="7192"/>
            </a:xfrm>
            <a:custGeom>
              <a:avLst/>
              <a:gdLst>
                <a:gd name="T0" fmla="*/ 7 w 7"/>
                <a:gd name="T1" fmla="*/ 4 h 12"/>
                <a:gd name="T2" fmla="*/ 4 w 7"/>
                <a:gd name="T3" fmla="*/ 8 h 12"/>
                <a:gd name="T4" fmla="*/ 7 w 7"/>
                <a:gd name="T5" fmla="*/ 4 h 12"/>
              </a:gdLst>
              <a:ahLst/>
              <a:cxnLst>
                <a:cxn ang="0">
                  <a:pos x="T0" y="T1"/>
                </a:cxn>
                <a:cxn ang="0">
                  <a:pos x="T2" y="T3"/>
                </a:cxn>
                <a:cxn ang="0">
                  <a:pos x="T4" y="T5"/>
                </a:cxn>
              </a:cxnLst>
              <a:rect l="0" t="0" r="r" b="b"/>
              <a:pathLst>
                <a:path w="7" h="12">
                  <a:moveTo>
                    <a:pt x="7" y="4"/>
                  </a:moveTo>
                  <a:cubicBezTo>
                    <a:pt x="4" y="0"/>
                    <a:pt x="0" y="4"/>
                    <a:pt x="4" y="8"/>
                  </a:cubicBezTo>
                  <a:cubicBezTo>
                    <a:pt x="7" y="12"/>
                    <a:pt x="7" y="4"/>
                    <a:pt x="7"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0" name="Freeform 192">
              <a:extLst>
                <a:ext uri="{FF2B5EF4-FFF2-40B4-BE49-F238E27FC236}">
                  <a16:creationId xmlns:a16="http://schemas.microsoft.com/office/drawing/2014/main" id="{B7D56B40-62BE-B7B8-72E3-DD7A724CE2C6}"/>
                </a:ext>
              </a:extLst>
            </p:cNvPr>
            <p:cNvSpPr>
              <a:spLocks/>
            </p:cNvSpPr>
            <p:nvPr/>
          </p:nvSpPr>
          <p:spPr bwMode="gray">
            <a:xfrm>
              <a:off x="9851359" y="2859127"/>
              <a:ext cx="17980" cy="16183"/>
            </a:xfrm>
            <a:custGeom>
              <a:avLst/>
              <a:gdLst>
                <a:gd name="T0" fmla="*/ 23 w 31"/>
                <a:gd name="T1" fmla="*/ 16 h 26"/>
                <a:gd name="T2" fmla="*/ 27 w 31"/>
                <a:gd name="T3" fmla="*/ 5 h 26"/>
                <a:gd name="T4" fmla="*/ 23 w 31"/>
                <a:gd name="T5" fmla="*/ 16 h 26"/>
              </a:gdLst>
              <a:ahLst/>
              <a:cxnLst>
                <a:cxn ang="0">
                  <a:pos x="T0" y="T1"/>
                </a:cxn>
                <a:cxn ang="0">
                  <a:pos x="T2" y="T3"/>
                </a:cxn>
                <a:cxn ang="0">
                  <a:pos x="T4" y="T5"/>
                </a:cxn>
              </a:cxnLst>
              <a:rect l="0" t="0" r="r" b="b"/>
              <a:pathLst>
                <a:path w="31" h="26">
                  <a:moveTo>
                    <a:pt x="23" y="16"/>
                  </a:moveTo>
                  <a:cubicBezTo>
                    <a:pt x="27" y="12"/>
                    <a:pt x="31" y="12"/>
                    <a:pt x="27" y="5"/>
                  </a:cubicBezTo>
                  <a:cubicBezTo>
                    <a:pt x="20" y="0"/>
                    <a:pt x="0" y="26"/>
                    <a:pt x="23"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1" name="Freeform 193">
              <a:extLst>
                <a:ext uri="{FF2B5EF4-FFF2-40B4-BE49-F238E27FC236}">
                  <a16:creationId xmlns:a16="http://schemas.microsoft.com/office/drawing/2014/main" id="{DE83FCD6-4E23-A3D5-3FC1-6E9C98E6F8C2}"/>
                </a:ext>
              </a:extLst>
            </p:cNvPr>
            <p:cNvSpPr>
              <a:spLocks/>
            </p:cNvSpPr>
            <p:nvPr/>
          </p:nvSpPr>
          <p:spPr bwMode="gray">
            <a:xfrm>
              <a:off x="9865742" y="2846542"/>
              <a:ext cx="8991" cy="8991"/>
            </a:xfrm>
            <a:custGeom>
              <a:avLst/>
              <a:gdLst>
                <a:gd name="T0" fmla="*/ 8 w 16"/>
                <a:gd name="T1" fmla="*/ 11 h 15"/>
                <a:gd name="T2" fmla="*/ 8 w 16"/>
                <a:gd name="T3" fmla="*/ 8 h 15"/>
                <a:gd name="T4" fmla="*/ 8 w 16"/>
                <a:gd name="T5" fmla="*/ 11 h 15"/>
              </a:gdLst>
              <a:ahLst/>
              <a:cxnLst>
                <a:cxn ang="0">
                  <a:pos x="T0" y="T1"/>
                </a:cxn>
                <a:cxn ang="0">
                  <a:pos x="T2" y="T3"/>
                </a:cxn>
                <a:cxn ang="0">
                  <a:pos x="T4" y="T5"/>
                </a:cxn>
              </a:cxnLst>
              <a:rect l="0" t="0" r="r" b="b"/>
              <a:pathLst>
                <a:path w="16" h="15">
                  <a:moveTo>
                    <a:pt x="8" y="11"/>
                  </a:moveTo>
                  <a:cubicBezTo>
                    <a:pt x="8" y="11"/>
                    <a:pt x="16" y="0"/>
                    <a:pt x="8" y="8"/>
                  </a:cubicBezTo>
                  <a:cubicBezTo>
                    <a:pt x="0" y="15"/>
                    <a:pt x="8" y="11"/>
                    <a:pt x="8"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2" name="Freeform 194">
              <a:extLst>
                <a:ext uri="{FF2B5EF4-FFF2-40B4-BE49-F238E27FC236}">
                  <a16:creationId xmlns:a16="http://schemas.microsoft.com/office/drawing/2014/main" id="{1AA41C69-DD53-A913-C931-AEBED027F83C}"/>
                </a:ext>
              </a:extLst>
            </p:cNvPr>
            <p:cNvSpPr>
              <a:spLocks/>
            </p:cNvSpPr>
            <p:nvPr/>
          </p:nvSpPr>
          <p:spPr bwMode="gray">
            <a:xfrm>
              <a:off x="9835178" y="2790803"/>
              <a:ext cx="19778" cy="44950"/>
            </a:xfrm>
            <a:custGeom>
              <a:avLst/>
              <a:gdLst>
                <a:gd name="T0" fmla="*/ 4 w 34"/>
                <a:gd name="T1" fmla="*/ 76 h 76"/>
                <a:gd name="T2" fmla="*/ 4 w 34"/>
                <a:gd name="T3" fmla="*/ 72 h 76"/>
                <a:gd name="T4" fmla="*/ 4 w 34"/>
                <a:gd name="T5" fmla="*/ 68 h 76"/>
                <a:gd name="T6" fmla="*/ 5 w 34"/>
                <a:gd name="T7" fmla="*/ 57 h 76"/>
                <a:gd name="T8" fmla="*/ 9 w 34"/>
                <a:gd name="T9" fmla="*/ 50 h 76"/>
                <a:gd name="T10" fmla="*/ 9 w 34"/>
                <a:gd name="T11" fmla="*/ 46 h 76"/>
                <a:gd name="T12" fmla="*/ 13 w 34"/>
                <a:gd name="T13" fmla="*/ 42 h 76"/>
                <a:gd name="T14" fmla="*/ 16 w 34"/>
                <a:gd name="T15" fmla="*/ 50 h 76"/>
                <a:gd name="T16" fmla="*/ 32 w 34"/>
                <a:gd name="T17" fmla="*/ 47 h 76"/>
                <a:gd name="T18" fmla="*/ 21 w 34"/>
                <a:gd name="T19" fmla="*/ 39 h 76"/>
                <a:gd name="T20" fmla="*/ 17 w 34"/>
                <a:gd name="T21" fmla="*/ 31 h 76"/>
                <a:gd name="T22" fmla="*/ 18 w 34"/>
                <a:gd name="T23" fmla="*/ 23 h 76"/>
                <a:gd name="T24" fmla="*/ 22 w 34"/>
                <a:gd name="T25" fmla="*/ 16 h 76"/>
                <a:gd name="T26" fmla="*/ 29 w 34"/>
                <a:gd name="T27" fmla="*/ 12 h 76"/>
                <a:gd name="T28" fmla="*/ 26 w 34"/>
                <a:gd name="T29" fmla="*/ 4 h 76"/>
                <a:gd name="T30" fmla="*/ 33 w 34"/>
                <a:gd name="T31" fmla="*/ 5 h 76"/>
                <a:gd name="T32" fmla="*/ 30 w 34"/>
                <a:gd name="T33" fmla="*/ 1 h 76"/>
                <a:gd name="T34" fmla="*/ 22 w 34"/>
                <a:gd name="T35" fmla="*/ 4 h 76"/>
                <a:gd name="T36" fmla="*/ 10 w 34"/>
                <a:gd name="T37" fmla="*/ 27 h 76"/>
                <a:gd name="T38" fmla="*/ 1 w 34"/>
                <a:gd name="T39" fmla="*/ 49 h 76"/>
                <a:gd name="T40" fmla="*/ 1 w 34"/>
                <a:gd name="T41" fmla="*/ 61 h 76"/>
                <a:gd name="T42" fmla="*/ 0 w 34"/>
                <a:gd name="T43" fmla="*/ 72 h 76"/>
                <a:gd name="T44" fmla="*/ 4 w 34"/>
                <a:gd name="T4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76">
                  <a:moveTo>
                    <a:pt x="4" y="76"/>
                  </a:moveTo>
                  <a:cubicBezTo>
                    <a:pt x="4" y="72"/>
                    <a:pt x="4" y="72"/>
                    <a:pt x="4" y="72"/>
                  </a:cubicBezTo>
                  <a:cubicBezTo>
                    <a:pt x="4" y="68"/>
                    <a:pt x="4" y="68"/>
                    <a:pt x="4" y="68"/>
                  </a:cubicBezTo>
                  <a:cubicBezTo>
                    <a:pt x="5" y="57"/>
                    <a:pt x="5" y="57"/>
                    <a:pt x="5" y="57"/>
                  </a:cubicBezTo>
                  <a:cubicBezTo>
                    <a:pt x="5" y="57"/>
                    <a:pt x="5" y="49"/>
                    <a:pt x="9" y="50"/>
                  </a:cubicBezTo>
                  <a:cubicBezTo>
                    <a:pt x="9" y="46"/>
                    <a:pt x="9" y="46"/>
                    <a:pt x="9" y="46"/>
                  </a:cubicBezTo>
                  <a:cubicBezTo>
                    <a:pt x="13" y="46"/>
                    <a:pt x="13" y="42"/>
                    <a:pt x="13" y="42"/>
                  </a:cubicBezTo>
                  <a:cubicBezTo>
                    <a:pt x="13" y="46"/>
                    <a:pt x="13" y="50"/>
                    <a:pt x="16" y="50"/>
                  </a:cubicBezTo>
                  <a:cubicBezTo>
                    <a:pt x="20" y="50"/>
                    <a:pt x="28" y="50"/>
                    <a:pt x="32" y="47"/>
                  </a:cubicBezTo>
                  <a:cubicBezTo>
                    <a:pt x="32" y="43"/>
                    <a:pt x="24" y="43"/>
                    <a:pt x="21" y="39"/>
                  </a:cubicBezTo>
                  <a:cubicBezTo>
                    <a:pt x="17" y="38"/>
                    <a:pt x="17" y="31"/>
                    <a:pt x="17" y="31"/>
                  </a:cubicBezTo>
                  <a:cubicBezTo>
                    <a:pt x="18" y="23"/>
                    <a:pt x="18" y="23"/>
                    <a:pt x="18" y="23"/>
                  </a:cubicBezTo>
                  <a:cubicBezTo>
                    <a:pt x="18" y="23"/>
                    <a:pt x="18" y="19"/>
                    <a:pt x="22" y="16"/>
                  </a:cubicBezTo>
                  <a:cubicBezTo>
                    <a:pt x="22" y="16"/>
                    <a:pt x="26" y="12"/>
                    <a:pt x="29" y="12"/>
                  </a:cubicBezTo>
                  <a:cubicBezTo>
                    <a:pt x="30" y="8"/>
                    <a:pt x="26" y="4"/>
                    <a:pt x="26" y="4"/>
                  </a:cubicBezTo>
                  <a:cubicBezTo>
                    <a:pt x="33" y="5"/>
                    <a:pt x="33" y="5"/>
                    <a:pt x="33" y="5"/>
                  </a:cubicBezTo>
                  <a:cubicBezTo>
                    <a:pt x="33" y="5"/>
                    <a:pt x="34" y="1"/>
                    <a:pt x="30" y="1"/>
                  </a:cubicBezTo>
                  <a:cubicBezTo>
                    <a:pt x="22" y="0"/>
                    <a:pt x="22" y="4"/>
                    <a:pt x="22" y="4"/>
                  </a:cubicBezTo>
                  <a:cubicBezTo>
                    <a:pt x="18" y="8"/>
                    <a:pt x="14" y="19"/>
                    <a:pt x="10" y="27"/>
                  </a:cubicBezTo>
                  <a:cubicBezTo>
                    <a:pt x="6" y="34"/>
                    <a:pt x="1" y="49"/>
                    <a:pt x="1" y="49"/>
                  </a:cubicBezTo>
                  <a:cubicBezTo>
                    <a:pt x="1" y="61"/>
                    <a:pt x="1" y="61"/>
                    <a:pt x="1" y="61"/>
                  </a:cubicBezTo>
                  <a:cubicBezTo>
                    <a:pt x="0" y="72"/>
                    <a:pt x="0" y="72"/>
                    <a:pt x="0" y="72"/>
                  </a:cubicBezTo>
                  <a:cubicBezTo>
                    <a:pt x="0" y="76"/>
                    <a:pt x="4" y="76"/>
                    <a:pt x="4" y="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3" name="Freeform 195">
              <a:extLst>
                <a:ext uri="{FF2B5EF4-FFF2-40B4-BE49-F238E27FC236}">
                  <a16:creationId xmlns:a16="http://schemas.microsoft.com/office/drawing/2014/main" id="{42F442E3-AC9D-4453-A215-E7AA5F2266EF}"/>
                </a:ext>
              </a:extLst>
            </p:cNvPr>
            <p:cNvSpPr>
              <a:spLocks/>
            </p:cNvSpPr>
            <p:nvPr/>
          </p:nvSpPr>
          <p:spPr bwMode="gray">
            <a:xfrm>
              <a:off x="9865742" y="2873511"/>
              <a:ext cx="3596" cy="3596"/>
            </a:xfrm>
            <a:custGeom>
              <a:avLst/>
              <a:gdLst>
                <a:gd name="T0" fmla="*/ 3 w 7"/>
                <a:gd name="T1" fmla="*/ 3 h 4"/>
                <a:gd name="T2" fmla="*/ 7 w 7"/>
                <a:gd name="T3" fmla="*/ 0 h 4"/>
                <a:gd name="T4" fmla="*/ 3 w 7"/>
                <a:gd name="T5" fmla="*/ 3 h 4"/>
              </a:gdLst>
              <a:ahLst/>
              <a:cxnLst>
                <a:cxn ang="0">
                  <a:pos x="T0" y="T1"/>
                </a:cxn>
                <a:cxn ang="0">
                  <a:pos x="T2" y="T3"/>
                </a:cxn>
                <a:cxn ang="0">
                  <a:pos x="T4" y="T5"/>
                </a:cxn>
              </a:cxnLst>
              <a:rect l="0" t="0" r="r" b="b"/>
              <a:pathLst>
                <a:path w="7" h="4">
                  <a:moveTo>
                    <a:pt x="3" y="3"/>
                  </a:moveTo>
                  <a:cubicBezTo>
                    <a:pt x="7" y="4"/>
                    <a:pt x="7" y="0"/>
                    <a:pt x="7" y="0"/>
                  </a:cubicBezTo>
                  <a:cubicBezTo>
                    <a:pt x="3" y="0"/>
                    <a:pt x="0" y="3"/>
                    <a:pt x="3"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4" name="Freeform 196">
              <a:extLst>
                <a:ext uri="{FF2B5EF4-FFF2-40B4-BE49-F238E27FC236}">
                  <a16:creationId xmlns:a16="http://schemas.microsoft.com/office/drawing/2014/main" id="{4FEF5A24-7936-E5C1-F57D-0C3D45A7BA68}"/>
                </a:ext>
              </a:extLst>
            </p:cNvPr>
            <p:cNvSpPr>
              <a:spLocks/>
            </p:cNvSpPr>
            <p:nvPr/>
          </p:nvSpPr>
          <p:spPr bwMode="gray">
            <a:xfrm>
              <a:off x="9734491" y="2963410"/>
              <a:ext cx="19778" cy="12586"/>
            </a:xfrm>
            <a:custGeom>
              <a:avLst/>
              <a:gdLst>
                <a:gd name="T0" fmla="*/ 22 w 34"/>
                <a:gd name="T1" fmla="*/ 15 h 19"/>
                <a:gd name="T2" fmla="*/ 34 w 34"/>
                <a:gd name="T3" fmla="*/ 12 h 19"/>
                <a:gd name="T4" fmla="*/ 3 w 34"/>
                <a:gd name="T5" fmla="*/ 18 h 19"/>
                <a:gd name="T6" fmla="*/ 22 w 34"/>
                <a:gd name="T7" fmla="*/ 15 h 19"/>
              </a:gdLst>
              <a:ahLst/>
              <a:cxnLst>
                <a:cxn ang="0">
                  <a:pos x="T0" y="T1"/>
                </a:cxn>
                <a:cxn ang="0">
                  <a:pos x="T2" y="T3"/>
                </a:cxn>
                <a:cxn ang="0">
                  <a:pos x="T4" y="T5"/>
                </a:cxn>
                <a:cxn ang="0">
                  <a:pos x="T6" y="T7"/>
                </a:cxn>
              </a:cxnLst>
              <a:rect l="0" t="0" r="r" b="b"/>
              <a:pathLst>
                <a:path w="34" h="19">
                  <a:moveTo>
                    <a:pt x="22" y="15"/>
                  </a:moveTo>
                  <a:cubicBezTo>
                    <a:pt x="26" y="15"/>
                    <a:pt x="33" y="19"/>
                    <a:pt x="34" y="12"/>
                  </a:cubicBezTo>
                  <a:cubicBezTo>
                    <a:pt x="34" y="0"/>
                    <a:pt x="0" y="14"/>
                    <a:pt x="3" y="18"/>
                  </a:cubicBezTo>
                  <a:cubicBezTo>
                    <a:pt x="7" y="18"/>
                    <a:pt x="19" y="15"/>
                    <a:pt x="22"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5" name="Freeform 197">
              <a:extLst>
                <a:ext uri="{FF2B5EF4-FFF2-40B4-BE49-F238E27FC236}">
                  <a16:creationId xmlns:a16="http://schemas.microsoft.com/office/drawing/2014/main" id="{22EFEE04-FCD2-5630-0DD3-4A9DA7698242}"/>
                </a:ext>
              </a:extLst>
            </p:cNvPr>
            <p:cNvSpPr>
              <a:spLocks/>
            </p:cNvSpPr>
            <p:nvPr/>
          </p:nvSpPr>
          <p:spPr bwMode="gray">
            <a:xfrm>
              <a:off x="9756066" y="2968804"/>
              <a:ext cx="7192" cy="5395"/>
            </a:xfrm>
            <a:custGeom>
              <a:avLst/>
              <a:gdLst>
                <a:gd name="T0" fmla="*/ 3 w 11"/>
                <a:gd name="T1" fmla="*/ 0 h 8"/>
                <a:gd name="T2" fmla="*/ 3 w 11"/>
                <a:gd name="T3" fmla="*/ 8 h 8"/>
                <a:gd name="T4" fmla="*/ 3 w 11"/>
                <a:gd name="T5" fmla="*/ 0 h 8"/>
              </a:gdLst>
              <a:ahLst/>
              <a:cxnLst>
                <a:cxn ang="0">
                  <a:pos x="T0" y="T1"/>
                </a:cxn>
                <a:cxn ang="0">
                  <a:pos x="T2" y="T3"/>
                </a:cxn>
                <a:cxn ang="0">
                  <a:pos x="T4" y="T5"/>
                </a:cxn>
              </a:cxnLst>
              <a:rect l="0" t="0" r="r" b="b"/>
              <a:pathLst>
                <a:path w="11" h="8">
                  <a:moveTo>
                    <a:pt x="3" y="0"/>
                  </a:moveTo>
                  <a:cubicBezTo>
                    <a:pt x="0" y="0"/>
                    <a:pt x="3" y="8"/>
                    <a:pt x="3" y="8"/>
                  </a:cubicBezTo>
                  <a:cubicBezTo>
                    <a:pt x="7" y="8"/>
                    <a:pt x="11" y="4"/>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6" name="Freeform 198">
              <a:extLst>
                <a:ext uri="{FF2B5EF4-FFF2-40B4-BE49-F238E27FC236}">
                  <a16:creationId xmlns:a16="http://schemas.microsoft.com/office/drawing/2014/main" id="{E144528E-80B7-3599-2AAF-2E6E85B886F9}"/>
                </a:ext>
              </a:extLst>
            </p:cNvPr>
            <p:cNvSpPr>
              <a:spLocks/>
            </p:cNvSpPr>
            <p:nvPr/>
          </p:nvSpPr>
          <p:spPr bwMode="gray">
            <a:xfrm>
              <a:off x="9856754" y="2848339"/>
              <a:ext cx="7192" cy="7192"/>
            </a:xfrm>
            <a:custGeom>
              <a:avLst/>
              <a:gdLst>
                <a:gd name="T0" fmla="*/ 11 w 11"/>
                <a:gd name="T1" fmla="*/ 0 h 12"/>
                <a:gd name="T2" fmla="*/ 0 w 11"/>
                <a:gd name="T3" fmla="*/ 4 h 12"/>
                <a:gd name="T4" fmla="*/ 11 w 11"/>
                <a:gd name="T5" fmla="*/ 0 h 12"/>
              </a:gdLst>
              <a:ahLst/>
              <a:cxnLst>
                <a:cxn ang="0">
                  <a:pos x="T0" y="T1"/>
                </a:cxn>
                <a:cxn ang="0">
                  <a:pos x="T2" y="T3"/>
                </a:cxn>
                <a:cxn ang="0">
                  <a:pos x="T4" y="T5"/>
                </a:cxn>
              </a:cxnLst>
              <a:rect l="0" t="0" r="r" b="b"/>
              <a:pathLst>
                <a:path w="11" h="12">
                  <a:moveTo>
                    <a:pt x="11" y="0"/>
                  </a:moveTo>
                  <a:cubicBezTo>
                    <a:pt x="7" y="4"/>
                    <a:pt x="3" y="4"/>
                    <a:pt x="0" y="4"/>
                  </a:cubicBezTo>
                  <a:cubicBezTo>
                    <a:pt x="7" y="12"/>
                    <a:pt x="7" y="4"/>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7" name="Freeform 199">
              <a:extLst>
                <a:ext uri="{FF2B5EF4-FFF2-40B4-BE49-F238E27FC236}">
                  <a16:creationId xmlns:a16="http://schemas.microsoft.com/office/drawing/2014/main" id="{8ED022BA-F47F-818B-C30D-72C8085D29AA}"/>
                </a:ext>
              </a:extLst>
            </p:cNvPr>
            <p:cNvSpPr>
              <a:spLocks/>
            </p:cNvSpPr>
            <p:nvPr/>
          </p:nvSpPr>
          <p:spPr bwMode="gray">
            <a:xfrm>
              <a:off x="9872934" y="2862723"/>
              <a:ext cx="8991" cy="1798"/>
            </a:xfrm>
            <a:custGeom>
              <a:avLst/>
              <a:gdLst>
                <a:gd name="T0" fmla="*/ 7 w 15"/>
                <a:gd name="T1" fmla="*/ 0 h 4"/>
                <a:gd name="T2" fmla="*/ 7 w 15"/>
                <a:gd name="T3" fmla="*/ 4 h 4"/>
                <a:gd name="T4" fmla="*/ 7 w 15"/>
                <a:gd name="T5" fmla="*/ 0 h 4"/>
              </a:gdLst>
              <a:ahLst/>
              <a:cxnLst>
                <a:cxn ang="0">
                  <a:pos x="T0" y="T1"/>
                </a:cxn>
                <a:cxn ang="0">
                  <a:pos x="T2" y="T3"/>
                </a:cxn>
                <a:cxn ang="0">
                  <a:pos x="T4" y="T5"/>
                </a:cxn>
              </a:cxnLst>
              <a:rect l="0" t="0" r="r" b="b"/>
              <a:pathLst>
                <a:path w="15" h="4">
                  <a:moveTo>
                    <a:pt x="7" y="0"/>
                  </a:moveTo>
                  <a:cubicBezTo>
                    <a:pt x="7" y="4"/>
                    <a:pt x="0" y="0"/>
                    <a:pt x="7" y="4"/>
                  </a:cubicBezTo>
                  <a:cubicBezTo>
                    <a:pt x="15" y="4"/>
                    <a:pt x="15"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8" name="Freeform 200">
              <a:extLst>
                <a:ext uri="{FF2B5EF4-FFF2-40B4-BE49-F238E27FC236}">
                  <a16:creationId xmlns:a16="http://schemas.microsoft.com/office/drawing/2014/main" id="{3FBD8536-BB37-783B-4414-428EC8DE49BF}"/>
                </a:ext>
              </a:extLst>
            </p:cNvPr>
            <p:cNvSpPr>
              <a:spLocks/>
            </p:cNvSpPr>
            <p:nvPr/>
          </p:nvSpPr>
          <p:spPr bwMode="gray">
            <a:xfrm>
              <a:off x="9853157" y="2871713"/>
              <a:ext cx="3596" cy="5395"/>
            </a:xfrm>
            <a:custGeom>
              <a:avLst/>
              <a:gdLst>
                <a:gd name="T0" fmla="*/ 0 w 4"/>
                <a:gd name="T1" fmla="*/ 7 h 11"/>
                <a:gd name="T2" fmla="*/ 4 w 4"/>
                <a:gd name="T3" fmla="*/ 8 h 11"/>
                <a:gd name="T4" fmla="*/ 0 w 4"/>
                <a:gd name="T5" fmla="*/ 7 h 11"/>
              </a:gdLst>
              <a:ahLst/>
              <a:cxnLst>
                <a:cxn ang="0">
                  <a:pos x="T0" y="T1"/>
                </a:cxn>
                <a:cxn ang="0">
                  <a:pos x="T2" y="T3"/>
                </a:cxn>
                <a:cxn ang="0">
                  <a:pos x="T4" y="T5"/>
                </a:cxn>
              </a:cxnLst>
              <a:rect l="0" t="0" r="r" b="b"/>
              <a:pathLst>
                <a:path w="4" h="11">
                  <a:moveTo>
                    <a:pt x="0" y="7"/>
                  </a:moveTo>
                  <a:cubicBezTo>
                    <a:pt x="0" y="11"/>
                    <a:pt x="4" y="8"/>
                    <a:pt x="4" y="8"/>
                  </a:cubicBezTo>
                  <a:cubicBezTo>
                    <a:pt x="4" y="0"/>
                    <a:pt x="0" y="4"/>
                    <a:pt x="0"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9" name="Freeform 201">
              <a:extLst>
                <a:ext uri="{FF2B5EF4-FFF2-40B4-BE49-F238E27FC236}">
                  <a16:creationId xmlns:a16="http://schemas.microsoft.com/office/drawing/2014/main" id="{7C164BF2-4611-789D-DD54-FA95CF51B93B}"/>
                </a:ext>
              </a:extLst>
            </p:cNvPr>
            <p:cNvSpPr>
              <a:spLocks/>
            </p:cNvSpPr>
            <p:nvPr/>
          </p:nvSpPr>
          <p:spPr bwMode="gray">
            <a:xfrm>
              <a:off x="9851359" y="2857330"/>
              <a:ext cx="8991" cy="7192"/>
            </a:xfrm>
            <a:custGeom>
              <a:avLst/>
              <a:gdLst>
                <a:gd name="T0" fmla="*/ 7 w 18"/>
                <a:gd name="T1" fmla="*/ 0 h 12"/>
                <a:gd name="T2" fmla="*/ 7 w 18"/>
                <a:gd name="T3" fmla="*/ 7 h 12"/>
                <a:gd name="T4" fmla="*/ 11 w 18"/>
                <a:gd name="T5" fmla="*/ 4 h 12"/>
                <a:gd name="T6" fmla="*/ 7 w 18"/>
                <a:gd name="T7" fmla="*/ 0 h 12"/>
              </a:gdLst>
              <a:ahLst/>
              <a:cxnLst>
                <a:cxn ang="0">
                  <a:pos x="T0" y="T1"/>
                </a:cxn>
                <a:cxn ang="0">
                  <a:pos x="T2" y="T3"/>
                </a:cxn>
                <a:cxn ang="0">
                  <a:pos x="T4" y="T5"/>
                </a:cxn>
                <a:cxn ang="0">
                  <a:pos x="T6" y="T7"/>
                </a:cxn>
              </a:cxnLst>
              <a:rect l="0" t="0" r="r" b="b"/>
              <a:pathLst>
                <a:path w="18" h="12">
                  <a:moveTo>
                    <a:pt x="7" y="0"/>
                  </a:moveTo>
                  <a:cubicBezTo>
                    <a:pt x="0" y="3"/>
                    <a:pt x="3" y="7"/>
                    <a:pt x="7" y="7"/>
                  </a:cubicBezTo>
                  <a:cubicBezTo>
                    <a:pt x="7" y="7"/>
                    <a:pt x="18" y="12"/>
                    <a:pt x="11" y="4"/>
                  </a:cubicBezTo>
                  <a:cubicBezTo>
                    <a:pt x="11" y="4"/>
                    <a:pt x="7"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0" name="Freeform 202">
              <a:extLst>
                <a:ext uri="{FF2B5EF4-FFF2-40B4-BE49-F238E27FC236}">
                  <a16:creationId xmlns:a16="http://schemas.microsoft.com/office/drawing/2014/main" id="{F522FA2F-EC36-B1FF-07D9-C12329CF4705}"/>
                </a:ext>
              </a:extLst>
            </p:cNvPr>
            <p:cNvSpPr>
              <a:spLocks/>
            </p:cNvSpPr>
            <p:nvPr/>
          </p:nvSpPr>
          <p:spPr bwMode="gray">
            <a:xfrm>
              <a:off x="9729097" y="3046116"/>
              <a:ext cx="5395" cy="21576"/>
            </a:xfrm>
            <a:custGeom>
              <a:avLst/>
              <a:gdLst>
                <a:gd name="T0" fmla="*/ 0 w 9"/>
                <a:gd name="T1" fmla="*/ 36 h 36"/>
                <a:gd name="T2" fmla="*/ 9 w 9"/>
                <a:gd name="T3" fmla="*/ 0 h 36"/>
                <a:gd name="T4" fmla="*/ 0 w 9"/>
                <a:gd name="T5" fmla="*/ 36 h 36"/>
              </a:gdLst>
              <a:ahLst/>
              <a:cxnLst>
                <a:cxn ang="0">
                  <a:pos x="T0" y="T1"/>
                </a:cxn>
                <a:cxn ang="0">
                  <a:pos x="T2" y="T3"/>
                </a:cxn>
                <a:cxn ang="0">
                  <a:pos x="T4" y="T5"/>
                </a:cxn>
              </a:cxnLst>
              <a:rect l="0" t="0" r="r" b="b"/>
              <a:pathLst>
                <a:path w="9" h="36">
                  <a:moveTo>
                    <a:pt x="0" y="36"/>
                  </a:moveTo>
                  <a:cubicBezTo>
                    <a:pt x="1" y="25"/>
                    <a:pt x="8" y="12"/>
                    <a:pt x="9" y="0"/>
                  </a:cubicBezTo>
                  <a:cubicBezTo>
                    <a:pt x="8" y="9"/>
                    <a:pt x="1" y="26"/>
                    <a:pt x="0" y="3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1" name="Freeform 203">
              <a:extLst>
                <a:ext uri="{FF2B5EF4-FFF2-40B4-BE49-F238E27FC236}">
                  <a16:creationId xmlns:a16="http://schemas.microsoft.com/office/drawing/2014/main" id="{FE1D1EB3-B06F-70C5-F7BA-20693D2C09DF}"/>
                </a:ext>
              </a:extLst>
            </p:cNvPr>
            <p:cNvSpPr>
              <a:spLocks/>
            </p:cNvSpPr>
            <p:nvPr/>
          </p:nvSpPr>
          <p:spPr bwMode="gray">
            <a:xfrm>
              <a:off x="9594249" y="3369753"/>
              <a:ext cx="3596" cy="5395"/>
            </a:xfrm>
            <a:custGeom>
              <a:avLst/>
              <a:gdLst>
                <a:gd name="T0" fmla="*/ 0 w 4"/>
                <a:gd name="T1" fmla="*/ 0 h 8"/>
                <a:gd name="T2" fmla="*/ 3 w 4"/>
                <a:gd name="T3" fmla="*/ 8 h 8"/>
                <a:gd name="T4" fmla="*/ 4 w 4"/>
                <a:gd name="T5" fmla="*/ 8 h 8"/>
                <a:gd name="T6" fmla="*/ 0 w 4"/>
                <a:gd name="T7" fmla="*/ 0 h 8"/>
              </a:gdLst>
              <a:ahLst/>
              <a:cxnLst>
                <a:cxn ang="0">
                  <a:pos x="T0" y="T1"/>
                </a:cxn>
                <a:cxn ang="0">
                  <a:pos x="T2" y="T3"/>
                </a:cxn>
                <a:cxn ang="0">
                  <a:pos x="T4" y="T5"/>
                </a:cxn>
                <a:cxn ang="0">
                  <a:pos x="T6" y="T7"/>
                </a:cxn>
              </a:cxnLst>
              <a:rect l="0" t="0" r="r" b="b"/>
              <a:pathLst>
                <a:path w="4" h="8">
                  <a:moveTo>
                    <a:pt x="0" y="0"/>
                  </a:moveTo>
                  <a:cubicBezTo>
                    <a:pt x="1" y="2"/>
                    <a:pt x="2" y="5"/>
                    <a:pt x="3" y="8"/>
                  </a:cubicBezTo>
                  <a:cubicBezTo>
                    <a:pt x="3" y="8"/>
                    <a:pt x="3" y="8"/>
                    <a:pt x="4" y="8"/>
                  </a:cubicBezTo>
                  <a:cubicBezTo>
                    <a:pt x="4" y="4"/>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2" name="Freeform 204">
              <a:extLst>
                <a:ext uri="{FF2B5EF4-FFF2-40B4-BE49-F238E27FC236}">
                  <a16:creationId xmlns:a16="http://schemas.microsoft.com/office/drawing/2014/main" id="{FAED09DD-218F-5FB5-9E36-93D783B034BF}"/>
                </a:ext>
              </a:extLst>
            </p:cNvPr>
            <p:cNvSpPr>
              <a:spLocks/>
            </p:cNvSpPr>
            <p:nvPr/>
          </p:nvSpPr>
          <p:spPr bwMode="gray">
            <a:xfrm>
              <a:off x="9606834" y="3450663"/>
              <a:ext cx="0" cy="0"/>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1" y="0"/>
                    <a:pt x="0" y="1"/>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3" name="Freeform 206">
              <a:extLst>
                <a:ext uri="{FF2B5EF4-FFF2-40B4-BE49-F238E27FC236}">
                  <a16:creationId xmlns:a16="http://schemas.microsoft.com/office/drawing/2014/main" id="{ABDA74D2-F563-5F4C-D358-6F962A8AD3A2}"/>
                </a:ext>
              </a:extLst>
            </p:cNvPr>
            <p:cNvSpPr>
              <a:spLocks/>
            </p:cNvSpPr>
            <p:nvPr/>
          </p:nvSpPr>
          <p:spPr bwMode="gray">
            <a:xfrm>
              <a:off x="9596046" y="3375148"/>
              <a:ext cx="7192" cy="10788"/>
            </a:xfrm>
            <a:custGeom>
              <a:avLst/>
              <a:gdLst>
                <a:gd name="T0" fmla="*/ 0 w 12"/>
                <a:gd name="T1" fmla="*/ 0 h 19"/>
                <a:gd name="T2" fmla="*/ 12 w 12"/>
                <a:gd name="T3" fmla="*/ 19 h 19"/>
                <a:gd name="T4" fmla="*/ 1 w 12"/>
                <a:gd name="T5" fmla="*/ 0 h 19"/>
                <a:gd name="T6" fmla="*/ 0 w 12"/>
                <a:gd name="T7" fmla="*/ 0 h 19"/>
              </a:gdLst>
              <a:ahLst/>
              <a:cxnLst>
                <a:cxn ang="0">
                  <a:pos x="T0" y="T1"/>
                </a:cxn>
                <a:cxn ang="0">
                  <a:pos x="T2" y="T3"/>
                </a:cxn>
                <a:cxn ang="0">
                  <a:pos x="T4" y="T5"/>
                </a:cxn>
                <a:cxn ang="0">
                  <a:pos x="T6" y="T7"/>
                </a:cxn>
              </a:cxnLst>
              <a:rect l="0" t="0" r="r" b="b"/>
              <a:pathLst>
                <a:path w="12" h="19">
                  <a:moveTo>
                    <a:pt x="0" y="0"/>
                  </a:moveTo>
                  <a:cubicBezTo>
                    <a:pt x="3" y="6"/>
                    <a:pt x="7" y="13"/>
                    <a:pt x="12" y="19"/>
                  </a:cubicBezTo>
                  <a:cubicBezTo>
                    <a:pt x="7" y="13"/>
                    <a:pt x="3" y="6"/>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4" name="Freeform 207">
              <a:extLst>
                <a:ext uri="{FF2B5EF4-FFF2-40B4-BE49-F238E27FC236}">
                  <a16:creationId xmlns:a16="http://schemas.microsoft.com/office/drawing/2014/main" id="{B6E9C730-86BF-44F5-F44D-E530B7D20F91}"/>
                </a:ext>
              </a:extLst>
            </p:cNvPr>
            <p:cNvSpPr>
              <a:spLocks/>
            </p:cNvSpPr>
            <p:nvPr/>
          </p:nvSpPr>
          <p:spPr bwMode="gray">
            <a:xfrm>
              <a:off x="9610429" y="3553146"/>
              <a:ext cx="3596" cy="7192"/>
            </a:xfrm>
            <a:custGeom>
              <a:avLst/>
              <a:gdLst>
                <a:gd name="T0" fmla="*/ 1 w 5"/>
                <a:gd name="T1" fmla="*/ 0 h 12"/>
                <a:gd name="T2" fmla="*/ 4 w 5"/>
                <a:gd name="T3" fmla="*/ 12 h 12"/>
                <a:gd name="T4" fmla="*/ 5 w 5"/>
                <a:gd name="T5" fmla="*/ 12 h 12"/>
                <a:gd name="T6" fmla="*/ 1 w 5"/>
                <a:gd name="T7" fmla="*/ 0 h 12"/>
              </a:gdLst>
              <a:ahLst/>
              <a:cxnLst>
                <a:cxn ang="0">
                  <a:pos x="T0" y="T1"/>
                </a:cxn>
                <a:cxn ang="0">
                  <a:pos x="T2" y="T3"/>
                </a:cxn>
                <a:cxn ang="0">
                  <a:pos x="T4" y="T5"/>
                </a:cxn>
                <a:cxn ang="0">
                  <a:pos x="T6" y="T7"/>
                </a:cxn>
              </a:cxnLst>
              <a:rect l="0" t="0" r="r" b="b"/>
              <a:pathLst>
                <a:path w="5" h="12">
                  <a:moveTo>
                    <a:pt x="1" y="0"/>
                  </a:moveTo>
                  <a:cubicBezTo>
                    <a:pt x="0" y="7"/>
                    <a:pt x="1" y="10"/>
                    <a:pt x="4" y="12"/>
                  </a:cubicBezTo>
                  <a:cubicBezTo>
                    <a:pt x="4" y="12"/>
                    <a:pt x="4" y="12"/>
                    <a:pt x="5" y="12"/>
                  </a:cubicBezTo>
                  <a:cubicBezTo>
                    <a:pt x="1" y="11"/>
                    <a:pt x="1" y="8"/>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5" name="Freeform 208">
              <a:extLst>
                <a:ext uri="{FF2B5EF4-FFF2-40B4-BE49-F238E27FC236}">
                  <a16:creationId xmlns:a16="http://schemas.microsoft.com/office/drawing/2014/main" id="{66916D4E-BB76-007D-A334-3AB2F09D2B57}"/>
                </a:ext>
              </a:extLst>
            </p:cNvPr>
            <p:cNvSpPr>
              <a:spLocks/>
            </p:cNvSpPr>
            <p:nvPr/>
          </p:nvSpPr>
          <p:spPr bwMode="gray">
            <a:xfrm>
              <a:off x="10261297" y="3671813"/>
              <a:ext cx="16183" cy="28768"/>
            </a:xfrm>
            <a:custGeom>
              <a:avLst/>
              <a:gdLst>
                <a:gd name="T0" fmla="*/ 0 w 26"/>
                <a:gd name="T1" fmla="*/ 0 h 47"/>
                <a:gd name="T2" fmla="*/ 24 w 26"/>
                <a:gd name="T3" fmla="*/ 47 h 47"/>
                <a:gd name="T4" fmla="*/ 26 w 26"/>
                <a:gd name="T5" fmla="*/ 47 h 47"/>
                <a:gd name="T6" fmla="*/ 0 w 26"/>
                <a:gd name="T7" fmla="*/ 0 h 47"/>
              </a:gdLst>
              <a:ahLst/>
              <a:cxnLst>
                <a:cxn ang="0">
                  <a:pos x="T0" y="T1"/>
                </a:cxn>
                <a:cxn ang="0">
                  <a:pos x="T2" y="T3"/>
                </a:cxn>
                <a:cxn ang="0">
                  <a:pos x="T4" y="T5"/>
                </a:cxn>
                <a:cxn ang="0">
                  <a:pos x="T6" y="T7"/>
                </a:cxn>
              </a:cxnLst>
              <a:rect l="0" t="0" r="r" b="b"/>
              <a:pathLst>
                <a:path w="26" h="47">
                  <a:moveTo>
                    <a:pt x="0" y="0"/>
                  </a:moveTo>
                  <a:cubicBezTo>
                    <a:pt x="7" y="16"/>
                    <a:pt x="21" y="28"/>
                    <a:pt x="24" y="47"/>
                  </a:cubicBezTo>
                  <a:cubicBezTo>
                    <a:pt x="26" y="47"/>
                    <a:pt x="26" y="47"/>
                    <a:pt x="26" y="47"/>
                  </a:cubicBezTo>
                  <a:cubicBezTo>
                    <a:pt x="21" y="28"/>
                    <a:pt x="6" y="14"/>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6" name="Freeform 209">
              <a:extLst>
                <a:ext uri="{FF2B5EF4-FFF2-40B4-BE49-F238E27FC236}">
                  <a16:creationId xmlns:a16="http://schemas.microsoft.com/office/drawing/2014/main" id="{42E8110B-2987-56A8-CE73-DA4D51F00063}"/>
                </a:ext>
              </a:extLst>
            </p:cNvPr>
            <p:cNvSpPr>
              <a:spLocks/>
            </p:cNvSpPr>
            <p:nvPr/>
          </p:nvSpPr>
          <p:spPr bwMode="gray">
            <a:xfrm>
              <a:off x="10365580" y="3400319"/>
              <a:ext cx="0" cy="1798"/>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1" y="1"/>
                    <a:pt x="0" y="3"/>
                    <a:pt x="0" y="4"/>
                  </a:cubicBezTo>
                  <a:cubicBezTo>
                    <a:pt x="1" y="3"/>
                    <a:pt x="1" y="2"/>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7" name="Freeform 210">
              <a:extLst>
                <a:ext uri="{FF2B5EF4-FFF2-40B4-BE49-F238E27FC236}">
                  <a16:creationId xmlns:a16="http://schemas.microsoft.com/office/drawing/2014/main" id="{630917DD-BD82-F467-6C16-4F913CAAB4E5}"/>
                </a:ext>
              </a:extLst>
            </p:cNvPr>
            <p:cNvSpPr>
              <a:spLocks/>
            </p:cNvSpPr>
            <p:nvPr/>
          </p:nvSpPr>
          <p:spPr bwMode="gray">
            <a:xfrm>
              <a:off x="9869339" y="2814178"/>
              <a:ext cx="179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8" name="Freeform 211">
              <a:extLst>
                <a:ext uri="{FF2B5EF4-FFF2-40B4-BE49-F238E27FC236}">
                  <a16:creationId xmlns:a16="http://schemas.microsoft.com/office/drawing/2014/main" id="{6293F79B-AAA8-7614-2A92-36C1795D86C7}"/>
                </a:ext>
              </a:extLst>
            </p:cNvPr>
            <p:cNvSpPr>
              <a:spLocks/>
            </p:cNvSpPr>
            <p:nvPr/>
          </p:nvSpPr>
          <p:spPr bwMode="gray">
            <a:xfrm>
              <a:off x="10230733" y="3959489"/>
              <a:ext cx="305656" cy="206767"/>
            </a:xfrm>
            <a:custGeom>
              <a:avLst/>
              <a:gdLst>
                <a:gd name="T0" fmla="*/ 77 w 512"/>
                <a:gd name="T1" fmla="*/ 347 h 347"/>
                <a:gd name="T2" fmla="*/ 115 w 512"/>
                <a:gd name="T3" fmla="*/ 337 h 347"/>
                <a:gd name="T4" fmla="*/ 180 w 512"/>
                <a:gd name="T5" fmla="*/ 306 h 347"/>
                <a:gd name="T6" fmla="*/ 188 w 512"/>
                <a:gd name="T7" fmla="*/ 287 h 347"/>
                <a:gd name="T8" fmla="*/ 209 w 512"/>
                <a:gd name="T9" fmla="*/ 322 h 347"/>
                <a:gd name="T10" fmla="*/ 247 w 512"/>
                <a:gd name="T11" fmla="*/ 320 h 347"/>
                <a:gd name="T12" fmla="*/ 287 w 512"/>
                <a:gd name="T13" fmla="*/ 345 h 347"/>
                <a:gd name="T14" fmla="*/ 311 w 512"/>
                <a:gd name="T15" fmla="*/ 308 h 347"/>
                <a:gd name="T16" fmla="*/ 320 w 512"/>
                <a:gd name="T17" fmla="*/ 278 h 347"/>
                <a:gd name="T18" fmla="*/ 351 w 512"/>
                <a:gd name="T19" fmla="*/ 241 h 347"/>
                <a:gd name="T20" fmla="*/ 379 w 512"/>
                <a:gd name="T21" fmla="*/ 204 h 347"/>
                <a:gd name="T22" fmla="*/ 435 w 512"/>
                <a:gd name="T23" fmla="*/ 134 h 347"/>
                <a:gd name="T24" fmla="*/ 465 w 512"/>
                <a:gd name="T25" fmla="*/ 120 h 347"/>
                <a:gd name="T26" fmla="*/ 511 w 512"/>
                <a:gd name="T27" fmla="*/ 92 h 347"/>
                <a:gd name="T28" fmla="*/ 487 w 512"/>
                <a:gd name="T29" fmla="*/ 64 h 347"/>
                <a:gd name="T30" fmla="*/ 473 w 512"/>
                <a:gd name="T31" fmla="*/ 33 h 347"/>
                <a:gd name="T32" fmla="*/ 441 w 512"/>
                <a:gd name="T33" fmla="*/ 0 h 347"/>
                <a:gd name="T34" fmla="*/ 417 w 512"/>
                <a:gd name="T35" fmla="*/ 19 h 347"/>
                <a:gd name="T36" fmla="*/ 412 w 512"/>
                <a:gd name="T37" fmla="*/ 53 h 347"/>
                <a:gd name="T38" fmla="*/ 356 w 512"/>
                <a:gd name="T39" fmla="*/ 50 h 347"/>
                <a:gd name="T40" fmla="*/ 322 w 512"/>
                <a:gd name="T41" fmla="*/ 56 h 347"/>
                <a:gd name="T42" fmla="*/ 274 w 512"/>
                <a:gd name="T43" fmla="*/ 58 h 347"/>
                <a:gd name="T44" fmla="*/ 227 w 512"/>
                <a:gd name="T45" fmla="*/ 94 h 347"/>
                <a:gd name="T46" fmla="*/ 188 w 512"/>
                <a:gd name="T47" fmla="*/ 118 h 347"/>
                <a:gd name="T48" fmla="*/ 125 w 512"/>
                <a:gd name="T49" fmla="*/ 112 h 347"/>
                <a:gd name="T50" fmla="*/ 85 w 512"/>
                <a:gd name="T51" fmla="*/ 91 h 347"/>
                <a:gd name="T52" fmla="*/ 52 w 512"/>
                <a:gd name="T53" fmla="*/ 90 h 347"/>
                <a:gd name="T54" fmla="*/ 36 w 512"/>
                <a:gd name="T55" fmla="*/ 107 h 347"/>
                <a:gd name="T56" fmla="*/ 11 w 512"/>
                <a:gd name="T57" fmla="*/ 160 h 347"/>
                <a:gd name="T58" fmla="*/ 12 w 512"/>
                <a:gd name="T59" fmla="*/ 202 h 347"/>
                <a:gd name="T60" fmla="*/ 46 w 512"/>
                <a:gd name="T61" fmla="*/ 211 h 347"/>
                <a:gd name="T62" fmla="*/ 76 w 512"/>
                <a:gd name="T63" fmla="*/ 281 h 347"/>
                <a:gd name="T64" fmla="*/ 30 w 512"/>
                <a:gd name="T65" fmla="*/ 317 h 347"/>
                <a:gd name="T66" fmla="*/ 40 w 512"/>
                <a:gd name="T67" fmla="*/ 34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347">
                  <a:moveTo>
                    <a:pt x="59" y="330"/>
                  </a:moveTo>
                  <a:cubicBezTo>
                    <a:pt x="77" y="347"/>
                    <a:pt x="77" y="347"/>
                    <a:pt x="77" y="347"/>
                  </a:cubicBezTo>
                  <a:cubicBezTo>
                    <a:pt x="104" y="329"/>
                    <a:pt x="104" y="329"/>
                    <a:pt x="104" y="329"/>
                  </a:cubicBezTo>
                  <a:cubicBezTo>
                    <a:pt x="115" y="337"/>
                    <a:pt x="115" y="337"/>
                    <a:pt x="115" y="337"/>
                  </a:cubicBezTo>
                  <a:cubicBezTo>
                    <a:pt x="175" y="321"/>
                    <a:pt x="175" y="321"/>
                    <a:pt x="175" y="321"/>
                  </a:cubicBezTo>
                  <a:cubicBezTo>
                    <a:pt x="180" y="306"/>
                    <a:pt x="180" y="306"/>
                    <a:pt x="180" y="306"/>
                  </a:cubicBezTo>
                  <a:cubicBezTo>
                    <a:pt x="187" y="302"/>
                    <a:pt x="187" y="302"/>
                    <a:pt x="187" y="302"/>
                  </a:cubicBezTo>
                  <a:cubicBezTo>
                    <a:pt x="187" y="302"/>
                    <a:pt x="184" y="290"/>
                    <a:pt x="188" y="287"/>
                  </a:cubicBezTo>
                  <a:cubicBezTo>
                    <a:pt x="196" y="287"/>
                    <a:pt x="195" y="302"/>
                    <a:pt x="195" y="302"/>
                  </a:cubicBezTo>
                  <a:cubicBezTo>
                    <a:pt x="209" y="322"/>
                    <a:pt x="209" y="322"/>
                    <a:pt x="209" y="322"/>
                  </a:cubicBezTo>
                  <a:cubicBezTo>
                    <a:pt x="246" y="335"/>
                    <a:pt x="246" y="335"/>
                    <a:pt x="246" y="335"/>
                  </a:cubicBezTo>
                  <a:cubicBezTo>
                    <a:pt x="246" y="335"/>
                    <a:pt x="243" y="320"/>
                    <a:pt x="247" y="320"/>
                  </a:cubicBezTo>
                  <a:cubicBezTo>
                    <a:pt x="254" y="321"/>
                    <a:pt x="272" y="333"/>
                    <a:pt x="272" y="333"/>
                  </a:cubicBezTo>
                  <a:cubicBezTo>
                    <a:pt x="272" y="333"/>
                    <a:pt x="264" y="344"/>
                    <a:pt x="287" y="345"/>
                  </a:cubicBezTo>
                  <a:cubicBezTo>
                    <a:pt x="309" y="346"/>
                    <a:pt x="321" y="331"/>
                    <a:pt x="321" y="331"/>
                  </a:cubicBezTo>
                  <a:cubicBezTo>
                    <a:pt x="321" y="331"/>
                    <a:pt x="303" y="315"/>
                    <a:pt x="311" y="308"/>
                  </a:cubicBezTo>
                  <a:cubicBezTo>
                    <a:pt x="319" y="301"/>
                    <a:pt x="326" y="290"/>
                    <a:pt x="326" y="290"/>
                  </a:cubicBezTo>
                  <a:cubicBezTo>
                    <a:pt x="320" y="278"/>
                    <a:pt x="320" y="278"/>
                    <a:pt x="320" y="278"/>
                  </a:cubicBezTo>
                  <a:cubicBezTo>
                    <a:pt x="320" y="278"/>
                    <a:pt x="285" y="291"/>
                    <a:pt x="293" y="277"/>
                  </a:cubicBezTo>
                  <a:cubicBezTo>
                    <a:pt x="301" y="265"/>
                    <a:pt x="351" y="241"/>
                    <a:pt x="351" y="241"/>
                  </a:cubicBezTo>
                  <a:cubicBezTo>
                    <a:pt x="369" y="250"/>
                    <a:pt x="369" y="250"/>
                    <a:pt x="369" y="250"/>
                  </a:cubicBezTo>
                  <a:cubicBezTo>
                    <a:pt x="379" y="204"/>
                    <a:pt x="379" y="204"/>
                    <a:pt x="379" y="204"/>
                  </a:cubicBezTo>
                  <a:cubicBezTo>
                    <a:pt x="379" y="204"/>
                    <a:pt x="346" y="187"/>
                    <a:pt x="358" y="172"/>
                  </a:cubicBezTo>
                  <a:cubicBezTo>
                    <a:pt x="370" y="162"/>
                    <a:pt x="435" y="134"/>
                    <a:pt x="435" y="134"/>
                  </a:cubicBezTo>
                  <a:cubicBezTo>
                    <a:pt x="435" y="134"/>
                    <a:pt x="428" y="111"/>
                    <a:pt x="436" y="111"/>
                  </a:cubicBezTo>
                  <a:cubicBezTo>
                    <a:pt x="443" y="112"/>
                    <a:pt x="465" y="120"/>
                    <a:pt x="465" y="120"/>
                  </a:cubicBezTo>
                  <a:cubicBezTo>
                    <a:pt x="465" y="120"/>
                    <a:pt x="456" y="82"/>
                    <a:pt x="467" y="82"/>
                  </a:cubicBezTo>
                  <a:cubicBezTo>
                    <a:pt x="482" y="79"/>
                    <a:pt x="511" y="92"/>
                    <a:pt x="511" y="92"/>
                  </a:cubicBezTo>
                  <a:cubicBezTo>
                    <a:pt x="512" y="73"/>
                    <a:pt x="512" y="73"/>
                    <a:pt x="512" y="73"/>
                  </a:cubicBezTo>
                  <a:cubicBezTo>
                    <a:pt x="512" y="73"/>
                    <a:pt x="486" y="75"/>
                    <a:pt x="487" y="64"/>
                  </a:cubicBezTo>
                  <a:cubicBezTo>
                    <a:pt x="488" y="41"/>
                    <a:pt x="488" y="41"/>
                    <a:pt x="488" y="41"/>
                  </a:cubicBezTo>
                  <a:cubicBezTo>
                    <a:pt x="488" y="41"/>
                    <a:pt x="472" y="44"/>
                    <a:pt x="473" y="33"/>
                  </a:cubicBezTo>
                  <a:cubicBezTo>
                    <a:pt x="477" y="25"/>
                    <a:pt x="489" y="18"/>
                    <a:pt x="474" y="10"/>
                  </a:cubicBezTo>
                  <a:cubicBezTo>
                    <a:pt x="470" y="10"/>
                    <a:pt x="456" y="5"/>
                    <a:pt x="441" y="0"/>
                  </a:cubicBezTo>
                  <a:cubicBezTo>
                    <a:pt x="433" y="8"/>
                    <a:pt x="433" y="8"/>
                    <a:pt x="433" y="8"/>
                  </a:cubicBezTo>
                  <a:cubicBezTo>
                    <a:pt x="433" y="8"/>
                    <a:pt x="426" y="4"/>
                    <a:pt x="417" y="19"/>
                  </a:cubicBezTo>
                  <a:cubicBezTo>
                    <a:pt x="409" y="33"/>
                    <a:pt x="424" y="46"/>
                    <a:pt x="424" y="46"/>
                  </a:cubicBezTo>
                  <a:cubicBezTo>
                    <a:pt x="412" y="53"/>
                    <a:pt x="412" y="53"/>
                    <a:pt x="412" y="53"/>
                  </a:cubicBezTo>
                  <a:cubicBezTo>
                    <a:pt x="412" y="53"/>
                    <a:pt x="405" y="41"/>
                    <a:pt x="383" y="44"/>
                  </a:cubicBezTo>
                  <a:cubicBezTo>
                    <a:pt x="357" y="42"/>
                    <a:pt x="356" y="50"/>
                    <a:pt x="356" y="50"/>
                  </a:cubicBezTo>
                  <a:cubicBezTo>
                    <a:pt x="341" y="65"/>
                    <a:pt x="341" y="65"/>
                    <a:pt x="341" y="65"/>
                  </a:cubicBezTo>
                  <a:cubicBezTo>
                    <a:pt x="341" y="65"/>
                    <a:pt x="333" y="57"/>
                    <a:pt x="322" y="56"/>
                  </a:cubicBezTo>
                  <a:cubicBezTo>
                    <a:pt x="315" y="52"/>
                    <a:pt x="296" y="62"/>
                    <a:pt x="296" y="62"/>
                  </a:cubicBezTo>
                  <a:cubicBezTo>
                    <a:pt x="274" y="58"/>
                    <a:pt x="274" y="58"/>
                    <a:pt x="274" y="58"/>
                  </a:cubicBezTo>
                  <a:cubicBezTo>
                    <a:pt x="274" y="58"/>
                    <a:pt x="258" y="64"/>
                    <a:pt x="243" y="68"/>
                  </a:cubicBezTo>
                  <a:cubicBezTo>
                    <a:pt x="232" y="67"/>
                    <a:pt x="235" y="90"/>
                    <a:pt x="227" y="94"/>
                  </a:cubicBezTo>
                  <a:cubicBezTo>
                    <a:pt x="219" y="97"/>
                    <a:pt x="208" y="97"/>
                    <a:pt x="208" y="97"/>
                  </a:cubicBezTo>
                  <a:cubicBezTo>
                    <a:pt x="188" y="118"/>
                    <a:pt x="188" y="118"/>
                    <a:pt x="188" y="118"/>
                  </a:cubicBezTo>
                  <a:cubicBezTo>
                    <a:pt x="163" y="106"/>
                    <a:pt x="163" y="106"/>
                    <a:pt x="163" y="106"/>
                  </a:cubicBezTo>
                  <a:cubicBezTo>
                    <a:pt x="125" y="112"/>
                    <a:pt x="125" y="112"/>
                    <a:pt x="125" y="112"/>
                  </a:cubicBezTo>
                  <a:cubicBezTo>
                    <a:pt x="118" y="100"/>
                    <a:pt x="118" y="100"/>
                    <a:pt x="118" y="100"/>
                  </a:cubicBezTo>
                  <a:cubicBezTo>
                    <a:pt x="85" y="91"/>
                    <a:pt x="85" y="91"/>
                    <a:pt x="85" y="91"/>
                  </a:cubicBezTo>
                  <a:cubicBezTo>
                    <a:pt x="66" y="94"/>
                    <a:pt x="66" y="94"/>
                    <a:pt x="66" y="94"/>
                  </a:cubicBezTo>
                  <a:cubicBezTo>
                    <a:pt x="52" y="90"/>
                    <a:pt x="52" y="90"/>
                    <a:pt x="52" y="90"/>
                  </a:cubicBezTo>
                  <a:cubicBezTo>
                    <a:pt x="55" y="94"/>
                    <a:pt x="58" y="105"/>
                    <a:pt x="54" y="108"/>
                  </a:cubicBezTo>
                  <a:cubicBezTo>
                    <a:pt x="36" y="107"/>
                    <a:pt x="36" y="107"/>
                    <a:pt x="36" y="107"/>
                  </a:cubicBezTo>
                  <a:cubicBezTo>
                    <a:pt x="0" y="140"/>
                    <a:pt x="0" y="140"/>
                    <a:pt x="0" y="140"/>
                  </a:cubicBezTo>
                  <a:cubicBezTo>
                    <a:pt x="11" y="160"/>
                    <a:pt x="11" y="160"/>
                    <a:pt x="11" y="160"/>
                  </a:cubicBezTo>
                  <a:cubicBezTo>
                    <a:pt x="11" y="160"/>
                    <a:pt x="45" y="150"/>
                    <a:pt x="48" y="169"/>
                  </a:cubicBezTo>
                  <a:cubicBezTo>
                    <a:pt x="47" y="184"/>
                    <a:pt x="12" y="202"/>
                    <a:pt x="12" y="202"/>
                  </a:cubicBezTo>
                  <a:cubicBezTo>
                    <a:pt x="15" y="221"/>
                    <a:pt x="15" y="221"/>
                    <a:pt x="15" y="221"/>
                  </a:cubicBezTo>
                  <a:cubicBezTo>
                    <a:pt x="15" y="221"/>
                    <a:pt x="42" y="203"/>
                    <a:pt x="46" y="211"/>
                  </a:cubicBezTo>
                  <a:cubicBezTo>
                    <a:pt x="49" y="219"/>
                    <a:pt x="32" y="260"/>
                    <a:pt x="32" y="260"/>
                  </a:cubicBezTo>
                  <a:cubicBezTo>
                    <a:pt x="32" y="260"/>
                    <a:pt x="77" y="262"/>
                    <a:pt x="76" y="281"/>
                  </a:cubicBezTo>
                  <a:cubicBezTo>
                    <a:pt x="75" y="297"/>
                    <a:pt x="56" y="307"/>
                    <a:pt x="56" y="307"/>
                  </a:cubicBezTo>
                  <a:cubicBezTo>
                    <a:pt x="30" y="317"/>
                    <a:pt x="30" y="317"/>
                    <a:pt x="30" y="317"/>
                  </a:cubicBezTo>
                  <a:cubicBezTo>
                    <a:pt x="18" y="332"/>
                    <a:pt x="18" y="332"/>
                    <a:pt x="18" y="332"/>
                  </a:cubicBezTo>
                  <a:cubicBezTo>
                    <a:pt x="18" y="332"/>
                    <a:pt x="32" y="344"/>
                    <a:pt x="40" y="345"/>
                  </a:cubicBezTo>
                  <a:cubicBezTo>
                    <a:pt x="43" y="345"/>
                    <a:pt x="59" y="330"/>
                    <a:pt x="59" y="3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9" name="Freeform 212">
              <a:extLst>
                <a:ext uri="{FF2B5EF4-FFF2-40B4-BE49-F238E27FC236}">
                  <a16:creationId xmlns:a16="http://schemas.microsoft.com/office/drawing/2014/main" id="{0D0AD21D-6156-F50C-C3B8-5DAFA4E9C851}"/>
                </a:ext>
              </a:extLst>
            </p:cNvPr>
            <p:cNvSpPr>
              <a:spLocks/>
            </p:cNvSpPr>
            <p:nvPr/>
          </p:nvSpPr>
          <p:spPr bwMode="gray">
            <a:xfrm>
              <a:off x="9614026" y="4360439"/>
              <a:ext cx="17980" cy="12586"/>
            </a:xfrm>
            <a:custGeom>
              <a:avLst/>
              <a:gdLst>
                <a:gd name="T0" fmla="*/ 12 w 30"/>
                <a:gd name="T1" fmla="*/ 4 h 20"/>
                <a:gd name="T2" fmla="*/ 11 w 30"/>
                <a:gd name="T3" fmla="*/ 19 h 20"/>
                <a:gd name="T4" fmla="*/ 18 w 30"/>
                <a:gd name="T5" fmla="*/ 19 h 20"/>
                <a:gd name="T6" fmla="*/ 30 w 30"/>
                <a:gd name="T7" fmla="*/ 12 h 20"/>
                <a:gd name="T8" fmla="*/ 12 w 30"/>
                <a:gd name="T9" fmla="*/ 4 h 20"/>
              </a:gdLst>
              <a:ahLst/>
              <a:cxnLst>
                <a:cxn ang="0">
                  <a:pos x="T0" y="T1"/>
                </a:cxn>
                <a:cxn ang="0">
                  <a:pos x="T2" y="T3"/>
                </a:cxn>
                <a:cxn ang="0">
                  <a:pos x="T4" y="T5"/>
                </a:cxn>
                <a:cxn ang="0">
                  <a:pos x="T6" y="T7"/>
                </a:cxn>
                <a:cxn ang="0">
                  <a:pos x="T8" y="T9"/>
                </a:cxn>
              </a:cxnLst>
              <a:rect l="0" t="0" r="r" b="b"/>
              <a:pathLst>
                <a:path w="30" h="20">
                  <a:moveTo>
                    <a:pt x="12" y="4"/>
                  </a:moveTo>
                  <a:cubicBezTo>
                    <a:pt x="0" y="3"/>
                    <a:pt x="11" y="19"/>
                    <a:pt x="11" y="19"/>
                  </a:cubicBezTo>
                  <a:cubicBezTo>
                    <a:pt x="18" y="19"/>
                    <a:pt x="18" y="19"/>
                    <a:pt x="18" y="19"/>
                  </a:cubicBezTo>
                  <a:cubicBezTo>
                    <a:pt x="26" y="20"/>
                    <a:pt x="30" y="12"/>
                    <a:pt x="30" y="12"/>
                  </a:cubicBezTo>
                  <a:cubicBezTo>
                    <a:pt x="30" y="12"/>
                    <a:pt x="19" y="0"/>
                    <a:pt x="12"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0" name="Freeform 213">
              <a:extLst>
                <a:ext uri="{FF2B5EF4-FFF2-40B4-BE49-F238E27FC236}">
                  <a16:creationId xmlns:a16="http://schemas.microsoft.com/office/drawing/2014/main" id="{8B023012-D42B-14BB-3442-33F30B953203}"/>
                </a:ext>
              </a:extLst>
            </p:cNvPr>
            <p:cNvSpPr>
              <a:spLocks noEditPoints="1"/>
            </p:cNvSpPr>
            <p:nvPr/>
          </p:nvSpPr>
          <p:spPr bwMode="gray">
            <a:xfrm>
              <a:off x="9518734" y="3812055"/>
              <a:ext cx="438706" cy="276889"/>
            </a:xfrm>
            <a:custGeom>
              <a:avLst/>
              <a:gdLst>
                <a:gd name="T0" fmla="*/ 685 w 734"/>
                <a:gd name="T1" fmla="*/ 237 h 464"/>
                <a:gd name="T2" fmla="*/ 633 w 734"/>
                <a:gd name="T3" fmla="*/ 219 h 464"/>
                <a:gd name="T4" fmla="*/ 583 w 734"/>
                <a:gd name="T5" fmla="*/ 182 h 464"/>
                <a:gd name="T6" fmla="*/ 577 w 734"/>
                <a:gd name="T7" fmla="*/ 144 h 464"/>
                <a:gd name="T8" fmla="*/ 614 w 734"/>
                <a:gd name="T9" fmla="*/ 75 h 464"/>
                <a:gd name="T10" fmla="*/ 533 w 734"/>
                <a:gd name="T11" fmla="*/ 34 h 464"/>
                <a:gd name="T12" fmla="*/ 489 w 734"/>
                <a:gd name="T13" fmla="*/ 17 h 464"/>
                <a:gd name="T14" fmla="*/ 463 w 734"/>
                <a:gd name="T15" fmla="*/ 8 h 464"/>
                <a:gd name="T16" fmla="*/ 429 w 734"/>
                <a:gd name="T17" fmla="*/ 26 h 464"/>
                <a:gd name="T18" fmla="*/ 450 w 734"/>
                <a:gd name="T19" fmla="*/ 50 h 464"/>
                <a:gd name="T20" fmla="*/ 406 w 734"/>
                <a:gd name="T21" fmla="*/ 44 h 464"/>
                <a:gd name="T22" fmla="*/ 304 w 734"/>
                <a:gd name="T23" fmla="*/ 46 h 464"/>
                <a:gd name="T24" fmla="*/ 297 w 734"/>
                <a:gd name="T25" fmla="*/ 38 h 464"/>
                <a:gd name="T26" fmla="*/ 294 w 734"/>
                <a:gd name="T27" fmla="*/ 31 h 464"/>
                <a:gd name="T28" fmla="*/ 266 w 734"/>
                <a:gd name="T29" fmla="*/ 60 h 464"/>
                <a:gd name="T30" fmla="*/ 196 w 734"/>
                <a:gd name="T31" fmla="*/ 45 h 464"/>
                <a:gd name="T32" fmla="*/ 190 w 734"/>
                <a:gd name="T33" fmla="*/ 87 h 464"/>
                <a:gd name="T34" fmla="*/ 93 w 734"/>
                <a:gd name="T35" fmla="*/ 166 h 464"/>
                <a:gd name="T36" fmla="*/ 25 w 734"/>
                <a:gd name="T37" fmla="*/ 263 h 464"/>
                <a:gd name="T38" fmla="*/ 15 w 734"/>
                <a:gd name="T39" fmla="*/ 327 h 464"/>
                <a:gd name="T40" fmla="*/ 3 w 734"/>
                <a:gd name="T41" fmla="*/ 346 h 464"/>
                <a:gd name="T42" fmla="*/ 48 w 734"/>
                <a:gd name="T43" fmla="*/ 325 h 464"/>
                <a:gd name="T44" fmla="*/ 92 w 734"/>
                <a:gd name="T45" fmla="*/ 281 h 464"/>
                <a:gd name="T46" fmla="*/ 135 w 734"/>
                <a:gd name="T47" fmla="*/ 314 h 464"/>
                <a:gd name="T48" fmla="*/ 129 w 734"/>
                <a:gd name="T49" fmla="*/ 367 h 464"/>
                <a:gd name="T50" fmla="*/ 143 w 734"/>
                <a:gd name="T51" fmla="*/ 379 h 464"/>
                <a:gd name="T52" fmla="*/ 164 w 734"/>
                <a:gd name="T53" fmla="*/ 422 h 464"/>
                <a:gd name="T54" fmla="*/ 198 w 734"/>
                <a:gd name="T55" fmla="*/ 416 h 464"/>
                <a:gd name="T56" fmla="*/ 243 w 734"/>
                <a:gd name="T57" fmla="*/ 407 h 464"/>
                <a:gd name="T58" fmla="*/ 299 w 734"/>
                <a:gd name="T59" fmla="*/ 413 h 464"/>
                <a:gd name="T60" fmla="*/ 326 w 734"/>
                <a:gd name="T61" fmla="*/ 392 h 464"/>
                <a:gd name="T62" fmla="*/ 339 w 734"/>
                <a:gd name="T63" fmla="*/ 350 h 464"/>
                <a:gd name="T64" fmla="*/ 354 w 734"/>
                <a:gd name="T65" fmla="*/ 343 h 464"/>
                <a:gd name="T66" fmla="*/ 367 w 734"/>
                <a:gd name="T67" fmla="*/ 317 h 464"/>
                <a:gd name="T68" fmla="*/ 408 w 734"/>
                <a:gd name="T69" fmla="*/ 319 h 464"/>
                <a:gd name="T70" fmla="*/ 413 w 734"/>
                <a:gd name="T71" fmla="*/ 373 h 464"/>
                <a:gd name="T72" fmla="*/ 449 w 734"/>
                <a:gd name="T73" fmla="*/ 398 h 464"/>
                <a:gd name="T74" fmla="*/ 448 w 734"/>
                <a:gd name="T75" fmla="*/ 417 h 464"/>
                <a:gd name="T76" fmla="*/ 469 w 734"/>
                <a:gd name="T77" fmla="*/ 460 h 464"/>
                <a:gd name="T78" fmla="*/ 484 w 734"/>
                <a:gd name="T79" fmla="*/ 445 h 464"/>
                <a:gd name="T80" fmla="*/ 474 w 734"/>
                <a:gd name="T81" fmla="*/ 422 h 464"/>
                <a:gd name="T82" fmla="*/ 494 w 734"/>
                <a:gd name="T83" fmla="*/ 400 h 464"/>
                <a:gd name="T84" fmla="*/ 534 w 734"/>
                <a:gd name="T85" fmla="*/ 337 h 464"/>
                <a:gd name="T86" fmla="*/ 536 w 734"/>
                <a:gd name="T87" fmla="*/ 310 h 464"/>
                <a:gd name="T88" fmla="*/ 562 w 734"/>
                <a:gd name="T89" fmla="*/ 311 h 464"/>
                <a:gd name="T90" fmla="*/ 605 w 734"/>
                <a:gd name="T91" fmla="*/ 355 h 464"/>
                <a:gd name="T92" fmla="*/ 645 w 734"/>
                <a:gd name="T93" fmla="*/ 365 h 464"/>
                <a:gd name="T94" fmla="*/ 656 w 734"/>
                <a:gd name="T95" fmla="*/ 384 h 464"/>
                <a:gd name="T96" fmla="*/ 664 w 734"/>
                <a:gd name="T97" fmla="*/ 362 h 464"/>
                <a:gd name="T98" fmla="*/ 669 w 734"/>
                <a:gd name="T99" fmla="*/ 339 h 464"/>
                <a:gd name="T100" fmla="*/ 659 w 734"/>
                <a:gd name="T101" fmla="*/ 304 h 464"/>
                <a:gd name="T102" fmla="*/ 693 w 734"/>
                <a:gd name="T103" fmla="*/ 310 h 464"/>
                <a:gd name="T104" fmla="*/ 727 w 734"/>
                <a:gd name="T105" fmla="*/ 296 h 464"/>
                <a:gd name="T106" fmla="*/ 734 w 734"/>
                <a:gd name="T107" fmla="*/ 224 h 464"/>
                <a:gd name="T108" fmla="*/ 477 w 734"/>
                <a:gd name="T109" fmla="*/ 32 h 464"/>
                <a:gd name="T110" fmla="*/ 470 w 734"/>
                <a:gd name="T111" fmla="*/ 24 h 464"/>
                <a:gd name="T112" fmla="*/ 477 w 734"/>
                <a:gd name="T113" fmla="*/ 3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4" h="464">
                  <a:moveTo>
                    <a:pt x="716" y="208"/>
                  </a:moveTo>
                  <a:cubicBezTo>
                    <a:pt x="716" y="208"/>
                    <a:pt x="696" y="233"/>
                    <a:pt x="685" y="237"/>
                  </a:cubicBezTo>
                  <a:cubicBezTo>
                    <a:pt x="673" y="244"/>
                    <a:pt x="652" y="224"/>
                    <a:pt x="652" y="224"/>
                  </a:cubicBezTo>
                  <a:cubicBezTo>
                    <a:pt x="652" y="224"/>
                    <a:pt x="637" y="227"/>
                    <a:pt x="633" y="219"/>
                  </a:cubicBezTo>
                  <a:cubicBezTo>
                    <a:pt x="630" y="215"/>
                    <a:pt x="638" y="196"/>
                    <a:pt x="638" y="196"/>
                  </a:cubicBezTo>
                  <a:cubicBezTo>
                    <a:pt x="583" y="182"/>
                    <a:pt x="583" y="182"/>
                    <a:pt x="583" y="182"/>
                  </a:cubicBezTo>
                  <a:cubicBezTo>
                    <a:pt x="583" y="182"/>
                    <a:pt x="575" y="178"/>
                    <a:pt x="568" y="170"/>
                  </a:cubicBezTo>
                  <a:cubicBezTo>
                    <a:pt x="561" y="158"/>
                    <a:pt x="577" y="144"/>
                    <a:pt x="577" y="144"/>
                  </a:cubicBezTo>
                  <a:cubicBezTo>
                    <a:pt x="577" y="144"/>
                    <a:pt x="612" y="111"/>
                    <a:pt x="613" y="99"/>
                  </a:cubicBezTo>
                  <a:cubicBezTo>
                    <a:pt x="614" y="75"/>
                    <a:pt x="614" y="75"/>
                    <a:pt x="614" y="75"/>
                  </a:cubicBezTo>
                  <a:cubicBezTo>
                    <a:pt x="594" y="69"/>
                    <a:pt x="589" y="55"/>
                    <a:pt x="566" y="47"/>
                  </a:cubicBezTo>
                  <a:cubicBezTo>
                    <a:pt x="555" y="43"/>
                    <a:pt x="544" y="39"/>
                    <a:pt x="533" y="34"/>
                  </a:cubicBezTo>
                  <a:cubicBezTo>
                    <a:pt x="522" y="30"/>
                    <a:pt x="507" y="41"/>
                    <a:pt x="503" y="41"/>
                  </a:cubicBezTo>
                  <a:cubicBezTo>
                    <a:pt x="496" y="36"/>
                    <a:pt x="492" y="25"/>
                    <a:pt x="489" y="17"/>
                  </a:cubicBezTo>
                  <a:cubicBezTo>
                    <a:pt x="489" y="21"/>
                    <a:pt x="489" y="28"/>
                    <a:pt x="485" y="32"/>
                  </a:cubicBezTo>
                  <a:cubicBezTo>
                    <a:pt x="478" y="20"/>
                    <a:pt x="475" y="1"/>
                    <a:pt x="463" y="8"/>
                  </a:cubicBezTo>
                  <a:cubicBezTo>
                    <a:pt x="460" y="0"/>
                    <a:pt x="452" y="4"/>
                    <a:pt x="452" y="4"/>
                  </a:cubicBezTo>
                  <a:cubicBezTo>
                    <a:pt x="445" y="7"/>
                    <a:pt x="426" y="14"/>
                    <a:pt x="429" y="26"/>
                  </a:cubicBezTo>
                  <a:cubicBezTo>
                    <a:pt x="428" y="37"/>
                    <a:pt x="432" y="30"/>
                    <a:pt x="440" y="34"/>
                  </a:cubicBezTo>
                  <a:cubicBezTo>
                    <a:pt x="443" y="38"/>
                    <a:pt x="477" y="32"/>
                    <a:pt x="450" y="50"/>
                  </a:cubicBezTo>
                  <a:cubicBezTo>
                    <a:pt x="447" y="38"/>
                    <a:pt x="439" y="41"/>
                    <a:pt x="439" y="53"/>
                  </a:cubicBezTo>
                  <a:cubicBezTo>
                    <a:pt x="420" y="60"/>
                    <a:pt x="417" y="44"/>
                    <a:pt x="406" y="44"/>
                  </a:cubicBezTo>
                  <a:cubicBezTo>
                    <a:pt x="387" y="39"/>
                    <a:pt x="379" y="61"/>
                    <a:pt x="368" y="53"/>
                  </a:cubicBezTo>
                  <a:cubicBezTo>
                    <a:pt x="331" y="36"/>
                    <a:pt x="315" y="58"/>
                    <a:pt x="304" y="46"/>
                  </a:cubicBezTo>
                  <a:cubicBezTo>
                    <a:pt x="305" y="43"/>
                    <a:pt x="308" y="43"/>
                    <a:pt x="312" y="43"/>
                  </a:cubicBezTo>
                  <a:cubicBezTo>
                    <a:pt x="308" y="43"/>
                    <a:pt x="301" y="39"/>
                    <a:pt x="297" y="38"/>
                  </a:cubicBezTo>
                  <a:cubicBezTo>
                    <a:pt x="294" y="35"/>
                    <a:pt x="294" y="34"/>
                    <a:pt x="294" y="31"/>
                  </a:cubicBezTo>
                  <a:cubicBezTo>
                    <a:pt x="294" y="31"/>
                    <a:pt x="294" y="31"/>
                    <a:pt x="294" y="31"/>
                  </a:cubicBezTo>
                  <a:cubicBezTo>
                    <a:pt x="267" y="48"/>
                    <a:pt x="267" y="48"/>
                    <a:pt x="267" y="48"/>
                  </a:cubicBezTo>
                  <a:cubicBezTo>
                    <a:pt x="266" y="60"/>
                    <a:pt x="266" y="60"/>
                    <a:pt x="266" y="60"/>
                  </a:cubicBezTo>
                  <a:cubicBezTo>
                    <a:pt x="266" y="60"/>
                    <a:pt x="240" y="74"/>
                    <a:pt x="225" y="73"/>
                  </a:cubicBezTo>
                  <a:cubicBezTo>
                    <a:pt x="210" y="69"/>
                    <a:pt x="215" y="46"/>
                    <a:pt x="196" y="45"/>
                  </a:cubicBezTo>
                  <a:cubicBezTo>
                    <a:pt x="181" y="41"/>
                    <a:pt x="172" y="82"/>
                    <a:pt x="172" y="82"/>
                  </a:cubicBezTo>
                  <a:cubicBezTo>
                    <a:pt x="190" y="87"/>
                    <a:pt x="190" y="87"/>
                    <a:pt x="190" y="87"/>
                  </a:cubicBezTo>
                  <a:cubicBezTo>
                    <a:pt x="190" y="87"/>
                    <a:pt x="143" y="142"/>
                    <a:pt x="131" y="153"/>
                  </a:cubicBezTo>
                  <a:cubicBezTo>
                    <a:pt x="119" y="164"/>
                    <a:pt x="105" y="159"/>
                    <a:pt x="93" y="166"/>
                  </a:cubicBezTo>
                  <a:cubicBezTo>
                    <a:pt x="85" y="170"/>
                    <a:pt x="96" y="189"/>
                    <a:pt x="87" y="212"/>
                  </a:cubicBezTo>
                  <a:cubicBezTo>
                    <a:pt x="79" y="231"/>
                    <a:pt x="41" y="240"/>
                    <a:pt x="25" y="263"/>
                  </a:cubicBezTo>
                  <a:cubicBezTo>
                    <a:pt x="9" y="289"/>
                    <a:pt x="31" y="301"/>
                    <a:pt x="31" y="301"/>
                  </a:cubicBezTo>
                  <a:cubicBezTo>
                    <a:pt x="15" y="327"/>
                    <a:pt x="15" y="327"/>
                    <a:pt x="15" y="327"/>
                  </a:cubicBezTo>
                  <a:cubicBezTo>
                    <a:pt x="0" y="326"/>
                    <a:pt x="0" y="326"/>
                    <a:pt x="0" y="326"/>
                  </a:cubicBezTo>
                  <a:cubicBezTo>
                    <a:pt x="3" y="346"/>
                    <a:pt x="3" y="346"/>
                    <a:pt x="3" y="346"/>
                  </a:cubicBezTo>
                  <a:cubicBezTo>
                    <a:pt x="25" y="347"/>
                    <a:pt x="25" y="347"/>
                    <a:pt x="25" y="347"/>
                  </a:cubicBezTo>
                  <a:cubicBezTo>
                    <a:pt x="48" y="325"/>
                    <a:pt x="48" y="325"/>
                    <a:pt x="48" y="325"/>
                  </a:cubicBezTo>
                  <a:cubicBezTo>
                    <a:pt x="48" y="325"/>
                    <a:pt x="41" y="321"/>
                    <a:pt x="41" y="313"/>
                  </a:cubicBezTo>
                  <a:cubicBezTo>
                    <a:pt x="42" y="302"/>
                    <a:pt x="62" y="283"/>
                    <a:pt x="92" y="281"/>
                  </a:cubicBezTo>
                  <a:cubicBezTo>
                    <a:pt x="122" y="279"/>
                    <a:pt x="140" y="295"/>
                    <a:pt x="140" y="295"/>
                  </a:cubicBezTo>
                  <a:cubicBezTo>
                    <a:pt x="135" y="314"/>
                    <a:pt x="135" y="314"/>
                    <a:pt x="135" y="314"/>
                  </a:cubicBezTo>
                  <a:cubicBezTo>
                    <a:pt x="135" y="314"/>
                    <a:pt x="146" y="322"/>
                    <a:pt x="141" y="337"/>
                  </a:cubicBezTo>
                  <a:cubicBezTo>
                    <a:pt x="137" y="352"/>
                    <a:pt x="129" y="367"/>
                    <a:pt x="129" y="367"/>
                  </a:cubicBezTo>
                  <a:cubicBezTo>
                    <a:pt x="140" y="368"/>
                    <a:pt x="140" y="368"/>
                    <a:pt x="140" y="368"/>
                  </a:cubicBezTo>
                  <a:cubicBezTo>
                    <a:pt x="143" y="379"/>
                    <a:pt x="143" y="379"/>
                    <a:pt x="143" y="379"/>
                  </a:cubicBezTo>
                  <a:cubicBezTo>
                    <a:pt x="143" y="379"/>
                    <a:pt x="165" y="388"/>
                    <a:pt x="164" y="415"/>
                  </a:cubicBezTo>
                  <a:cubicBezTo>
                    <a:pt x="164" y="422"/>
                    <a:pt x="164" y="422"/>
                    <a:pt x="164" y="422"/>
                  </a:cubicBezTo>
                  <a:cubicBezTo>
                    <a:pt x="164" y="426"/>
                    <a:pt x="171" y="430"/>
                    <a:pt x="178" y="431"/>
                  </a:cubicBezTo>
                  <a:cubicBezTo>
                    <a:pt x="193" y="427"/>
                    <a:pt x="194" y="416"/>
                    <a:pt x="198" y="416"/>
                  </a:cubicBezTo>
                  <a:cubicBezTo>
                    <a:pt x="205" y="420"/>
                    <a:pt x="208" y="424"/>
                    <a:pt x="220" y="421"/>
                  </a:cubicBezTo>
                  <a:cubicBezTo>
                    <a:pt x="231" y="422"/>
                    <a:pt x="235" y="406"/>
                    <a:pt x="243" y="407"/>
                  </a:cubicBezTo>
                  <a:cubicBezTo>
                    <a:pt x="247" y="407"/>
                    <a:pt x="272" y="427"/>
                    <a:pt x="283" y="428"/>
                  </a:cubicBezTo>
                  <a:cubicBezTo>
                    <a:pt x="298" y="429"/>
                    <a:pt x="295" y="413"/>
                    <a:pt x="299" y="413"/>
                  </a:cubicBezTo>
                  <a:cubicBezTo>
                    <a:pt x="303" y="414"/>
                    <a:pt x="314" y="414"/>
                    <a:pt x="318" y="410"/>
                  </a:cubicBezTo>
                  <a:cubicBezTo>
                    <a:pt x="322" y="407"/>
                    <a:pt x="318" y="395"/>
                    <a:pt x="326" y="392"/>
                  </a:cubicBezTo>
                  <a:cubicBezTo>
                    <a:pt x="337" y="388"/>
                    <a:pt x="349" y="378"/>
                    <a:pt x="349" y="378"/>
                  </a:cubicBezTo>
                  <a:cubicBezTo>
                    <a:pt x="339" y="350"/>
                    <a:pt x="339" y="350"/>
                    <a:pt x="339" y="350"/>
                  </a:cubicBezTo>
                  <a:cubicBezTo>
                    <a:pt x="347" y="339"/>
                    <a:pt x="347" y="339"/>
                    <a:pt x="347" y="339"/>
                  </a:cubicBezTo>
                  <a:cubicBezTo>
                    <a:pt x="354" y="343"/>
                    <a:pt x="354" y="343"/>
                    <a:pt x="354" y="343"/>
                  </a:cubicBezTo>
                  <a:cubicBezTo>
                    <a:pt x="374" y="329"/>
                    <a:pt x="374" y="329"/>
                    <a:pt x="374" y="329"/>
                  </a:cubicBezTo>
                  <a:cubicBezTo>
                    <a:pt x="367" y="317"/>
                    <a:pt x="367" y="317"/>
                    <a:pt x="367" y="317"/>
                  </a:cubicBezTo>
                  <a:cubicBezTo>
                    <a:pt x="393" y="311"/>
                    <a:pt x="393" y="311"/>
                    <a:pt x="393" y="311"/>
                  </a:cubicBezTo>
                  <a:cubicBezTo>
                    <a:pt x="408" y="319"/>
                    <a:pt x="408" y="319"/>
                    <a:pt x="408" y="319"/>
                  </a:cubicBezTo>
                  <a:cubicBezTo>
                    <a:pt x="408" y="319"/>
                    <a:pt x="384" y="341"/>
                    <a:pt x="391" y="353"/>
                  </a:cubicBezTo>
                  <a:cubicBezTo>
                    <a:pt x="398" y="365"/>
                    <a:pt x="413" y="369"/>
                    <a:pt x="413" y="373"/>
                  </a:cubicBezTo>
                  <a:cubicBezTo>
                    <a:pt x="413" y="377"/>
                    <a:pt x="409" y="384"/>
                    <a:pt x="419" y="392"/>
                  </a:cubicBezTo>
                  <a:cubicBezTo>
                    <a:pt x="430" y="400"/>
                    <a:pt x="449" y="398"/>
                    <a:pt x="449" y="398"/>
                  </a:cubicBezTo>
                  <a:cubicBezTo>
                    <a:pt x="460" y="410"/>
                    <a:pt x="460" y="410"/>
                    <a:pt x="460" y="410"/>
                  </a:cubicBezTo>
                  <a:cubicBezTo>
                    <a:pt x="448" y="417"/>
                    <a:pt x="448" y="417"/>
                    <a:pt x="448" y="417"/>
                  </a:cubicBezTo>
                  <a:cubicBezTo>
                    <a:pt x="455" y="425"/>
                    <a:pt x="455" y="425"/>
                    <a:pt x="455" y="425"/>
                  </a:cubicBezTo>
                  <a:cubicBezTo>
                    <a:pt x="469" y="460"/>
                    <a:pt x="469" y="460"/>
                    <a:pt x="469" y="460"/>
                  </a:cubicBezTo>
                  <a:cubicBezTo>
                    <a:pt x="480" y="464"/>
                    <a:pt x="480" y="464"/>
                    <a:pt x="480" y="464"/>
                  </a:cubicBezTo>
                  <a:cubicBezTo>
                    <a:pt x="484" y="445"/>
                    <a:pt x="484" y="445"/>
                    <a:pt x="484" y="445"/>
                  </a:cubicBezTo>
                  <a:cubicBezTo>
                    <a:pt x="477" y="437"/>
                    <a:pt x="477" y="437"/>
                    <a:pt x="477" y="437"/>
                  </a:cubicBezTo>
                  <a:cubicBezTo>
                    <a:pt x="474" y="422"/>
                    <a:pt x="474" y="422"/>
                    <a:pt x="474" y="422"/>
                  </a:cubicBezTo>
                  <a:cubicBezTo>
                    <a:pt x="490" y="411"/>
                    <a:pt x="490" y="411"/>
                    <a:pt x="490" y="411"/>
                  </a:cubicBezTo>
                  <a:cubicBezTo>
                    <a:pt x="494" y="400"/>
                    <a:pt x="494" y="400"/>
                    <a:pt x="494" y="400"/>
                  </a:cubicBezTo>
                  <a:cubicBezTo>
                    <a:pt x="494" y="400"/>
                    <a:pt x="517" y="386"/>
                    <a:pt x="525" y="367"/>
                  </a:cubicBezTo>
                  <a:cubicBezTo>
                    <a:pt x="534" y="348"/>
                    <a:pt x="534" y="337"/>
                    <a:pt x="534" y="337"/>
                  </a:cubicBezTo>
                  <a:cubicBezTo>
                    <a:pt x="527" y="329"/>
                    <a:pt x="527" y="329"/>
                    <a:pt x="527" y="329"/>
                  </a:cubicBezTo>
                  <a:cubicBezTo>
                    <a:pt x="536" y="310"/>
                    <a:pt x="536" y="310"/>
                    <a:pt x="536" y="310"/>
                  </a:cubicBezTo>
                  <a:cubicBezTo>
                    <a:pt x="550" y="318"/>
                    <a:pt x="550" y="318"/>
                    <a:pt x="550" y="318"/>
                  </a:cubicBezTo>
                  <a:cubicBezTo>
                    <a:pt x="562" y="311"/>
                    <a:pt x="562" y="311"/>
                    <a:pt x="562" y="311"/>
                  </a:cubicBezTo>
                  <a:cubicBezTo>
                    <a:pt x="562" y="311"/>
                    <a:pt x="556" y="349"/>
                    <a:pt x="574" y="361"/>
                  </a:cubicBezTo>
                  <a:cubicBezTo>
                    <a:pt x="593" y="370"/>
                    <a:pt x="605" y="355"/>
                    <a:pt x="605" y="355"/>
                  </a:cubicBezTo>
                  <a:cubicBezTo>
                    <a:pt x="639" y="349"/>
                    <a:pt x="639" y="349"/>
                    <a:pt x="639" y="349"/>
                  </a:cubicBezTo>
                  <a:cubicBezTo>
                    <a:pt x="645" y="365"/>
                    <a:pt x="645" y="365"/>
                    <a:pt x="645" y="365"/>
                  </a:cubicBezTo>
                  <a:cubicBezTo>
                    <a:pt x="652" y="377"/>
                    <a:pt x="652" y="377"/>
                    <a:pt x="652" y="377"/>
                  </a:cubicBezTo>
                  <a:cubicBezTo>
                    <a:pt x="656" y="384"/>
                    <a:pt x="656" y="384"/>
                    <a:pt x="656" y="384"/>
                  </a:cubicBezTo>
                  <a:cubicBezTo>
                    <a:pt x="663" y="385"/>
                    <a:pt x="663" y="385"/>
                    <a:pt x="663" y="385"/>
                  </a:cubicBezTo>
                  <a:cubicBezTo>
                    <a:pt x="664" y="362"/>
                    <a:pt x="664" y="362"/>
                    <a:pt x="664" y="362"/>
                  </a:cubicBezTo>
                  <a:cubicBezTo>
                    <a:pt x="676" y="343"/>
                    <a:pt x="676" y="343"/>
                    <a:pt x="676" y="343"/>
                  </a:cubicBezTo>
                  <a:cubicBezTo>
                    <a:pt x="669" y="339"/>
                    <a:pt x="669" y="339"/>
                    <a:pt x="669" y="339"/>
                  </a:cubicBezTo>
                  <a:cubicBezTo>
                    <a:pt x="658" y="339"/>
                    <a:pt x="658" y="339"/>
                    <a:pt x="658" y="339"/>
                  </a:cubicBezTo>
                  <a:cubicBezTo>
                    <a:pt x="658" y="339"/>
                    <a:pt x="640" y="323"/>
                    <a:pt x="659" y="304"/>
                  </a:cubicBezTo>
                  <a:cubicBezTo>
                    <a:pt x="683" y="282"/>
                    <a:pt x="690" y="287"/>
                    <a:pt x="690" y="287"/>
                  </a:cubicBezTo>
                  <a:cubicBezTo>
                    <a:pt x="693" y="310"/>
                    <a:pt x="693" y="310"/>
                    <a:pt x="693" y="310"/>
                  </a:cubicBezTo>
                  <a:cubicBezTo>
                    <a:pt x="726" y="319"/>
                    <a:pt x="726" y="319"/>
                    <a:pt x="726" y="319"/>
                  </a:cubicBezTo>
                  <a:cubicBezTo>
                    <a:pt x="727" y="296"/>
                    <a:pt x="727" y="296"/>
                    <a:pt x="727" y="296"/>
                  </a:cubicBezTo>
                  <a:cubicBezTo>
                    <a:pt x="716" y="296"/>
                    <a:pt x="716" y="296"/>
                    <a:pt x="716" y="296"/>
                  </a:cubicBezTo>
                  <a:cubicBezTo>
                    <a:pt x="734" y="224"/>
                    <a:pt x="734" y="224"/>
                    <a:pt x="734" y="224"/>
                  </a:cubicBezTo>
                  <a:lnTo>
                    <a:pt x="716" y="208"/>
                  </a:lnTo>
                  <a:close/>
                  <a:moveTo>
                    <a:pt x="477" y="32"/>
                  </a:moveTo>
                  <a:cubicBezTo>
                    <a:pt x="466" y="31"/>
                    <a:pt x="466" y="31"/>
                    <a:pt x="466" y="31"/>
                  </a:cubicBezTo>
                  <a:cubicBezTo>
                    <a:pt x="470" y="24"/>
                    <a:pt x="470" y="24"/>
                    <a:pt x="470" y="24"/>
                  </a:cubicBezTo>
                  <a:cubicBezTo>
                    <a:pt x="478" y="24"/>
                    <a:pt x="478" y="24"/>
                    <a:pt x="478" y="24"/>
                  </a:cubicBezTo>
                  <a:lnTo>
                    <a:pt x="477" y="3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1" name="Freeform 214">
              <a:extLst>
                <a:ext uri="{FF2B5EF4-FFF2-40B4-BE49-F238E27FC236}">
                  <a16:creationId xmlns:a16="http://schemas.microsoft.com/office/drawing/2014/main" id="{9CCD1C74-D787-8DF1-66D3-7E10D153A380}"/>
                </a:ext>
              </a:extLst>
            </p:cNvPr>
            <p:cNvSpPr>
              <a:spLocks/>
            </p:cNvSpPr>
            <p:nvPr/>
          </p:nvSpPr>
          <p:spPr bwMode="gray">
            <a:xfrm>
              <a:off x="9797419" y="3826439"/>
              <a:ext cx="7192" cy="5395"/>
            </a:xfrm>
            <a:custGeom>
              <a:avLst/>
              <a:gdLst>
                <a:gd name="T0" fmla="*/ 0 w 4"/>
                <a:gd name="T1" fmla="*/ 2 h 3"/>
                <a:gd name="T2" fmla="*/ 3 w 4"/>
                <a:gd name="T3" fmla="*/ 3 h 3"/>
                <a:gd name="T4" fmla="*/ 4 w 4"/>
                <a:gd name="T5" fmla="*/ 0 h 3"/>
                <a:gd name="T6" fmla="*/ 1 w 4"/>
                <a:gd name="T7" fmla="*/ 0 h 3"/>
                <a:gd name="T8" fmla="*/ 0 w 4"/>
                <a:gd name="T9" fmla="*/ 2 h 3"/>
              </a:gdLst>
              <a:ahLst/>
              <a:cxnLst>
                <a:cxn ang="0">
                  <a:pos x="T0" y="T1"/>
                </a:cxn>
                <a:cxn ang="0">
                  <a:pos x="T2" y="T3"/>
                </a:cxn>
                <a:cxn ang="0">
                  <a:pos x="T4" y="T5"/>
                </a:cxn>
                <a:cxn ang="0">
                  <a:pos x="T6" y="T7"/>
                </a:cxn>
                <a:cxn ang="0">
                  <a:pos x="T8" y="T9"/>
                </a:cxn>
              </a:cxnLst>
              <a:rect l="0" t="0" r="r" b="b"/>
              <a:pathLst>
                <a:path w="4" h="3">
                  <a:moveTo>
                    <a:pt x="0" y="2"/>
                  </a:moveTo>
                  <a:lnTo>
                    <a:pt x="3" y="3"/>
                  </a:lnTo>
                  <a:lnTo>
                    <a:pt x="4" y="0"/>
                  </a:lnTo>
                  <a:lnTo>
                    <a:pt x="1"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2" name="Freeform 215">
              <a:extLst>
                <a:ext uri="{FF2B5EF4-FFF2-40B4-BE49-F238E27FC236}">
                  <a16:creationId xmlns:a16="http://schemas.microsoft.com/office/drawing/2014/main" id="{8F93D574-F1E7-927E-BA6E-AC47924BB094}"/>
                </a:ext>
              </a:extLst>
            </p:cNvPr>
            <p:cNvSpPr>
              <a:spLocks/>
            </p:cNvSpPr>
            <p:nvPr/>
          </p:nvSpPr>
          <p:spPr bwMode="gray">
            <a:xfrm>
              <a:off x="9694935" y="383003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3" name="Freeform 216">
              <a:extLst>
                <a:ext uri="{FF2B5EF4-FFF2-40B4-BE49-F238E27FC236}">
                  <a16:creationId xmlns:a16="http://schemas.microsoft.com/office/drawing/2014/main" id="{9FF45067-0F2B-5BB1-55B9-BCFCAB021485}"/>
                </a:ext>
              </a:extLst>
            </p:cNvPr>
            <p:cNvSpPr>
              <a:spLocks/>
            </p:cNvSpPr>
            <p:nvPr/>
          </p:nvSpPr>
          <p:spPr bwMode="gray">
            <a:xfrm>
              <a:off x="9856754" y="3840823"/>
              <a:ext cx="28768" cy="16183"/>
            </a:xfrm>
            <a:custGeom>
              <a:avLst/>
              <a:gdLst>
                <a:gd name="T0" fmla="*/ 48 w 48"/>
                <a:gd name="T1" fmla="*/ 26 h 28"/>
                <a:gd name="T2" fmla="*/ 0 w 48"/>
                <a:gd name="T3" fmla="*/ 0 h 28"/>
                <a:gd name="T4" fmla="*/ 48 w 48"/>
                <a:gd name="T5" fmla="*/ 28 h 28"/>
                <a:gd name="T6" fmla="*/ 48 w 48"/>
                <a:gd name="T7" fmla="*/ 26 h 28"/>
              </a:gdLst>
              <a:ahLst/>
              <a:cxnLst>
                <a:cxn ang="0">
                  <a:pos x="T0" y="T1"/>
                </a:cxn>
                <a:cxn ang="0">
                  <a:pos x="T2" y="T3"/>
                </a:cxn>
                <a:cxn ang="0">
                  <a:pos x="T4" y="T5"/>
                </a:cxn>
                <a:cxn ang="0">
                  <a:pos x="T6" y="T7"/>
                </a:cxn>
              </a:cxnLst>
              <a:rect l="0" t="0" r="r" b="b"/>
              <a:pathLst>
                <a:path w="48" h="28">
                  <a:moveTo>
                    <a:pt x="48" y="26"/>
                  </a:moveTo>
                  <a:cubicBezTo>
                    <a:pt x="26" y="21"/>
                    <a:pt x="26" y="9"/>
                    <a:pt x="0" y="0"/>
                  </a:cubicBezTo>
                  <a:cubicBezTo>
                    <a:pt x="23" y="8"/>
                    <a:pt x="28" y="22"/>
                    <a:pt x="48" y="28"/>
                  </a:cubicBezTo>
                  <a:lnTo>
                    <a:pt x="48" y="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4" name="Freeform 217">
              <a:extLst>
                <a:ext uri="{FF2B5EF4-FFF2-40B4-BE49-F238E27FC236}">
                  <a16:creationId xmlns:a16="http://schemas.microsoft.com/office/drawing/2014/main" id="{26A64A21-70A1-D4A3-0A8B-6A625C0995D1}"/>
                </a:ext>
              </a:extLst>
            </p:cNvPr>
            <p:cNvSpPr>
              <a:spLocks/>
            </p:cNvSpPr>
            <p:nvPr/>
          </p:nvSpPr>
          <p:spPr bwMode="gray">
            <a:xfrm>
              <a:off x="9853157" y="3898359"/>
              <a:ext cx="19778" cy="21576"/>
            </a:xfrm>
            <a:custGeom>
              <a:avLst/>
              <a:gdLst>
                <a:gd name="T0" fmla="*/ 7 w 33"/>
                <a:gd name="T1" fmla="*/ 26 h 38"/>
                <a:gd name="T2" fmla="*/ 22 w 33"/>
                <a:gd name="T3" fmla="*/ 38 h 38"/>
                <a:gd name="T4" fmla="*/ 33 w 33"/>
                <a:gd name="T5" fmla="*/ 35 h 38"/>
                <a:gd name="T6" fmla="*/ 27 w 33"/>
                <a:gd name="T7" fmla="*/ 0 h 38"/>
                <a:gd name="T8" fmla="*/ 16 w 33"/>
                <a:gd name="T9" fmla="*/ 0 h 38"/>
                <a:gd name="T10" fmla="*/ 7 w 33"/>
                <a:gd name="T11" fmla="*/ 26 h 38"/>
              </a:gdLst>
              <a:ahLst/>
              <a:cxnLst>
                <a:cxn ang="0">
                  <a:pos x="T0" y="T1"/>
                </a:cxn>
                <a:cxn ang="0">
                  <a:pos x="T2" y="T3"/>
                </a:cxn>
                <a:cxn ang="0">
                  <a:pos x="T4" y="T5"/>
                </a:cxn>
                <a:cxn ang="0">
                  <a:pos x="T6" y="T7"/>
                </a:cxn>
                <a:cxn ang="0">
                  <a:pos x="T8" y="T9"/>
                </a:cxn>
                <a:cxn ang="0">
                  <a:pos x="T10" y="T11"/>
                </a:cxn>
              </a:cxnLst>
              <a:rect l="0" t="0" r="r" b="b"/>
              <a:pathLst>
                <a:path w="33" h="38">
                  <a:moveTo>
                    <a:pt x="7" y="26"/>
                  </a:moveTo>
                  <a:cubicBezTo>
                    <a:pt x="14" y="34"/>
                    <a:pt x="22" y="38"/>
                    <a:pt x="22" y="38"/>
                  </a:cubicBezTo>
                  <a:cubicBezTo>
                    <a:pt x="33" y="35"/>
                    <a:pt x="33" y="35"/>
                    <a:pt x="33" y="35"/>
                  </a:cubicBezTo>
                  <a:cubicBezTo>
                    <a:pt x="27" y="0"/>
                    <a:pt x="27" y="0"/>
                    <a:pt x="27" y="0"/>
                  </a:cubicBezTo>
                  <a:cubicBezTo>
                    <a:pt x="16" y="0"/>
                    <a:pt x="16" y="0"/>
                    <a:pt x="16" y="0"/>
                  </a:cubicBezTo>
                  <a:cubicBezTo>
                    <a:pt x="16" y="0"/>
                    <a:pt x="0" y="14"/>
                    <a:pt x="7" y="2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5" name="Freeform 218">
              <a:extLst>
                <a:ext uri="{FF2B5EF4-FFF2-40B4-BE49-F238E27FC236}">
                  <a16:creationId xmlns:a16="http://schemas.microsoft.com/office/drawing/2014/main" id="{3C8D201A-A4DD-2AA7-C08D-AF63C60730FB}"/>
                </a:ext>
              </a:extLst>
            </p:cNvPr>
            <p:cNvSpPr>
              <a:spLocks/>
            </p:cNvSpPr>
            <p:nvPr/>
          </p:nvSpPr>
          <p:spPr bwMode="gray">
            <a:xfrm>
              <a:off x="9862147" y="3666420"/>
              <a:ext cx="722787" cy="363191"/>
            </a:xfrm>
            <a:custGeom>
              <a:avLst/>
              <a:gdLst>
                <a:gd name="T0" fmla="*/ 1120 w 1210"/>
                <a:gd name="T1" fmla="*/ 436 h 608"/>
                <a:gd name="T2" fmla="*/ 1100 w 1210"/>
                <a:gd name="T3" fmla="*/ 382 h 608"/>
                <a:gd name="T4" fmla="*/ 1118 w 1210"/>
                <a:gd name="T5" fmla="*/ 321 h 608"/>
                <a:gd name="T6" fmla="*/ 1156 w 1210"/>
                <a:gd name="T7" fmla="*/ 308 h 608"/>
                <a:gd name="T8" fmla="*/ 1195 w 1210"/>
                <a:gd name="T9" fmla="*/ 264 h 608"/>
                <a:gd name="T10" fmla="*/ 1210 w 1210"/>
                <a:gd name="T11" fmla="*/ 230 h 608"/>
                <a:gd name="T12" fmla="*/ 1191 w 1210"/>
                <a:gd name="T13" fmla="*/ 191 h 608"/>
                <a:gd name="T14" fmla="*/ 1180 w 1210"/>
                <a:gd name="T15" fmla="*/ 110 h 608"/>
                <a:gd name="T16" fmla="*/ 1145 w 1210"/>
                <a:gd name="T17" fmla="*/ 62 h 608"/>
                <a:gd name="T18" fmla="*/ 1093 w 1210"/>
                <a:gd name="T19" fmla="*/ 56 h 608"/>
                <a:gd name="T20" fmla="*/ 989 w 1210"/>
                <a:gd name="T21" fmla="*/ 32 h 608"/>
                <a:gd name="T22" fmla="*/ 915 w 1210"/>
                <a:gd name="T23" fmla="*/ 9 h 608"/>
                <a:gd name="T24" fmla="*/ 872 w 1210"/>
                <a:gd name="T25" fmla="*/ 61 h 608"/>
                <a:gd name="T26" fmla="*/ 836 w 1210"/>
                <a:gd name="T27" fmla="*/ 97 h 608"/>
                <a:gd name="T28" fmla="*/ 792 w 1210"/>
                <a:gd name="T29" fmla="*/ 84 h 608"/>
                <a:gd name="T30" fmla="*/ 728 w 1210"/>
                <a:gd name="T31" fmla="*/ 89 h 608"/>
                <a:gd name="T32" fmla="*/ 707 w 1210"/>
                <a:gd name="T33" fmla="*/ 53 h 608"/>
                <a:gd name="T34" fmla="*/ 696 w 1210"/>
                <a:gd name="T35" fmla="*/ 64 h 608"/>
                <a:gd name="T36" fmla="*/ 605 w 1210"/>
                <a:gd name="T37" fmla="*/ 159 h 608"/>
                <a:gd name="T38" fmla="*/ 542 w 1210"/>
                <a:gd name="T39" fmla="*/ 225 h 608"/>
                <a:gd name="T40" fmla="*/ 580 w 1210"/>
                <a:gd name="T41" fmla="*/ 311 h 608"/>
                <a:gd name="T42" fmla="*/ 535 w 1210"/>
                <a:gd name="T43" fmla="*/ 305 h 608"/>
                <a:gd name="T44" fmla="*/ 446 w 1210"/>
                <a:gd name="T45" fmla="*/ 285 h 608"/>
                <a:gd name="T46" fmla="*/ 347 w 1210"/>
                <a:gd name="T47" fmla="*/ 323 h 608"/>
                <a:gd name="T48" fmla="*/ 281 w 1210"/>
                <a:gd name="T49" fmla="*/ 366 h 608"/>
                <a:gd name="T50" fmla="*/ 230 w 1210"/>
                <a:gd name="T51" fmla="*/ 340 h 608"/>
                <a:gd name="T52" fmla="*/ 171 w 1210"/>
                <a:gd name="T53" fmla="*/ 315 h 608"/>
                <a:gd name="T54" fmla="*/ 125 w 1210"/>
                <a:gd name="T55" fmla="*/ 358 h 608"/>
                <a:gd name="T56" fmla="*/ 67 w 1210"/>
                <a:gd name="T57" fmla="*/ 309 h 608"/>
                <a:gd name="T58" fmla="*/ 37 w 1210"/>
                <a:gd name="T59" fmla="*/ 318 h 608"/>
                <a:gd name="T60" fmla="*/ 11 w 1210"/>
                <a:gd name="T61" fmla="*/ 387 h 608"/>
                <a:gd name="T62" fmla="*/ 61 w 1210"/>
                <a:gd name="T63" fmla="*/ 439 h 608"/>
                <a:gd name="T64" fmla="*/ 108 w 1210"/>
                <a:gd name="T65" fmla="*/ 480 h 608"/>
                <a:gd name="T66" fmla="*/ 152 w 1210"/>
                <a:gd name="T67" fmla="*/ 489 h 608"/>
                <a:gd name="T68" fmla="*/ 193 w 1210"/>
                <a:gd name="T69" fmla="*/ 503 h 608"/>
                <a:gd name="T70" fmla="*/ 262 w 1210"/>
                <a:gd name="T71" fmla="*/ 464 h 608"/>
                <a:gd name="T72" fmla="*/ 363 w 1210"/>
                <a:gd name="T73" fmla="*/ 473 h 608"/>
                <a:gd name="T74" fmla="*/ 435 w 1210"/>
                <a:gd name="T75" fmla="*/ 438 h 608"/>
                <a:gd name="T76" fmla="*/ 440 w 1210"/>
                <a:gd name="T77" fmla="*/ 488 h 608"/>
                <a:gd name="T78" fmla="*/ 464 w 1210"/>
                <a:gd name="T79" fmla="*/ 539 h 608"/>
                <a:gd name="T80" fmla="*/ 587 w 1210"/>
                <a:gd name="T81" fmla="*/ 560 h 608"/>
                <a:gd name="T82" fmla="*/ 668 w 1210"/>
                <a:gd name="T83" fmla="*/ 579 h 608"/>
                <a:gd name="T84" fmla="*/ 735 w 1210"/>
                <a:gd name="T85" fmla="*/ 590 h 608"/>
                <a:gd name="T86" fmla="*/ 805 w 1210"/>
                <a:gd name="T87" fmla="*/ 608 h 608"/>
                <a:gd name="T88" fmla="*/ 860 w 1210"/>
                <a:gd name="T89" fmla="*/ 558 h 608"/>
                <a:gd name="T90" fmla="*/ 939 w 1210"/>
                <a:gd name="T91" fmla="*/ 546 h 608"/>
                <a:gd name="T92" fmla="*/ 1000 w 1210"/>
                <a:gd name="T93" fmla="*/ 534 h 608"/>
                <a:gd name="T94" fmla="*/ 1034 w 1210"/>
                <a:gd name="T95" fmla="*/ 509 h 608"/>
                <a:gd name="T96" fmla="*/ 1081 w 1210"/>
                <a:gd name="T97" fmla="*/ 469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0" h="608">
                  <a:moveTo>
                    <a:pt x="1081" y="469"/>
                  </a:moveTo>
                  <a:cubicBezTo>
                    <a:pt x="1115" y="466"/>
                    <a:pt x="1115" y="466"/>
                    <a:pt x="1115" y="466"/>
                  </a:cubicBezTo>
                  <a:cubicBezTo>
                    <a:pt x="1120" y="436"/>
                    <a:pt x="1120" y="436"/>
                    <a:pt x="1120" y="436"/>
                  </a:cubicBezTo>
                  <a:cubicBezTo>
                    <a:pt x="1120" y="436"/>
                    <a:pt x="1105" y="432"/>
                    <a:pt x="1106" y="424"/>
                  </a:cubicBezTo>
                  <a:cubicBezTo>
                    <a:pt x="1103" y="412"/>
                    <a:pt x="1114" y="405"/>
                    <a:pt x="1114" y="401"/>
                  </a:cubicBezTo>
                  <a:cubicBezTo>
                    <a:pt x="1115" y="394"/>
                    <a:pt x="1100" y="393"/>
                    <a:pt x="1100" y="382"/>
                  </a:cubicBezTo>
                  <a:cubicBezTo>
                    <a:pt x="1104" y="374"/>
                    <a:pt x="1153" y="365"/>
                    <a:pt x="1147" y="342"/>
                  </a:cubicBezTo>
                  <a:cubicBezTo>
                    <a:pt x="1141" y="319"/>
                    <a:pt x="1133" y="318"/>
                    <a:pt x="1133" y="318"/>
                  </a:cubicBezTo>
                  <a:cubicBezTo>
                    <a:pt x="1118" y="321"/>
                    <a:pt x="1118" y="321"/>
                    <a:pt x="1118" y="321"/>
                  </a:cubicBezTo>
                  <a:cubicBezTo>
                    <a:pt x="1118" y="321"/>
                    <a:pt x="1099" y="324"/>
                    <a:pt x="1107" y="309"/>
                  </a:cubicBezTo>
                  <a:cubicBezTo>
                    <a:pt x="1112" y="294"/>
                    <a:pt x="1127" y="291"/>
                    <a:pt x="1134" y="288"/>
                  </a:cubicBezTo>
                  <a:cubicBezTo>
                    <a:pt x="1142" y="288"/>
                    <a:pt x="1156" y="308"/>
                    <a:pt x="1156" y="308"/>
                  </a:cubicBezTo>
                  <a:cubicBezTo>
                    <a:pt x="1201" y="295"/>
                    <a:pt x="1201" y="295"/>
                    <a:pt x="1201" y="295"/>
                  </a:cubicBezTo>
                  <a:cubicBezTo>
                    <a:pt x="1203" y="268"/>
                    <a:pt x="1203" y="268"/>
                    <a:pt x="1203" y="268"/>
                  </a:cubicBezTo>
                  <a:cubicBezTo>
                    <a:pt x="1195" y="264"/>
                    <a:pt x="1195" y="264"/>
                    <a:pt x="1195" y="264"/>
                  </a:cubicBezTo>
                  <a:cubicBezTo>
                    <a:pt x="1207" y="257"/>
                    <a:pt x="1207" y="257"/>
                    <a:pt x="1207" y="257"/>
                  </a:cubicBezTo>
                  <a:cubicBezTo>
                    <a:pt x="1208" y="234"/>
                    <a:pt x="1208" y="234"/>
                    <a:pt x="1208" y="234"/>
                  </a:cubicBezTo>
                  <a:cubicBezTo>
                    <a:pt x="1209" y="233"/>
                    <a:pt x="1210" y="231"/>
                    <a:pt x="1210" y="230"/>
                  </a:cubicBezTo>
                  <a:cubicBezTo>
                    <a:pt x="1210" y="229"/>
                    <a:pt x="1210" y="227"/>
                    <a:pt x="1210" y="226"/>
                  </a:cubicBezTo>
                  <a:cubicBezTo>
                    <a:pt x="1209" y="223"/>
                    <a:pt x="1209" y="220"/>
                    <a:pt x="1209" y="218"/>
                  </a:cubicBezTo>
                  <a:cubicBezTo>
                    <a:pt x="1202" y="207"/>
                    <a:pt x="1191" y="191"/>
                    <a:pt x="1191" y="191"/>
                  </a:cubicBezTo>
                  <a:cubicBezTo>
                    <a:pt x="1185" y="168"/>
                    <a:pt x="1185" y="168"/>
                    <a:pt x="1185" y="168"/>
                  </a:cubicBezTo>
                  <a:cubicBezTo>
                    <a:pt x="1185" y="168"/>
                    <a:pt x="1163" y="155"/>
                    <a:pt x="1164" y="136"/>
                  </a:cubicBezTo>
                  <a:cubicBezTo>
                    <a:pt x="1168" y="117"/>
                    <a:pt x="1180" y="110"/>
                    <a:pt x="1180" y="110"/>
                  </a:cubicBezTo>
                  <a:cubicBezTo>
                    <a:pt x="1182" y="76"/>
                    <a:pt x="1182" y="76"/>
                    <a:pt x="1182" y="76"/>
                  </a:cubicBezTo>
                  <a:cubicBezTo>
                    <a:pt x="1171" y="64"/>
                    <a:pt x="1171" y="64"/>
                    <a:pt x="1171" y="64"/>
                  </a:cubicBezTo>
                  <a:cubicBezTo>
                    <a:pt x="1145" y="62"/>
                    <a:pt x="1145" y="62"/>
                    <a:pt x="1145" y="62"/>
                  </a:cubicBezTo>
                  <a:cubicBezTo>
                    <a:pt x="1138" y="51"/>
                    <a:pt x="1138" y="51"/>
                    <a:pt x="1138" y="51"/>
                  </a:cubicBezTo>
                  <a:cubicBezTo>
                    <a:pt x="1101" y="41"/>
                    <a:pt x="1101" y="41"/>
                    <a:pt x="1101" y="41"/>
                  </a:cubicBezTo>
                  <a:cubicBezTo>
                    <a:pt x="1093" y="56"/>
                    <a:pt x="1093" y="56"/>
                    <a:pt x="1093" y="56"/>
                  </a:cubicBezTo>
                  <a:cubicBezTo>
                    <a:pt x="1044" y="58"/>
                    <a:pt x="1044" y="58"/>
                    <a:pt x="1044" y="58"/>
                  </a:cubicBezTo>
                  <a:cubicBezTo>
                    <a:pt x="1044" y="58"/>
                    <a:pt x="1027" y="30"/>
                    <a:pt x="1012" y="29"/>
                  </a:cubicBezTo>
                  <a:cubicBezTo>
                    <a:pt x="997" y="29"/>
                    <a:pt x="989" y="32"/>
                    <a:pt x="989" y="32"/>
                  </a:cubicBezTo>
                  <a:cubicBezTo>
                    <a:pt x="989" y="32"/>
                    <a:pt x="960" y="12"/>
                    <a:pt x="956" y="11"/>
                  </a:cubicBezTo>
                  <a:cubicBezTo>
                    <a:pt x="953" y="11"/>
                    <a:pt x="927" y="2"/>
                    <a:pt x="927" y="2"/>
                  </a:cubicBezTo>
                  <a:cubicBezTo>
                    <a:pt x="927" y="2"/>
                    <a:pt x="923" y="6"/>
                    <a:pt x="915" y="9"/>
                  </a:cubicBezTo>
                  <a:cubicBezTo>
                    <a:pt x="904" y="9"/>
                    <a:pt x="901" y="1"/>
                    <a:pt x="901" y="1"/>
                  </a:cubicBezTo>
                  <a:cubicBezTo>
                    <a:pt x="878" y="0"/>
                    <a:pt x="878" y="0"/>
                    <a:pt x="878" y="0"/>
                  </a:cubicBezTo>
                  <a:cubicBezTo>
                    <a:pt x="872" y="61"/>
                    <a:pt x="872" y="61"/>
                    <a:pt x="872" y="61"/>
                  </a:cubicBezTo>
                  <a:cubicBezTo>
                    <a:pt x="846" y="48"/>
                    <a:pt x="846" y="48"/>
                    <a:pt x="846" y="48"/>
                  </a:cubicBezTo>
                  <a:cubicBezTo>
                    <a:pt x="846" y="48"/>
                    <a:pt x="834" y="63"/>
                    <a:pt x="830" y="70"/>
                  </a:cubicBezTo>
                  <a:cubicBezTo>
                    <a:pt x="830" y="78"/>
                    <a:pt x="840" y="98"/>
                    <a:pt x="836" y="97"/>
                  </a:cubicBezTo>
                  <a:cubicBezTo>
                    <a:pt x="829" y="97"/>
                    <a:pt x="814" y="89"/>
                    <a:pt x="814" y="89"/>
                  </a:cubicBezTo>
                  <a:cubicBezTo>
                    <a:pt x="803" y="88"/>
                    <a:pt x="803" y="88"/>
                    <a:pt x="803" y="88"/>
                  </a:cubicBezTo>
                  <a:cubicBezTo>
                    <a:pt x="792" y="84"/>
                    <a:pt x="792" y="84"/>
                    <a:pt x="792" y="84"/>
                  </a:cubicBezTo>
                  <a:cubicBezTo>
                    <a:pt x="776" y="106"/>
                    <a:pt x="776" y="106"/>
                    <a:pt x="776" y="106"/>
                  </a:cubicBezTo>
                  <a:cubicBezTo>
                    <a:pt x="739" y="97"/>
                    <a:pt x="739" y="97"/>
                    <a:pt x="739" y="97"/>
                  </a:cubicBezTo>
                  <a:cubicBezTo>
                    <a:pt x="728" y="89"/>
                    <a:pt x="728" y="89"/>
                    <a:pt x="728" y="89"/>
                  </a:cubicBezTo>
                  <a:cubicBezTo>
                    <a:pt x="732" y="81"/>
                    <a:pt x="732" y="81"/>
                    <a:pt x="732" y="81"/>
                  </a:cubicBezTo>
                  <a:cubicBezTo>
                    <a:pt x="732" y="81"/>
                    <a:pt x="726" y="65"/>
                    <a:pt x="722" y="61"/>
                  </a:cubicBezTo>
                  <a:cubicBezTo>
                    <a:pt x="714" y="61"/>
                    <a:pt x="707" y="53"/>
                    <a:pt x="707" y="53"/>
                  </a:cubicBezTo>
                  <a:cubicBezTo>
                    <a:pt x="694" y="56"/>
                    <a:pt x="694" y="56"/>
                    <a:pt x="694" y="56"/>
                  </a:cubicBezTo>
                  <a:cubicBezTo>
                    <a:pt x="695" y="58"/>
                    <a:pt x="695" y="60"/>
                    <a:pt x="695" y="62"/>
                  </a:cubicBezTo>
                  <a:cubicBezTo>
                    <a:pt x="696" y="63"/>
                    <a:pt x="696" y="63"/>
                    <a:pt x="696" y="64"/>
                  </a:cubicBezTo>
                  <a:cubicBezTo>
                    <a:pt x="695" y="79"/>
                    <a:pt x="687" y="98"/>
                    <a:pt x="679" y="109"/>
                  </a:cubicBezTo>
                  <a:cubicBezTo>
                    <a:pt x="661" y="93"/>
                    <a:pt x="649" y="92"/>
                    <a:pt x="634" y="99"/>
                  </a:cubicBezTo>
                  <a:cubicBezTo>
                    <a:pt x="641" y="115"/>
                    <a:pt x="628" y="160"/>
                    <a:pt x="605" y="159"/>
                  </a:cubicBezTo>
                  <a:cubicBezTo>
                    <a:pt x="594" y="159"/>
                    <a:pt x="583" y="162"/>
                    <a:pt x="571" y="165"/>
                  </a:cubicBezTo>
                  <a:cubicBezTo>
                    <a:pt x="564" y="169"/>
                    <a:pt x="547" y="195"/>
                    <a:pt x="532" y="198"/>
                  </a:cubicBezTo>
                  <a:cubicBezTo>
                    <a:pt x="517" y="205"/>
                    <a:pt x="539" y="217"/>
                    <a:pt x="542" y="225"/>
                  </a:cubicBezTo>
                  <a:cubicBezTo>
                    <a:pt x="546" y="237"/>
                    <a:pt x="553" y="237"/>
                    <a:pt x="560" y="249"/>
                  </a:cubicBezTo>
                  <a:cubicBezTo>
                    <a:pt x="574" y="272"/>
                    <a:pt x="555" y="275"/>
                    <a:pt x="550" y="298"/>
                  </a:cubicBezTo>
                  <a:cubicBezTo>
                    <a:pt x="569" y="295"/>
                    <a:pt x="573" y="299"/>
                    <a:pt x="580" y="311"/>
                  </a:cubicBezTo>
                  <a:cubicBezTo>
                    <a:pt x="579" y="315"/>
                    <a:pt x="574" y="345"/>
                    <a:pt x="570" y="353"/>
                  </a:cubicBezTo>
                  <a:cubicBezTo>
                    <a:pt x="563" y="356"/>
                    <a:pt x="533" y="343"/>
                    <a:pt x="530" y="335"/>
                  </a:cubicBezTo>
                  <a:cubicBezTo>
                    <a:pt x="526" y="331"/>
                    <a:pt x="531" y="309"/>
                    <a:pt x="535" y="305"/>
                  </a:cubicBezTo>
                  <a:cubicBezTo>
                    <a:pt x="509" y="292"/>
                    <a:pt x="504" y="330"/>
                    <a:pt x="489" y="318"/>
                  </a:cubicBezTo>
                  <a:cubicBezTo>
                    <a:pt x="475" y="306"/>
                    <a:pt x="464" y="298"/>
                    <a:pt x="445" y="305"/>
                  </a:cubicBezTo>
                  <a:cubicBezTo>
                    <a:pt x="446" y="285"/>
                    <a:pt x="446" y="285"/>
                    <a:pt x="446" y="285"/>
                  </a:cubicBezTo>
                  <a:cubicBezTo>
                    <a:pt x="423" y="300"/>
                    <a:pt x="449" y="308"/>
                    <a:pt x="437" y="319"/>
                  </a:cubicBezTo>
                  <a:cubicBezTo>
                    <a:pt x="433" y="323"/>
                    <a:pt x="396" y="317"/>
                    <a:pt x="388" y="317"/>
                  </a:cubicBezTo>
                  <a:cubicBezTo>
                    <a:pt x="377" y="320"/>
                    <a:pt x="362" y="320"/>
                    <a:pt x="347" y="323"/>
                  </a:cubicBezTo>
                  <a:cubicBezTo>
                    <a:pt x="339" y="326"/>
                    <a:pt x="316" y="340"/>
                    <a:pt x="312" y="348"/>
                  </a:cubicBezTo>
                  <a:cubicBezTo>
                    <a:pt x="312" y="348"/>
                    <a:pt x="316" y="352"/>
                    <a:pt x="316" y="356"/>
                  </a:cubicBezTo>
                  <a:cubicBezTo>
                    <a:pt x="301" y="347"/>
                    <a:pt x="297" y="362"/>
                    <a:pt x="281" y="366"/>
                  </a:cubicBezTo>
                  <a:cubicBezTo>
                    <a:pt x="286" y="354"/>
                    <a:pt x="286" y="354"/>
                    <a:pt x="286" y="354"/>
                  </a:cubicBezTo>
                  <a:cubicBezTo>
                    <a:pt x="274" y="361"/>
                    <a:pt x="259" y="364"/>
                    <a:pt x="244" y="364"/>
                  </a:cubicBezTo>
                  <a:cubicBezTo>
                    <a:pt x="245" y="352"/>
                    <a:pt x="238" y="344"/>
                    <a:pt x="230" y="340"/>
                  </a:cubicBezTo>
                  <a:cubicBezTo>
                    <a:pt x="234" y="337"/>
                    <a:pt x="238" y="333"/>
                    <a:pt x="231" y="329"/>
                  </a:cubicBezTo>
                  <a:cubicBezTo>
                    <a:pt x="234" y="329"/>
                    <a:pt x="190" y="315"/>
                    <a:pt x="182" y="323"/>
                  </a:cubicBezTo>
                  <a:cubicBezTo>
                    <a:pt x="175" y="336"/>
                    <a:pt x="169" y="317"/>
                    <a:pt x="171" y="315"/>
                  </a:cubicBezTo>
                  <a:cubicBezTo>
                    <a:pt x="157" y="322"/>
                    <a:pt x="171" y="334"/>
                    <a:pt x="170" y="349"/>
                  </a:cubicBezTo>
                  <a:cubicBezTo>
                    <a:pt x="165" y="368"/>
                    <a:pt x="135" y="381"/>
                    <a:pt x="120" y="385"/>
                  </a:cubicBezTo>
                  <a:cubicBezTo>
                    <a:pt x="120" y="381"/>
                    <a:pt x="136" y="362"/>
                    <a:pt x="125" y="358"/>
                  </a:cubicBezTo>
                  <a:cubicBezTo>
                    <a:pt x="121" y="354"/>
                    <a:pt x="109" y="361"/>
                    <a:pt x="109" y="365"/>
                  </a:cubicBezTo>
                  <a:cubicBezTo>
                    <a:pt x="103" y="346"/>
                    <a:pt x="106" y="346"/>
                    <a:pt x="96" y="334"/>
                  </a:cubicBezTo>
                  <a:cubicBezTo>
                    <a:pt x="85" y="326"/>
                    <a:pt x="71" y="310"/>
                    <a:pt x="67" y="309"/>
                  </a:cubicBezTo>
                  <a:cubicBezTo>
                    <a:pt x="52" y="301"/>
                    <a:pt x="59" y="321"/>
                    <a:pt x="44" y="320"/>
                  </a:cubicBezTo>
                  <a:cubicBezTo>
                    <a:pt x="42" y="320"/>
                    <a:pt x="41" y="320"/>
                    <a:pt x="40" y="319"/>
                  </a:cubicBezTo>
                  <a:cubicBezTo>
                    <a:pt x="39" y="319"/>
                    <a:pt x="38" y="318"/>
                    <a:pt x="37" y="318"/>
                  </a:cubicBezTo>
                  <a:cubicBezTo>
                    <a:pt x="36" y="342"/>
                    <a:pt x="36" y="342"/>
                    <a:pt x="36" y="342"/>
                  </a:cubicBezTo>
                  <a:cubicBezTo>
                    <a:pt x="35" y="354"/>
                    <a:pt x="0" y="387"/>
                    <a:pt x="0" y="387"/>
                  </a:cubicBezTo>
                  <a:cubicBezTo>
                    <a:pt x="11" y="387"/>
                    <a:pt x="11" y="387"/>
                    <a:pt x="11" y="387"/>
                  </a:cubicBezTo>
                  <a:cubicBezTo>
                    <a:pt x="17" y="422"/>
                    <a:pt x="17" y="422"/>
                    <a:pt x="17" y="422"/>
                  </a:cubicBezTo>
                  <a:cubicBezTo>
                    <a:pt x="6" y="425"/>
                    <a:pt x="6" y="425"/>
                    <a:pt x="6" y="425"/>
                  </a:cubicBezTo>
                  <a:cubicBezTo>
                    <a:pt x="61" y="439"/>
                    <a:pt x="61" y="439"/>
                    <a:pt x="61" y="439"/>
                  </a:cubicBezTo>
                  <a:cubicBezTo>
                    <a:pt x="61" y="439"/>
                    <a:pt x="53" y="458"/>
                    <a:pt x="56" y="462"/>
                  </a:cubicBezTo>
                  <a:cubicBezTo>
                    <a:pt x="60" y="470"/>
                    <a:pt x="75" y="467"/>
                    <a:pt x="75" y="467"/>
                  </a:cubicBezTo>
                  <a:cubicBezTo>
                    <a:pt x="75" y="467"/>
                    <a:pt x="96" y="487"/>
                    <a:pt x="108" y="480"/>
                  </a:cubicBezTo>
                  <a:cubicBezTo>
                    <a:pt x="119" y="476"/>
                    <a:pt x="139" y="451"/>
                    <a:pt x="139" y="451"/>
                  </a:cubicBezTo>
                  <a:cubicBezTo>
                    <a:pt x="157" y="467"/>
                    <a:pt x="157" y="467"/>
                    <a:pt x="157" y="467"/>
                  </a:cubicBezTo>
                  <a:cubicBezTo>
                    <a:pt x="152" y="489"/>
                    <a:pt x="152" y="489"/>
                    <a:pt x="152" y="489"/>
                  </a:cubicBezTo>
                  <a:cubicBezTo>
                    <a:pt x="164" y="490"/>
                    <a:pt x="164" y="490"/>
                    <a:pt x="164" y="490"/>
                  </a:cubicBezTo>
                  <a:cubicBezTo>
                    <a:pt x="164" y="490"/>
                    <a:pt x="172" y="475"/>
                    <a:pt x="183" y="479"/>
                  </a:cubicBezTo>
                  <a:cubicBezTo>
                    <a:pt x="194" y="488"/>
                    <a:pt x="193" y="503"/>
                    <a:pt x="193" y="503"/>
                  </a:cubicBezTo>
                  <a:cubicBezTo>
                    <a:pt x="237" y="513"/>
                    <a:pt x="237" y="513"/>
                    <a:pt x="237" y="513"/>
                  </a:cubicBezTo>
                  <a:cubicBezTo>
                    <a:pt x="249" y="498"/>
                    <a:pt x="249" y="498"/>
                    <a:pt x="249" y="498"/>
                  </a:cubicBezTo>
                  <a:cubicBezTo>
                    <a:pt x="249" y="498"/>
                    <a:pt x="232" y="466"/>
                    <a:pt x="262" y="464"/>
                  </a:cubicBezTo>
                  <a:cubicBezTo>
                    <a:pt x="296" y="462"/>
                    <a:pt x="303" y="466"/>
                    <a:pt x="303" y="466"/>
                  </a:cubicBezTo>
                  <a:cubicBezTo>
                    <a:pt x="311" y="451"/>
                    <a:pt x="311" y="451"/>
                    <a:pt x="311" y="451"/>
                  </a:cubicBezTo>
                  <a:cubicBezTo>
                    <a:pt x="363" y="473"/>
                    <a:pt x="363" y="473"/>
                    <a:pt x="363" y="473"/>
                  </a:cubicBezTo>
                  <a:cubicBezTo>
                    <a:pt x="394" y="444"/>
                    <a:pt x="394" y="444"/>
                    <a:pt x="394" y="444"/>
                  </a:cubicBezTo>
                  <a:cubicBezTo>
                    <a:pt x="408" y="452"/>
                    <a:pt x="408" y="452"/>
                    <a:pt x="408" y="452"/>
                  </a:cubicBezTo>
                  <a:cubicBezTo>
                    <a:pt x="408" y="452"/>
                    <a:pt x="428" y="430"/>
                    <a:pt x="435" y="438"/>
                  </a:cubicBezTo>
                  <a:cubicBezTo>
                    <a:pt x="442" y="446"/>
                    <a:pt x="419" y="460"/>
                    <a:pt x="419" y="460"/>
                  </a:cubicBezTo>
                  <a:cubicBezTo>
                    <a:pt x="425" y="491"/>
                    <a:pt x="425" y="491"/>
                    <a:pt x="425" y="491"/>
                  </a:cubicBezTo>
                  <a:cubicBezTo>
                    <a:pt x="425" y="491"/>
                    <a:pt x="433" y="484"/>
                    <a:pt x="440" y="488"/>
                  </a:cubicBezTo>
                  <a:cubicBezTo>
                    <a:pt x="448" y="492"/>
                    <a:pt x="443" y="507"/>
                    <a:pt x="443" y="507"/>
                  </a:cubicBezTo>
                  <a:cubicBezTo>
                    <a:pt x="454" y="511"/>
                    <a:pt x="454" y="511"/>
                    <a:pt x="454" y="511"/>
                  </a:cubicBezTo>
                  <a:cubicBezTo>
                    <a:pt x="464" y="539"/>
                    <a:pt x="464" y="539"/>
                    <a:pt x="464" y="539"/>
                  </a:cubicBezTo>
                  <a:cubicBezTo>
                    <a:pt x="524" y="545"/>
                    <a:pt x="524" y="545"/>
                    <a:pt x="524" y="545"/>
                  </a:cubicBezTo>
                  <a:cubicBezTo>
                    <a:pt x="531" y="557"/>
                    <a:pt x="531" y="557"/>
                    <a:pt x="531" y="557"/>
                  </a:cubicBezTo>
                  <a:cubicBezTo>
                    <a:pt x="587" y="560"/>
                    <a:pt x="587" y="560"/>
                    <a:pt x="587" y="560"/>
                  </a:cubicBezTo>
                  <a:cubicBezTo>
                    <a:pt x="594" y="572"/>
                    <a:pt x="594" y="572"/>
                    <a:pt x="594" y="572"/>
                  </a:cubicBezTo>
                  <a:cubicBezTo>
                    <a:pt x="617" y="565"/>
                    <a:pt x="617" y="565"/>
                    <a:pt x="617" y="565"/>
                  </a:cubicBezTo>
                  <a:cubicBezTo>
                    <a:pt x="668" y="579"/>
                    <a:pt x="668" y="579"/>
                    <a:pt x="668" y="579"/>
                  </a:cubicBezTo>
                  <a:cubicBezTo>
                    <a:pt x="683" y="584"/>
                    <a:pt x="683" y="584"/>
                    <a:pt x="683" y="584"/>
                  </a:cubicBezTo>
                  <a:cubicBezTo>
                    <a:pt x="702" y="581"/>
                    <a:pt x="702" y="581"/>
                    <a:pt x="702" y="581"/>
                  </a:cubicBezTo>
                  <a:cubicBezTo>
                    <a:pt x="735" y="590"/>
                    <a:pt x="735" y="590"/>
                    <a:pt x="735" y="590"/>
                  </a:cubicBezTo>
                  <a:cubicBezTo>
                    <a:pt x="742" y="602"/>
                    <a:pt x="742" y="602"/>
                    <a:pt x="742" y="602"/>
                  </a:cubicBezTo>
                  <a:cubicBezTo>
                    <a:pt x="780" y="596"/>
                    <a:pt x="780" y="596"/>
                    <a:pt x="780" y="596"/>
                  </a:cubicBezTo>
                  <a:cubicBezTo>
                    <a:pt x="805" y="608"/>
                    <a:pt x="805" y="608"/>
                    <a:pt x="805" y="608"/>
                  </a:cubicBezTo>
                  <a:cubicBezTo>
                    <a:pt x="825" y="587"/>
                    <a:pt x="825" y="587"/>
                    <a:pt x="825" y="587"/>
                  </a:cubicBezTo>
                  <a:cubicBezTo>
                    <a:pt x="825" y="587"/>
                    <a:pt x="836" y="587"/>
                    <a:pt x="844" y="584"/>
                  </a:cubicBezTo>
                  <a:cubicBezTo>
                    <a:pt x="852" y="580"/>
                    <a:pt x="849" y="557"/>
                    <a:pt x="860" y="558"/>
                  </a:cubicBezTo>
                  <a:cubicBezTo>
                    <a:pt x="875" y="554"/>
                    <a:pt x="891" y="548"/>
                    <a:pt x="891" y="548"/>
                  </a:cubicBezTo>
                  <a:cubicBezTo>
                    <a:pt x="913" y="552"/>
                    <a:pt x="913" y="552"/>
                    <a:pt x="913" y="552"/>
                  </a:cubicBezTo>
                  <a:cubicBezTo>
                    <a:pt x="913" y="552"/>
                    <a:pt x="932" y="542"/>
                    <a:pt x="939" y="546"/>
                  </a:cubicBezTo>
                  <a:cubicBezTo>
                    <a:pt x="950" y="547"/>
                    <a:pt x="958" y="555"/>
                    <a:pt x="958" y="555"/>
                  </a:cubicBezTo>
                  <a:cubicBezTo>
                    <a:pt x="973" y="540"/>
                    <a:pt x="973" y="540"/>
                    <a:pt x="973" y="540"/>
                  </a:cubicBezTo>
                  <a:cubicBezTo>
                    <a:pt x="973" y="540"/>
                    <a:pt x="974" y="532"/>
                    <a:pt x="1000" y="534"/>
                  </a:cubicBezTo>
                  <a:cubicBezTo>
                    <a:pt x="1022" y="531"/>
                    <a:pt x="1029" y="543"/>
                    <a:pt x="1029" y="543"/>
                  </a:cubicBezTo>
                  <a:cubicBezTo>
                    <a:pt x="1041" y="536"/>
                    <a:pt x="1041" y="536"/>
                    <a:pt x="1041" y="536"/>
                  </a:cubicBezTo>
                  <a:cubicBezTo>
                    <a:pt x="1041" y="536"/>
                    <a:pt x="1026" y="523"/>
                    <a:pt x="1034" y="509"/>
                  </a:cubicBezTo>
                  <a:cubicBezTo>
                    <a:pt x="1043" y="494"/>
                    <a:pt x="1050" y="498"/>
                    <a:pt x="1050" y="498"/>
                  </a:cubicBezTo>
                  <a:cubicBezTo>
                    <a:pt x="1058" y="490"/>
                    <a:pt x="1058" y="490"/>
                    <a:pt x="1058" y="490"/>
                  </a:cubicBezTo>
                  <a:lnTo>
                    <a:pt x="1081" y="46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6" name="Freeform 219">
              <a:extLst>
                <a:ext uri="{FF2B5EF4-FFF2-40B4-BE49-F238E27FC236}">
                  <a16:creationId xmlns:a16="http://schemas.microsoft.com/office/drawing/2014/main" id="{743577DE-CDBC-3BE4-76AF-ADD64B13121E}"/>
                </a:ext>
              </a:extLst>
            </p:cNvPr>
            <p:cNvSpPr>
              <a:spLocks/>
            </p:cNvSpPr>
            <p:nvPr/>
          </p:nvSpPr>
          <p:spPr bwMode="gray">
            <a:xfrm>
              <a:off x="10275681" y="3700581"/>
              <a:ext cx="1798" cy="3596"/>
            </a:xfrm>
            <a:custGeom>
              <a:avLst/>
              <a:gdLst>
                <a:gd name="T0" fmla="*/ 0 w 3"/>
                <a:gd name="T1" fmla="*/ 0 h 6"/>
                <a:gd name="T2" fmla="*/ 3 w 3"/>
                <a:gd name="T3" fmla="*/ 6 h 6"/>
                <a:gd name="T4" fmla="*/ 2 w 3"/>
                <a:gd name="T5" fmla="*/ 0 h 6"/>
                <a:gd name="T6" fmla="*/ 0 w 3"/>
                <a:gd name="T7" fmla="*/ 0 h 6"/>
              </a:gdLst>
              <a:ahLst/>
              <a:cxnLst>
                <a:cxn ang="0">
                  <a:pos x="T0" y="T1"/>
                </a:cxn>
                <a:cxn ang="0">
                  <a:pos x="T2" y="T3"/>
                </a:cxn>
                <a:cxn ang="0">
                  <a:pos x="T4" y="T5"/>
                </a:cxn>
                <a:cxn ang="0">
                  <a:pos x="T6" y="T7"/>
                </a:cxn>
              </a:cxnLst>
              <a:rect l="0" t="0" r="r" b="b"/>
              <a:pathLst>
                <a:path w="3" h="6">
                  <a:moveTo>
                    <a:pt x="0" y="0"/>
                  </a:moveTo>
                  <a:cubicBezTo>
                    <a:pt x="0" y="3"/>
                    <a:pt x="3" y="4"/>
                    <a:pt x="3" y="6"/>
                  </a:cubicBezTo>
                  <a:cubicBezTo>
                    <a:pt x="3" y="4"/>
                    <a:pt x="3" y="2"/>
                    <a:pt x="2" y="0"/>
                  </a:cubicBez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7" name="Freeform 220">
              <a:extLst>
                <a:ext uri="{FF2B5EF4-FFF2-40B4-BE49-F238E27FC236}">
                  <a16:creationId xmlns:a16="http://schemas.microsoft.com/office/drawing/2014/main" id="{3B478A36-945A-AA7A-6F08-CD9BEAD098BA}"/>
                </a:ext>
              </a:extLst>
            </p:cNvPr>
            <p:cNvSpPr>
              <a:spLocks/>
            </p:cNvSpPr>
            <p:nvPr/>
          </p:nvSpPr>
          <p:spPr bwMode="gray">
            <a:xfrm>
              <a:off x="9964632" y="3855206"/>
              <a:ext cx="1798" cy="0"/>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1"/>
                    <a:pt x="1" y="0"/>
                  </a:cubicBezTo>
                  <a:cubicBezTo>
                    <a:pt x="0" y="0"/>
                    <a:pt x="0" y="1"/>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8" name="Freeform 221">
              <a:extLst>
                <a:ext uri="{FF2B5EF4-FFF2-40B4-BE49-F238E27FC236}">
                  <a16:creationId xmlns:a16="http://schemas.microsoft.com/office/drawing/2014/main" id="{E1D06F56-F9E9-636A-A107-049C5228AB3C}"/>
                </a:ext>
              </a:extLst>
            </p:cNvPr>
            <p:cNvSpPr>
              <a:spLocks/>
            </p:cNvSpPr>
            <p:nvPr/>
          </p:nvSpPr>
          <p:spPr bwMode="gray">
            <a:xfrm>
              <a:off x="9885521" y="3855206"/>
              <a:ext cx="1798" cy="1798"/>
            </a:xfrm>
            <a:custGeom>
              <a:avLst/>
              <a:gdLst>
                <a:gd name="T0" fmla="*/ 3 w 3"/>
                <a:gd name="T1" fmla="*/ 3 h 3"/>
                <a:gd name="T2" fmla="*/ 0 w 3"/>
                <a:gd name="T3" fmla="*/ 0 h 3"/>
                <a:gd name="T4" fmla="*/ 0 w 3"/>
                <a:gd name="T5" fmla="*/ 2 h 3"/>
                <a:gd name="T6" fmla="*/ 3 w 3"/>
                <a:gd name="T7" fmla="*/ 3 h 3"/>
              </a:gdLst>
              <a:ahLst/>
              <a:cxnLst>
                <a:cxn ang="0">
                  <a:pos x="T0" y="T1"/>
                </a:cxn>
                <a:cxn ang="0">
                  <a:pos x="T2" y="T3"/>
                </a:cxn>
                <a:cxn ang="0">
                  <a:pos x="T4" y="T5"/>
                </a:cxn>
                <a:cxn ang="0">
                  <a:pos x="T6" y="T7"/>
                </a:cxn>
              </a:cxnLst>
              <a:rect l="0" t="0" r="r" b="b"/>
              <a:pathLst>
                <a:path w="3" h="3">
                  <a:moveTo>
                    <a:pt x="3" y="3"/>
                  </a:moveTo>
                  <a:cubicBezTo>
                    <a:pt x="2" y="2"/>
                    <a:pt x="1" y="1"/>
                    <a:pt x="0" y="0"/>
                  </a:cubicBezTo>
                  <a:cubicBezTo>
                    <a:pt x="0" y="2"/>
                    <a:pt x="0" y="2"/>
                    <a:pt x="0" y="2"/>
                  </a:cubicBezTo>
                  <a:cubicBezTo>
                    <a:pt x="1" y="2"/>
                    <a:pt x="2" y="3"/>
                    <a:pt x="3"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9" name="Freeform 222">
              <a:extLst>
                <a:ext uri="{FF2B5EF4-FFF2-40B4-BE49-F238E27FC236}">
                  <a16:creationId xmlns:a16="http://schemas.microsoft.com/office/drawing/2014/main" id="{9B5CCC94-5184-5E9C-AFAC-033203947D78}"/>
                </a:ext>
              </a:extLst>
            </p:cNvPr>
            <p:cNvSpPr>
              <a:spLocks/>
            </p:cNvSpPr>
            <p:nvPr/>
          </p:nvSpPr>
          <p:spPr bwMode="gray">
            <a:xfrm>
              <a:off x="10261297" y="4011631"/>
              <a:ext cx="8991" cy="3596"/>
            </a:xfrm>
            <a:custGeom>
              <a:avLst/>
              <a:gdLst>
                <a:gd name="T0" fmla="*/ 1 w 15"/>
                <a:gd name="T1" fmla="*/ 1 h 5"/>
                <a:gd name="T2" fmla="*/ 15 w 15"/>
                <a:gd name="T3" fmla="*/ 5 h 5"/>
                <a:gd name="T4" fmla="*/ 0 w 15"/>
                <a:gd name="T5" fmla="*/ 0 h 5"/>
                <a:gd name="T6" fmla="*/ 1 w 15"/>
                <a:gd name="T7" fmla="*/ 1 h 5"/>
              </a:gdLst>
              <a:ahLst/>
              <a:cxnLst>
                <a:cxn ang="0">
                  <a:pos x="T0" y="T1"/>
                </a:cxn>
                <a:cxn ang="0">
                  <a:pos x="T2" y="T3"/>
                </a:cxn>
                <a:cxn ang="0">
                  <a:pos x="T4" y="T5"/>
                </a:cxn>
                <a:cxn ang="0">
                  <a:pos x="T6" y="T7"/>
                </a:cxn>
              </a:cxnLst>
              <a:rect l="0" t="0" r="r" b="b"/>
              <a:pathLst>
                <a:path w="15" h="5">
                  <a:moveTo>
                    <a:pt x="1" y="1"/>
                  </a:moveTo>
                  <a:cubicBezTo>
                    <a:pt x="15" y="5"/>
                    <a:pt x="15" y="5"/>
                    <a:pt x="15" y="5"/>
                  </a:cubicBezTo>
                  <a:cubicBezTo>
                    <a:pt x="0" y="0"/>
                    <a:pt x="0" y="0"/>
                    <a:pt x="0" y="0"/>
                  </a:cubicBezTo>
                  <a:cubicBezTo>
                    <a:pt x="0" y="0"/>
                    <a:pt x="1" y="0"/>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0" name="Freeform 223">
              <a:extLst>
                <a:ext uri="{FF2B5EF4-FFF2-40B4-BE49-F238E27FC236}">
                  <a16:creationId xmlns:a16="http://schemas.microsoft.com/office/drawing/2014/main" id="{F8E58A22-BE80-4AAD-B516-26E7A2D71DE4}"/>
                </a:ext>
              </a:extLst>
            </p:cNvPr>
            <p:cNvSpPr>
              <a:spLocks/>
            </p:cNvSpPr>
            <p:nvPr/>
          </p:nvSpPr>
          <p:spPr bwMode="gray">
            <a:xfrm>
              <a:off x="10489641" y="3959489"/>
              <a:ext cx="3596" cy="5395"/>
            </a:xfrm>
            <a:custGeom>
              <a:avLst/>
              <a:gdLst>
                <a:gd name="T0" fmla="*/ 0 w 8"/>
                <a:gd name="T1" fmla="*/ 8 h 8"/>
                <a:gd name="T2" fmla="*/ 8 w 8"/>
                <a:gd name="T3" fmla="*/ 0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cubicBezTo>
                    <a:pt x="8" y="0"/>
                    <a:pt x="8" y="0"/>
                    <a:pt x="8" y="0"/>
                  </a:cubicBezTo>
                  <a:cubicBezTo>
                    <a:pt x="8" y="0"/>
                    <a:pt x="8" y="0"/>
                    <a:pt x="8" y="0"/>
                  </a:cubicBez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1" name="Freeform 224">
              <a:extLst>
                <a:ext uri="{FF2B5EF4-FFF2-40B4-BE49-F238E27FC236}">
                  <a16:creationId xmlns:a16="http://schemas.microsoft.com/office/drawing/2014/main" id="{A348BE14-391A-CF75-E88D-9F4265E287EA}"/>
                </a:ext>
              </a:extLst>
            </p:cNvPr>
            <p:cNvSpPr>
              <a:spLocks/>
            </p:cNvSpPr>
            <p:nvPr/>
          </p:nvSpPr>
          <p:spPr bwMode="gray">
            <a:xfrm>
              <a:off x="10311641" y="5469790"/>
              <a:ext cx="28768" cy="26971"/>
            </a:xfrm>
            <a:custGeom>
              <a:avLst/>
              <a:gdLst>
                <a:gd name="T0" fmla="*/ 15 w 48"/>
                <a:gd name="T1" fmla="*/ 12 h 44"/>
                <a:gd name="T2" fmla="*/ 8 w 48"/>
                <a:gd name="T3" fmla="*/ 0 h 44"/>
                <a:gd name="T4" fmla="*/ 0 w 48"/>
                <a:gd name="T5" fmla="*/ 7 h 44"/>
                <a:gd name="T6" fmla="*/ 3 w 48"/>
                <a:gd name="T7" fmla="*/ 22 h 44"/>
                <a:gd name="T8" fmla="*/ 32 w 48"/>
                <a:gd name="T9" fmla="*/ 43 h 44"/>
                <a:gd name="T10" fmla="*/ 48 w 48"/>
                <a:gd name="T11" fmla="*/ 25 h 44"/>
                <a:gd name="T12" fmla="*/ 23 w 48"/>
                <a:gd name="T13" fmla="*/ 8 h 44"/>
                <a:gd name="T14" fmla="*/ 15 w 48"/>
                <a:gd name="T15" fmla="*/ 1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4">
                  <a:moveTo>
                    <a:pt x="15" y="12"/>
                  </a:moveTo>
                  <a:cubicBezTo>
                    <a:pt x="8" y="0"/>
                    <a:pt x="8" y="0"/>
                    <a:pt x="8" y="0"/>
                  </a:cubicBezTo>
                  <a:cubicBezTo>
                    <a:pt x="0" y="7"/>
                    <a:pt x="0" y="7"/>
                    <a:pt x="0" y="7"/>
                  </a:cubicBezTo>
                  <a:cubicBezTo>
                    <a:pt x="3" y="22"/>
                    <a:pt x="3" y="22"/>
                    <a:pt x="3" y="22"/>
                  </a:cubicBezTo>
                  <a:cubicBezTo>
                    <a:pt x="3" y="22"/>
                    <a:pt x="17" y="42"/>
                    <a:pt x="32" y="43"/>
                  </a:cubicBezTo>
                  <a:cubicBezTo>
                    <a:pt x="47" y="44"/>
                    <a:pt x="48" y="25"/>
                    <a:pt x="48" y="25"/>
                  </a:cubicBezTo>
                  <a:cubicBezTo>
                    <a:pt x="23" y="8"/>
                    <a:pt x="23" y="8"/>
                    <a:pt x="23" y="8"/>
                  </a:cubicBezTo>
                  <a:lnTo>
                    <a:pt x="15"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2" name="Freeform 225">
              <a:extLst>
                <a:ext uri="{FF2B5EF4-FFF2-40B4-BE49-F238E27FC236}">
                  <a16:creationId xmlns:a16="http://schemas.microsoft.com/office/drawing/2014/main" id="{71FC9B6A-6B28-D9C7-CE95-EA1AA2A5FF47}"/>
                </a:ext>
              </a:extLst>
            </p:cNvPr>
            <p:cNvSpPr>
              <a:spLocks/>
            </p:cNvSpPr>
            <p:nvPr/>
          </p:nvSpPr>
          <p:spPr bwMode="gray">
            <a:xfrm>
              <a:off x="10293662" y="5450013"/>
              <a:ext cx="30566" cy="19778"/>
            </a:xfrm>
            <a:custGeom>
              <a:avLst/>
              <a:gdLst>
                <a:gd name="T0" fmla="*/ 26 w 52"/>
                <a:gd name="T1" fmla="*/ 13 h 32"/>
                <a:gd name="T2" fmla="*/ 7 w 52"/>
                <a:gd name="T3" fmla="*/ 16 h 32"/>
                <a:gd name="T4" fmla="*/ 18 w 52"/>
                <a:gd name="T5" fmla="*/ 28 h 32"/>
                <a:gd name="T6" fmla="*/ 26 w 52"/>
                <a:gd name="T7" fmla="*/ 13 h 32"/>
              </a:gdLst>
              <a:ahLst/>
              <a:cxnLst>
                <a:cxn ang="0">
                  <a:pos x="T0" y="T1"/>
                </a:cxn>
                <a:cxn ang="0">
                  <a:pos x="T2" y="T3"/>
                </a:cxn>
                <a:cxn ang="0">
                  <a:pos x="T4" y="T5"/>
                </a:cxn>
                <a:cxn ang="0">
                  <a:pos x="T6" y="T7"/>
                </a:cxn>
              </a:cxnLst>
              <a:rect l="0" t="0" r="r" b="b"/>
              <a:pathLst>
                <a:path w="52" h="32">
                  <a:moveTo>
                    <a:pt x="26" y="13"/>
                  </a:moveTo>
                  <a:cubicBezTo>
                    <a:pt x="0" y="0"/>
                    <a:pt x="7" y="16"/>
                    <a:pt x="7" y="16"/>
                  </a:cubicBezTo>
                  <a:cubicBezTo>
                    <a:pt x="18" y="28"/>
                    <a:pt x="18" y="28"/>
                    <a:pt x="18" y="28"/>
                  </a:cubicBezTo>
                  <a:cubicBezTo>
                    <a:pt x="33" y="32"/>
                    <a:pt x="52" y="22"/>
                    <a:pt x="26" y="1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3" name="Freeform 226">
              <a:extLst>
                <a:ext uri="{FF2B5EF4-FFF2-40B4-BE49-F238E27FC236}">
                  <a16:creationId xmlns:a16="http://schemas.microsoft.com/office/drawing/2014/main" id="{B0566960-A21B-AFD4-98AC-D8FD57E6C405}"/>
                </a:ext>
              </a:extLst>
            </p:cNvPr>
            <p:cNvSpPr>
              <a:spLocks/>
            </p:cNvSpPr>
            <p:nvPr/>
          </p:nvSpPr>
          <p:spPr bwMode="gray">
            <a:xfrm>
              <a:off x="9155542" y="2085996"/>
              <a:ext cx="7192" cy="3596"/>
            </a:xfrm>
            <a:custGeom>
              <a:avLst/>
              <a:gdLst>
                <a:gd name="T0" fmla="*/ 2 w 4"/>
                <a:gd name="T1" fmla="*/ 0 h 2"/>
                <a:gd name="T2" fmla="*/ 0 w 4"/>
                <a:gd name="T3" fmla="*/ 2 h 2"/>
                <a:gd name="T4" fmla="*/ 4 w 4"/>
                <a:gd name="T5" fmla="*/ 1 h 2"/>
                <a:gd name="T6" fmla="*/ 2 w 4"/>
                <a:gd name="T7" fmla="*/ 0 h 2"/>
              </a:gdLst>
              <a:ahLst/>
              <a:cxnLst>
                <a:cxn ang="0">
                  <a:pos x="T0" y="T1"/>
                </a:cxn>
                <a:cxn ang="0">
                  <a:pos x="T2" y="T3"/>
                </a:cxn>
                <a:cxn ang="0">
                  <a:pos x="T4" y="T5"/>
                </a:cxn>
                <a:cxn ang="0">
                  <a:pos x="T6" y="T7"/>
                </a:cxn>
              </a:cxnLst>
              <a:rect l="0" t="0" r="r" b="b"/>
              <a:pathLst>
                <a:path w="4" h="2">
                  <a:moveTo>
                    <a:pt x="2" y="0"/>
                  </a:moveTo>
                  <a:lnTo>
                    <a:pt x="0" y="2"/>
                  </a:lnTo>
                  <a:lnTo>
                    <a:pt x="4"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4" name="Freeform 227">
              <a:extLst>
                <a:ext uri="{FF2B5EF4-FFF2-40B4-BE49-F238E27FC236}">
                  <a16:creationId xmlns:a16="http://schemas.microsoft.com/office/drawing/2014/main" id="{E8AE3C6B-A29F-2008-49D6-5ACEBD052778}"/>
                </a:ext>
              </a:extLst>
            </p:cNvPr>
            <p:cNvSpPr>
              <a:spLocks/>
            </p:cNvSpPr>
            <p:nvPr/>
          </p:nvSpPr>
          <p:spPr bwMode="gray">
            <a:xfrm>
              <a:off x="8542431" y="2558866"/>
              <a:ext cx="217555" cy="183393"/>
            </a:xfrm>
            <a:custGeom>
              <a:avLst/>
              <a:gdLst>
                <a:gd name="T0" fmla="*/ 132 w 365"/>
                <a:gd name="T1" fmla="*/ 43 h 308"/>
                <a:gd name="T2" fmla="*/ 124 w 365"/>
                <a:gd name="T3" fmla="*/ 42 h 308"/>
                <a:gd name="T4" fmla="*/ 119 w 365"/>
                <a:gd name="T5" fmla="*/ 61 h 308"/>
                <a:gd name="T6" fmla="*/ 96 w 365"/>
                <a:gd name="T7" fmla="*/ 87 h 308"/>
                <a:gd name="T8" fmla="*/ 89 w 365"/>
                <a:gd name="T9" fmla="*/ 79 h 308"/>
                <a:gd name="T10" fmla="*/ 73 w 365"/>
                <a:gd name="T11" fmla="*/ 86 h 308"/>
                <a:gd name="T12" fmla="*/ 63 w 365"/>
                <a:gd name="T13" fmla="*/ 70 h 308"/>
                <a:gd name="T14" fmla="*/ 44 w 365"/>
                <a:gd name="T15" fmla="*/ 84 h 308"/>
                <a:gd name="T16" fmla="*/ 73 w 365"/>
                <a:gd name="T17" fmla="*/ 101 h 308"/>
                <a:gd name="T18" fmla="*/ 61 w 365"/>
                <a:gd name="T19" fmla="*/ 104 h 308"/>
                <a:gd name="T20" fmla="*/ 46 w 365"/>
                <a:gd name="T21" fmla="*/ 111 h 308"/>
                <a:gd name="T22" fmla="*/ 28 w 365"/>
                <a:gd name="T23" fmla="*/ 103 h 308"/>
                <a:gd name="T24" fmla="*/ 20 w 365"/>
                <a:gd name="T25" fmla="*/ 118 h 308"/>
                <a:gd name="T26" fmla="*/ 1 w 365"/>
                <a:gd name="T27" fmla="*/ 121 h 308"/>
                <a:gd name="T28" fmla="*/ 25 w 365"/>
                <a:gd name="T29" fmla="*/ 171 h 308"/>
                <a:gd name="T30" fmla="*/ 20 w 365"/>
                <a:gd name="T31" fmla="*/ 194 h 308"/>
                <a:gd name="T32" fmla="*/ 42 w 365"/>
                <a:gd name="T33" fmla="*/ 199 h 308"/>
                <a:gd name="T34" fmla="*/ 75 w 365"/>
                <a:gd name="T35" fmla="*/ 224 h 308"/>
                <a:gd name="T36" fmla="*/ 113 w 365"/>
                <a:gd name="T37" fmla="*/ 210 h 308"/>
                <a:gd name="T38" fmla="*/ 110 w 365"/>
                <a:gd name="T39" fmla="*/ 195 h 308"/>
                <a:gd name="T40" fmla="*/ 141 w 365"/>
                <a:gd name="T41" fmla="*/ 173 h 308"/>
                <a:gd name="T42" fmla="*/ 158 w 365"/>
                <a:gd name="T43" fmla="*/ 208 h 308"/>
                <a:gd name="T44" fmla="*/ 156 w 365"/>
                <a:gd name="T45" fmla="*/ 235 h 308"/>
                <a:gd name="T46" fmla="*/ 175 w 365"/>
                <a:gd name="T47" fmla="*/ 240 h 308"/>
                <a:gd name="T48" fmla="*/ 166 w 365"/>
                <a:gd name="T49" fmla="*/ 274 h 308"/>
                <a:gd name="T50" fmla="*/ 203 w 365"/>
                <a:gd name="T51" fmla="*/ 279 h 308"/>
                <a:gd name="T52" fmla="*/ 211 w 365"/>
                <a:gd name="T53" fmla="*/ 264 h 308"/>
                <a:gd name="T54" fmla="*/ 218 w 365"/>
                <a:gd name="T55" fmla="*/ 280 h 308"/>
                <a:gd name="T56" fmla="*/ 218 w 365"/>
                <a:gd name="T57" fmla="*/ 276 h 308"/>
                <a:gd name="T58" fmla="*/ 255 w 365"/>
                <a:gd name="T59" fmla="*/ 293 h 308"/>
                <a:gd name="T60" fmla="*/ 279 w 365"/>
                <a:gd name="T61" fmla="*/ 256 h 308"/>
                <a:gd name="T62" fmla="*/ 312 w 365"/>
                <a:gd name="T63" fmla="*/ 265 h 308"/>
                <a:gd name="T64" fmla="*/ 321 w 365"/>
                <a:gd name="T65" fmla="*/ 243 h 308"/>
                <a:gd name="T66" fmla="*/ 314 w 365"/>
                <a:gd name="T67" fmla="*/ 235 h 308"/>
                <a:gd name="T68" fmla="*/ 326 w 365"/>
                <a:gd name="T69" fmla="*/ 209 h 308"/>
                <a:gd name="T70" fmla="*/ 323 w 365"/>
                <a:gd name="T71" fmla="*/ 197 h 308"/>
                <a:gd name="T72" fmla="*/ 334 w 365"/>
                <a:gd name="T73" fmla="*/ 190 h 308"/>
                <a:gd name="T74" fmla="*/ 337 w 365"/>
                <a:gd name="T75" fmla="*/ 221 h 308"/>
                <a:gd name="T76" fmla="*/ 329 w 365"/>
                <a:gd name="T77" fmla="*/ 232 h 308"/>
                <a:gd name="T78" fmla="*/ 332 w 365"/>
                <a:gd name="T79" fmla="*/ 243 h 308"/>
                <a:gd name="T80" fmla="*/ 348 w 365"/>
                <a:gd name="T81" fmla="*/ 225 h 308"/>
                <a:gd name="T82" fmla="*/ 346 w 365"/>
                <a:gd name="T83" fmla="*/ 171 h 308"/>
                <a:gd name="T84" fmla="*/ 298 w 365"/>
                <a:gd name="T85" fmla="*/ 165 h 308"/>
                <a:gd name="T86" fmla="*/ 337 w 365"/>
                <a:gd name="T87" fmla="*/ 137 h 308"/>
                <a:gd name="T88" fmla="*/ 330 w 365"/>
                <a:gd name="T89" fmla="*/ 117 h 308"/>
                <a:gd name="T90" fmla="*/ 317 w 365"/>
                <a:gd name="T91" fmla="*/ 78 h 308"/>
                <a:gd name="T92" fmla="*/ 319 w 365"/>
                <a:gd name="T93" fmla="*/ 44 h 308"/>
                <a:gd name="T94" fmla="*/ 294 w 365"/>
                <a:gd name="T95" fmla="*/ 16 h 308"/>
                <a:gd name="T96" fmla="*/ 230 w 365"/>
                <a:gd name="T97" fmla="*/ 17 h 308"/>
                <a:gd name="T98" fmla="*/ 208 w 365"/>
                <a:gd name="T99" fmla="*/ 0 h 308"/>
                <a:gd name="T100" fmla="*/ 185 w 365"/>
                <a:gd name="T101" fmla="*/ 26 h 308"/>
                <a:gd name="T102" fmla="*/ 162 w 365"/>
                <a:gd name="T103" fmla="*/ 21 h 308"/>
                <a:gd name="T104" fmla="*/ 144 w 365"/>
                <a:gd name="T105" fmla="*/ 16 h 308"/>
                <a:gd name="T106" fmla="*/ 132 w 365"/>
                <a:gd name="T107" fmla="*/ 4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5" h="308">
                  <a:moveTo>
                    <a:pt x="132" y="43"/>
                  </a:moveTo>
                  <a:cubicBezTo>
                    <a:pt x="124" y="42"/>
                    <a:pt x="124" y="42"/>
                    <a:pt x="124" y="42"/>
                  </a:cubicBezTo>
                  <a:cubicBezTo>
                    <a:pt x="119" y="61"/>
                    <a:pt x="119" y="61"/>
                    <a:pt x="119" y="61"/>
                  </a:cubicBezTo>
                  <a:cubicBezTo>
                    <a:pt x="96" y="87"/>
                    <a:pt x="96" y="87"/>
                    <a:pt x="96" y="87"/>
                  </a:cubicBezTo>
                  <a:cubicBezTo>
                    <a:pt x="96" y="87"/>
                    <a:pt x="100" y="79"/>
                    <a:pt x="89" y="79"/>
                  </a:cubicBezTo>
                  <a:cubicBezTo>
                    <a:pt x="81" y="79"/>
                    <a:pt x="73" y="86"/>
                    <a:pt x="73" y="86"/>
                  </a:cubicBezTo>
                  <a:cubicBezTo>
                    <a:pt x="73" y="86"/>
                    <a:pt x="70" y="70"/>
                    <a:pt x="63" y="70"/>
                  </a:cubicBezTo>
                  <a:cubicBezTo>
                    <a:pt x="59" y="70"/>
                    <a:pt x="44" y="73"/>
                    <a:pt x="44" y="84"/>
                  </a:cubicBezTo>
                  <a:cubicBezTo>
                    <a:pt x="43" y="92"/>
                    <a:pt x="73" y="101"/>
                    <a:pt x="73" y="101"/>
                  </a:cubicBezTo>
                  <a:cubicBezTo>
                    <a:pt x="61" y="104"/>
                    <a:pt x="61" y="104"/>
                    <a:pt x="61" y="104"/>
                  </a:cubicBezTo>
                  <a:cubicBezTo>
                    <a:pt x="46" y="111"/>
                    <a:pt x="46" y="111"/>
                    <a:pt x="46" y="111"/>
                  </a:cubicBezTo>
                  <a:cubicBezTo>
                    <a:pt x="28" y="103"/>
                    <a:pt x="28" y="103"/>
                    <a:pt x="28" y="103"/>
                  </a:cubicBezTo>
                  <a:cubicBezTo>
                    <a:pt x="20" y="118"/>
                    <a:pt x="20" y="118"/>
                    <a:pt x="20" y="118"/>
                  </a:cubicBezTo>
                  <a:cubicBezTo>
                    <a:pt x="20" y="118"/>
                    <a:pt x="1" y="109"/>
                    <a:pt x="1" y="121"/>
                  </a:cubicBezTo>
                  <a:cubicBezTo>
                    <a:pt x="0" y="132"/>
                    <a:pt x="25" y="171"/>
                    <a:pt x="25" y="171"/>
                  </a:cubicBezTo>
                  <a:cubicBezTo>
                    <a:pt x="20" y="194"/>
                    <a:pt x="20" y="194"/>
                    <a:pt x="20" y="194"/>
                  </a:cubicBezTo>
                  <a:cubicBezTo>
                    <a:pt x="42" y="199"/>
                    <a:pt x="42" y="199"/>
                    <a:pt x="42" y="199"/>
                  </a:cubicBezTo>
                  <a:cubicBezTo>
                    <a:pt x="42" y="199"/>
                    <a:pt x="48" y="222"/>
                    <a:pt x="75" y="224"/>
                  </a:cubicBezTo>
                  <a:cubicBezTo>
                    <a:pt x="101" y="229"/>
                    <a:pt x="113" y="210"/>
                    <a:pt x="113" y="210"/>
                  </a:cubicBezTo>
                  <a:cubicBezTo>
                    <a:pt x="110" y="195"/>
                    <a:pt x="110" y="195"/>
                    <a:pt x="110" y="195"/>
                  </a:cubicBezTo>
                  <a:cubicBezTo>
                    <a:pt x="110" y="195"/>
                    <a:pt x="122" y="168"/>
                    <a:pt x="141" y="173"/>
                  </a:cubicBezTo>
                  <a:cubicBezTo>
                    <a:pt x="155" y="178"/>
                    <a:pt x="158" y="208"/>
                    <a:pt x="158" y="208"/>
                  </a:cubicBezTo>
                  <a:cubicBezTo>
                    <a:pt x="156" y="235"/>
                    <a:pt x="156" y="235"/>
                    <a:pt x="156" y="235"/>
                  </a:cubicBezTo>
                  <a:cubicBezTo>
                    <a:pt x="175" y="240"/>
                    <a:pt x="175" y="240"/>
                    <a:pt x="175" y="240"/>
                  </a:cubicBezTo>
                  <a:cubicBezTo>
                    <a:pt x="175" y="240"/>
                    <a:pt x="147" y="273"/>
                    <a:pt x="166" y="274"/>
                  </a:cubicBezTo>
                  <a:cubicBezTo>
                    <a:pt x="188" y="275"/>
                    <a:pt x="203" y="279"/>
                    <a:pt x="203" y="279"/>
                  </a:cubicBezTo>
                  <a:cubicBezTo>
                    <a:pt x="211" y="264"/>
                    <a:pt x="211" y="264"/>
                    <a:pt x="211" y="264"/>
                  </a:cubicBezTo>
                  <a:cubicBezTo>
                    <a:pt x="218" y="280"/>
                    <a:pt x="218" y="280"/>
                    <a:pt x="218" y="280"/>
                  </a:cubicBezTo>
                  <a:cubicBezTo>
                    <a:pt x="218" y="276"/>
                    <a:pt x="218" y="276"/>
                    <a:pt x="218" y="276"/>
                  </a:cubicBezTo>
                  <a:cubicBezTo>
                    <a:pt x="222" y="276"/>
                    <a:pt x="239" y="308"/>
                    <a:pt x="255" y="293"/>
                  </a:cubicBezTo>
                  <a:cubicBezTo>
                    <a:pt x="274" y="279"/>
                    <a:pt x="267" y="263"/>
                    <a:pt x="279" y="256"/>
                  </a:cubicBezTo>
                  <a:cubicBezTo>
                    <a:pt x="290" y="253"/>
                    <a:pt x="293" y="272"/>
                    <a:pt x="312" y="265"/>
                  </a:cubicBezTo>
                  <a:cubicBezTo>
                    <a:pt x="328" y="255"/>
                    <a:pt x="321" y="243"/>
                    <a:pt x="321" y="243"/>
                  </a:cubicBezTo>
                  <a:cubicBezTo>
                    <a:pt x="314" y="235"/>
                    <a:pt x="314" y="235"/>
                    <a:pt x="314" y="235"/>
                  </a:cubicBezTo>
                  <a:cubicBezTo>
                    <a:pt x="326" y="209"/>
                    <a:pt x="326" y="209"/>
                    <a:pt x="326" y="209"/>
                  </a:cubicBezTo>
                  <a:cubicBezTo>
                    <a:pt x="323" y="197"/>
                    <a:pt x="323" y="197"/>
                    <a:pt x="323" y="197"/>
                  </a:cubicBezTo>
                  <a:cubicBezTo>
                    <a:pt x="334" y="190"/>
                    <a:pt x="334" y="190"/>
                    <a:pt x="334" y="190"/>
                  </a:cubicBezTo>
                  <a:cubicBezTo>
                    <a:pt x="337" y="221"/>
                    <a:pt x="337" y="221"/>
                    <a:pt x="337" y="221"/>
                  </a:cubicBezTo>
                  <a:cubicBezTo>
                    <a:pt x="329" y="232"/>
                    <a:pt x="329" y="232"/>
                    <a:pt x="329" y="232"/>
                  </a:cubicBezTo>
                  <a:cubicBezTo>
                    <a:pt x="332" y="243"/>
                    <a:pt x="332" y="243"/>
                    <a:pt x="332" y="243"/>
                  </a:cubicBezTo>
                  <a:cubicBezTo>
                    <a:pt x="332" y="243"/>
                    <a:pt x="343" y="244"/>
                    <a:pt x="348" y="225"/>
                  </a:cubicBezTo>
                  <a:cubicBezTo>
                    <a:pt x="348" y="210"/>
                    <a:pt x="365" y="180"/>
                    <a:pt x="346" y="171"/>
                  </a:cubicBezTo>
                  <a:cubicBezTo>
                    <a:pt x="324" y="163"/>
                    <a:pt x="290" y="176"/>
                    <a:pt x="298" y="165"/>
                  </a:cubicBezTo>
                  <a:cubicBezTo>
                    <a:pt x="306" y="154"/>
                    <a:pt x="336" y="159"/>
                    <a:pt x="337" y="137"/>
                  </a:cubicBezTo>
                  <a:cubicBezTo>
                    <a:pt x="338" y="114"/>
                    <a:pt x="330" y="117"/>
                    <a:pt x="330" y="117"/>
                  </a:cubicBezTo>
                  <a:cubicBezTo>
                    <a:pt x="317" y="78"/>
                    <a:pt x="317" y="78"/>
                    <a:pt x="317" y="78"/>
                  </a:cubicBezTo>
                  <a:cubicBezTo>
                    <a:pt x="319" y="44"/>
                    <a:pt x="319" y="44"/>
                    <a:pt x="319" y="44"/>
                  </a:cubicBezTo>
                  <a:cubicBezTo>
                    <a:pt x="319" y="44"/>
                    <a:pt x="323" y="25"/>
                    <a:pt x="294" y="16"/>
                  </a:cubicBezTo>
                  <a:cubicBezTo>
                    <a:pt x="264" y="7"/>
                    <a:pt x="230" y="17"/>
                    <a:pt x="230" y="17"/>
                  </a:cubicBezTo>
                  <a:cubicBezTo>
                    <a:pt x="208" y="0"/>
                    <a:pt x="208" y="0"/>
                    <a:pt x="208" y="0"/>
                  </a:cubicBezTo>
                  <a:cubicBezTo>
                    <a:pt x="185" y="26"/>
                    <a:pt x="185" y="26"/>
                    <a:pt x="185" y="26"/>
                  </a:cubicBezTo>
                  <a:cubicBezTo>
                    <a:pt x="162" y="21"/>
                    <a:pt x="162" y="21"/>
                    <a:pt x="162" y="21"/>
                  </a:cubicBezTo>
                  <a:cubicBezTo>
                    <a:pt x="144" y="16"/>
                    <a:pt x="144" y="16"/>
                    <a:pt x="144" y="16"/>
                  </a:cubicBezTo>
                  <a:lnTo>
                    <a:pt x="132" y="4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5" name="Freeform 228">
              <a:extLst>
                <a:ext uri="{FF2B5EF4-FFF2-40B4-BE49-F238E27FC236}">
                  <a16:creationId xmlns:a16="http://schemas.microsoft.com/office/drawing/2014/main" id="{4A455840-F9AD-E015-E928-4E0CF782F105}"/>
                </a:ext>
              </a:extLst>
            </p:cNvPr>
            <p:cNvSpPr>
              <a:spLocks/>
            </p:cNvSpPr>
            <p:nvPr/>
          </p:nvSpPr>
          <p:spPr bwMode="gray">
            <a:xfrm>
              <a:off x="9132167" y="2114764"/>
              <a:ext cx="8991" cy="12586"/>
            </a:xfrm>
            <a:custGeom>
              <a:avLst/>
              <a:gdLst>
                <a:gd name="T0" fmla="*/ 5 w 5"/>
                <a:gd name="T1" fmla="*/ 6 h 7"/>
                <a:gd name="T2" fmla="*/ 2 w 5"/>
                <a:gd name="T3" fmla="*/ 0 h 7"/>
                <a:gd name="T4" fmla="*/ 0 w 5"/>
                <a:gd name="T5" fmla="*/ 7 h 7"/>
                <a:gd name="T6" fmla="*/ 5 w 5"/>
                <a:gd name="T7" fmla="*/ 6 h 7"/>
              </a:gdLst>
              <a:ahLst/>
              <a:cxnLst>
                <a:cxn ang="0">
                  <a:pos x="T0" y="T1"/>
                </a:cxn>
                <a:cxn ang="0">
                  <a:pos x="T2" y="T3"/>
                </a:cxn>
                <a:cxn ang="0">
                  <a:pos x="T4" y="T5"/>
                </a:cxn>
                <a:cxn ang="0">
                  <a:pos x="T6" y="T7"/>
                </a:cxn>
              </a:cxnLst>
              <a:rect l="0" t="0" r="r" b="b"/>
              <a:pathLst>
                <a:path w="5" h="7">
                  <a:moveTo>
                    <a:pt x="5" y="6"/>
                  </a:moveTo>
                  <a:lnTo>
                    <a:pt x="2" y="0"/>
                  </a:lnTo>
                  <a:lnTo>
                    <a:pt x="0" y="7"/>
                  </a:lnTo>
                  <a:lnTo>
                    <a:pt x="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6" name="Freeform 229">
              <a:extLst>
                <a:ext uri="{FF2B5EF4-FFF2-40B4-BE49-F238E27FC236}">
                  <a16:creationId xmlns:a16="http://schemas.microsoft.com/office/drawing/2014/main" id="{FE3E7F95-5D93-AD7C-8C1E-D0666931CED0}"/>
                </a:ext>
              </a:extLst>
            </p:cNvPr>
            <p:cNvSpPr>
              <a:spLocks/>
            </p:cNvSpPr>
            <p:nvPr/>
          </p:nvSpPr>
          <p:spPr bwMode="gray">
            <a:xfrm>
              <a:off x="9114188" y="2078805"/>
              <a:ext cx="16183" cy="21576"/>
            </a:xfrm>
            <a:custGeom>
              <a:avLst/>
              <a:gdLst>
                <a:gd name="T0" fmla="*/ 5 w 9"/>
                <a:gd name="T1" fmla="*/ 5 h 12"/>
                <a:gd name="T2" fmla="*/ 8 w 9"/>
                <a:gd name="T3" fmla="*/ 5 h 12"/>
                <a:gd name="T4" fmla="*/ 9 w 9"/>
                <a:gd name="T5" fmla="*/ 0 h 12"/>
                <a:gd name="T6" fmla="*/ 0 w 9"/>
                <a:gd name="T7" fmla="*/ 2 h 12"/>
                <a:gd name="T8" fmla="*/ 6 w 9"/>
                <a:gd name="T9" fmla="*/ 12 h 12"/>
                <a:gd name="T10" fmla="*/ 5 w 9"/>
                <a:gd name="T11" fmla="*/ 5 h 12"/>
              </a:gdLst>
              <a:ahLst/>
              <a:cxnLst>
                <a:cxn ang="0">
                  <a:pos x="T0" y="T1"/>
                </a:cxn>
                <a:cxn ang="0">
                  <a:pos x="T2" y="T3"/>
                </a:cxn>
                <a:cxn ang="0">
                  <a:pos x="T4" y="T5"/>
                </a:cxn>
                <a:cxn ang="0">
                  <a:pos x="T6" y="T7"/>
                </a:cxn>
                <a:cxn ang="0">
                  <a:pos x="T8" y="T9"/>
                </a:cxn>
                <a:cxn ang="0">
                  <a:pos x="T10" y="T11"/>
                </a:cxn>
              </a:cxnLst>
              <a:rect l="0" t="0" r="r" b="b"/>
              <a:pathLst>
                <a:path w="9" h="12">
                  <a:moveTo>
                    <a:pt x="5" y="5"/>
                  </a:moveTo>
                  <a:lnTo>
                    <a:pt x="8" y="5"/>
                  </a:lnTo>
                  <a:lnTo>
                    <a:pt x="9" y="0"/>
                  </a:lnTo>
                  <a:lnTo>
                    <a:pt x="0" y="2"/>
                  </a:lnTo>
                  <a:lnTo>
                    <a:pt x="6" y="12"/>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7" name="Freeform 230">
              <a:extLst>
                <a:ext uri="{FF2B5EF4-FFF2-40B4-BE49-F238E27FC236}">
                  <a16:creationId xmlns:a16="http://schemas.microsoft.com/office/drawing/2014/main" id="{10F54851-0FC6-CCB6-9B37-95F81C9A44C5}"/>
                </a:ext>
              </a:extLst>
            </p:cNvPr>
            <p:cNvSpPr>
              <a:spLocks/>
            </p:cNvSpPr>
            <p:nvPr/>
          </p:nvSpPr>
          <p:spPr bwMode="gray">
            <a:xfrm>
              <a:off x="9121381" y="2100381"/>
              <a:ext cx="8991" cy="16183"/>
            </a:xfrm>
            <a:custGeom>
              <a:avLst/>
              <a:gdLst>
                <a:gd name="T0" fmla="*/ 4 w 5"/>
                <a:gd name="T1" fmla="*/ 9 h 9"/>
                <a:gd name="T2" fmla="*/ 5 w 5"/>
                <a:gd name="T3" fmla="*/ 1 h 9"/>
                <a:gd name="T4" fmla="*/ 5 w 5"/>
                <a:gd name="T5" fmla="*/ 0 h 9"/>
                <a:gd name="T6" fmla="*/ 0 w 5"/>
                <a:gd name="T7" fmla="*/ 6 h 9"/>
                <a:gd name="T8" fmla="*/ 4 w 5"/>
                <a:gd name="T9" fmla="*/ 9 h 9"/>
              </a:gdLst>
              <a:ahLst/>
              <a:cxnLst>
                <a:cxn ang="0">
                  <a:pos x="T0" y="T1"/>
                </a:cxn>
                <a:cxn ang="0">
                  <a:pos x="T2" y="T3"/>
                </a:cxn>
                <a:cxn ang="0">
                  <a:pos x="T4" y="T5"/>
                </a:cxn>
                <a:cxn ang="0">
                  <a:pos x="T6" y="T7"/>
                </a:cxn>
                <a:cxn ang="0">
                  <a:pos x="T8" y="T9"/>
                </a:cxn>
              </a:cxnLst>
              <a:rect l="0" t="0" r="r" b="b"/>
              <a:pathLst>
                <a:path w="5" h="9">
                  <a:moveTo>
                    <a:pt x="4" y="9"/>
                  </a:moveTo>
                  <a:lnTo>
                    <a:pt x="5" y="1"/>
                  </a:lnTo>
                  <a:lnTo>
                    <a:pt x="5" y="0"/>
                  </a:lnTo>
                  <a:lnTo>
                    <a:pt x="0" y="6"/>
                  </a:lnTo>
                  <a:lnTo>
                    <a:pt x="4"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8" name="Freeform 231">
              <a:extLst>
                <a:ext uri="{FF2B5EF4-FFF2-40B4-BE49-F238E27FC236}">
                  <a16:creationId xmlns:a16="http://schemas.microsoft.com/office/drawing/2014/main" id="{E7C8FA62-1A74-9C86-D1F5-C5630BAA0B31}"/>
                </a:ext>
              </a:extLst>
            </p:cNvPr>
            <p:cNvSpPr>
              <a:spLocks/>
            </p:cNvSpPr>
            <p:nvPr/>
          </p:nvSpPr>
          <p:spPr bwMode="gray">
            <a:xfrm>
              <a:off x="9105199" y="2098584"/>
              <a:ext cx="12586" cy="14383"/>
            </a:xfrm>
            <a:custGeom>
              <a:avLst/>
              <a:gdLst>
                <a:gd name="T0" fmla="*/ 7 w 7"/>
                <a:gd name="T1" fmla="*/ 4 h 8"/>
                <a:gd name="T2" fmla="*/ 2 w 7"/>
                <a:gd name="T3" fmla="*/ 0 h 8"/>
                <a:gd name="T4" fmla="*/ 0 w 7"/>
                <a:gd name="T5" fmla="*/ 5 h 8"/>
                <a:gd name="T6" fmla="*/ 5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lnTo>
                    <a:pt x="2" y="0"/>
                  </a:lnTo>
                  <a:lnTo>
                    <a:pt x="0" y="5"/>
                  </a:lnTo>
                  <a:lnTo>
                    <a:pt x="5" y="8"/>
                  </a:lnTo>
                  <a:lnTo>
                    <a:pt x="7"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9" name="Freeform 232">
              <a:extLst>
                <a:ext uri="{FF2B5EF4-FFF2-40B4-BE49-F238E27FC236}">
                  <a16:creationId xmlns:a16="http://schemas.microsoft.com/office/drawing/2014/main" id="{6A76CE16-F96B-D924-5CB7-E66F5AC72CE0}"/>
                </a:ext>
              </a:extLst>
            </p:cNvPr>
            <p:cNvSpPr>
              <a:spLocks/>
            </p:cNvSpPr>
            <p:nvPr/>
          </p:nvSpPr>
          <p:spPr bwMode="gray">
            <a:xfrm>
              <a:off x="9110593" y="2120159"/>
              <a:ext cx="10788" cy="8991"/>
            </a:xfrm>
            <a:custGeom>
              <a:avLst/>
              <a:gdLst>
                <a:gd name="T0" fmla="*/ 0 w 6"/>
                <a:gd name="T1" fmla="*/ 1 h 5"/>
                <a:gd name="T2" fmla="*/ 4 w 6"/>
                <a:gd name="T3" fmla="*/ 5 h 5"/>
                <a:gd name="T4" fmla="*/ 6 w 6"/>
                <a:gd name="T5" fmla="*/ 3 h 5"/>
                <a:gd name="T6" fmla="*/ 1 w 6"/>
                <a:gd name="T7" fmla="*/ 0 h 5"/>
                <a:gd name="T8" fmla="*/ 0 w 6"/>
                <a:gd name="T9" fmla="*/ 1 h 5"/>
              </a:gdLst>
              <a:ahLst/>
              <a:cxnLst>
                <a:cxn ang="0">
                  <a:pos x="T0" y="T1"/>
                </a:cxn>
                <a:cxn ang="0">
                  <a:pos x="T2" y="T3"/>
                </a:cxn>
                <a:cxn ang="0">
                  <a:pos x="T4" y="T5"/>
                </a:cxn>
                <a:cxn ang="0">
                  <a:pos x="T6" y="T7"/>
                </a:cxn>
                <a:cxn ang="0">
                  <a:pos x="T8" y="T9"/>
                </a:cxn>
              </a:cxnLst>
              <a:rect l="0" t="0" r="r" b="b"/>
              <a:pathLst>
                <a:path w="6" h="5">
                  <a:moveTo>
                    <a:pt x="0" y="1"/>
                  </a:moveTo>
                  <a:lnTo>
                    <a:pt x="4" y="5"/>
                  </a:lnTo>
                  <a:lnTo>
                    <a:pt x="6" y="3"/>
                  </a:lnTo>
                  <a:lnTo>
                    <a:pt x="1"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0" name="Freeform 233">
              <a:extLst>
                <a:ext uri="{FF2B5EF4-FFF2-40B4-BE49-F238E27FC236}">
                  <a16:creationId xmlns:a16="http://schemas.microsoft.com/office/drawing/2014/main" id="{7A6C2E97-046A-2561-D51E-FE1EF3414820}"/>
                </a:ext>
              </a:extLst>
            </p:cNvPr>
            <p:cNvSpPr>
              <a:spLocks/>
            </p:cNvSpPr>
            <p:nvPr/>
          </p:nvSpPr>
          <p:spPr bwMode="gray">
            <a:xfrm>
              <a:off x="8826512" y="2274785"/>
              <a:ext cx="5395" cy="19778"/>
            </a:xfrm>
            <a:custGeom>
              <a:avLst/>
              <a:gdLst>
                <a:gd name="T0" fmla="*/ 1 w 12"/>
                <a:gd name="T1" fmla="*/ 11 h 34"/>
                <a:gd name="T2" fmla="*/ 0 w 12"/>
                <a:gd name="T3" fmla="*/ 26 h 34"/>
                <a:gd name="T4" fmla="*/ 0 w 12"/>
                <a:gd name="T5" fmla="*/ 34 h 34"/>
                <a:gd name="T6" fmla="*/ 7 w 12"/>
                <a:gd name="T7" fmla="*/ 27 h 34"/>
                <a:gd name="T8" fmla="*/ 4 w 12"/>
                <a:gd name="T9" fmla="*/ 15 h 34"/>
                <a:gd name="T10" fmla="*/ 12 w 12"/>
                <a:gd name="T11" fmla="*/ 0 h 34"/>
                <a:gd name="T12" fmla="*/ 1 w 12"/>
                <a:gd name="T13" fmla="*/ 11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1" y="11"/>
                  </a:moveTo>
                  <a:cubicBezTo>
                    <a:pt x="0" y="26"/>
                    <a:pt x="0" y="26"/>
                    <a:pt x="0" y="26"/>
                  </a:cubicBezTo>
                  <a:cubicBezTo>
                    <a:pt x="0" y="34"/>
                    <a:pt x="0" y="34"/>
                    <a:pt x="0" y="34"/>
                  </a:cubicBezTo>
                  <a:cubicBezTo>
                    <a:pt x="7" y="27"/>
                    <a:pt x="7" y="27"/>
                    <a:pt x="7" y="27"/>
                  </a:cubicBezTo>
                  <a:cubicBezTo>
                    <a:pt x="4" y="15"/>
                    <a:pt x="4" y="15"/>
                    <a:pt x="4" y="15"/>
                  </a:cubicBezTo>
                  <a:cubicBezTo>
                    <a:pt x="12" y="0"/>
                    <a:pt x="12" y="0"/>
                    <a:pt x="12" y="0"/>
                  </a:cubicBezTo>
                  <a:cubicBezTo>
                    <a:pt x="12" y="0"/>
                    <a:pt x="1" y="7"/>
                    <a:pt x="1"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1" name="Freeform 234">
              <a:extLst>
                <a:ext uri="{FF2B5EF4-FFF2-40B4-BE49-F238E27FC236}">
                  <a16:creationId xmlns:a16="http://schemas.microsoft.com/office/drawing/2014/main" id="{DD0B9018-2155-9850-2D9A-D0391F5A32B4}"/>
                </a:ext>
              </a:extLst>
            </p:cNvPr>
            <p:cNvSpPr>
              <a:spLocks/>
            </p:cNvSpPr>
            <p:nvPr/>
          </p:nvSpPr>
          <p:spPr bwMode="gray">
            <a:xfrm>
              <a:off x="8715037" y="2262199"/>
              <a:ext cx="21576" cy="39556"/>
            </a:xfrm>
            <a:custGeom>
              <a:avLst/>
              <a:gdLst>
                <a:gd name="T0" fmla="*/ 16 w 38"/>
                <a:gd name="T1" fmla="*/ 22 h 68"/>
                <a:gd name="T2" fmla="*/ 9 w 38"/>
                <a:gd name="T3" fmla="*/ 22 h 68"/>
                <a:gd name="T4" fmla="*/ 3 w 38"/>
                <a:gd name="T5" fmla="*/ 60 h 68"/>
                <a:gd name="T6" fmla="*/ 18 w 38"/>
                <a:gd name="T7" fmla="*/ 68 h 68"/>
                <a:gd name="T8" fmla="*/ 25 w 38"/>
                <a:gd name="T9" fmla="*/ 65 h 68"/>
                <a:gd name="T10" fmla="*/ 15 w 38"/>
                <a:gd name="T11" fmla="*/ 53 h 68"/>
                <a:gd name="T12" fmla="*/ 26 w 38"/>
                <a:gd name="T13" fmla="*/ 53 h 68"/>
                <a:gd name="T14" fmla="*/ 27 w 38"/>
                <a:gd name="T15" fmla="*/ 38 h 68"/>
                <a:gd name="T16" fmla="*/ 34 w 38"/>
                <a:gd name="T17" fmla="*/ 34 h 68"/>
                <a:gd name="T18" fmla="*/ 35 w 38"/>
                <a:gd name="T19" fmla="*/ 15 h 68"/>
                <a:gd name="T20" fmla="*/ 25 w 38"/>
                <a:gd name="T21" fmla="*/ 0 h 68"/>
                <a:gd name="T22" fmla="*/ 16 w 38"/>
                <a:gd name="T23" fmla="*/ 2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8">
                  <a:moveTo>
                    <a:pt x="16" y="22"/>
                  </a:moveTo>
                  <a:cubicBezTo>
                    <a:pt x="16" y="22"/>
                    <a:pt x="9" y="10"/>
                    <a:pt x="9" y="22"/>
                  </a:cubicBezTo>
                  <a:cubicBezTo>
                    <a:pt x="4" y="33"/>
                    <a:pt x="0" y="56"/>
                    <a:pt x="3" y="60"/>
                  </a:cubicBezTo>
                  <a:cubicBezTo>
                    <a:pt x="7" y="64"/>
                    <a:pt x="18" y="68"/>
                    <a:pt x="18" y="68"/>
                  </a:cubicBezTo>
                  <a:cubicBezTo>
                    <a:pt x="25" y="65"/>
                    <a:pt x="25" y="65"/>
                    <a:pt x="25" y="65"/>
                  </a:cubicBezTo>
                  <a:cubicBezTo>
                    <a:pt x="15" y="53"/>
                    <a:pt x="15" y="53"/>
                    <a:pt x="15" y="53"/>
                  </a:cubicBezTo>
                  <a:cubicBezTo>
                    <a:pt x="26" y="53"/>
                    <a:pt x="26" y="53"/>
                    <a:pt x="26" y="53"/>
                  </a:cubicBezTo>
                  <a:cubicBezTo>
                    <a:pt x="27" y="38"/>
                    <a:pt x="27" y="38"/>
                    <a:pt x="27" y="38"/>
                  </a:cubicBezTo>
                  <a:cubicBezTo>
                    <a:pt x="34" y="34"/>
                    <a:pt x="34" y="34"/>
                    <a:pt x="34" y="34"/>
                  </a:cubicBezTo>
                  <a:cubicBezTo>
                    <a:pt x="34" y="34"/>
                    <a:pt x="38" y="27"/>
                    <a:pt x="35" y="15"/>
                  </a:cubicBezTo>
                  <a:cubicBezTo>
                    <a:pt x="36" y="0"/>
                    <a:pt x="25" y="0"/>
                    <a:pt x="25" y="0"/>
                  </a:cubicBezTo>
                  <a:lnTo>
                    <a:pt x="16" y="2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2" name="Freeform 235">
              <a:extLst>
                <a:ext uri="{FF2B5EF4-FFF2-40B4-BE49-F238E27FC236}">
                  <a16:creationId xmlns:a16="http://schemas.microsoft.com/office/drawing/2014/main" id="{1186AEE7-1A96-8625-C9AE-069C9615A94E}"/>
                </a:ext>
              </a:extLst>
            </p:cNvPr>
            <p:cNvSpPr>
              <a:spLocks/>
            </p:cNvSpPr>
            <p:nvPr/>
          </p:nvSpPr>
          <p:spPr bwMode="gray">
            <a:xfrm>
              <a:off x="9302977" y="1942159"/>
              <a:ext cx="12586" cy="7192"/>
            </a:xfrm>
            <a:custGeom>
              <a:avLst/>
              <a:gdLst>
                <a:gd name="T0" fmla="*/ 1 w 7"/>
                <a:gd name="T1" fmla="*/ 0 h 4"/>
                <a:gd name="T2" fmla="*/ 0 w 7"/>
                <a:gd name="T3" fmla="*/ 4 h 4"/>
                <a:gd name="T4" fmla="*/ 7 w 7"/>
                <a:gd name="T5" fmla="*/ 4 h 4"/>
                <a:gd name="T6" fmla="*/ 1 w 7"/>
                <a:gd name="T7" fmla="*/ 0 h 4"/>
              </a:gdLst>
              <a:ahLst/>
              <a:cxnLst>
                <a:cxn ang="0">
                  <a:pos x="T0" y="T1"/>
                </a:cxn>
                <a:cxn ang="0">
                  <a:pos x="T2" y="T3"/>
                </a:cxn>
                <a:cxn ang="0">
                  <a:pos x="T4" y="T5"/>
                </a:cxn>
                <a:cxn ang="0">
                  <a:pos x="T6" y="T7"/>
                </a:cxn>
              </a:cxnLst>
              <a:rect l="0" t="0" r="r" b="b"/>
              <a:pathLst>
                <a:path w="7" h="4">
                  <a:moveTo>
                    <a:pt x="1" y="0"/>
                  </a:moveTo>
                  <a:lnTo>
                    <a:pt x="0" y="4"/>
                  </a:lnTo>
                  <a:lnTo>
                    <a:pt x="7" y="4"/>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3" name="Freeform 236">
              <a:extLst>
                <a:ext uri="{FF2B5EF4-FFF2-40B4-BE49-F238E27FC236}">
                  <a16:creationId xmlns:a16="http://schemas.microsoft.com/office/drawing/2014/main" id="{319386E0-E7E3-79CF-CDE5-111ACDDB3BA1}"/>
                </a:ext>
              </a:extLst>
            </p:cNvPr>
            <p:cNvSpPr>
              <a:spLocks/>
            </p:cNvSpPr>
            <p:nvPr/>
          </p:nvSpPr>
          <p:spPr bwMode="gray">
            <a:xfrm>
              <a:off x="9076431" y="2098584"/>
              <a:ext cx="41354" cy="48546"/>
            </a:xfrm>
            <a:custGeom>
              <a:avLst/>
              <a:gdLst>
                <a:gd name="T0" fmla="*/ 25 w 69"/>
                <a:gd name="T1" fmla="*/ 62 h 82"/>
                <a:gd name="T2" fmla="*/ 44 w 69"/>
                <a:gd name="T3" fmla="*/ 62 h 82"/>
                <a:gd name="T4" fmla="*/ 47 w 69"/>
                <a:gd name="T5" fmla="*/ 74 h 82"/>
                <a:gd name="T6" fmla="*/ 61 w 69"/>
                <a:gd name="T7" fmla="*/ 82 h 82"/>
                <a:gd name="T8" fmla="*/ 69 w 69"/>
                <a:gd name="T9" fmla="*/ 71 h 82"/>
                <a:gd name="T10" fmla="*/ 62 w 69"/>
                <a:gd name="T11" fmla="*/ 63 h 82"/>
                <a:gd name="T12" fmla="*/ 59 w 69"/>
                <a:gd name="T13" fmla="*/ 52 h 82"/>
                <a:gd name="T14" fmla="*/ 41 w 69"/>
                <a:gd name="T15" fmla="*/ 47 h 82"/>
                <a:gd name="T16" fmla="*/ 49 w 69"/>
                <a:gd name="T17" fmla="*/ 36 h 82"/>
                <a:gd name="T18" fmla="*/ 35 w 69"/>
                <a:gd name="T19" fmla="*/ 16 h 82"/>
                <a:gd name="T20" fmla="*/ 12 w 69"/>
                <a:gd name="T21" fmla="*/ 23 h 82"/>
                <a:gd name="T22" fmla="*/ 25 w 69"/>
                <a:gd name="T23"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82">
                  <a:moveTo>
                    <a:pt x="25" y="62"/>
                  </a:moveTo>
                  <a:cubicBezTo>
                    <a:pt x="44" y="62"/>
                    <a:pt x="44" y="62"/>
                    <a:pt x="44" y="62"/>
                  </a:cubicBezTo>
                  <a:cubicBezTo>
                    <a:pt x="47" y="74"/>
                    <a:pt x="47" y="74"/>
                    <a:pt x="47" y="74"/>
                  </a:cubicBezTo>
                  <a:cubicBezTo>
                    <a:pt x="61" y="82"/>
                    <a:pt x="61" y="82"/>
                    <a:pt x="61" y="82"/>
                  </a:cubicBezTo>
                  <a:cubicBezTo>
                    <a:pt x="69" y="71"/>
                    <a:pt x="69" y="71"/>
                    <a:pt x="69" y="71"/>
                  </a:cubicBezTo>
                  <a:cubicBezTo>
                    <a:pt x="62" y="63"/>
                    <a:pt x="62" y="63"/>
                    <a:pt x="62" y="63"/>
                  </a:cubicBezTo>
                  <a:cubicBezTo>
                    <a:pt x="59" y="52"/>
                    <a:pt x="59" y="52"/>
                    <a:pt x="59" y="52"/>
                  </a:cubicBezTo>
                  <a:cubicBezTo>
                    <a:pt x="41" y="47"/>
                    <a:pt x="41" y="47"/>
                    <a:pt x="41" y="47"/>
                  </a:cubicBezTo>
                  <a:cubicBezTo>
                    <a:pt x="49" y="36"/>
                    <a:pt x="49" y="36"/>
                    <a:pt x="49" y="36"/>
                  </a:cubicBezTo>
                  <a:cubicBezTo>
                    <a:pt x="49" y="36"/>
                    <a:pt x="49" y="24"/>
                    <a:pt x="35" y="16"/>
                  </a:cubicBezTo>
                  <a:cubicBezTo>
                    <a:pt x="20" y="8"/>
                    <a:pt x="20" y="0"/>
                    <a:pt x="12" y="23"/>
                  </a:cubicBezTo>
                  <a:cubicBezTo>
                    <a:pt x="0" y="41"/>
                    <a:pt x="7" y="49"/>
                    <a:pt x="25" y="6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4" name="Freeform 237">
              <a:extLst>
                <a:ext uri="{FF2B5EF4-FFF2-40B4-BE49-F238E27FC236}">
                  <a16:creationId xmlns:a16="http://schemas.microsoft.com/office/drawing/2014/main" id="{8B83C8BC-51E7-3A0A-B01E-52493B45F3C1}"/>
                </a:ext>
              </a:extLst>
            </p:cNvPr>
            <p:cNvSpPr>
              <a:spLocks/>
            </p:cNvSpPr>
            <p:nvPr/>
          </p:nvSpPr>
          <p:spPr bwMode="gray">
            <a:xfrm>
              <a:off x="9306572" y="1907998"/>
              <a:ext cx="16183" cy="25171"/>
            </a:xfrm>
            <a:custGeom>
              <a:avLst/>
              <a:gdLst>
                <a:gd name="T0" fmla="*/ 27 w 27"/>
                <a:gd name="T1" fmla="*/ 12 h 42"/>
                <a:gd name="T2" fmla="*/ 8 w 27"/>
                <a:gd name="T3" fmla="*/ 15 h 42"/>
                <a:gd name="T4" fmla="*/ 0 w 27"/>
                <a:gd name="T5" fmla="*/ 41 h 42"/>
                <a:gd name="T6" fmla="*/ 11 w 27"/>
                <a:gd name="T7" fmla="*/ 42 h 42"/>
                <a:gd name="T8" fmla="*/ 27 w 27"/>
                <a:gd name="T9" fmla="*/ 12 h 42"/>
              </a:gdLst>
              <a:ahLst/>
              <a:cxnLst>
                <a:cxn ang="0">
                  <a:pos x="T0" y="T1"/>
                </a:cxn>
                <a:cxn ang="0">
                  <a:pos x="T2" y="T3"/>
                </a:cxn>
                <a:cxn ang="0">
                  <a:pos x="T4" y="T5"/>
                </a:cxn>
                <a:cxn ang="0">
                  <a:pos x="T6" y="T7"/>
                </a:cxn>
                <a:cxn ang="0">
                  <a:pos x="T8" y="T9"/>
                </a:cxn>
              </a:cxnLst>
              <a:rect l="0" t="0" r="r" b="b"/>
              <a:pathLst>
                <a:path w="27" h="42">
                  <a:moveTo>
                    <a:pt x="27" y="12"/>
                  </a:moveTo>
                  <a:cubicBezTo>
                    <a:pt x="27" y="12"/>
                    <a:pt x="17" y="0"/>
                    <a:pt x="8" y="15"/>
                  </a:cubicBezTo>
                  <a:cubicBezTo>
                    <a:pt x="0" y="26"/>
                    <a:pt x="0" y="41"/>
                    <a:pt x="0" y="41"/>
                  </a:cubicBezTo>
                  <a:cubicBezTo>
                    <a:pt x="11" y="42"/>
                    <a:pt x="11" y="42"/>
                    <a:pt x="11" y="42"/>
                  </a:cubicBezTo>
                  <a:lnTo>
                    <a:pt x="27"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5" name="Freeform 238">
              <a:extLst>
                <a:ext uri="{FF2B5EF4-FFF2-40B4-BE49-F238E27FC236}">
                  <a16:creationId xmlns:a16="http://schemas.microsoft.com/office/drawing/2014/main" id="{DE74657E-F820-9212-C8AA-8AA5EB223514}"/>
                </a:ext>
              </a:extLst>
            </p:cNvPr>
            <p:cNvSpPr>
              <a:spLocks/>
            </p:cNvSpPr>
            <p:nvPr/>
          </p:nvSpPr>
          <p:spPr bwMode="gray">
            <a:xfrm>
              <a:off x="8729421" y="2219047"/>
              <a:ext cx="34162" cy="30566"/>
            </a:xfrm>
            <a:custGeom>
              <a:avLst/>
              <a:gdLst>
                <a:gd name="T0" fmla="*/ 34 w 57"/>
                <a:gd name="T1" fmla="*/ 11 h 50"/>
                <a:gd name="T2" fmla="*/ 8 w 57"/>
                <a:gd name="T3" fmla="*/ 6 h 50"/>
                <a:gd name="T4" fmla="*/ 0 w 57"/>
                <a:gd name="T5" fmla="*/ 21 h 50"/>
                <a:gd name="T6" fmla="*/ 15 w 57"/>
                <a:gd name="T7" fmla="*/ 22 h 50"/>
                <a:gd name="T8" fmla="*/ 21 w 57"/>
                <a:gd name="T9" fmla="*/ 41 h 50"/>
                <a:gd name="T10" fmla="*/ 40 w 57"/>
                <a:gd name="T11" fmla="*/ 50 h 50"/>
                <a:gd name="T12" fmla="*/ 41 w 57"/>
                <a:gd name="T13" fmla="*/ 27 h 50"/>
                <a:gd name="T14" fmla="*/ 48 w 57"/>
                <a:gd name="T15" fmla="*/ 27 h 50"/>
                <a:gd name="T16" fmla="*/ 52 w 57"/>
                <a:gd name="T17" fmla="*/ 23 h 50"/>
                <a:gd name="T18" fmla="*/ 45 w 57"/>
                <a:gd name="T19" fmla="*/ 15 h 50"/>
                <a:gd name="T20" fmla="*/ 57 w 57"/>
                <a:gd name="T21" fmla="*/ 1 h 50"/>
                <a:gd name="T22" fmla="*/ 49 w 57"/>
                <a:gd name="T23" fmla="*/ 0 h 50"/>
                <a:gd name="T24" fmla="*/ 34 w 57"/>
                <a:gd name="T2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50">
                  <a:moveTo>
                    <a:pt x="34" y="11"/>
                  </a:moveTo>
                  <a:cubicBezTo>
                    <a:pt x="8" y="6"/>
                    <a:pt x="8" y="6"/>
                    <a:pt x="8" y="6"/>
                  </a:cubicBezTo>
                  <a:cubicBezTo>
                    <a:pt x="0" y="21"/>
                    <a:pt x="0" y="21"/>
                    <a:pt x="0" y="21"/>
                  </a:cubicBezTo>
                  <a:cubicBezTo>
                    <a:pt x="15" y="22"/>
                    <a:pt x="15" y="22"/>
                    <a:pt x="15" y="22"/>
                  </a:cubicBezTo>
                  <a:cubicBezTo>
                    <a:pt x="15" y="22"/>
                    <a:pt x="10" y="41"/>
                    <a:pt x="21" y="41"/>
                  </a:cubicBezTo>
                  <a:cubicBezTo>
                    <a:pt x="29" y="41"/>
                    <a:pt x="40" y="50"/>
                    <a:pt x="40" y="50"/>
                  </a:cubicBezTo>
                  <a:cubicBezTo>
                    <a:pt x="41" y="27"/>
                    <a:pt x="41" y="27"/>
                    <a:pt x="41" y="27"/>
                  </a:cubicBezTo>
                  <a:cubicBezTo>
                    <a:pt x="48" y="27"/>
                    <a:pt x="48" y="27"/>
                    <a:pt x="48" y="27"/>
                  </a:cubicBezTo>
                  <a:cubicBezTo>
                    <a:pt x="52" y="23"/>
                    <a:pt x="52" y="23"/>
                    <a:pt x="52" y="23"/>
                  </a:cubicBezTo>
                  <a:cubicBezTo>
                    <a:pt x="45" y="15"/>
                    <a:pt x="45" y="15"/>
                    <a:pt x="45" y="15"/>
                  </a:cubicBezTo>
                  <a:cubicBezTo>
                    <a:pt x="57" y="1"/>
                    <a:pt x="57" y="1"/>
                    <a:pt x="57" y="1"/>
                  </a:cubicBezTo>
                  <a:cubicBezTo>
                    <a:pt x="49" y="0"/>
                    <a:pt x="49" y="0"/>
                    <a:pt x="49" y="0"/>
                  </a:cubicBezTo>
                  <a:lnTo>
                    <a:pt x="34"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6" name="Freeform 239">
              <a:extLst>
                <a:ext uri="{FF2B5EF4-FFF2-40B4-BE49-F238E27FC236}">
                  <a16:creationId xmlns:a16="http://schemas.microsoft.com/office/drawing/2014/main" id="{1953B593-6FC7-3978-ADDF-8DD4A5B921A1}"/>
                </a:ext>
              </a:extLst>
            </p:cNvPr>
            <p:cNvSpPr>
              <a:spLocks/>
            </p:cNvSpPr>
            <p:nvPr/>
          </p:nvSpPr>
          <p:spPr bwMode="gray">
            <a:xfrm>
              <a:off x="8729421" y="2246017"/>
              <a:ext cx="16183" cy="14383"/>
            </a:xfrm>
            <a:custGeom>
              <a:avLst/>
              <a:gdLst>
                <a:gd name="T0" fmla="*/ 1 w 9"/>
                <a:gd name="T1" fmla="*/ 6 h 8"/>
                <a:gd name="T2" fmla="*/ 8 w 9"/>
                <a:gd name="T3" fmla="*/ 8 h 8"/>
                <a:gd name="T4" fmla="*/ 9 w 9"/>
                <a:gd name="T5" fmla="*/ 3 h 8"/>
                <a:gd name="T6" fmla="*/ 5 w 9"/>
                <a:gd name="T7" fmla="*/ 2 h 8"/>
                <a:gd name="T8" fmla="*/ 4 w 9"/>
                <a:gd name="T9" fmla="*/ 0 h 8"/>
                <a:gd name="T10" fmla="*/ 0 w 9"/>
                <a:gd name="T11" fmla="*/ 0 h 8"/>
                <a:gd name="T12" fmla="*/ 1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1" y="6"/>
                  </a:moveTo>
                  <a:lnTo>
                    <a:pt x="8" y="8"/>
                  </a:lnTo>
                  <a:lnTo>
                    <a:pt x="9" y="3"/>
                  </a:lnTo>
                  <a:lnTo>
                    <a:pt x="5" y="2"/>
                  </a:lnTo>
                  <a:lnTo>
                    <a:pt x="4" y="0"/>
                  </a:lnTo>
                  <a:lnTo>
                    <a:pt x="0"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7" name="Freeform 240">
              <a:extLst>
                <a:ext uri="{FF2B5EF4-FFF2-40B4-BE49-F238E27FC236}">
                  <a16:creationId xmlns:a16="http://schemas.microsoft.com/office/drawing/2014/main" id="{95D532DC-086A-C78A-B061-1586B6C29B45}"/>
                </a:ext>
              </a:extLst>
            </p:cNvPr>
            <p:cNvSpPr>
              <a:spLocks/>
            </p:cNvSpPr>
            <p:nvPr/>
          </p:nvSpPr>
          <p:spPr bwMode="gray">
            <a:xfrm>
              <a:off x="8826512" y="2506724"/>
              <a:ext cx="10788" cy="25171"/>
            </a:xfrm>
            <a:custGeom>
              <a:avLst/>
              <a:gdLst>
                <a:gd name="T0" fmla="*/ 3 w 6"/>
                <a:gd name="T1" fmla="*/ 0 h 14"/>
                <a:gd name="T2" fmla="*/ 0 w 6"/>
                <a:gd name="T3" fmla="*/ 0 h 14"/>
                <a:gd name="T4" fmla="*/ 1 w 6"/>
                <a:gd name="T5" fmla="*/ 12 h 14"/>
                <a:gd name="T6" fmla="*/ 3 w 6"/>
                <a:gd name="T7" fmla="*/ 14 h 14"/>
                <a:gd name="T8" fmla="*/ 6 w 6"/>
                <a:gd name="T9" fmla="*/ 13 h 14"/>
                <a:gd name="T10" fmla="*/ 5 w 6"/>
                <a:gd name="T11" fmla="*/ 9 h 14"/>
                <a:gd name="T12" fmla="*/ 6 w 6"/>
                <a:gd name="T13" fmla="*/ 7 h 14"/>
                <a:gd name="T14" fmla="*/ 3 w 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4">
                  <a:moveTo>
                    <a:pt x="3" y="0"/>
                  </a:moveTo>
                  <a:lnTo>
                    <a:pt x="0" y="0"/>
                  </a:lnTo>
                  <a:lnTo>
                    <a:pt x="1" y="12"/>
                  </a:lnTo>
                  <a:lnTo>
                    <a:pt x="3" y="14"/>
                  </a:lnTo>
                  <a:lnTo>
                    <a:pt x="6" y="13"/>
                  </a:lnTo>
                  <a:lnTo>
                    <a:pt x="5" y="9"/>
                  </a:lnTo>
                  <a:lnTo>
                    <a:pt x="6" y="7"/>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8" name="Freeform 241">
              <a:extLst>
                <a:ext uri="{FF2B5EF4-FFF2-40B4-BE49-F238E27FC236}">
                  <a16:creationId xmlns:a16="http://schemas.microsoft.com/office/drawing/2014/main" id="{6F981B53-7D5F-3D56-66D7-3E71577F1014}"/>
                </a:ext>
              </a:extLst>
            </p:cNvPr>
            <p:cNvSpPr>
              <a:spLocks/>
            </p:cNvSpPr>
            <p:nvPr/>
          </p:nvSpPr>
          <p:spPr bwMode="gray">
            <a:xfrm>
              <a:off x="8799542" y="2526502"/>
              <a:ext cx="21576" cy="43151"/>
            </a:xfrm>
            <a:custGeom>
              <a:avLst/>
              <a:gdLst>
                <a:gd name="T0" fmla="*/ 28 w 35"/>
                <a:gd name="T1" fmla="*/ 4 h 72"/>
                <a:gd name="T2" fmla="*/ 17 w 35"/>
                <a:gd name="T3" fmla="*/ 0 h 72"/>
                <a:gd name="T4" fmla="*/ 6 w 35"/>
                <a:gd name="T5" fmla="*/ 11 h 72"/>
                <a:gd name="T6" fmla="*/ 0 w 35"/>
                <a:gd name="T7" fmla="*/ 56 h 72"/>
                <a:gd name="T8" fmla="*/ 22 w 35"/>
                <a:gd name="T9" fmla="*/ 65 h 72"/>
                <a:gd name="T10" fmla="*/ 27 w 35"/>
                <a:gd name="T11" fmla="*/ 42 h 72"/>
                <a:gd name="T12" fmla="*/ 35 w 35"/>
                <a:gd name="T13" fmla="*/ 28 h 72"/>
                <a:gd name="T14" fmla="*/ 28 w 35"/>
                <a:gd name="T15" fmla="*/ 4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72">
                  <a:moveTo>
                    <a:pt x="28" y="4"/>
                  </a:moveTo>
                  <a:cubicBezTo>
                    <a:pt x="17" y="0"/>
                    <a:pt x="17" y="0"/>
                    <a:pt x="17" y="0"/>
                  </a:cubicBezTo>
                  <a:cubicBezTo>
                    <a:pt x="6" y="11"/>
                    <a:pt x="6" y="11"/>
                    <a:pt x="6" y="11"/>
                  </a:cubicBezTo>
                  <a:cubicBezTo>
                    <a:pt x="0" y="56"/>
                    <a:pt x="0" y="56"/>
                    <a:pt x="0" y="56"/>
                  </a:cubicBezTo>
                  <a:cubicBezTo>
                    <a:pt x="0" y="56"/>
                    <a:pt x="10" y="72"/>
                    <a:pt x="22" y="65"/>
                  </a:cubicBezTo>
                  <a:cubicBezTo>
                    <a:pt x="30" y="58"/>
                    <a:pt x="27" y="42"/>
                    <a:pt x="27" y="42"/>
                  </a:cubicBezTo>
                  <a:cubicBezTo>
                    <a:pt x="35" y="28"/>
                    <a:pt x="35" y="28"/>
                    <a:pt x="35" y="28"/>
                  </a:cubicBezTo>
                  <a:lnTo>
                    <a:pt x="28"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9" name="Freeform 242">
              <a:extLst>
                <a:ext uri="{FF2B5EF4-FFF2-40B4-BE49-F238E27FC236}">
                  <a16:creationId xmlns:a16="http://schemas.microsoft.com/office/drawing/2014/main" id="{B71EF97E-5A98-0712-660B-7934BD375E45}"/>
                </a:ext>
              </a:extLst>
            </p:cNvPr>
            <p:cNvSpPr>
              <a:spLocks/>
            </p:cNvSpPr>
            <p:nvPr/>
          </p:nvSpPr>
          <p:spPr bwMode="gray">
            <a:xfrm>
              <a:off x="8763583" y="2846542"/>
              <a:ext cx="53939" cy="44950"/>
            </a:xfrm>
            <a:custGeom>
              <a:avLst/>
              <a:gdLst>
                <a:gd name="T0" fmla="*/ 23 w 89"/>
                <a:gd name="T1" fmla="*/ 7 h 74"/>
                <a:gd name="T2" fmla="*/ 15 w 89"/>
                <a:gd name="T3" fmla="*/ 22 h 74"/>
                <a:gd name="T4" fmla="*/ 4 w 89"/>
                <a:gd name="T5" fmla="*/ 14 h 74"/>
                <a:gd name="T6" fmla="*/ 0 w 89"/>
                <a:gd name="T7" fmla="*/ 25 h 74"/>
                <a:gd name="T8" fmla="*/ 14 w 89"/>
                <a:gd name="T9" fmla="*/ 45 h 74"/>
                <a:gd name="T10" fmla="*/ 35 w 89"/>
                <a:gd name="T11" fmla="*/ 69 h 74"/>
                <a:gd name="T12" fmla="*/ 63 w 89"/>
                <a:gd name="T13" fmla="*/ 51 h 74"/>
                <a:gd name="T14" fmla="*/ 85 w 89"/>
                <a:gd name="T15" fmla="*/ 48 h 74"/>
                <a:gd name="T16" fmla="*/ 89 w 89"/>
                <a:gd name="T17" fmla="*/ 41 h 74"/>
                <a:gd name="T18" fmla="*/ 67 w 89"/>
                <a:gd name="T19" fmla="*/ 32 h 74"/>
                <a:gd name="T20" fmla="*/ 61 w 89"/>
                <a:gd name="T21" fmla="*/ 5 h 74"/>
                <a:gd name="T22" fmla="*/ 39 w 89"/>
                <a:gd name="T23" fmla="*/ 0 h 74"/>
                <a:gd name="T24" fmla="*/ 23 w 89"/>
                <a:gd name="T25" fmla="*/ 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74">
                  <a:moveTo>
                    <a:pt x="23" y="7"/>
                  </a:moveTo>
                  <a:cubicBezTo>
                    <a:pt x="15" y="22"/>
                    <a:pt x="15" y="22"/>
                    <a:pt x="15" y="22"/>
                  </a:cubicBezTo>
                  <a:cubicBezTo>
                    <a:pt x="4" y="14"/>
                    <a:pt x="4" y="14"/>
                    <a:pt x="4" y="14"/>
                  </a:cubicBezTo>
                  <a:cubicBezTo>
                    <a:pt x="0" y="25"/>
                    <a:pt x="0" y="25"/>
                    <a:pt x="0" y="25"/>
                  </a:cubicBezTo>
                  <a:cubicBezTo>
                    <a:pt x="14" y="45"/>
                    <a:pt x="14" y="45"/>
                    <a:pt x="14" y="45"/>
                  </a:cubicBezTo>
                  <a:cubicBezTo>
                    <a:pt x="14" y="45"/>
                    <a:pt x="13" y="64"/>
                    <a:pt x="35" y="69"/>
                  </a:cubicBezTo>
                  <a:cubicBezTo>
                    <a:pt x="58" y="74"/>
                    <a:pt x="63" y="51"/>
                    <a:pt x="63" y="51"/>
                  </a:cubicBezTo>
                  <a:cubicBezTo>
                    <a:pt x="85" y="48"/>
                    <a:pt x="85" y="48"/>
                    <a:pt x="85" y="48"/>
                  </a:cubicBezTo>
                  <a:cubicBezTo>
                    <a:pt x="89" y="41"/>
                    <a:pt x="89" y="41"/>
                    <a:pt x="89" y="41"/>
                  </a:cubicBezTo>
                  <a:cubicBezTo>
                    <a:pt x="67" y="32"/>
                    <a:pt x="67" y="32"/>
                    <a:pt x="67" y="32"/>
                  </a:cubicBezTo>
                  <a:cubicBezTo>
                    <a:pt x="61" y="5"/>
                    <a:pt x="61" y="5"/>
                    <a:pt x="61" y="5"/>
                  </a:cubicBezTo>
                  <a:cubicBezTo>
                    <a:pt x="39" y="0"/>
                    <a:pt x="39" y="0"/>
                    <a:pt x="39" y="0"/>
                  </a:cubicBezTo>
                  <a:lnTo>
                    <a:pt x="23"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0" name="Freeform 243">
              <a:extLst>
                <a:ext uri="{FF2B5EF4-FFF2-40B4-BE49-F238E27FC236}">
                  <a16:creationId xmlns:a16="http://schemas.microsoft.com/office/drawing/2014/main" id="{D8B67CF0-B275-C888-7800-0D38488DF907}"/>
                </a:ext>
              </a:extLst>
            </p:cNvPr>
            <p:cNvSpPr>
              <a:spLocks/>
            </p:cNvSpPr>
            <p:nvPr/>
          </p:nvSpPr>
          <p:spPr bwMode="gray">
            <a:xfrm>
              <a:off x="8555017" y="2145331"/>
              <a:ext cx="713797" cy="1159696"/>
            </a:xfrm>
            <a:custGeom>
              <a:avLst/>
              <a:gdLst>
                <a:gd name="T0" fmla="*/ 494 w 1196"/>
                <a:gd name="T1" fmla="*/ 253 h 1946"/>
                <a:gd name="T2" fmla="*/ 476 w 1196"/>
                <a:gd name="T3" fmla="*/ 306 h 1946"/>
                <a:gd name="T4" fmla="*/ 420 w 1196"/>
                <a:gd name="T5" fmla="*/ 380 h 1946"/>
                <a:gd name="T6" fmla="*/ 468 w 1196"/>
                <a:gd name="T7" fmla="*/ 409 h 1946"/>
                <a:gd name="T8" fmla="*/ 517 w 1196"/>
                <a:gd name="T9" fmla="*/ 399 h 1946"/>
                <a:gd name="T10" fmla="*/ 477 w 1196"/>
                <a:gd name="T11" fmla="*/ 455 h 1946"/>
                <a:gd name="T12" fmla="*/ 413 w 1196"/>
                <a:gd name="T13" fmla="*/ 551 h 1946"/>
                <a:gd name="T14" fmla="*/ 358 w 1196"/>
                <a:gd name="T15" fmla="*/ 686 h 1946"/>
                <a:gd name="T16" fmla="*/ 430 w 1196"/>
                <a:gd name="T17" fmla="*/ 571 h 1946"/>
                <a:gd name="T18" fmla="*/ 453 w 1196"/>
                <a:gd name="T19" fmla="*/ 572 h 1946"/>
                <a:gd name="T20" fmla="*/ 490 w 1196"/>
                <a:gd name="T21" fmla="*/ 586 h 1946"/>
                <a:gd name="T22" fmla="*/ 508 w 1196"/>
                <a:gd name="T23" fmla="*/ 602 h 1946"/>
                <a:gd name="T24" fmla="*/ 455 w 1196"/>
                <a:gd name="T25" fmla="*/ 764 h 1946"/>
                <a:gd name="T26" fmla="*/ 416 w 1196"/>
                <a:gd name="T27" fmla="*/ 884 h 1946"/>
                <a:gd name="T28" fmla="*/ 499 w 1196"/>
                <a:gd name="T29" fmla="*/ 873 h 1946"/>
                <a:gd name="T30" fmla="*/ 671 w 1196"/>
                <a:gd name="T31" fmla="*/ 881 h 1946"/>
                <a:gd name="T32" fmla="*/ 586 w 1196"/>
                <a:gd name="T33" fmla="*/ 934 h 1946"/>
                <a:gd name="T34" fmla="*/ 607 w 1196"/>
                <a:gd name="T35" fmla="*/ 1050 h 1946"/>
                <a:gd name="T36" fmla="*/ 638 w 1196"/>
                <a:gd name="T37" fmla="*/ 1105 h 1946"/>
                <a:gd name="T38" fmla="*/ 586 w 1196"/>
                <a:gd name="T39" fmla="*/ 1259 h 1946"/>
                <a:gd name="T40" fmla="*/ 384 w 1196"/>
                <a:gd name="T41" fmla="*/ 1261 h 1946"/>
                <a:gd name="T42" fmla="*/ 385 w 1196"/>
                <a:gd name="T43" fmla="*/ 1311 h 1946"/>
                <a:gd name="T44" fmla="*/ 330 w 1196"/>
                <a:gd name="T45" fmla="*/ 1465 h 1946"/>
                <a:gd name="T46" fmla="*/ 178 w 1196"/>
                <a:gd name="T47" fmla="*/ 1500 h 1946"/>
                <a:gd name="T48" fmla="*/ 233 w 1196"/>
                <a:gd name="T49" fmla="*/ 1541 h 1946"/>
                <a:gd name="T50" fmla="*/ 254 w 1196"/>
                <a:gd name="T51" fmla="*/ 1569 h 1946"/>
                <a:gd name="T52" fmla="*/ 307 w 1196"/>
                <a:gd name="T53" fmla="*/ 1621 h 1946"/>
                <a:gd name="T54" fmla="*/ 576 w 1196"/>
                <a:gd name="T55" fmla="*/ 1630 h 1946"/>
                <a:gd name="T56" fmla="*/ 287 w 1196"/>
                <a:gd name="T57" fmla="*/ 1731 h 1946"/>
                <a:gd name="T58" fmla="*/ 94 w 1196"/>
                <a:gd name="T59" fmla="*/ 1863 h 1946"/>
                <a:gd name="T60" fmla="*/ 95 w 1196"/>
                <a:gd name="T61" fmla="*/ 1928 h 1946"/>
                <a:gd name="T62" fmla="*/ 242 w 1196"/>
                <a:gd name="T63" fmla="*/ 1901 h 1946"/>
                <a:gd name="T64" fmla="*/ 348 w 1196"/>
                <a:gd name="T65" fmla="*/ 1875 h 1946"/>
                <a:gd name="T66" fmla="*/ 530 w 1196"/>
                <a:gd name="T67" fmla="*/ 1899 h 1946"/>
                <a:gd name="T68" fmla="*/ 669 w 1196"/>
                <a:gd name="T69" fmla="*/ 1891 h 1946"/>
                <a:gd name="T70" fmla="*/ 895 w 1196"/>
                <a:gd name="T71" fmla="*/ 1944 h 1946"/>
                <a:gd name="T72" fmla="*/ 1098 w 1196"/>
                <a:gd name="T73" fmla="*/ 1838 h 1946"/>
                <a:gd name="T74" fmla="*/ 981 w 1196"/>
                <a:gd name="T75" fmla="*/ 1787 h 1946"/>
                <a:gd name="T76" fmla="*/ 1019 w 1196"/>
                <a:gd name="T77" fmla="*/ 1762 h 1946"/>
                <a:gd name="T78" fmla="*/ 1085 w 1196"/>
                <a:gd name="T79" fmla="*/ 1712 h 1946"/>
                <a:gd name="T80" fmla="*/ 1190 w 1196"/>
                <a:gd name="T81" fmla="*/ 1548 h 1946"/>
                <a:gd name="T82" fmla="*/ 990 w 1196"/>
                <a:gd name="T83" fmla="*/ 1428 h 1946"/>
                <a:gd name="T84" fmla="*/ 901 w 1196"/>
                <a:gd name="T85" fmla="*/ 1248 h 1946"/>
                <a:gd name="T86" fmla="*/ 998 w 1196"/>
                <a:gd name="T87" fmla="*/ 1176 h 1946"/>
                <a:gd name="T88" fmla="*/ 892 w 1196"/>
                <a:gd name="T89" fmla="*/ 945 h 1946"/>
                <a:gd name="T90" fmla="*/ 842 w 1196"/>
                <a:gd name="T91" fmla="*/ 729 h 1946"/>
                <a:gd name="T92" fmla="*/ 689 w 1196"/>
                <a:gd name="T93" fmla="*/ 649 h 1946"/>
                <a:gd name="T94" fmla="*/ 780 w 1196"/>
                <a:gd name="T95" fmla="*/ 615 h 1946"/>
                <a:gd name="T96" fmla="*/ 798 w 1196"/>
                <a:gd name="T97" fmla="*/ 554 h 1946"/>
                <a:gd name="T98" fmla="*/ 852 w 1196"/>
                <a:gd name="T99" fmla="*/ 270 h 1946"/>
                <a:gd name="T100" fmla="*/ 696 w 1196"/>
                <a:gd name="T101" fmla="*/ 240 h 1946"/>
                <a:gd name="T102" fmla="*/ 725 w 1196"/>
                <a:gd name="T103" fmla="*/ 180 h 1946"/>
                <a:gd name="T104" fmla="*/ 862 w 1196"/>
                <a:gd name="T105" fmla="*/ 45 h 1946"/>
                <a:gd name="T106" fmla="*/ 712 w 1196"/>
                <a:gd name="T107" fmla="*/ 57 h 1946"/>
                <a:gd name="T108" fmla="*/ 655 w 1196"/>
                <a:gd name="T109" fmla="*/ 8 h 1946"/>
                <a:gd name="T110" fmla="*/ 588 w 1196"/>
                <a:gd name="T111" fmla="*/ 70 h 1946"/>
                <a:gd name="T112" fmla="*/ 578 w 1196"/>
                <a:gd name="T113" fmla="*/ 135 h 1946"/>
                <a:gd name="T114" fmla="*/ 508 w 1196"/>
                <a:gd name="T115" fmla="*/ 177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6" h="1946">
                  <a:moveTo>
                    <a:pt x="508" y="177"/>
                  </a:moveTo>
                  <a:cubicBezTo>
                    <a:pt x="504" y="188"/>
                    <a:pt x="504" y="188"/>
                    <a:pt x="504" y="188"/>
                  </a:cubicBezTo>
                  <a:cubicBezTo>
                    <a:pt x="511" y="204"/>
                    <a:pt x="511" y="204"/>
                    <a:pt x="511" y="204"/>
                  </a:cubicBezTo>
                  <a:cubicBezTo>
                    <a:pt x="529" y="220"/>
                    <a:pt x="529" y="220"/>
                    <a:pt x="529" y="220"/>
                  </a:cubicBezTo>
                  <a:cubicBezTo>
                    <a:pt x="506" y="219"/>
                    <a:pt x="506" y="219"/>
                    <a:pt x="506" y="219"/>
                  </a:cubicBezTo>
                  <a:cubicBezTo>
                    <a:pt x="506" y="219"/>
                    <a:pt x="500" y="204"/>
                    <a:pt x="492" y="203"/>
                  </a:cubicBezTo>
                  <a:cubicBezTo>
                    <a:pt x="485" y="203"/>
                    <a:pt x="484" y="226"/>
                    <a:pt x="483" y="230"/>
                  </a:cubicBezTo>
                  <a:cubicBezTo>
                    <a:pt x="487" y="234"/>
                    <a:pt x="475" y="241"/>
                    <a:pt x="479" y="248"/>
                  </a:cubicBezTo>
                  <a:cubicBezTo>
                    <a:pt x="482" y="256"/>
                    <a:pt x="494" y="253"/>
                    <a:pt x="494" y="253"/>
                  </a:cubicBezTo>
                  <a:cubicBezTo>
                    <a:pt x="520" y="258"/>
                    <a:pt x="520" y="258"/>
                    <a:pt x="520" y="258"/>
                  </a:cubicBezTo>
                  <a:cubicBezTo>
                    <a:pt x="497" y="261"/>
                    <a:pt x="497" y="261"/>
                    <a:pt x="497" y="261"/>
                  </a:cubicBezTo>
                  <a:cubicBezTo>
                    <a:pt x="497" y="261"/>
                    <a:pt x="489" y="264"/>
                    <a:pt x="493" y="272"/>
                  </a:cubicBezTo>
                  <a:cubicBezTo>
                    <a:pt x="492" y="280"/>
                    <a:pt x="507" y="280"/>
                    <a:pt x="514" y="288"/>
                  </a:cubicBezTo>
                  <a:cubicBezTo>
                    <a:pt x="518" y="296"/>
                    <a:pt x="517" y="304"/>
                    <a:pt x="517" y="304"/>
                  </a:cubicBezTo>
                  <a:cubicBezTo>
                    <a:pt x="517" y="304"/>
                    <a:pt x="507" y="292"/>
                    <a:pt x="499" y="288"/>
                  </a:cubicBezTo>
                  <a:cubicBezTo>
                    <a:pt x="496" y="284"/>
                    <a:pt x="484" y="302"/>
                    <a:pt x="484" y="302"/>
                  </a:cubicBezTo>
                  <a:cubicBezTo>
                    <a:pt x="498" y="326"/>
                    <a:pt x="498" y="326"/>
                    <a:pt x="498" y="326"/>
                  </a:cubicBezTo>
                  <a:cubicBezTo>
                    <a:pt x="476" y="306"/>
                    <a:pt x="476" y="306"/>
                    <a:pt x="476" y="306"/>
                  </a:cubicBezTo>
                  <a:cubicBezTo>
                    <a:pt x="464" y="320"/>
                    <a:pt x="464" y="320"/>
                    <a:pt x="464" y="320"/>
                  </a:cubicBezTo>
                  <a:cubicBezTo>
                    <a:pt x="478" y="340"/>
                    <a:pt x="478" y="340"/>
                    <a:pt x="478" y="340"/>
                  </a:cubicBezTo>
                  <a:cubicBezTo>
                    <a:pt x="478" y="344"/>
                    <a:pt x="478" y="344"/>
                    <a:pt x="478" y="344"/>
                  </a:cubicBezTo>
                  <a:cubicBezTo>
                    <a:pt x="460" y="332"/>
                    <a:pt x="460" y="332"/>
                    <a:pt x="460" y="332"/>
                  </a:cubicBezTo>
                  <a:cubicBezTo>
                    <a:pt x="433" y="353"/>
                    <a:pt x="433" y="353"/>
                    <a:pt x="433" y="353"/>
                  </a:cubicBezTo>
                  <a:cubicBezTo>
                    <a:pt x="433" y="353"/>
                    <a:pt x="463" y="359"/>
                    <a:pt x="459" y="362"/>
                  </a:cubicBezTo>
                  <a:cubicBezTo>
                    <a:pt x="451" y="369"/>
                    <a:pt x="432" y="369"/>
                    <a:pt x="432" y="369"/>
                  </a:cubicBezTo>
                  <a:cubicBezTo>
                    <a:pt x="427" y="391"/>
                    <a:pt x="427" y="391"/>
                    <a:pt x="427" y="391"/>
                  </a:cubicBezTo>
                  <a:cubicBezTo>
                    <a:pt x="420" y="380"/>
                    <a:pt x="420" y="380"/>
                    <a:pt x="420" y="380"/>
                  </a:cubicBezTo>
                  <a:cubicBezTo>
                    <a:pt x="420" y="380"/>
                    <a:pt x="387" y="378"/>
                    <a:pt x="387" y="382"/>
                  </a:cubicBezTo>
                  <a:cubicBezTo>
                    <a:pt x="386" y="389"/>
                    <a:pt x="423" y="403"/>
                    <a:pt x="423" y="403"/>
                  </a:cubicBezTo>
                  <a:cubicBezTo>
                    <a:pt x="442" y="400"/>
                    <a:pt x="442" y="400"/>
                    <a:pt x="442" y="400"/>
                  </a:cubicBezTo>
                  <a:cubicBezTo>
                    <a:pt x="454" y="389"/>
                    <a:pt x="454" y="389"/>
                    <a:pt x="454" y="389"/>
                  </a:cubicBezTo>
                  <a:cubicBezTo>
                    <a:pt x="488" y="379"/>
                    <a:pt x="488" y="379"/>
                    <a:pt x="488" y="379"/>
                  </a:cubicBezTo>
                  <a:cubicBezTo>
                    <a:pt x="487" y="387"/>
                    <a:pt x="487" y="387"/>
                    <a:pt x="487" y="387"/>
                  </a:cubicBezTo>
                  <a:cubicBezTo>
                    <a:pt x="461" y="393"/>
                    <a:pt x="461" y="393"/>
                    <a:pt x="461" y="393"/>
                  </a:cubicBezTo>
                  <a:cubicBezTo>
                    <a:pt x="453" y="400"/>
                    <a:pt x="453" y="400"/>
                    <a:pt x="453" y="400"/>
                  </a:cubicBezTo>
                  <a:cubicBezTo>
                    <a:pt x="468" y="409"/>
                    <a:pt x="468" y="409"/>
                    <a:pt x="468" y="409"/>
                  </a:cubicBezTo>
                  <a:cubicBezTo>
                    <a:pt x="460" y="412"/>
                    <a:pt x="460" y="412"/>
                    <a:pt x="460" y="412"/>
                  </a:cubicBezTo>
                  <a:cubicBezTo>
                    <a:pt x="449" y="404"/>
                    <a:pt x="449" y="404"/>
                    <a:pt x="449" y="404"/>
                  </a:cubicBezTo>
                  <a:cubicBezTo>
                    <a:pt x="427" y="410"/>
                    <a:pt x="427" y="410"/>
                    <a:pt x="427" y="410"/>
                  </a:cubicBezTo>
                  <a:cubicBezTo>
                    <a:pt x="412" y="406"/>
                    <a:pt x="412" y="406"/>
                    <a:pt x="412" y="406"/>
                  </a:cubicBezTo>
                  <a:cubicBezTo>
                    <a:pt x="407" y="421"/>
                    <a:pt x="407" y="421"/>
                    <a:pt x="407" y="421"/>
                  </a:cubicBezTo>
                  <a:cubicBezTo>
                    <a:pt x="425" y="433"/>
                    <a:pt x="425" y="433"/>
                    <a:pt x="425" y="433"/>
                  </a:cubicBezTo>
                  <a:cubicBezTo>
                    <a:pt x="440" y="445"/>
                    <a:pt x="440" y="445"/>
                    <a:pt x="440" y="445"/>
                  </a:cubicBezTo>
                  <a:cubicBezTo>
                    <a:pt x="470" y="435"/>
                    <a:pt x="470" y="435"/>
                    <a:pt x="470" y="435"/>
                  </a:cubicBezTo>
                  <a:cubicBezTo>
                    <a:pt x="517" y="399"/>
                    <a:pt x="517" y="399"/>
                    <a:pt x="517" y="399"/>
                  </a:cubicBezTo>
                  <a:cubicBezTo>
                    <a:pt x="510" y="391"/>
                    <a:pt x="510" y="391"/>
                    <a:pt x="510" y="391"/>
                  </a:cubicBezTo>
                  <a:cubicBezTo>
                    <a:pt x="521" y="388"/>
                    <a:pt x="521" y="388"/>
                    <a:pt x="521" y="388"/>
                  </a:cubicBezTo>
                  <a:cubicBezTo>
                    <a:pt x="536" y="396"/>
                    <a:pt x="536" y="396"/>
                    <a:pt x="536" y="396"/>
                  </a:cubicBezTo>
                  <a:cubicBezTo>
                    <a:pt x="505" y="418"/>
                    <a:pt x="505" y="418"/>
                    <a:pt x="505" y="418"/>
                  </a:cubicBezTo>
                  <a:cubicBezTo>
                    <a:pt x="505" y="418"/>
                    <a:pt x="531" y="427"/>
                    <a:pt x="527" y="427"/>
                  </a:cubicBezTo>
                  <a:cubicBezTo>
                    <a:pt x="504" y="426"/>
                    <a:pt x="504" y="426"/>
                    <a:pt x="504" y="426"/>
                  </a:cubicBezTo>
                  <a:cubicBezTo>
                    <a:pt x="477" y="443"/>
                    <a:pt x="477" y="443"/>
                    <a:pt x="477" y="443"/>
                  </a:cubicBezTo>
                  <a:cubicBezTo>
                    <a:pt x="488" y="455"/>
                    <a:pt x="488" y="455"/>
                    <a:pt x="488" y="455"/>
                  </a:cubicBezTo>
                  <a:cubicBezTo>
                    <a:pt x="477" y="455"/>
                    <a:pt x="477" y="455"/>
                    <a:pt x="477" y="455"/>
                  </a:cubicBezTo>
                  <a:cubicBezTo>
                    <a:pt x="465" y="462"/>
                    <a:pt x="465" y="462"/>
                    <a:pt x="465" y="462"/>
                  </a:cubicBezTo>
                  <a:cubicBezTo>
                    <a:pt x="487" y="474"/>
                    <a:pt x="487" y="474"/>
                    <a:pt x="487" y="474"/>
                  </a:cubicBezTo>
                  <a:cubicBezTo>
                    <a:pt x="469" y="470"/>
                    <a:pt x="469" y="470"/>
                    <a:pt x="469" y="470"/>
                  </a:cubicBezTo>
                  <a:cubicBezTo>
                    <a:pt x="453" y="492"/>
                    <a:pt x="453" y="492"/>
                    <a:pt x="453" y="492"/>
                  </a:cubicBezTo>
                  <a:cubicBezTo>
                    <a:pt x="430" y="491"/>
                    <a:pt x="430" y="491"/>
                    <a:pt x="430" y="491"/>
                  </a:cubicBezTo>
                  <a:cubicBezTo>
                    <a:pt x="422" y="517"/>
                    <a:pt x="422" y="517"/>
                    <a:pt x="422" y="517"/>
                  </a:cubicBezTo>
                  <a:cubicBezTo>
                    <a:pt x="433" y="518"/>
                    <a:pt x="433" y="518"/>
                    <a:pt x="433" y="518"/>
                  </a:cubicBezTo>
                  <a:cubicBezTo>
                    <a:pt x="428" y="552"/>
                    <a:pt x="428" y="552"/>
                    <a:pt x="428" y="552"/>
                  </a:cubicBezTo>
                  <a:cubicBezTo>
                    <a:pt x="413" y="551"/>
                    <a:pt x="413" y="551"/>
                    <a:pt x="413" y="551"/>
                  </a:cubicBezTo>
                  <a:cubicBezTo>
                    <a:pt x="393" y="566"/>
                    <a:pt x="393" y="566"/>
                    <a:pt x="393" y="566"/>
                  </a:cubicBezTo>
                  <a:cubicBezTo>
                    <a:pt x="404" y="581"/>
                    <a:pt x="404" y="581"/>
                    <a:pt x="404" y="581"/>
                  </a:cubicBezTo>
                  <a:cubicBezTo>
                    <a:pt x="391" y="604"/>
                    <a:pt x="391" y="604"/>
                    <a:pt x="391" y="604"/>
                  </a:cubicBezTo>
                  <a:cubicBezTo>
                    <a:pt x="395" y="612"/>
                    <a:pt x="395" y="612"/>
                    <a:pt x="395" y="612"/>
                  </a:cubicBezTo>
                  <a:cubicBezTo>
                    <a:pt x="414" y="612"/>
                    <a:pt x="414" y="612"/>
                    <a:pt x="414" y="612"/>
                  </a:cubicBezTo>
                  <a:cubicBezTo>
                    <a:pt x="394" y="619"/>
                    <a:pt x="394" y="619"/>
                    <a:pt x="394" y="619"/>
                  </a:cubicBezTo>
                  <a:cubicBezTo>
                    <a:pt x="374" y="649"/>
                    <a:pt x="374" y="649"/>
                    <a:pt x="374" y="649"/>
                  </a:cubicBezTo>
                  <a:cubicBezTo>
                    <a:pt x="371" y="653"/>
                    <a:pt x="371" y="653"/>
                    <a:pt x="371" y="653"/>
                  </a:cubicBezTo>
                  <a:cubicBezTo>
                    <a:pt x="371" y="653"/>
                    <a:pt x="366" y="679"/>
                    <a:pt x="358" y="686"/>
                  </a:cubicBezTo>
                  <a:cubicBezTo>
                    <a:pt x="354" y="690"/>
                    <a:pt x="339" y="693"/>
                    <a:pt x="339" y="693"/>
                  </a:cubicBezTo>
                  <a:cubicBezTo>
                    <a:pt x="339" y="693"/>
                    <a:pt x="334" y="716"/>
                    <a:pt x="353" y="717"/>
                  </a:cubicBezTo>
                  <a:cubicBezTo>
                    <a:pt x="375" y="722"/>
                    <a:pt x="383" y="699"/>
                    <a:pt x="383" y="699"/>
                  </a:cubicBezTo>
                  <a:cubicBezTo>
                    <a:pt x="380" y="691"/>
                    <a:pt x="380" y="691"/>
                    <a:pt x="380" y="691"/>
                  </a:cubicBezTo>
                  <a:cubicBezTo>
                    <a:pt x="384" y="684"/>
                    <a:pt x="384" y="684"/>
                    <a:pt x="384" y="684"/>
                  </a:cubicBezTo>
                  <a:cubicBezTo>
                    <a:pt x="412" y="635"/>
                    <a:pt x="412" y="635"/>
                    <a:pt x="412" y="635"/>
                  </a:cubicBezTo>
                  <a:cubicBezTo>
                    <a:pt x="436" y="621"/>
                    <a:pt x="436" y="621"/>
                    <a:pt x="436" y="621"/>
                  </a:cubicBezTo>
                  <a:cubicBezTo>
                    <a:pt x="425" y="605"/>
                    <a:pt x="425" y="605"/>
                    <a:pt x="425" y="605"/>
                  </a:cubicBezTo>
                  <a:cubicBezTo>
                    <a:pt x="430" y="571"/>
                    <a:pt x="430" y="571"/>
                    <a:pt x="430" y="571"/>
                  </a:cubicBezTo>
                  <a:cubicBezTo>
                    <a:pt x="442" y="572"/>
                    <a:pt x="442" y="572"/>
                    <a:pt x="442" y="572"/>
                  </a:cubicBezTo>
                  <a:cubicBezTo>
                    <a:pt x="469" y="550"/>
                    <a:pt x="469" y="550"/>
                    <a:pt x="469" y="550"/>
                  </a:cubicBezTo>
                  <a:cubicBezTo>
                    <a:pt x="480" y="547"/>
                    <a:pt x="480" y="547"/>
                    <a:pt x="480" y="547"/>
                  </a:cubicBezTo>
                  <a:cubicBezTo>
                    <a:pt x="496" y="536"/>
                    <a:pt x="496" y="536"/>
                    <a:pt x="496" y="536"/>
                  </a:cubicBezTo>
                  <a:cubicBezTo>
                    <a:pt x="511" y="533"/>
                    <a:pt x="511" y="533"/>
                    <a:pt x="511" y="533"/>
                  </a:cubicBezTo>
                  <a:cubicBezTo>
                    <a:pt x="499" y="540"/>
                    <a:pt x="499" y="540"/>
                    <a:pt x="499" y="540"/>
                  </a:cubicBezTo>
                  <a:cubicBezTo>
                    <a:pt x="487" y="551"/>
                    <a:pt x="487" y="551"/>
                    <a:pt x="487" y="551"/>
                  </a:cubicBezTo>
                  <a:cubicBezTo>
                    <a:pt x="472" y="554"/>
                    <a:pt x="472" y="554"/>
                    <a:pt x="472" y="554"/>
                  </a:cubicBezTo>
                  <a:cubicBezTo>
                    <a:pt x="453" y="572"/>
                    <a:pt x="453" y="572"/>
                    <a:pt x="453" y="572"/>
                  </a:cubicBezTo>
                  <a:cubicBezTo>
                    <a:pt x="441" y="576"/>
                    <a:pt x="441" y="576"/>
                    <a:pt x="441" y="576"/>
                  </a:cubicBezTo>
                  <a:cubicBezTo>
                    <a:pt x="433" y="602"/>
                    <a:pt x="433" y="602"/>
                    <a:pt x="433" y="602"/>
                  </a:cubicBezTo>
                  <a:cubicBezTo>
                    <a:pt x="451" y="618"/>
                    <a:pt x="451" y="618"/>
                    <a:pt x="451" y="618"/>
                  </a:cubicBezTo>
                  <a:cubicBezTo>
                    <a:pt x="448" y="591"/>
                    <a:pt x="448" y="591"/>
                    <a:pt x="448" y="591"/>
                  </a:cubicBezTo>
                  <a:cubicBezTo>
                    <a:pt x="463" y="600"/>
                    <a:pt x="463" y="600"/>
                    <a:pt x="463" y="600"/>
                  </a:cubicBezTo>
                  <a:cubicBezTo>
                    <a:pt x="471" y="592"/>
                    <a:pt x="471" y="592"/>
                    <a:pt x="471" y="592"/>
                  </a:cubicBezTo>
                  <a:cubicBezTo>
                    <a:pt x="477" y="616"/>
                    <a:pt x="477" y="616"/>
                    <a:pt x="477" y="616"/>
                  </a:cubicBezTo>
                  <a:cubicBezTo>
                    <a:pt x="493" y="601"/>
                    <a:pt x="493" y="601"/>
                    <a:pt x="493" y="601"/>
                  </a:cubicBezTo>
                  <a:cubicBezTo>
                    <a:pt x="490" y="586"/>
                    <a:pt x="490" y="586"/>
                    <a:pt x="490" y="586"/>
                  </a:cubicBezTo>
                  <a:cubicBezTo>
                    <a:pt x="497" y="586"/>
                    <a:pt x="497" y="586"/>
                    <a:pt x="497" y="586"/>
                  </a:cubicBezTo>
                  <a:cubicBezTo>
                    <a:pt x="497" y="586"/>
                    <a:pt x="506" y="563"/>
                    <a:pt x="509" y="567"/>
                  </a:cubicBezTo>
                  <a:cubicBezTo>
                    <a:pt x="517" y="568"/>
                    <a:pt x="509" y="579"/>
                    <a:pt x="509" y="579"/>
                  </a:cubicBezTo>
                  <a:cubicBezTo>
                    <a:pt x="508" y="594"/>
                    <a:pt x="508" y="594"/>
                    <a:pt x="508" y="594"/>
                  </a:cubicBezTo>
                  <a:cubicBezTo>
                    <a:pt x="512" y="587"/>
                    <a:pt x="512" y="587"/>
                    <a:pt x="512" y="587"/>
                  </a:cubicBezTo>
                  <a:cubicBezTo>
                    <a:pt x="522" y="602"/>
                    <a:pt x="522" y="602"/>
                    <a:pt x="522" y="602"/>
                  </a:cubicBezTo>
                  <a:cubicBezTo>
                    <a:pt x="540" y="619"/>
                    <a:pt x="540" y="619"/>
                    <a:pt x="540" y="619"/>
                  </a:cubicBezTo>
                  <a:cubicBezTo>
                    <a:pt x="518" y="614"/>
                    <a:pt x="518" y="614"/>
                    <a:pt x="518" y="614"/>
                  </a:cubicBezTo>
                  <a:cubicBezTo>
                    <a:pt x="508" y="602"/>
                    <a:pt x="508" y="602"/>
                    <a:pt x="508" y="602"/>
                  </a:cubicBezTo>
                  <a:cubicBezTo>
                    <a:pt x="496" y="609"/>
                    <a:pt x="496" y="609"/>
                    <a:pt x="496" y="609"/>
                  </a:cubicBezTo>
                  <a:cubicBezTo>
                    <a:pt x="491" y="647"/>
                    <a:pt x="491" y="647"/>
                    <a:pt x="491" y="647"/>
                  </a:cubicBezTo>
                  <a:cubicBezTo>
                    <a:pt x="491" y="647"/>
                    <a:pt x="479" y="646"/>
                    <a:pt x="479" y="650"/>
                  </a:cubicBezTo>
                  <a:cubicBezTo>
                    <a:pt x="478" y="677"/>
                    <a:pt x="478" y="677"/>
                    <a:pt x="478" y="677"/>
                  </a:cubicBezTo>
                  <a:cubicBezTo>
                    <a:pt x="478" y="677"/>
                    <a:pt x="504" y="686"/>
                    <a:pt x="499" y="701"/>
                  </a:cubicBezTo>
                  <a:cubicBezTo>
                    <a:pt x="499" y="716"/>
                    <a:pt x="479" y="727"/>
                    <a:pt x="479" y="727"/>
                  </a:cubicBezTo>
                  <a:cubicBezTo>
                    <a:pt x="475" y="742"/>
                    <a:pt x="475" y="742"/>
                    <a:pt x="475" y="742"/>
                  </a:cubicBezTo>
                  <a:cubicBezTo>
                    <a:pt x="464" y="741"/>
                    <a:pt x="464" y="741"/>
                    <a:pt x="464" y="741"/>
                  </a:cubicBezTo>
                  <a:cubicBezTo>
                    <a:pt x="464" y="741"/>
                    <a:pt x="463" y="756"/>
                    <a:pt x="455" y="764"/>
                  </a:cubicBezTo>
                  <a:cubicBezTo>
                    <a:pt x="448" y="767"/>
                    <a:pt x="428" y="781"/>
                    <a:pt x="424" y="793"/>
                  </a:cubicBezTo>
                  <a:cubicBezTo>
                    <a:pt x="420" y="804"/>
                    <a:pt x="411" y="830"/>
                    <a:pt x="411" y="830"/>
                  </a:cubicBezTo>
                  <a:cubicBezTo>
                    <a:pt x="405" y="807"/>
                    <a:pt x="405" y="807"/>
                    <a:pt x="405" y="807"/>
                  </a:cubicBezTo>
                  <a:cubicBezTo>
                    <a:pt x="401" y="807"/>
                    <a:pt x="401" y="807"/>
                    <a:pt x="401" y="807"/>
                  </a:cubicBezTo>
                  <a:cubicBezTo>
                    <a:pt x="401" y="807"/>
                    <a:pt x="389" y="829"/>
                    <a:pt x="396" y="841"/>
                  </a:cubicBezTo>
                  <a:cubicBezTo>
                    <a:pt x="399" y="849"/>
                    <a:pt x="406" y="868"/>
                    <a:pt x="406" y="868"/>
                  </a:cubicBezTo>
                  <a:cubicBezTo>
                    <a:pt x="405" y="887"/>
                    <a:pt x="405" y="887"/>
                    <a:pt x="405" y="887"/>
                  </a:cubicBezTo>
                  <a:cubicBezTo>
                    <a:pt x="412" y="895"/>
                    <a:pt x="412" y="895"/>
                    <a:pt x="412" y="895"/>
                  </a:cubicBezTo>
                  <a:cubicBezTo>
                    <a:pt x="416" y="884"/>
                    <a:pt x="416" y="884"/>
                    <a:pt x="416" y="884"/>
                  </a:cubicBezTo>
                  <a:cubicBezTo>
                    <a:pt x="416" y="884"/>
                    <a:pt x="406" y="861"/>
                    <a:pt x="421" y="854"/>
                  </a:cubicBezTo>
                  <a:cubicBezTo>
                    <a:pt x="433" y="847"/>
                    <a:pt x="440" y="851"/>
                    <a:pt x="440" y="851"/>
                  </a:cubicBezTo>
                  <a:cubicBezTo>
                    <a:pt x="439" y="862"/>
                    <a:pt x="439" y="862"/>
                    <a:pt x="439" y="862"/>
                  </a:cubicBezTo>
                  <a:cubicBezTo>
                    <a:pt x="465" y="879"/>
                    <a:pt x="465" y="879"/>
                    <a:pt x="465" y="879"/>
                  </a:cubicBezTo>
                  <a:cubicBezTo>
                    <a:pt x="479" y="902"/>
                    <a:pt x="479" y="902"/>
                    <a:pt x="479" y="902"/>
                  </a:cubicBezTo>
                  <a:cubicBezTo>
                    <a:pt x="491" y="880"/>
                    <a:pt x="491" y="880"/>
                    <a:pt x="491" y="880"/>
                  </a:cubicBezTo>
                  <a:cubicBezTo>
                    <a:pt x="484" y="864"/>
                    <a:pt x="484" y="864"/>
                    <a:pt x="484" y="864"/>
                  </a:cubicBezTo>
                  <a:cubicBezTo>
                    <a:pt x="485" y="853"/>
                    <a:pt x="485" y="853"/>
                    <a:pt x="485" y="853"/>
                  </a:cubicBezTo>
                  <a:cubicBezTo>
                    <a:pt x="485" y="853"/>
                    <a:pt x="492" y="869"/>
                    <a:pt x="499" y="873"/>
                  </a:cubicBezTo>
                  <a:cubicBezTo>
                    <a:pt x="514" y="874"/>
                    <a:pt x="514" y="874"/>
                    <a:pt x="514" y="874"/>
                  </a:cubicBezTo>
                  <a:cubicBezTo>
                    <a:pt x="514" y="874"/>
                    <a:pt x="498" y="896"/>
                    <a:pt x="513" y="896"/>
                  </a:cubicBezTo>
                  <a:cubicBezTo>
                    <a:pt x="528" y="897"/>
                    <a:pt x="550" y="894"/>
                    <a:pt x="550" y="894"/>
                  </a:cubicBezTo>
                  <a:cubicBezTo>
                    <a:pt x="558" y="883"/>
                    <a:pt x="558" y="883"/>
                    <a:pt x="558" y="883"/>
                  </a:cubicBezTo>
                  <a:cubicBezTo>
                    <a:pt x="573" y="888"/>
                    <a:pt x="573" y="888"/>
                    <a:pt x="573" y="888"/>
                  </a:cubicBezTo>
                  <a:cubicBezTo>
                    <a:pt x="599" y="889"/>
                    <a:pt x="599" y="889"/>
                    <a:pt x="599" y="889"/>
                  </a:cubicBezTo>
                  <a:cubicBezTo>
                    <a:pt x="605" y="847"/>
                    <a:pt x="605" y="847"/>
                    <a:pt x="605" y="847"/>
                  </a:cubicBezTo>
                  <a:cubicBezTo>
                    <a:pt x="605" y="847"/>
                    <a:pt x="604" y="866"/>
                    <a:pt x="611" y="871"/>
                  </a:cubicBezTo>
                  <a:cubicBezTo>
                    <a:pt x="619" y="871"/>
                    <a:pt x="671" y="881"/>
                    <a:pt x="671" y="881"/>
                  </a:cubicBezTo>
                  <a:cubicBezTo>
                    <a:pt x="663" y="888"/>
                    <a:pt x="663" y="888"/>
                    <a:pt x="663" y="888"/>
                  </a:cubicBezTo>
                  <a:cubicBezTo>
                    <a:pt x="655" y="888"/>
                    <a:pt x="655" y="888"/>
                    <a:pt x="655" y="888"/>
                  </a:cubicBezTo>
                  <a:cubicBezTo>
                    <a:pt x="652" y="884"/>
                    <a:pt x="652" y="884"/>
                    <a:pt x="652" y="884"/>
                  </a:cubicBezTo>
                  <a:cubicBezTo>
                    <a:pt x="637" y="883"/>
                    <a:pt x="637" y="883"/>
                    <a:pt x="637" y="883"/>
                  </a:cubicBezTo>
                  <a:cubicBezTo>
                    <a:pt x="640" y="895"/>
                    <a:pt x="640" y="895"/>
                    <a:pt x="640" y="895"/>
                  </a:cubicBezTo>
                  <a:cubicBezTo>
                    <a:pt x="629" y="890"/>
                    <a:pt x="629" y="890"/>
                    <a:pt x="629" y="890"/>
                  </a:cubicBezTo>
                  <a:cubicBezTo>
                    <a:pt x="606" y="905"/>
                    <a:pt x="606" y="905"/>
                    <a:pt x="606" y="905"/>
                  </a:cubicBezTo>
                  <a:cubicBezTo>
                    <a:pt x="609" y="913"/>
                    <a:pt x="609" y="913"/>
                    <a:pt x="609" y="913"/>
                  </a:cubicBezTo>
                  <a:cubicBezTo>
                    <a:pt x="609" y="913"/>
                    <a:pt x="590" y="923"/>
                    <a:pt x="586" y="934"/>
                  </a:cubicBezTo>
                  <a:cubicBezTo>
                    <a:pt x="582" y="942"/>
                    <a:pt x="577" y="957"/>
                    <a:pt x="577" y="957"/>
                  </a:cubicBezTo>
                  <a:cubicBezTo>
                    <a:pt x="566" y="964"/>
                    <a:pt x="566" y="964"/>
                    <a:pt x="566" y="964"/>
                  </a:cubicBezTo>
                  <a:cubicBezTo>
                    <a:pt x="576" y="987"/>
                    <a:pt x="576" y="987"/>
                    <a:pt x="576" y="987"/>
                  </a:cubicBezTo>
                  <a:cubicBezTo>
                    <a:pt x="579" y="999"/>
                    <a:pt x="579" y="999"/>
                    <a:pt x="579" y="999"/>
                  </a:cubicBezTo>
                  <a:cubicBezTo>
                    <a:pt x="579" y="999"/>
                    <a:pt x="586" y="1003"/>
                    <a:pt x="586" y="1011"/>
                  </a:cubicBezTo>
                  <a:cubicBezTo>
                    <a:pt x="586" y="1015"/>
                    <a:pt x="581" y="1034"/>
                    <a:pt x="581" y="1037"/>
                  </a:cubicBezTo>
                  <a:cubicBezTo>
                    <a:pt x="585" y="1045"/>
                    <a:pt x="592" y="1053"/>
                    <a:pt x="592" y="1053"/>
                  </a:cubicBezTo>
                  <a:cubicBezTo>
                    <a:pt x="607" y="1035"/>
                    <a:pt x="607" y="1035"/>
                    <a:pt x="607" y="1035"/>
                  </a:cubicBezTo>
                  <a:cubicBezTo>
                    <a:pt x="607" y="1050"/>
                    <a:pt x="607" y="1050"/>
                    <a:pt x="607" y="1050"/>
                  </a:cubicBezTo>
                  <a:cubicBezTo>
                    <a:pt x="599" y="1057"/>
                    <a:pt x="599" y="1057"/>
                    <a:pt x="599" y="1057"/>
                  </a:cubicBezTo>
                  <a:cubicBezTo>
                    <a:pt x="595" y="1057"/>
                    <a:pt x="602" y="1080"/>
                    <a:pt x="602" y="1080"/>
                  </a:cubicBezTo>
                  <a:cubicBezTo>
                    <a:pt x="617" y="1062"/>
                    <a:pt x="617" y="1062"/>
                    <a:pt x="617" y="1062"/>
                  </a:cubicBezTo>
                  <a:cubicBezTo>
                    <a:pt x="622" y="1047"/>
                    <a:pt x="622" y="1047"/>
                    <a:pt x="622" y="1047"/>
                  </a:cubicBezTo>
                  <a:cubicBezTo>
                    <a:pt x="632" y="1074"/>
                    <a:pt x="632" y="1074"/>
                    <a:pt x="632" y="1074"/>
                  </a:cubicBezTo>
                  <a:cubicBezTo>
                    <a:pt x="647" y="1063"/>
                    <a:pt x="647" y="1063"/>
                    <a:pt x="647" y="1063"/>
                  </a:cubicBezTo>
                  <a:cubicBezTo>
                    <a:pt x="646" y="1086"/>
                    <a:pt x="646" y="1086"/>
                    <a:pt x="646" y="1086"/>
                  </a:cubicBezTo>
                  <a:cubicBezTo>
                    <a:pt x="646" y="1086"/>
                    <a:pt x="631" y="1089"/>
                    <a:pt x="631" y="1093"/>
                  </a:cubicBezTo>
                  <a:cubicBezTo>
                    <a:pt x="631" y="1101"/>
                    <a:pt x="638" y="1105"/>
                    <a:pt x="638" y="1105"/>
                  </a:cubicBezTo>
                  <a:cubicBezTo>
                    <a:pt x="634" y="1116"/>
                    <a:pt x="634" y="1116"/>
                    <a:pt x="634" y="1116"/>
                  </a:cubicBezTo>
                  <a:cubicBezTo>
                    <a:pt x="604" y="1119"/>
                    <a:pt x="604" y="1119"/>
                    <a:pt x="604" y="1119"/>
                  </a:cubicBezTo>
                  <a:cubicBezTo>
                    <a:pt x="604" y="1119"/>
                    <a:pt x="595" y="1153"/>
                    <a:pt x="602" y="1157"/>
                  </a:cubicBezTo>
                  <a:cubicBezTo>
                    <a:pt x="609" y="1161"/>
                    <a:pt x="612" y="1173"/>
                    <a:pt x="612" y="1173"/>
                  </a:cubicBezTo>
                  <a:cubicBezTo>
                    <a:pt x="612" y="1173"/>
                    <a:pt x="582" y="1187"/>
                    <a:pt x="581" y="1206"/>
                  </a:cubicBezTo>
                  <a:cubicBezTo>
                    <a:pt x="584" y="1221"/>
                    <a:pt x="594" y="1252"/>
                    <a:pt x="594" y="1252"/>
                  </a:cubicBezTo>
                  <a:cubicBezTo>
                    <a:pt x="612" y="1261"/>
                    <a:pt x="612" y="1261"/>
                    <a:pt x="612" y="1261"/>
                  </a:cubicBezTo>
                  <a:cubicBezTo>
                    <a:pt x="612" y="1261"/>
                    <a:pt x="608" y="1268"/>
                    <a:pt x="604" y="1268"/>
                  </a:cubicBezTo>
                  <a:cubicBezTo>
                    <a:pt x="601" y="1268"/>
                    <a:pt x="586" y="1259"/>
                    <a:pt x="586" y="1259"/>
                  </a:cubicBezTo>
                  <a:cubicBezTo>
                    <a:pt x="580" y="1232"/>
                    <a:pt x="580" y="1232"/>
                    <a:pt x="580" y="1232"/>
                  </a:cubicBezTo>
                  <a:cubicBezTo>
                    <a:pt x="580" y="1232"/>
                    <a:pt x="561" y="1228"/>
                    <a:pt x="561" y="1235"/>
                  </a:cubicBezTo>
                  <a:cubicBezTo>
                    <a:pt x="557" y="1239"/>
                    <a:pt x="563" y="1266"/>
                    <a:pt x="563" y="1266"/>
                  </a:cubicBezTo>
                  <a:cubicBezTo>
                    <a:pt x="538" y="1238"/>
                    <a:pt x="538" y="1238"/>
                    <a:pt x="538" y="1238"/>
                  </a:cubicBezTo>
                  <a:cubicBezTo>
                    <a:pt x="493" y="1244"/>
                    <a:pt x="493" y="1244"/>
                    <a:pt x="493" y="1244"/>
                  </a:cubicBezTo>
                  <a:cubicBezTo>
                    <a:pt x="464" y="1223"/>
                    <a:pt x="464" y="1223"/>
                    <a:pt x="464" y="1223"/>
                  </a:cubicBezTo>
                  <a:cubicBezTo>
                    <a:pt x="464" y="1234"/>
                    <a:pt x="464" y="1234"/>
                    <a:pt x="464" y="1234"/>
                  </a:cubicBezTo>
                  <a:cubicBezTo>
                    <a:pt x="426" y="1240"/>
                    <a:pt x="426" y="1240"/>
                    <a:pt x="426" y="1240"/>
                  </a:cubicBezTo>
                  <a:cubicBezTo>
                    <a:pt x="384" y="1261"/>
                    <a:pt x="384" y="1261"/>
                    <a:pt x="384" y="1261"/>
                  </a:cubicBezTo>
                  <a:cubicBezTo>
                    <a:pt x="384" y="1261"/>
                    <a:pt x="379" y="1284"/>
                    <a:pt x="368" y="1287"/>
                  </a:cubicBezTo>
                  <a:cubicBezTo>
                    <a:pt x="360" y="1295"/>
                    <a:pt x="345" y="1294"/>
                    <a:pt x="345" y="1294"/>
                  </a:cubicBezTo>
                  <a:cubicBezTo>
                    <a:pt x="345" y="1294"/>
                    <a:pt x="307" y="1311"/>
                    <a:pt x="310" y="1315"/>
                  </a:cubicBezTo>
                  <a:cubicBezTo>
                    <a:pt x="318" y="1319"/>
                    <a:pt x="333" y="1316"/>
                    <a:pt x="336" y="1320"/>
                  </a:cubicBezTo>
                  <a:cubicBezTo>
                    <a:pt x="340" y="1324"/>
                    <a:pt x="339" y="1336"/>
                    <a:pt x="339" y="1336"/>
                  </a:cubicBezTo>
                  <a:cubicBezTo>
                    <a:pt x="339" y="1336"/>
                    <a:pt x="347" y="1332"/>
                    <a:pt x="347" y="1325"/>
                  </a:cubicBezTo>
                  <a:cubicBezTo>
                    <a:pt x="351" y="1317"/>
                    <a:pt x="355" y="1310"/>
                    <a:pt x="363" y="1310"/>
                  </a:cubicBezTo>
                  <a:cubicBezTo>
                    <a:pt x="367" y="1306"/>
                    <a:pt x="374" y="1314"/>
                    <a:pt x="374" y="1314"/>
                  </a:cubicBezTo>
                  <a:cubicBezTo>
                    <a:pt x="385" y="1311"/>
                    <a:pt x="385" y="1311"/>
                    <a:pt x="385" y="1311"/>
                  </a:cubicBezTo>
                  <a:cubicBezTo>
                    <a:pt x="407" y="1316"/>
                    <a:pt x="407" y="1316"/>
                    <a:pt x="407" y="1316"/>
                  </a:cubicBezTo>
                  <a:cubicBezTo>
                    <a:pt x="399" y="1327"/>
                    <a:pt x="399" y="1327"/>
                    <a:pt x="399" y="1327"/>
                  </a:cubicBezTo>
                  <a:cubicBezTo>
                    <a:pt x="399" y="1327"/>
                    <a:pt x="395" y="1346"/>
                    <a:pt x="398" y="1350"/>
                  </a:cubicBezTo>
                  <a:cubicBezTo>
                    <a:pt x="402" y="1354"/>
                    <a:pt x="402" y="1362"/>
                    <a:pt x="402" y="1362"/>
                  </a:cubicBezTo>
                  <a:cubicBezTo>
                    <a:pt x="402" y="1362"/>
                    <a:pt x="386" y="1372"/>
                    <a:pt x="386" y="1384"/>
                  </a:cubicBezTo>
                  <a:cubicBezTo>
                    <a:pt x="385" y="1391"/>
                    <a:pt x="400" y="1400"/>
                    <a:pt x="400" y="1400"/>
                  </a:cubicBezTo>
                  <a:cubicBezTo>
                    <a:pt x="392" y="1407"/>
                    <a:pt x="392" y="1407"/>
                    <a:pt x="392" y="1407"/>
                  </a:cubicBezTo>
                  <a:cubicBezTo>
                    <a:pt x="392" y="1407"/>
                    <a:pt x="367" y="1459"/>
                    <a:pt x="356" y="1459"/>
                  </a:cubicBezTo>
                  <a:cubicBezTo>
                    <a:pt x="345" y="1462"/>
                    <a:pt x="333" y="1462"/>
                    <a:pt x="330" y="1465"/>
                  </a:cubicBezTo>
                  <a:cubicBezTo>
                    <a:pt x="322" y="1469"/>
                    <a:pt x="307" y="1476"/>
                    <a:pt x="307" y="1476"/>
                  </a:cubicBezTo>
                  <a:cubicBezTo>
                    <a:pt x="292" y="1471"/>
                    <a:pt x="292" y="1471"/>
                    <a:pt x="292" y="1471"/>
                  </a:cubicBezTo>
                  <a:cubicBezTo>
                    <a:pt x="258" y="1481"/>
                    <a:pt x="258" y="1481"/>
                    <a:pt x="258" y="1481"/>
                  </a:cubicBezTo>
                  <a:cubicBezTo>
                    <a:pt x="253" y="1492"/>
                    <a:pt x="253" y="1492"/>
                    <a:pt x="253" y="1492"/>
                  </a:cubicBezTo>
                  <a:cubicBezTo>
                    <a:pt x="235" y="1491"/>
                    <a:pt x="235" y="1491"/>
                    <a:pt x="235" y="1491"/>
                  </a:cubicBezTo>
                  <a:cubicBezTo>
                    <a:pt x="224" y="1479"/>
                    <a:pt x="224" y="1479"/>
                    <a:pt x="224" y="1479"/>
                  </a:cubicBezTo>
                  <a:cubicBezTo>
                    <a:pt x="213" y="1483"/>
                    <a:pt x="213" y="1483"/>
                    <a:pt x="213" y="1483"/>
                  </a:cubicBezTo>
                  <a:cubicBezTo>
                    <a:pt x="216" y="1490"/>
                    <a:pt x="216" y="1490"/>
                    <a:pt x="216" y="1490"/>
                  </a:cubicBezTo>
                  <a:cubicBezTo>
                    <a:pt x="216" y="1490"/>
                    <a:pt x="179" y="1492"/>
                    <a:pt x="178" y="1500"/>
                  </a:cubicBezTo>
                  <a:cubicBezTo>
                    <a:pt x="174" y="1508"/>
                    <a:pt x="174" y="1511"/>
                    <a:pt x="174" y="1511"/>
                  </a:cubicBezTo>
                  <a:cubicBezTo>
                    <a:pt x="200" y="1516"/>
                    <a:pt x="200" y="1516"/>
                    <a:pt x="200" y="1516"/>
                  </a:cubicBezTo>
                  <a:cubicBezTo>
                    <a:pt x="200" y="1516"/>
                    <a:pt x="203" y="1536"/>
                    <a:pt x="195" y="1535"/>
                  </a:cubicBezTo>
                  <a:cubicBezTo>
                    <a:pt x="184" y="1535"/>
                    <a:pt x="177" y="1538"/>
                    <a:pt x="177" y="1538"/>
                  </a:cubicBezTo>
                  <a:cubicBezTo>
                    <a:pt x="179" y="1558"/>
                    <a:pt x="179" y="1558"/>
                    <a:pt x="179" y="1558"/>
                  </a:cubicBezTo>
                  <a:cubicBezTo>
                    <a:pt x="179" y="1558"/>
                    <a:pt x="191" y="1550"/>
                    <a:pt x="195" y="1551"/>
                  </a:cubicBezTo>
                  <a:cubicBezTo>
                    <a:pt x="198" y="1551"/>
                    <a:pt x="206" y="1555"/>
                    <a:pt x="206" y="1555"/>
                  </a:cubicBezTo>
                  <a:cubicBezTo>
                    <a:pt x="225" y="1552"/>
                    <a:pt x="225" y="1552"/>
                    <a:pt x="225" y="1552"/>
                  </a:cubicBezTo>
                  <a:cubicBezTo>
                    <a:pt x="233" y="1541"/>
                    <a:pt x="233" y="1541"/>
                    <a:pt x="233" y="1541"/>
                  </a:cubicBezTo>
                  <a:cubicBezTo>
                    <a:pt x="247" y="1542"/>
                    <a:pt x="247" y="1542"/>
                    <a:pt x="247" y="1542"/>
                  </a:cubicBezTo>
                  <a:cubicBezTo>
                    <a:pt x="236" y="1549"/>
                    <a:pt x="236" y="1549"/>
                    <a:pt x="236" y="1549"/>
                  </a:cubicBezTo>
                  <a:cubicBezTo>
                    <a:pt x="232" y="1560"/>
                    <a:pt x="232" y="1560"/>
                    <a:pt x="232" y="1560"/>
                  </a:cubicBezTo>
                  <a:cubicBezTo>
                    <a:pt x="202" y="1559"/>
                    <a:pt x="202" y="1559"/>
                    <a:pt x="202" y="1559"/>
                  </a:cubicBezTo>
                  <a:cubicBezTo>
                    <a:pt x="194" y="1562"/>
                    <a:pt x="194" y="1562"/>
                    <a:pt x="194" y="1562"/>
                  </a:cubicBezTo>
                  <a:cubicBezTo>
                    <a:pt x="194" y="1562"/>
                    <a:pt x="193" y="1581"/>
                    <a:pt x="201" y="1581"/>
                  </a:cubicBezTo>
                  <a:cubicBezTo>
                    <a:pt x="208" y="1582"/>
                    <a:pt x="223" y="1579"/>
                    <a:pt x="223" y="1579"/>
                  </a:cubicBezTo>
                  <a:cubicBezTo>
                    <a:pt x="223" y="1579"/>
                    <a:pt x="234" y="1583"/>
                    <a:pt x="238" y="1579"/>
                  </a:cubicBezTo>
                  <a:cubicBezTo>
                    <a:pt x="246" y="1576"/>
                    <a:pt x="254" y="1569"/>
                    <a:pt x="254" y="1569"/>
                  </a:cubicBezTo>
                  <a:cubicBezTo>
                    <a:pt x="280" y="1570"/>
                    <a:pt x="280" y="1570"/>
                    <a:pt x="280" y="1570"/>
                  </a:cubicBezTo>
                  <a:cubicBezTo>
                    <a:pt x="280" y="1570"/>
                    <a:pt x="295" y="1559"/>
                    <a:pt x="303" y="1563"/>
                  </a:cubicBezTo>
                  <a:cubicBezTo>
                    <a:pt x="310" y="1568"/>
                    <a:pt x="291" y="1578"/>
                    <a:pt x="298" y="1582"/>
                  </a:cubicBezTo>
                  <a:cubicBezTo>
                    <a:pt x="305" y="1586"/>
                    <a:pt x="324" y="1595"/>
                    <a:pt x="324" y="1595"/>
                  </a:cubicBezTo>
                  <a:cubicBezTo>
                    <a:pt x="346" y="1592"/>
                    <a:pt x="346" y="1592"/>
                    <a:pt x="346" y="1592"/>
                  </a:cubicBezTo>
                  <a:cubicBezTo>
                    <a:pt x="342" y="1600"/>
                    <a:pt x="342" y="1600"/>
                    <a:pt x="342" y="1600"/>
                  </a:cubicBezTo>
                  <a:cubicBezTo>
                    <a:pt x="323" y="1603"/>
                    <a:pt x="323" y="1603"/>
                    <a:pt x="323" y="1603"/>
                  </a:cubicBezTo>
                  <a:cubicBezTo>
                    <a:pt x="323" y="1603"/>
                    <a:pt x="305" y="1598"/>
                    <a:pt x="304" y="1606"/>
                  </a:cubicBezTo>
                  <a:cubicBezTo>
                    <a:pt x="300" y="1613"/>
                    <a:pt x="300" y="1621"/>
                    <a:pt x="307" y="1621"/>
                  </a:cubicBezTo>
                  <a:cubicBezTo>
                    <a:pt x="319" y="1622"/>
                    <a:pt x="333" y="1626"/>
                    <a:pt x="333" y="1626"/>
                  </a:cubicBezTo>
                  <a:cubicBezTo>
                    <a:pt x="333" y="1626"/>
                    <a:pt x="345" y="1611"/>
                    <a:pt x="356" y="1616"/>
                  </a:cubicBezTo>
                  <a:cubicBezTo>
                    <a:pt x="371" y="1620"/>
                    <a:pt x="380" y="1663"/>
                    <a:pt x="380" y="1663"/>
                  </a:cubicBezTo>
                  <a:cubicBezTo>
                    <a:pt x="380" y="1663"/>
                    <a:pt x="398" y="1683"/>
                    <a:pt x="420" y="1688"/>
                  </a:cubicBezTo>
                  <a:cubicBezTo>
                    <a:pt x="439" y="1688"/>
                    <a:pt x="474" y="1671"/>
                    <a:pt x="474" y="1671"/>
                  </a:cubicBezTo>
                  <a:cubicBezTo>
                    <a:pt x="511" y="1665"/>
                    <a:pt x="511" y="1665"/>
                    <a:pt x="511" y="1665"/>
                  </a:cubicBezTo>
                  <a:cubicBezTo>
                    <a:pt x="538" y="1643"/>
                    <a:pt x="538" y="1643"/>
                    <a:pt x="538" y="1643"/>
                  </a:cubicBezTo>
                  <a:cubicBezTo>
                    <a:pt x="573" y="1626"/>
                    <a:pt x="573" y="1626"/>
                    <a:pt x="573" y="1626"/>
                  </a:cubicBezTo>
                  <a:cubicBezTo>
                    <a:pt x="576" y="1630"/>
                    <a:pt x="576" y="1630"/>
                    <a:pt x="576" y="1630"/>
                  </a:cubicBezTo>
                  <a:cubicBezTo>
                    <a:pt x="542" y="1651"/>
                    <a:pt x="542" y="1651"/>
                    <a:pt x="542" y="1651"/>
                  </a:cubicBezTo>
                  <a:cubicBezTo>
                    <a:pt x="522" y="1673"/>
                    <a:pt x="522" y="1673"/>
                    <a:pt x="522" y="1673"/>
                  </a:cubicBezTo>
                  <a:cubicBezTo>
                    <a:pt x="503" y="1676"/>
                    <a:pt x="503" y="1676"/>
                    <a:pt x="503" y="1676"/>
                  </a:cubicBezTo>
                  <a:cubicBezTo>
                    <a:pt x="503" y="1676"/>
                    <a:pt x="468" y="1701"/>
                    <a:pt x="468" y="1709"/>
                  </a:cubicBezTo>
                  <a:cubicBezTo>
                    <a:pt x="464" y="1720"/>
                    <a:pt x="471" y="1728"/>
                    <a:pt x="456" y="1731"/>
                  </a:cubicBezTo>
                  <a:cubicBezTo>
                    <a:pt x="441" y="1734"/>
                    <a:pt x="399" y="1736"/>
                    <a:pt x="392" y="1725"/>
                  </a:cubicBezTo>
                  <a:cubicBezTo>
                    <a:pt x="385" y="1717"/>
                    <a:pt x="363" y="1708"/>
                    <a:pt x="352" y="1703"/>
                  </a:cubicBezTo>
                  <a:cubicBezTo>
                    <a:pt x="341" y="1703"/>
                    <a:pt x="297" y="1693"/>
                    <a:pt x="285" y="1704"/>
                  </a:cubicBezTo>
                  <a:cubicBezTo>
                    <a:pt x="277" y="1711"/>
                    <a:pt x="287" y="1731"/>
                    <a:pt x="287" y="1731"/>
                  </a:cubicBezTo>
                  <a:cubicBezTo>
                    <a:pt x="287" y="1731"/>
                    <a:pt x="280" y="1734"/>
                    <a:pt x="265" y="1738"/>
                  </a:cubicBezTo>
                  <a:cubicBezTo>
                    <a:pt x="253" y="1741"/>
                    <a:pt x="247" y="1725"/>
                    <a:pt x="239" y="1729"/>
                  </a:cubicBezTo>
                  <a:cubicBezTo>
                    <a:pt x="228" y="1732"/>
                    <a:pt x="218" y="1781"/>
                    <a:pt x="218" y="1781"/>
                  </a:cubicBezTo>
                  <a:cubicBezTo>
                    <a:pt x="180" y="1798"/>
                    <a:pt x="180" y="1798"/>
                    <a:pt x="180" y="1798"/>
                  </a:cubicBezTo>
                  <a:cubicBezTo>
                    <a:pt x="175" y="1810"/>
                    <a:pt x="175" y="1810"/>
                    <a:pt x="175" y="1810"/>
                  </a:cubicBezTo>
                  <a:cubicBezTo>
                    <a:pt x="130" y="1823"/>
                    <a:pt x="130" y="1823"/>
                    <a:pt x="130" y="1823"/>
                  </a:cubicBezTo>
                  <a:cubicBezTo>
                    <a:pt x="125" y="1838"/>
                    <a:pt x="125" y="1838"/>
                    <a:pt x="125" y="1838"/>
                  </a:cubicBezTo>
                  <a:cubicBezTo>
                    <a:pt x="125" y="1838"/>
                    <a:pt x="110" y="1841"/>
                    <a:pt x="106" y="1849"/>
                  </a:cubicBezTo>
                  <a:cubicBezTo>
                    <a:pt x="99" y="1852"/>
                    <a:pt x="94" y="1863"/>
                    <a:pt x="94" y="1863"/>
                  </a:cubicBezTo>
                  <a:cubicBezTo>
                    <a:pt x="64" y="1877"/>
                    <a:pt x="64" y="1877"/>
                    <a:pt x="64" y="1877"/>
                  </a:cubicBezTo>
                  <a:cubicBezTo>
                    <a:pt x="49" y="1880"/>
                    <a:pt x="49" y="1880"/>
                    <a:pt x="49" y="1880"/>
                  </a:cubicBezTo>
                  <a:cubicBezTo>
                    <a:pt x="49" y="1880"/>
                    <a:pt x="19" y="1875"/>
                    <a:pt x="11" y="1882"/>
                  </a:cubicBezTo>
                  <a:cubicBezTo>
                    <a:pt x="0" y="1889"/>
                    <a:pt x="2" y="1912"/>
                    <a:pt x="2" y="1912"/>
                  </a:cubicBezTo>
                  <a:cubicBezTo>
                    <a:pt x="32" y="1910"/>
                    <a:pt x="32" y="1910"/>
                    <a:pt x="32" y="1910"/>
                  </a:cubicBezTo>
                  <a:cubicBezTo>
                    <a:pt x="33" y="1899"/>
                    <a:pt x="33" y="1899"/>
                    <a:pt x="33" y="1899"/>
                  </a:cubicBezTo>
                  <a:cubicBezTo>
                    <a:pt x="33" y="1899"/>
                    <a:pt x="51" y="1907"/>
                    <a:pt x="55" y="1911"/>
                  </a:cubicBezTo>
                  <a:cubicBezTo>
                    <a:pt x="58" y="1915"/>
                    <a:pt x="72" y="1943"/>
                    <a:pt x="72" y="1943"/>
                  </a:cubicBezTo>
                  <a:cubicBezTo>
                    <a:pt x="95" y="1928"/>
                    <a:pt x="95" y="1928"/>
                    <a:pt x="95" y="1928"/>
                  </a:cubicBezTo>
                  <a:cubicBezTo>
                    <a:pt x="92" y="1917"/>
                    <a:pt x="92" y="1917"/>
                    <a:pt x="92" y="1917"/>
                  </a:cubicBezTo>
                  <a:cubicBezTo>
                    <a:pt x="92" y="1917"/>
                    <a:pt x="112" y="1891"/>
                    <a:pt x="112" y="1895"/>
                  </a:cubicBezTo>
                  <a:cubicBezTo>
                    <a:pt x="111" y="1899"/>
                    <a:pt x="115" y="1910"/>
                    <a:pt x="115" y="1910"/>
                  </a:cubicBezTo>
                  <a:cubicBezTo>
                    <a:pt x="115" y="1910"/>
                    <a:pt x="141" y="1900"/>
                    <a:pt x="145" y="1900"/>
                  </a:cubicBezTo>
                  <a:cubicBezTo>
                    <a:pt x="149" y="1896"/>
                    <a:pt x="161" y="1882"/>
                    <a:pt x="161" y="1882"/>
                  </a:cubicBezTo>
                  <a:cubicBezTo>
                    <a:pt x="161" y="1882"/>
                    <a:pt x="183" y="1890"/>
                    <a:pt x="190" y="1887"/>
                  </a:cubicBezTo>
                  <a:cubicBezTo>
                    <a:pt x="202" y="1888"/>
                    <a:pt x="224" y="1885"/>
                    <a:pt x="228" y="1889"/>
                  </a:cubicBezTo>
                  <a:cubicBezTo>
                    <a:pt x="228" y="1893"/>
                    <a:pt x="231" y="1908"/>
                    <a:pt x="231" y="1908"/>
                  </a:cubicBezTo>
                  <a:cubicBezTo>
                    <a:pt x="242" y="1901"/>
                    <a:pt x="242" y="1901"/>
                    <a:pt x="242" y="1901"/>
                  </a:cubicBezTo>
                  <a:cubicBezTo>
                    <a:pt x="247" y="1882"/>
                    <a:pt x="247" y="1882"/>
                    <a:pt x="247" y="1882"/>
                  </a:cubicBezTo>
                  <a:cubicBezTo>
                    <a:pt x="253" y="1913"/>
                    <a:pt x="253" y="1913"/>
                    <a:pt x="253" y="1913"/>
                  </a:cubicBezTo>
                  <a:cubicBezTo>
                    <a:pt x="279" y="1914"/>
                    <a:pt x="279" y="1914"/>
                    <a:pt x="279" y="1914"/>
                  </a:cubicBezTo>
                  <a:cubicBezTo>
                    <a:pt x="279" y="1914"/>
                    <a:pt x="282" y="1941"/>
                    <a:pt x="293" y="1942"/>
                  </a:cubicBezTo>
                  <a:cubicBezTo>
                    <a:pt x="307" y="1946"/>
                    <a:pt x="320" y="1928"/>
                    <a:pt x="320" y="1928"/>
                  </a:cubicBezTo>
                  <a:cubicBezTo>
                    <a:pt x="331" y="1920"/>
                    <a:pt x="331" y="1920"/>
                    <a:pt x="331" y="1920"/>
                  </a:cubicBezTo>
                  <a:cubicBezTo>
                    <a:pt x="328" y="1905"/>
                    <a:pt x="328" y="1905"/>
                    <a:pt x="328" y="1905"/>
                  </a:cubicBezTo>
                  <a:cubicBezTo>
                    <a:pt x="344" y="1894"/>
                    <a:pt x="344" y="1894"/>
                    <a:pt x="344" y="1894"/>
                  </a:cubicBezTo>
                  <a:cubicBezTo>
                    <a:pt x="348" y="1875"/>
                    <a:pt x="348" y="1875"/>
                    <a:pt x="348" y="1875"/>
                  </a:cubicBezTo>
                  <a:cubicBezTo>
                    <a:pt x="360" y="1868"/>
                    <a:pt x="360" y="1868"/>
                    <a:pt x="360" y="1868"/>
                  </a:cubicBezTo>
                  <a:cubicBezTo>
                    <a:pt x="361" y="1845"/>
                    <a:pt x="361" y="1845"/>
                    <a:pt x="361" y="1845"/>
                  </a:cubicBezTo>
                  <a:cubicBezTo>
                    <a:pt x="364" y="1865"/>
                    <a:pt x="364" y="1865"/>
                    <a:pt x="364" y="1865"/>
                  </a:cubicBezTo>
                  <a:cubicBezTo>
                    <a:pt x="364" y="1865"/>
                    <a:pt x="383" y="1854"/>
                    <a:pt x="424" y="1856"/>
                  </a:cubicBezTo>
                  <a:cubicBezTo>
                    <a:pt x="469" y="1862"/>
                    <a:pt x="489" y="1901"/>
                    <a:pt x="489" y="1901"/>
                  </a:cubicBezTo>
                  <a:cubicBezTo>
                    <a:pt x="496" y="1917"/>
                    <a:pt x="496" y="1917"/>
                    <a:pt x="496" y="1917"/>
                  </a:cubicBezTo>
                  <a:cubicBezTo>
                    <a:pt x="504" y="1910"/>
                    <a:pt x="504" y="1910"/>
                    <a:pt x="504" y="1910"/>
                  </a:cubicBezTo>
                  <a:cubicBezTo>
                    <a:pt x="504" y="1910"/>
                    <a:pt x="493" y="1905"/>
                    <a:pt x="501" y="1898"/>
                  </a:cubicBezTo>
                  <a:cubicBezTo>
                    <a:pt x="509" y="1887"/>
                    <a:pt x="530" y="1899"/>
                    <a:pt x="530" y="1899"/>
                  </a:cubicBezTo>
                  <a:cubicBezTo>
                    <a:pt x="549" y="1900"/>
                    <a:pt x="549" y="1900"/>
                    <a:pt x="549" y="1900"/>
                  </a:cubicBezTo>
                  <a:cubicBezTo>
                    <a:pt x="553" y="1904"/>
                    <a:pt x="567" y="1920"/>
                    <a:pt x="575" y="1913"/>
                  </a:cubicBezTo>
                  <a:cubicBezTo>
                    <a:pt x="586" y="1910"/>
                    <a:pt x="579" y="1898"/>
                    <a:pt x="579" y="1898"/>
                  </a:cubicBezTo>
                  <a:cubicBezTo>
                    <a:pt x="579" y="1898"/>
                    <a:pt x="554" y="1885"/>
                    <a:pt x="561" y="1882"/>
                  </a:cubicBezTo>
                  <a:cubicBezTo>
                    <a:pt x="569" y="1878"/>
                    <a:pt x="579" y="1894"/>
                    <a:pt x="583" y="1890"/>
                  </a:cubicBezTo>
                  <a:cubicBezTo>
                    <a:pt x="591" y="1891"/>
                    <a:pt x="613" y="1884"/>
                    <a:pt x="613" y="1884"/>
                  </a:cubicBezTo>
                  <a:cubicBezTo>
                    <a:pt x="613" y="1884"/>
                    <a:pt x="628" y="1896"/>
                    <a:pt x="635" y="1897"/>
                  </a:cubicBezTo>
                  <a:cubicBezTo>
                    <a:pt x="639" y="1897"/>
                    <a:pt x="643" y="1886"/>
                    <a:pt x="643" y="1886"/>
                  </a:cubicBezTo>
                  <a:cubicBezTo>
                    <a:pt x="643" y="1886"/>
                    <a:pt x="662" y="1894"/>
                    <a:pt x="669" y="1891"/>
                  </a:cubicBezTo>
                  <a:cubicBezTo>
                    <a:pt x="677" y="1887"/>
                    <a:pt x="674" y="1872"/>
                    <a:pt x="674" y="1872"/>
                  </a:cubicBezTo>
                  <a:cubicBezTo>
                    <a:pt x="674" y="1872"/>
                    <a:pt x="688" y="1895"/>
                    <a:pt x="695" y="1896"/>
                  </a:cubicBezTo>
                  <a:cubicBezTo>
                    <a:pt x="703" y="1896"/>
                    <a:pt x="704" y="1877"/>
                    <a:pt x="703" y="1881"/>
                  </a:cubicBezTo>
                  <a:cubicBezTo>
                    <a:pt x="707" y="1889"/>
                    <a:pt x="714" y="1900"/>
                    <a:pt x="714" y="1900"/>
                  </a:cubicBezTo>
                  <a:cubicBezTo>
                    <a:pt x="714" y="1900"/>
                    <a:pt x="722" y="1878"/>
                    <a:pt x="733" y="1890"/>
                  </a:cubicBezTo>
                  <a:cubicBezTo>
                    <a:pt x="744" y="1902"/>
                    <a:pt x="739" y="1917"/>
                    <a:pt x="743" y="1917"/>
                  </a:cubicBezTo>
                  <a:cubicBezTo>
                    <a:pt x="750" y="1917"/>
                    <a:pt x="762" y="1914"/>
                    <a:pt x="762" y="1914"/>
                  </a:cubicBezTo>
                  <a:cubicBezTo>
                    <a:pt x="762" y="1914"/>
                    <a:pt x="799" y="1908"/>
                    <a:pt x="829" y="1914"/>
                  </a:cubicBezTo>
                  <a:cubicBezTo>
                    <a:pt x="855" y="1922"/>
                    <a:pt x="876" y="1943"/>
                    <a:pt x="895" y="1944"/>
                  </a:cubicBezTo>
                  <a:cubicBezTo>
                    <a:pt x="914" y="1944"/>
                    <a:pt x="922" y="1937"/>
                    <a:pt x="922" y="1937"/>
                  </a:cubicBezTo>
                  <a:cubicBezTo>
                    <a:pt x="963" y="1935"/>
                    <a:pt x="963" y="1935"/>
                    <a:pt x="963" y="1935"/>
                  </a:cubicBezTo>
                  <a:cubicBezTo>
                    <a:pt x="986" y="1913"/>
                    <a:pt x="986" y="1913"/>
                    <a:pt x="986" y="1913"/>
                  </a:cubicBezTo>
                  <a:cubicBezTo>
                    <a:pt x="1016" y="1926"/>
                    <a:pt x="1016" y="1926"/>
                    <a:pt x="1016" y="1926"/>
                  </a:cubicBezTo>
                  <a:cubicBezTo>
                    <a:pt x="1016" y="1926"/>
                    <a:pt x="1013" y="1892"/>
                    <a:pt x="1025" y="1892"/>
                  </a:cubicBezTo>
                  <a:cubicBezTo>
                    <a:pt x="1036" y="1893"/>
                    <a:pt x="1047" y="1897"/>
                    <a:pt x="1047" y="1897"/>
                  </a:cubicBezTo>
                  <a:cubicBezTo>
                    <a:pt x="1081" y="1887"/>
                    <a:pt x="1081" y="1887"/>
                    <a:pt x="1081" y="1887"/>
                  </a:cubicBezTo>
                  <a:cubicBezTo>
                    <a:pt x="1086" y="1853"/>
                    <a:pt x="1086" y="1853"/>
                    <a:pt x="1086" y="1853"/>
                  </a:cubicBezTo>
                  <a:cubicBezTo>
                    <a:pt x="1098" y="1838"/>
                    <a:pt x="1098" y="1838"/>
                    <a:pt x="1098" y="1838"/>
                  </a:cubicBezTo>
                  <a:cubicBezTo>
                    <a:pt x="1095" y="1831"/>
                    <a:pt x="1095" y="1831"/>
                    <a:pt x="1095" y="1831"/>
                  </a:cubicBezTo>
                  <a:cubicBezTo>
                    <a:pt x="1020" y="1831"/>
                    <a:pt x="1020" y="1831"/>
                    <a:pt x="1020" y="1831"/>
                  </a:cubicBezTo>
                  <a:cubicBezTo>
                    <a:pt x="1009" y="1827"/>
                    <a:pt x="1009" y="1827"/>
                    <a:pt x="1009" y="1827"/>
                  </a:cubicBezTo>
                  <a:cubicBezTo>
                    <a:pt x="1024" y="1820"/>
                    <a:pt x="1024" y="1820"/>
                    <a:pt x="1024" y="1820"/>
                  </a:cubicBezTo>
                  <a:cubicBezTo>
                    <a:pt x="1024" y="1820"/>
                    <a:pt x="1028" y="1812"/>
                    <a:pt x="1017" y="1808"/>
                  </a:cubicBezTo>
                  <a:cubicBezTo>
                    <a:pt x="1006" y="1803"/>
                    <a:pt x="995" y="1811"/>
                    <a:pt x="995" y="1811"/>
                  </a:cubicBezTo>
                  <a:cubicBezTo>
                    <a:pt x="972" y="1809"/>
                    <a:pt x="972" y="1809"/>
                    <a:pt x="972" y="1809"/>
                  </a:cubicBezTo>
                  <a:cubicBezTo>
                    <a:pt x="999" y="1799"/>
                    <a:pt x="999" y="1799"/>
                    <a:pt x="999" y="1799"/>
                  </a:cubicBezTo>
                  <a:cubicBezTo>
                    <a:pt x="981" y="1787"/>
                    <a:pt x="981" y="1787"/>
                    <a:pt x="981" y="1787"/>
                  </a:cubicBezTo>
                  <a:cubicBezTo>
                    <a:pt x="970" y="1786"/>
                    <a:pt x="970" y="1786"/>
                    <a:pt x="970" y="1786"/>
                  </a:cubicBezTo>
                  <a:cubicBezTo>
                    <a:pt x="962" y="1790"/>
                    <a:pt x="962" y="1790"/>
                    <a:pt x="962" y="1790"/>
                  </a:cubicBezTo>
                  <a:cubicBezTo>
                    <a:pt x="951" y="1789"/>
                    <a:pt x="951" y="1789"/>
                    <a:pt x="951" y="1789"/>
                  </a:cubicBezTo>
                  <a:cubicBezTo>
                    <a:pt x="958" y="1786"/>
                    <a:pt x="958" y="1786"/>
                    <a:pt x="958" y="1786"/>
                  </a:cubicBezTo>
                  <a:cubicBezTo>
                    <a:pt x="966" y="1779"/>
                    <a:pt x="966" y="1779"/>
                    <a:pt x="966" y="1779"/>
                  </a:cubicBezTo>
                  <a:cubicBezTo>
                    <a:pt x="981" y="1779"/>
                    <a:pt x="981" y="1779"/>
                    <a:pt x="981" y="1779"/>
                  </a:cubicBezTo>
                  <a:cubicBezTo>
                    <a:pt x="1011" y="1785"/>
                    <a:pt x="1011" y="1785"/>
                    <a:pt x="1011" y="1785"/>
                  </a:cubicBezTo>
                  <a:cubicBezTo>
                    <a:pt x="1030" y="1770"/>
                    <a:pt x="1030" y="1770"/>
                    <a:pt x="1030" y="1770"/>
                  </a:cubicBezTo>
                  <a:cubicBezTo>
                    <a:pt x="1019" y="1762"/>
                    <a:pt x="1019" y="1762"/>
                    <a:pt x="1019" y="1762"/>
                  </a:cubicBezTo>
                  <a:cubicBezTo>
                    <a:pt x="1035" y="1759"/>
                    <a:pt x="1035" y="1759"/>
                    <a:pt x="1035" y="1759"/>
                  </a:cubicBezTo>
                  <a:cubicBezTo>
                    <a:pt x="1039" y="1736"/>
                    <a:pt x="1039" y="1736"/>
                    <a:pt x="1039" y="1736"/>
                  </a:cubicBezTo>
                  <a:cubicBezTo>
                    <a:pt x="1017" y="1743"/>
                    <a:pt x="1017" y="1743"/>
                    <a:pt x="1017" y="1743"/>
                  </a:cubicBezTo>
                  <a:cubicBezTo>
                    <a:pt x="1009" y="1735"/>
                    <a:pt x="1009" y="1735"/>
                    <a:pt x="1009" y="1735"/>
                  </a:cubicBezTo>
                  <a:cubicBezTo>
                    <a:pt x="1044" y="1725"/>
                    <a:pt x="1044" y="1725"/>
                    <a:pt x="1044" y="1725"/>
                  </a:cubicBezTo>
                  <a:cubicBezTo>
                    <a:pt x="1048" y="1717"/>
                    <a:pt x="1048" y="1717"/>
                    <a:pt x="1048" y="1717"/>
                  </a:cubicBezTo>
                  <a:cubicBezTo>
                    <a:pt x="1058" y="1733"/>
                    <a:pt x="1058" y="1733"/>
                    <a:pt x="1058" y="1733"/>
                  </a:cubicBezTo>
                  <a:cubicBezTo>
                    <a:pt x="1058" y="1733"/>
                    <a:pt x="1073" y="1734"/>
                    <a:pt x="1085" y="1727"/>
                  </a:cubicBezTo>
                  <a:cubicBezTo>
                    <a:pt x="1096" y="1724"/>
                    <a:pt x="1085" y="1712"/>
                    <a:pt x="1085" y="1712"/>
                  </a:cubicBezTo>
                  <a:cubicBezTo>
                    <a:pt x="1093" y="1704"/>
                    <a:pt x="1093" y="1704"/>
                    <a:pt x="1093" y="1704"/>
                  </a:cubicBezTo>
                  <a:cubicBezTo>
                    <a:pt x="1071" y="1696"/>
                    <a:pt x="1071" y="1696"/>
                    <a:pt x="1071" y="1696"/>
                  </a:cubicBezTo>
                  <a:cubicBezTo>
                    <a:pt x="1090" y="1689"/>
                    <a:pt x="1090" y="1689"/>
                    <a:pt x="1090" y="1689"/>
                  </a:cubicBezTo>
                  <a:cubicBezTo>
                    <a:pt x="1091" y="1677"/>
                    <a:pt x="1091" y="1677"/>
                    <a:pt x="1091" y="1677"/>
                  </a:cubicBezTo>
                  <a:cubicBezTo>
                    <a:pt x="1098" y="1678"/>
                    <a:pt x="1098" y="1678"/>
                    <a:pt x="1098" y="1678"/>
                  </a:cubicBezTo>
                  <a:cubicBezTo>
                    <a:pt x="1101" y="1697"/>
                    <a:pt x="1101" y="1697"/>
                    <a:pt x="1101" y="1697"/>
                  </a:cubicBezTo>
                  <a:cubicBezTo>
                    <a:pt x="1101" y="1697"/>
                    <a:pt x="1143" y="1684"/>
                    <a:pt x="1151" y="1673"/>
                  </a:cubicBezTo>
                  <a:cubicBezTo>
                    <a:pt x="1162" y="1662"/>
                    <a:pt x="1152" y="1634"/>
                    <a:pt x="1164" y="1627"/>
                  </a:cubicBezTo>
                  <a:cubicBezTo>
                    <a:pt x="1176" y="1616"/>
                    <a:pt x="1196" y="1579"/>
                    <a:pt x="1190" y="1548"/>
                  </a:cubicBezTo>
                  <a:cubicBezTo>
                    <a:pt x="1188" y="1514"/>
                    <a:pt x="1148" y="1477"/>
                    <a:pt x="1148" y="1477"/>
                  </a:cubicBezTo>
                  <a:cubicBezTo>
                    <a:pt x="1108" y="1453"/>
                    <a:pt x="1108" y="1453"/>
                    <a:pt x="1108" y="1453"/>
                  </a:cubicBezTo>
                  <a:cubicBezTo>
                    <a:pt x="1101" y="1456"/>
                    <a:pt x="1101" y="1456"/>
                    <a:pt x="1101" y="1456"/>
                  </a:cubicBezTo>
                  <a:cubicBezTo>
                    <a:pt x="1037" y="1449"/>
                    <a:pt x="1037" y="1449"/>
                    <a:pt x="1037" y="1449"/>
                  </a:cubicBezTo>
                  <a:cubicBezTo>
                    <a:pt x="1013" y="1486"/>
                    <a:pt x="1013" y="1486"/>
                    <a:pt x="1013" y="1486"/>
                  </a:cubicBezTo>
                  <a:cubicBezTo>
                    <a:pt x="999" y="1478"/>
                    <a:pt x="999" y="1478"/>
                    <a:pt x="999" y="1478"/>
                  </a:cubicBezTo>
                  <a:cubicBezTo>
                    <a:pt x="985" y="1458"/>
                    <a:pt x="985" y="1458"/>
                    <a:pt x="985" y="1458"/>
                  </a:cubicBezTo>
                  <a:cubicBezTo>
                    <a:pt x="970" y="1450"/>
                    <a:pt x="970" y="1450"/>
                    <a:pt x="970" y="1450"/>
                  </a:cubicBezTo>
                  <a:cubicBezTo>
                    <a:pt x="970" y="1450"/>
                    <a:pt x="975" y="1431"/>
                    <a:pt x="990" y="1428"/>
                  </a:cubicBezTo>
                  <a:cubicBezTo>
                    <a:pt x="1009" y="1421"/>
                    <a:pt x="1032" y="1411"/>
                    <a:pt x="1032" y="1395"/>
                  </a:cubicBezTo>
                  <a:cubicBezTo>
                    <a:pt x="1037" y="1384"/>
                    <a:pt x="1024" y="1330"/>
                    <a:pt x="1024" y="1330"/>
                  </a:cubicBezTo>
                  <a:cubicBezTo>
                    <a:pt x="1007" y="1306"/>
                    <a:pt x="1007" y="1306"/>
                    <a:pt x="1007" y="1306"/>
                  </a:cubicBezTo>
                  <a:cubicBezTo>
                    <a:pt x="982" y="1282"/>
                    <a:pt x="982" y="1282"/>
                    <a:pt x="982" y="1282"/>
                  </a:cubicBezTo>
                  <a:cubicBezTo>
                    <a:pt x="982" y="1282"/>
                    <a:pt x="975" y="1266"/>
                    <a:pt x="967" y="1262"/>
                  </a:cubicBezTo>
                  <a:cubicBezTo>
                    <a:pt x="960" y="1262"/>
                    <a:pt x="945" y="1257"/>
                    <a:pt x="945" y="1257"/>
                  </a:cubicBezTo>
                  <a:cubicBezTo>
                    <a:pt x="937" y="1265"/>
                    <a:pt x="937" y="1265"/>
                    <a:pt x="937" y="1265"/>
                  </a:cubicBezTo>
                  <a:cubicBezTo>
                    <a:pt x="927" y="1253"/>
                    <a:pt x="927" y="1253"/>
                    <a:pt x="927" y="1253"/>
                  </a:cubicBezTo>
                  <a:cubicBezTo>
                    <a:pt x="901" y="1248"/>
                    <a:pt x="901" y="1248"/>
                    <a:pt x="901" y="1248"/>
                  </a:cubicBezTo>
                  <a:cubicBezTo>
                    <a:pt x="927" y="1241"/>
                    <a:pt x="927" y="1241"/>
                    <a:pt x="927" y="1241"/>
                  </a:cubicBezTo>
                  <a:cubicBezTo>
                    <a:pt x="938" y="1253"/>
                    <a:pt x="938" y="1253"/>
                    <a:pt x="938" y="1253"/>
                  </a:cubicBezTo>
                  <a:cubicBezTo>
                    <a:pt x="972" y="1251"/>
                    <a:pt x="972" y="1251"/>
                    <a:pt x="972" y="1251"/>
                  </a:cubicBezTo>
                  <a:cubicBezTo>
                    <a:pt x="972" y="1251"/>
                    <a:pt x="985" y="1278"/>
                    <a:pt x="989" y="1282"/>
                  </a:cubicBezTo>
                  <a:cubicBezTo>
                    <a:pt x="1004" y="1283"/>
                    <a:pt x="1004" y="1283"/>
                    <a:pt x="1004" y="1283"/>
                  </a:cubicBezTo>
                  <a:cubicBezTo>
                    <a:pt x="1014" y="1299"/>
                    <a:pt x="1014" y="1299"/>
                    <a:pt x="1014" y="1299"/>
                  </a:cubicBezTo>
                  <a:cubicBezTo>
                    <a:pt x="1022" y="1292"/>
                    <a:pt x="1022" y="1292"/>
                    <a:pt x="1022" y="1292"/>
                  </a:cubicBezTo>
                  <a:cubicBezTo>
                    <a:pt x="996" y="1218"/>
                    <a:pt x="996" y="1218"/>
                    <a:pt x="996" y="1218"/>
                  </a:cubicBezTo>
                  <a:cubicBezTo>
                    <a:pt x="998" y="1176"/>
                    <a:pt x="998" y="1176"/>
                    <a:pt x="998" y="1176"/>
                  </a:cubicBezTo>
                  <a:cubicBezTo>
                    <a:pt x="1009" y="1169"/>
                    <a:pt x="1009" y="1169"/>
                    <a:pt x="1009" y="1169"/>
                  </a:cubicBezTo>
                  <a:cubicBezTo>
                    <a:pt x="996" y="1130"/>
                    <a:pt x="996" y="1130"/>
                    <a:pt x="996" y="1130"/>
                  </a:cubicBezTo>
                  <a:cubicBezTo>
                    <a:pt x="981" y="1129"/>
                    <a:pt x="981" y="1129"/>
                    <a:pt x="981" y="1129"/>
                  </a:cubicBezTo>
                  <a:cubicBezTo>
                    <a:pt x="972" y="1075"/>
                    <a:pt x="972" y="1075"/>
                    <a:pt x="972" y="1075"/>
                  </a:cubicBezTo>
                  <a:cubicBezTo>
                    <a:pt x="940" y="1043"/>
                    <a:pt x="940" y="1043"/>
                    <a:pt x="940" y="1043"/>
                  </a:cubicBezTo>
                  <a:cubicBezTo>
                    <a:pt x="925" y="1038"/>
                    <a:pt x="925" y="1038"/>
                    <a:pt x="925" y="1038"/>
                  </a:cubicBezTo>
                  <a:cubicBezTo>
                    <a:pt x="908" y="999"/>
                    <a:pt x="908" y="999"/>
                    <a:pt x="908" y="999"/>
                  </a:cubicBezTo>
                  <a:cubicBezTo>
                    <a:pt x="894" y="987"/>
                    <a:pt x="894" y="987"/>
                    <a:pt x="894" y="987"/>
                  </a:cubicBezTo>
                  <a:cubicBezTo>
                    <a:pt x="892" y="945"/>
                    <a:pt x="892" y="945"/>
                    <a:pt x="892" y="945"/>
                  </a:cubicBezTo>
                  <a:cubicBezTo>
                    <a:pt x="882" y="914"/>
                    <a:pt x="882" y="914"/>
                    <a:pt x="882" y="914"/>
                  </a:cubicBezTo>
                  <a:cubicBezTo>
                    <a:pt x="889" y="849"/>
                    <a:pt x="889" y="849"/>
                    <a:pt x="889" y="849"/>
                  </a:cubicBezTo>
                  <a:cubicBezTo>
                    <a:pt x="879" y="834"/>
                    <a:pt x="879" y="834"/>
                    <a:pt x="879" y="834"/>
                  </a:cubicBezTo>
                  <a:cubicBezTo>
                    <a:pt x="888" y="788"/>
                    <a:pt x="888" y="788"/>
                    <a:pt x="888" y="788"/>
                  </a:cubicBezTo>
                  <a:cubicBezTo>
                    <a:pt x="870" y="772"/>
                    <a:pt x="870" y="772"/>
                    <a:pt x="870" y="772"/>
                  </a:cubicBezTo>
                  <a:cubicBezTo>
                    <a:pt x="871" y="753"/>
                    <a:pt x="871" y="753"/>
                    <a:pt x="871" y="753"/>
                  </a:cubicBezTo>
                  <a:cubicBezTo>
                    <a:pt x="857" y="741"/>
                    <a:pt x="857" y="741"/>
                    <a:pt x="857" y="741"/>
                  </a:cubicBezTo>
                  <a:cubicBezTo>
                    <a:pt x="854" y="725"/>
                    <a:pt x="854" y="725"/>
                    <a:pt x="854" y="725"/>
                  </a:cubicBezTo>
                  <a:cubicBezTo>
                    <a:pt x="842" y="729"/>
                    <a:pt x="842" y="729"/>
                    <a:pt x="842" y="729"/>
                  </a:cubicBezTo>
                  <a:cubicBezTo>
                    <a:pt x="854" y="718"/>
                    <a:pt x="854" y="718"/>
                    <a:pt x="854" y="718"/>
                  </a:cubicBezTo>
                  <a:cubicBezTo>
                    <a:pt x="843" y="709"/>
                    <a:pt x="843" y="709"/>
                    <a:pt x="843" y="709"/>
                  </a:cubicBezTo>
                  <a:cubicBezTo>
                    <a:pt x="843" y="709"/>
                    <a:pt x="851" y="698"/>
                    <a:pt x="840" y="694"/>
                  </a:cubicBezTo>
                  <a:cubicBezTo>
                    <a:pt x="829" y="693"/>
                    <a:pt x="822" y="689"/>
                    <a:pt x="822" y="689"/>
                  </a:cubicBezTo>
                  <a:cubicBezTo>
                    <a:pt x="786" y="646"/>
                    <a:pt x="786" y="646"/>
                    <a:pt x="786" y="646"/>
                  </a:cubicBezTo>
                  <a:cubicBezTo>
                    <a:pt x="786" y="646"/>
                    <a:pt x="787" y="638"/>
                    <a:pt x="768" y="641"/>
                  </a:cubicBezTo>
                  <a:cubicBezTo>
                    <a:pt x="749" y="644"/>
                    <a:pt x="748" y="667"/>
                    <a:pt x="733" y="666"/>
                  </a:cubicBezTo>
                  <a:cubicBezTo>
                    <a:pt x="718" y="665"/>
                    <a:pt x="715" y="646"/>
                    <a:pt x="715" y="646"/>
                  </a:cubicBezTo>
                  <a:cubicBezTo>
                    <a:pt x="715" y="646"/>
                    <a:pt x="700" y="653"/>
                    <a:pt x="689" y="649"/>
                  </a:cubicBezTo>
                  <a:cubicBezTo>
                    <a:pt x="678" y="644"/>
                    <a:pt x="671" y="632"/>
                    <a:pt x="671" y="632"/>
                  </a:cubicBezTo>
                  <a:cubicBezTo>
                    <a:pt x="671" y="632"/>
                    <a:pt x="645" y="627"/>
                    <a:pt x="649" y="624"/>
                  </a:cubicBezTo>
                  <a:cubicBezTo>
                    <a:pt x="653" y="616"/>
                    <a:pt x="675" y="617"/>
                    <a:pt x="675" y="617"/>
                  </a:cubicBezTo>
                  <a:cubicBezTo>
                    <a:pt x="675" y="617"/>
                    <a:pt x="678" y="633"/>
                    <a:pt x="689" y="633"/>
                  </a:cubicBezTo>
                  <a:cubicBezTo>
                    <a:pt x="697" y="634"/>
                    <a:pt x="712" y="627"/>
                    <a:pt x="712" y="627"/>
                  </a:cubicBezTo>
                  <a:cubicBezTo>
                    <a:pt x="723" y="631"/>
                    <a:pt x="723" y="631"/>
                    <a:pt x="723" y="631"/>
                  </a:cubicBezTo>
                  <a:cubicBezTo>
                    <a:pt x="724" y="616"/>
                    <a:pt x="724" y="616"/>
                    <a:pt x="724" y="616"/>
                  </a:cubicBezTo>
                  <a:cubicBezTo>
                    <a:pt x="754" y="606"/>
                    <a:pt x="754" y="606"/>
                    <a:pt x="754" y="606"/>
                  </a:cubicBezTo>
                  <a:cubicBezTo>
                    <a:pt x="780" y="615"/>
                    <a:pt x="780" y="615"/>
                    <a:pt x="780" y="615"/>
                  </a:cubicBezTo>
                  <a:cubicBezTo>
                    <a:pt x="811" y="593"/>
                    <a:pt x="811" y="593"/>
                    <a:pt x="811" y="593"/>
                  </a:cubicBezTo>
                  <a:cubicBezTo>
                    <a:pt x="782" y="576"/>
                    <a:pt x="782" y="576"/>
                    <a:pt x="782" y="576"/>
                  </a:cubicBezTo>
                  <a:cubicBezTo>
                    <a:pt x="782" y="576"/>
                    <a:pt x="797" y="573"/>
                    <a:pt x="790" y="562"/>
                  </a:cubicBezTo>
                  <a:cubicBezTo>
                    <a:pt x="783" y="554"/>
                    <a:pt x="787" y="550"/>
                    <a:pt x="776" y="549"/>
                  </a:cubicBezTo>
                  <a:cubicBezTo>
                    <a:pt x="761" y="553"/>
                    <a:pt x="753" y="564"/>
                    <a:pt x="745" y="563"/>
                  </a:cubicBezTo>
                  <a:cubicBezTo>
                    <a:pt x="737" y="567"/>
                    <a:pt x="719" y="562"/>
                    <a:pt x="719" y="562"/>
                  </a:cubicBezTo>
                  <a:cubicBezTo>
                    <a:pt x="719" y="562"/>
                    <a:pt x="741" y="559"/>
                    <a:pt x="745" y="556"/>
                  </a:cubicBezTo>
                  <a:cubicBezTo>
                    <a:pt x="749" y="552"/>
                    <a:pt x="765" y="541"/>
                    <a:pt x="772" y="542"/>
                  </a:cubicBezTo>
                  <a:cubicBezTo>
                    <a:pt x="780" y="542"/>
                    <a:pt x="798" y="554"/>
                    <a:pt x="798" y="554"/>
                  </a:cubicBezTo>
                  <a:cubicBezTo>
                    <a:pt x="836" y="537"/>
                    <a:pt x="836" y="537"/>
                    <a:pt x="836" y="537"/>
                  </a:cubicBezTo>
                  <a:cubicBezTo>
                    <a:pt x="857" y="500"/>
                    <a:pt x="857" y="500"/>
                    <a:pt x="857" y="500"/>
                  </a:cubicBezTo>
                  <a:cubicBezTo>
                    <a:pt x="895" y="467"/>
                    <a:pt x="895" y="467"/>
                    <a:pt x="895" y="467"/>
                  </a:cubicBezTo>
                  <a:cubicBezTo>
                    <a:pt x="924" y="423"/>
                    <a:pt x="924" y="423"/>
                    <a:pt x="924" y="423"/>
                  </a:cubicBezTo>
                  <a:cubicBezTo>
                    <a:pt x="924" y="423"/>
                    <a:pt x="924" y="411"/>
                    <a:pt x="932" y="404"/>
                  </a:cubicBezTo>
                  <a:cubicBezTo>
                    <a:pt x="936" y="396"/>
                    <a:pt x="987" y="353"/>
                    <a:pt x="980" y="326"/>
                  </a:cubicBezTo>
                  <a:cubicBezTo>
                    <a:pt x="974" y="299"/>
                    <a:pt x="933" y="289"/>
                    <a:pt x="933" y="289"/>
                  </a:cubicBezTo>
                  <a:cubicBezTo>
                    <a:pt x="903" y="292"/>
                    <a:pt x="903" y="292"/>
                    <a:pt x="903" y="292"/>
                  </a:cubicBezTo>
                  <a:cubicBezTo>
                    <a:pt x="852" y="270"/>
                    <a:pt x="852" y="270"/>
                    <a:pt x="852" y="270"/>
                  </a:cubicBezTo>
                  <a:cubicBezTo>
                    <a:pt x="829" y="273"/>
                    <a:pt x="829" y="273"/>
                    <a:pt x="829" y="273"/>
                  </a:cubicBezTo>
                  <a:cubicBezTo>
                    <a:pt x="829" y="273"/>
                    <a:pt x="815" y="257"/>
                    <a:pt x="797" y="252"/>
                  </a:cubicBezTo>
                  <a:cubicBezTo>
                    <a:pt x="778" y="251"/>
                    <a:pt x="729" y="264"/>
                    <a:pt x="729" y="264"/>
                  </a:cubicBezTo>
                  <a:cubicBezTo>
                    <a:pt x="718" y="260"/>
                    <a:pt x="718" y="260"/>
                    <a:pt x="718" y="260"/>
                  </a:cubicBezTo>
                  <a:cubicBezTo>
                    <a:pt x="702" y="274"/>
                    <a:pt x="702" y="274"/>
                    <a:pt x="702" y="274"/>
                  </a:cubicBezTo>
                  <a:cubicBezTo>
                    <a:pt x="653" y="276"/>
                    <a:pt x="653" y="276"/>
                    <a:pt x="653" y="276"/>
                  </a:cubicBezTo>
                  <a:cubicBezTo>
                    <a:pt x="691" y="266"/>
                    <a:pt x="691" y="266"/>
                    <a:pt x="691" y="266"/>
                  </a:cubicBezTo>
                  <a:cubicBezTo>
                    <a:pt x="715" y="244"/>
                    <a:pt x="715" y="244"/>
                    <a:pt x="715" y="244"/>
                  </a:cubicBezTo>
                  <a:cubicBezTo>
                    <a:pt x="715" y="244"/>
                    <a:pt x="700" y="240"/>
                    <a:pt x="696" y="240"/>
                  </a:cubicBezTo>
                  <a:cubicBezTo>
                    <a:pt x="693" y="239"/>
                    <a:pt x="674" y="246"/>
                    <a:pt x="674" y="246"/>
                  </a:cubicBezTo>
                  <a:cubicBezTo>
                    <a:pt x="666" y="242"/>
                    <a:pt x="666" y="242"/>
                    <a:pt x="666" y="242"/>
                  </a:cubicBezTo>
                  <a:cubicBezTo>
                    <a:pt x="693" y="232"/>
                    <a:pt x="693" y="232"/>
                    <a:pt x="693" y="232"/>
                  </a:cubicBezTo>
                  <a:cubicBezTo>
                    <a:pt x="723" y="237"/>
                    <a:pt x="723" y="237"/>
                    <a:pt x="723" y="237"/>
                  </a:cubicBezTo>
                  <a:cubicBezTo>
                    <a:pt x="758" y="208"/>
                    <a:pt x="758" y="208"/>
                    <a:pt x="758" y="208"/>
                  </a:cubicBezTo>
                  <a:cubicBezTo>
                    <a:pt x="735" y="207"/>
                    <a:pt x="735" y="207"/>
                    <a:pt x="735" y="207"/>
                  </a:cubicBezTo>
                  <a:cubicBezTo>
                    <a:pt x="713" y="198"/>
                    <a:pt x="713" y="198"/>
                    <a:pt x="713" y="198"/>
                  </a:cubicBezTo>
                  <a:cubicBezTo>
                    <a:pt x="732" y="195"/>
                    <a:pt x="732" y="195"/>
                    <a:pt x="732" y="195"/>
                  </a:cubicBezTo>
                  <a:cubicBezTo>
                    <a:pt x="725" y="180"/>
                    <a:pt x="725" y="180"/>
                    <a:pt x="725" y="180"/>
                  </a:cubicBezTo>
                  <a:cubicBezTo>
                    <a:pt x="740" y="181"/>
                    <a:pt x="740" y="181"/>
                    <a:pt x="740" y="181"/>
                  </a:cubicBezTo>
                  <a:cubicBezTo>
                    <a:pt x="763" y="163"/>
                    <a:pt x="763" y="163"/>
                    <a:pt x="763" y="163"/>
                  </a:cubicBezTo>
                  <a:cubicBezTo>
                    <a:pt x="763" y="163"/>
                    <a:pt x="786" y="160"/>
                    <a:pt x="805" y="145"/>
                  </a:cubicBezTo>
                  <a:cubicBezTo>
                    <a:pt x="821" y="131"/>
                    <a:pt x="829" y="127"/>
                    <a:pt x="829" y="127"/>
                  </a:cubicBezTo>
                  <a:cubicBezTo>
                    <a:pt x="829" y="127"/>
                    <a:pt x="851" y="125"/>
                    <a:pt x="863" y="121"/>
                  </a:cubicBezTo>
                  <a:cubicBezTo>
                    <a:pt x="870" y="114"/>
                    <a:pt x="883" y="88"/>
                    <a:pt x="883" y="88"/>
                  </a:cubicBezTo>
                  <a:cubicBezTo>
                    <a:pt x="883" y="88"/>
                    <a:pt x="871" y="99"/>
                    <a:pt x="875" y="88"/>
                  </a:cubicBezTo>
                  <a:cubicBezTo>
                    <a:pt x="876" y="76"/>
                    <a:pt x="896" y="54"/>
                    <a:pt x="896" y="54"/>
                  </a:cubicBezTo>
                  <a:cubicBezTo>
                    <a:pt x="862" y="45"/>
                    <a:pt x="862" y="45"/>
                    <a:pt x="862" y="45"/>
                  </a:cubicBezTo>
                  <a:cubicBezTo>
                    <a:pt x="847" y="44"/>
                    <a:pt x="847" y="44"/>
                    <a:pt x="847" y="44"/>
                  </a:cubicBezTo>
                  <a:cubicBezTo>
                    <a:pt x="855" y="52"/>
                    <a:pt x="855" y="52"/>
                    <a:pt x="855" y="52"/>
                  </a:cubicBezTo>
                  <a:cubicBezTo>
                    <a:pt x="825" y="43"/>
                    <a:pt x="825" y="43"/>
                    <a:pt x="825" y="43"/>
                  </a:cubicBezTo>
                  <a:cubicBezTo>
                    <a:pt x="802" y="50"/>
                    <a:pt x="802" y="50"/>
                    <a:pt x="802" y="50"/>
                  </a:cubicBezTo>
                  <a:cubicBezTo>
                    <a:pt x="780" y="45"/>
                    <a:pt x="780" y="45"/>
                    <a:pt x="780" y="45"/>
                  </a:cubicBezTo>
                  <a:cubicBezTo>
                    <a:pt x="773" y="33"/>
                    <a:pt x="773" y="33"/>
                    <a:pt x="773" y="33"/>
                  </a:cubicBezTo>
                  <a:cubicBezTo>
                    <a:pt x="769" y="44"/>
                    <a:pt x="769" y="44"/>
                    <a:pt x="769" y="44"/>
                  </a:cubicBezTo>
                  <a:cubicBezTo>
                    <a:pt x="739" y="43"/>
                    <a:pt x="739" y="43"/>
                    <a:pt x="739" y="43"/>
                  </a:cubicBezTo>
                  <a:cubicBezTo>
                    <a:pt x="712" y="57"/>
                    <a:pt x="712" y="57"/>
                    <a:pt x="712" y="57"/>
                  </a:cubicBezTo>
                  <a:cubicBezTo>
                    <a:pt x="724" y="38"/>
                    <a:pt x="724" y="38"/>
                    <a:pt x="724" y="38"/>
                  </a:cubicBezTo>
                  <a:cubicBezTo>
                    <a:pt x="710" y="18"/>
                    <a:pt x="710" y="18"/>
                    <a:pt x="710" y="18"/>
                  </a:cubicBezTo>
                  <a:cubicBezTo>
                    <a:pt x="710" y="18"/>
                    <a:pt x="686" y="48"/>
                    <a:pt x="683" y="48"/>
                  </a:cubicBezTo>
                  <a:cubicBezTo>
                    <a:pt x="675" y="44"/>
                    <a:pt x="691" y="25"/>
                    <a:pt x="691" y="25"/>
                  </a:cubicBezTo>
                  <a:cubicBezTo>
                    <a:pt x="688" y="2"/>
                    <a:pt x="688" y="2"/>
                    <a:pt x="688" y="2"/>
                  </a:cubicBezTo>
                  <a:cubicBezTo>
                    <a:pt x="680" y="13"/>
                    <a:pt x="680" y="13"/>
                    <a:pt x="680" y="13"/>
                  </a:cubicBezTo>
                  <a:cubicBezTo>
                    <a:pt x="677" y="5"/>
                    <a:pt x="677" y="5"/>
                    <a:pt x="677" y="5"/>
                  </a:cubicBezTo>
                  <a:cubicBezTo>
                    <a:pt x="677" y="5"/>
                    <a:pt x="662" y="1"/>
                    <a:pt x="659" y="1"/>
                  </a:cubicBezTo>
                  <a:cubicBezTo>
                    <a:pt x="651" y="0"/>
                    <a:pt x="655" y="8"/>
                    <a:pt x="655" y="8"/>
                  </a:cubicBezTo>
                  <a:cubicBezTo>
                    <a:pt x="655" y="8"/>
                    <a:pt x="643" y="11"/>
                    <a:pt x="639" y="19"/>
                  </a:cubicBezTo>
                  <a:cubicBezTo>
                    <a:pt x="635" y="26"/>
                    <a:pt x="642" y="42"/>
                    <a:pt x="642" y="42"/>
                  </a:cubicBezTo>
                  <a:cubicBezTo>
                    <a:pt x="642" y="42"/>
                    <a:pt x="631" y="38"/>
                    <a:pt x="630" y="49"/>
                  </a:cubicBezTo>
                  <a:cubicBezTo>
                    <a:pt x="626" y="60"/>
                    <a:pt x="629" y="72"/>
                    <a:pt x="629" y="72"/>
                  </a:cubicBezTo>
                  <a:cubicBezTo>
                    <a:pt x="644" y="84"/>
                    <a:pt x="644" y="84"/>
                    <a:pt x="644" y="84"/>
                  </a:cubicBezTo>
                  <a:cubicBezTo>
                    <a:pt x="625" y="76"/>
                    <a:pt x="625" y="76"/>
                    <a:pt x="625" y="76"/>
                  </a:cubicBezTo>
                  <a:cubicBezTo>
                    <a:pt x="606" y="79"/>
                    <a:pt x="606" y="79"/>
                    <a:pt x="606" y="79"/>
                  </a:cubicBezTo>
                  <a:cubicBezTo>
                    <a:pt x="592" y="70"/>
                    <a:pt x="592" y="70"/>
                    <a:pt x="592" y="70"/>
                  </a:cubicBezTo>
                  <a:cubicBezTo>
                    <a:pt x="588" y="70"/>
                    <a:pt x="588" y="70"/>
                    <a:pt x="588" y="70"/>
                  </a:cubicBezTo>
                  <a:cubicBezTo>
                    <a:pt x="595" y="82"/>
                    <a:pt x="595" y="82"/>
                    <a:pt x="595" y="82"/>
                  </a:cubicBezTo>
                  <a:cubicBezTo>
                    <a:pt x="590" y="112"/>
                    <a:pt x="590" y="112"/>
                    <a:pt x="590" y="112"/>
                  </a:cubicBezTo>
                  <a:cubicBezTo>
                    <a:pt x="575" y="108"/>
                    <a:pt x="575" y="108"/>
                    <a:pt x="575" y="108"/>
                  </a:cubicBezTo>
                  <a:cubicBezTo>
                    <a:pt x="575" y="119"/>
                    <a:pt x="575" y="119"/>
                    <a:pt x="575" y="119"/>
                  </a:cubicBezTo>
                  <a:cubicBezTo>
                    <a:pt x="585" y="127"/>
                    <a:pt x="585" y="127"/>
                    <a:pt x="585" y="127"/>
                  </a:cubicBezTo>
                  <a:cubicBezTo>
                    <a:pt x="581" y="135"/>
                    <a:pt x="581" y="135"/>
                    <a:pt x="581" y="135"/>
                  </a:cubicBezTo>
                  <a:cubicBezTo>
                    <a:pt x="592" y="143"/>
                    <a:pt x="592" y="143"/>
                    <a:pt x="592" y="143"/>
                  </a:cubicBezTo>
                  <a:cubicBezTo>
                    <a:pt x="602" y="170"/>
                    <a:pt x="602" y="170"/>
                    <a:pt x="602" y="170"/>
                  </a:cubicBezTo>
                  <a:cubicBezTo>
                    <a:pt x="578" y="135"/>
                    <a:pt x="578" y="135"/>
                    <a:pt x="578" y="135"/>
                  </a:cubicBezTo>
                  <a:cubicBezTo>
                    <a:pt x="554" y="153"/>
                    <a:pt x="554" y="153"/>
                    <a:pt x="554" y="153"/>
                  </a:cubicBezTo>
                  <a:cubicBezTo>
                    <a:pt x="548" y="137"/>
                    <a:pt x="548" y="137"/>
                    <a:pt x="548" y="137"/>
                  </a:cubicBezTo>
                  <a:cubicBezTo>
                    <a:pt x="536" y="140"/>
                    <a:pt x="536" y="140"/>
                    <a:pt x="536" y="140"/>
                  </a:cubicBezTo>
                  <a:cubicBezTo>
                    <a:pt x="539" y="163"/>
                    <a:pt x="539" y="163"/>
                    <a:pt x="539" y="163"/>
                  </a:cubicBezTo>
                  <a:cubicBezTo>
                    <a:pt x="529" y="144"/>
                    <a:pt x="529" y="144"/>
                    <a:pt x="529" y="144"/>
                  </a:cubicBezTo>
                  <a:cubicBezTo>
                    <a:pt x="510" y="143"/>
                    <a:pt x="510" y="143"/>
                    <a:pt x="510" y="143"/>
                  </a:cubicBezTo>
                  <a:cubicBezTo>
                    <a:pt x="509" y="166"/>
                    <a:pt x="509" y="166"/>
                    <a:pt x="509" y="166"/>
                  </a:cubicBezTo>
                  <a:cubicBezTo>
                    <a:pt x="519" y="182"/>
                    <a:pt x="519" y="182"/>
                    <a:pt x="519" y="182"/>
                  </a:cubicBezTo>
                  <a:lnTo>
                    <a:pt x="508" y="17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1" name="Freeform 244">
              <a:extLst>
                <a:ext uri="{FF2B5EF4-FFF2-40B4-BE49-F238E27FC236}">
                  <a16:creationId xmlns:a16="http://schemas.microsoft.com/office/drawing/2014/main" id="{46EEC489-FFAF-07C7-B2F1-F1FC1595A405}"/>
                </a:ext>
              </a:extLst>
            </p:cNvPr>
            <p:cNvSpPr>
              <a:spLocks/>
            </p:cNvSpPr>
            <p:nvPr/>
          </p:nvSpPr>
          <p:spPr bwMode="gray">
            <a:xfrm>
              <a:off x="8792351" y="2718885"/>
              <a:ext cx="41354" cy="41354"/>
            </a:xfrm>
            <a:custGeom>
              <a:avLst/>
              <a:gdLst>
                <a:gd name="T0" fmla="*/ 46 w 71"/>
                <a:gd name="T1" fmla="*/ 0 h 68"/>
                <a:gd name="T2" fmla="*/ 23 w 71"/>
                <a:gd name="T3" fmla="*/ 29 h 68"/>
                <a:gd name="T4" fmla="*/ 8 w 71"/>
                <a:gd name="T5" fmla="*/ 33 h 68"/>
                <a:gd name="T6" fmla="*/ 7 w 71"/>
                <a:gd name="T7" fmla="*/ 52 h 68"/>
                <a:gd name="T8" fmla="*/ 21 w 71"/>
                <a:gd name="T9" fmla="*/ 68 h 68"/>
                <a:gd name="T10" fmla="*/ 36 w 71"/>
                <a:gd name="T11" fmla="*/ 61 h 68"/>
                <a:gd name="T12" fmla="*/ 71 w 71"/>
                <a:gd name="T13" fmla="*/ 32 h 68"/>
                <a:gd name="T14" fmla="*/ 64 w 71"/>
                <a:gd name="T15" fmla="*/ 20 h 68"/>
                <a:gd name="T16" fmla="*/ 65 w 71"/>
                <a:gd name="T17" fmla="*/ 5 h 68"/>
                <a:gd name="T18" fmla="*/ 46 w 71"/>
                <a:gd name="T1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68">
                  <a:moveTo>
                    <a:pt x="46" y="0"/>
                  </a:moveTo>
                  <a:cubicBezTo>
                    <a:pt x="23" y="29"/>
                    <a:pt x="23" y="29"/>
                    <a:pt x="23" y="29"/>
                  </a:cubicBezTo>
                  <a:cubicBezTo>
                    <a:pt x="8" y="33"/>
                    <a:pt x="8" y="33"/>
                    <a:pt x="8" y="33"/>
                  </a:cubicBezTo>
                  <a:cubicBezTo>
                    <a:pt x="8" y="33"/>
                    <a:pt x="0" y="44"/>
                    <a:pt x="7" y="52"/>
                  </a:cubicBezTo>
                  <a:cubicBezTo>
                    <a:pt x="14" y="63"/>
                    <a:pt x="21" y="68"/>
                    <a:pt x="21" y="68"/>
                  </a:cubicBezTo>
                  <a:cubicBezTo>
                    <a:pt x="36" y="61"/>
                    <a:pt x="36" y="61"/>
                    <a:pt x="36" y="61"/>
                  </a:cubicBezTo>
                  <a:cubicBezTo>
                    <a:pt x="59" y="43"/>
                    <a:pt x="71" y="32"/>
                    <a:pt x="71" y="32"/>
                  </a:cubicBezTo>
                  <a:cubicBezTo>
                    <a:pt x="64" y="20"/>
                    <a:pt x="64" y="20"/>
                    <a:pt x="64" y="20"/>
                  </a:cubicBezTo>
                  <a:cubicBezTo>
                    <a:pt x="65" y="5"/>
                    <a:pt x="65" y="5"/>
                    <a:pt x="65" y="5"/>
                  </a:cubicBezTo>
                  <a:lnTo>
                    <a:pt x="4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2" name="Freeform 245">
              <a:extLst>
                <a:ext uri="{FF2B5EF4-FFF2-40B4-BE49-F238E27FC236}">
                  <a16:creationId xmlns:a16="http://schemas.microsoft.com/office/drawing/2014/main" id="{7A4C471E-AB0F-C176-D493-0FA38D40F7E1}"/>
                </a:ext>
              </a:extLst>
            </p:cNvPr>
            <p:cNvSpPr>
              <a:spLocks/>
            </p:cNvSpPr>
            <p:nvPr/>
          </p:nvSpPr>
          <p:spPr bwMode="gray">
            <a:xfrm>
              <a:off x="8767179" y="2136340"/>
              <a:ext cx="91698" cy="86303"/>
            </a:xfrm>
            <a:custGeom>
              <a:avLst/>
              <a:gdLst>
                <a:gd name="T0" fmla="*/ 13 w 155"/>
                <a:gd name="T1" fmla="*/ 86 h 144"/>
                <a:gd name="T2" fmla="*/ 35 w 155"/>
                <a:gd name="T3" fmla="*/ 102 h 144"/>
                <a:gd name="T4" fmla="*/ 38 w 155"/>
                <a:gd name="T5" fmla="*/ 110 h 144"/>
                <a:gd name="T6" fmla="*/ 31 w 155"/>
                <a:gd name="T7" fmla="*/ 106 h 144"/>
                <a:gd name="T8" fmla="*/ 27 w 155"/>
                <a:gd name="T9" fmla="*/ 110 h 144"/>
                <a:gd name="T10" fmla="*/ 27 w 155"/>
                <a:gd name="T11" fmla="*/ 121 h 144"/>
                <a:gd name="T12" fmla="*/ 11 w 155"/>
                <a:gd name="T13" fmla="*/ 124 h 144"/>
                <a:gd name="T14" fmla="*/ 4 w 155"/>
                <a:gd name="T15" fmla="*/ 120 h 144"/>
                <a:gd name="T16" fmla="*/ 0 w 155"/>
                <a:gd name="T17" fmla="*/ 120 h 144"/>
                <a:gd name="T18" fmla="*/ 18 w 155"/>
                <a:gd name="T19" fmla="*/ 144 h 144"/>
                <a:gd name="T20" fmla="*/ 45 w 155"/>
                <a:gd name="T21" fmla="*/ 130 h 144"/>
                <a:gd name="T22" fmla="*/ 49 w 155"/>
                <a:gd name="T23" fmla="*/ 118 h 144"/>
                <a:gd name="T24" fmla="*/ 57 w 155"/>
                <a:gd name="T25" fmla="*/ 119 h 144"/>
                <a:gd name="T26" fmla="*/ 58 w 155"/>
                <a:gd name="T27" fmla="*/ 96 h 144"/>
                <a:gd name="T28" fmla="*/ 65 w 155"/>
                <a:gd name="T29" fmla="*/ 96 h 144"/>
                <a:gd name="T30" fmla="*/ 72 w 155"/>
                <a:gd name="T31" fmla="*/ 116 h 144"/>
                <a:gd name="T32" fmla="*/ 87 w 155"/>
                <a:gd name="T33" fmla="*/ 105 h 144"/>
                <a:gd name="T34" fmla="*/ 102 w 155"/>
                <a:gd name="T35" fmla="*/ 102 h 144"/>
                <a:gd name="T36" fmla="*/ 92 w 155"/>
                <a:gd name="T37" fmla="*/ 82 h 144"/>
                <a:gd name="T38" fmla="*/ 107 w 155"/>
                <a:gd name="T39" fmla="*/ 75 h 144"/>
                <a:gd name="T40" fmla="*/ 115 w 155"/>
                <a:gd name="T41" fmla="*/ 64 h 144"/>
                <a:gd name="T42" fmla="*/ 138 w 155"/>
                <a:gd name="T43" fmla="*/ 69 h 144"/>
                <a:gd name="T44" fmla="*/ 153 w 155"/>
                <a:gd name="T45" fmla="*/ 58 h 144"/>
                <a:gd name="T46" fmla="*/ 150 w 155"/>
                <a:gd name="T47" fmla="*/ 50 h 144"/>
                <a:gd name="T48" fmla="*/ 130 w 155"/>
                <a:gd name="T49" fmla="*/ 61 h 144"/>
                <a:gd name="T50" fmla="*/ 127 w 155"/>
                <a:gd name="T51" fmla="*/ 53 h 144"/>
                <a:gd name="T52" fmla="*/ 150 w 155"/>
                <a:gd name="T53" fmla="*/ 31 h 144"/>
                <a:gd name="T54" fmla="*/ 151 w 155"/>
                <a:gd name="T55" fmla="*/ 28 h 144"/>
                <a:gd name="T56" fmla="*/ 155 w 155"/>
                <a:gd name="T57" fmla="*/ 20 h 144"/>
                <a:gd name="T58" fmla="*/ 152 w 155"/>
                <a:gd name="T59" fmla="*/ 1 h 144"/>
                <a:gd name="T60" fmla="*/ 129 w 155"/>
                <a:gd name="T61" fmla="*/ 7 h 144"/>
                <a:gd name="T62" fmla="*/ 113 w 155"/>
                <a:gd name="T63" fmla="*/ 22 h 144"/>
                <a:gd name="T64" fmla="*/ 72 w 155"/>
                <a:gd name="T65" fmla="*/ 28 h 144"/>
                <a:gd name="T66" fmla="*/ 75 w 155"/>
                <a:gd name="T67" fmla="*/ 55 h 144"/>
                <a:gd name="T68" fmla="*/ 53 w 155"/>
                <a:gd name="T69" fmla="*/ 46 h 144"/>
                <a:gd name="T70" fmla="*/ 57 w 155"/>
                <a:gd name="T71" fmla="*/ 38 h 144"/>
                <a:gd name="T72" fmla="*/ 42 w 155"/>
                <a:gd name="T73" fmla="*/ 30 h 144"/>
                <a:gd name="T74" fmla="*/ 26 w 155"/>
                <a:gd name="T75" fmla="*/ 45 h 144"/>
                <a:gd name="T76" fmla="*/ 25 w 155"/>
                <a:gd name="T77" fmla="*/ 83 h 144"/>
                <a:gd name="T78" fmla="*/ 13 w 155"/>
                <a:gd name="T79" fmla="*/ 8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44">
                  <a:moveTo>
                    <a:pt x="13" y="86"/>
                  </a:moveTo>
                  <a:cubicBezTo>
                    <a:pt x="13" y="86"/>
                    <a:pt x="28" y="94"/>
                    <a:pt x="35" y="102"/>
                  </a:cubicBezTo>
                  <a:cubicBezTo>
                    <a:pt x="42" y="107"/>
                    <a:pt x="38" y="110"/>
                    <a:pt x="38" y="110"/>
                  </a:cubicBezTo>
                  <a:cubicBezTo>
                    <a:pt x="31" y="106"/>
                    <a:pt x="31" y="106"/>
                    <a:pt x="31" y="106"/>
                  </a:cubicBezTo>
                  <a:cubicBezTo>
                    <a:pt x="27" y="110"/>
                    <a:pt x="27" y="110"/>
                    <a:pt x="27" y="110"/>
                  </a:cubicBezTo>
                  <a:cubicBezTo>
                    <a:pt x="27" y="121"/>
                    <a:pt x="27" y="121"/>
                    <a:pt x="27" y="121"/>
                  </a:cubicBezTo>
                  <a:cubicBezTo>
                    <a:pt x="11" y="124"/>
                    <a:pt x="11" y="124"/>
                    <a:pt x="11" y="124"/>
                  </a:cubicBezTo>
                  <a:cubicBezTo>
                    <a:pt x="4" y="120"/>
                    <a:pt x="4" y="120"/>
                    <a:pt x="4" y="120"/>
                  </a:cubicBezTo>
                  <a:cubicBezTo>
                    <a:pt x="0" y="120"/>
                    <a:pt x="0" y="120"/>
                    <a:pt x="0" y="120"/>
                  </a:cubicBezTo>
                  <a:cubicBezTo>
                    <a:pt x="18" y="144"/>
                    <a:pt x="18" y="144"/>
                    <a:pt x="18" y="144"/>
                  </a:cubicBezTo>
                  <a:cubicBezTo>
                    <a:pt x="45" y="130"/>
                    <a:pt x="45" y="130"/>
                    <a:pt x="45" y="130"/>
                  </a:cubicBezTo>
                  <a:cubicBezTo>
                    <a:pt x="49" y="118"/>
                    <a:pt x="49" y="118"/>
                    <a:pt x="49" y="118"/>
                  </a:cubicBezTo>
                  <a:cubicBezTo>
                    <a:pt x="57" y="119"/>
                    <a:pt x="57" y="119"/>
                    <a:pt x="57" y="119"/>
                  </a:cubicBezTo>
                  <a:cubicBezTo>
                    <a:pt x="58" y="96"/>
                    <a:pt x="58" y="96"/>
                    <a:pt x="58" y="96"/>
                  </a:cubicBezTo>
                  <a:cubicBezTo>
                    <a:pt x="65" y="96"/>
                    <a:pt x="65" y="96"/>
                    <a:pt x="65" y="96"/>
                  </a:cubicBezTo>
                  <a:cubicBezTo>
                    <a:pt x="65" y="96"/>
                    <a:pt x="61" y="111"/>
                    <a:pt x="72" y="116"/>
                  </a:cubicBezTo>
                  <a:cubicBezTo>
                    <a:pt x="83" y="124"/>
                    <a:pt x="87" y="105"/>
                    <a:pt x="87" y="105"/>
                  </a:cubicBezTo>
                  <a:cubicBezTo>
                    <a:pt x="87" y="105"/>
                    <a:pt x="98" y="109"/>
                    <a:pt x="102" y="102"/>
                  </a:cubicBezTo>
                  <a:cubicBezTo>
                    <a:pt x="110" y="94"/>
                    <a:pt x="92" y="82"/>
                    <a:pt x="92" y="82"/>
                  </a:cubicBezTo>
                  <a:cubicBezTo>
                    <a:pt x="107" y="75"/>
                    <a:pt x="107" y="75"/>
                    <a:pt x="107" y="75"/>
                  </a:cubicBezTo>
                  <a:cubicBezTo>
                    <a:pt x="115" y="64"/>
                    <a:pt x="115" y="64"/>
                    <a:pt x="115" y="64"/>
                  </a:cubicBezTo>
                  <a:cubicBezTo>
                    <a:pt x="115" y="64"/>
                    <a:pt x="126" y="72"/>
                    <a:pt x="138" y="69"/>
                  </a:cubicBezTo>
                  <a:cubicBezTo>
                    <a:pt x="153" y="66"/>
                    <a:pt x="153" y="58"/>
                    <a:pt x="153" y="58"/>
                  </a:cubicBezTo>
                  <a:cubicBezTo>
                    <a:pt x="150" y="50"/>
                    <a:pt x="150" y="50"/>
                    <a:pt x="150" y="50"/>
                  </a:cubicBezTo>
                  <a:cubicBezTo>
                    <a:pt x="130" y="61"/>
                    <a:pt x="130" y="61"/>
                    <a:pt x="130" y="61"/>
                  </a:cubicBezTo>
                  <a:cubicBezTo>
                    <a:pt x="130" y="61"/>
                    <a:pt x="127" y="61"/>
                    <a:pt x="127" y="53"/>
                  </a:cubicBezTo>
                  <a:cubicBezTo>
                    <a:pt x="127" y="46"/>
                    <a:pt x="150" y="31"/>
                    <a:pt x="150" y="31"/>
                  </a:cubicBezTo>
                  <a:cubicBezTo>
                    <a:pt x="151" y="28"/>
                    <a:pt x="151" y="28"/>
                    <a:pt x="151" y="28"/>
                  </a:cubicBezTo>
                  <a:cubicBezTo>
                    <a:pt x="155" y="20"/>
                    <a:pt x="155" y="20"/>
                    <a:pt x="155" y="20"/>
                  </a:cubicBezTo>
                  <a:cubicBezTo>
                    <a:pt x="152" y="1"/>
                    <a:pt x="152" y="1"/>
                    <a:pt x="152" y="1"/>
                  </a:cubicBezTo>
                  <a:cubicBezTo>
                    <a:pt x="152" y="1"/>
                    <a:pt x="137" y="0"/>
                    <a:pt x="129" y="7"/>
                  </a:cubicBezTo>
                  <a:cubicBezTo>
                    <a:pt x="121" y="11"/>
                    <a:pt x="113" y="22"/>
                    <a:pt x="113" y="22"/>
                  </a:cubicBezTo>
                  <a:cubicBezTo>
                    <a:pt x="113" y="22"/>
                    <a:pt x="80" y="20"/>
                    <a:pt x="72" y="28"/>
                  </a:cubicBezTo>
                  <a:cubicBezTo>
                    <a:pt x="64" y="35"/>
                    <a:pt x="75" y="55"/>
                    <a:pt x="75" y="55"/>
                  </a:cubicBezTo>
                  <a:cubicBezTo>
                    <a:pt x="53" y="46"/>
                    <a:pt x="53" y="46"/>
                    <a:pt x="53" y="46"/>
                  </a:cubicBezTo>
                  <a:cubicBezTo>
                    <a:pt x="57" y="38"/>
                    <a:pt x="57" y="38"/>
                    <a:pt x="57" y="38"/>
                  </a:cubicBezTo>
                  <a:cubicBezTo>
                    <a:pt x="42" y="30"/>
                    <a:pt x="42" y="30"/>
                    <a:pt x="42" y="30"/>
                  </a:cubicBezTo>
                  <a:cubicBezTo>
                    <a:pt x="42" y="30"/>
                    <a:pt x="34" y="33"/>
                    <a:pt x="26" y="45"/>
                  </a:cubicBezTo>
                  <a:cubicBezTo>
                    <a:pt x="14" y="59"/>
                    <a:pt x="25" y="83"/>
                    <a:pt x="25" y="83"/>
                  </a:cubicBezTo>
                  <a:lnTo>
                    <a:pt x="13" y="8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3" name="Freeform 246">
              <a:extLst>
                <a:ext uri="{FF2B5EF4-FFF2-40B4-BE49-F238E27FC236}">
                  <a16:creationId xmlns:a16="http://schemas.microsoft.com/office/drawing/2014/main" id="{F3A61740-DB28-672D-A416-F859673D6268}"/>
                </a:ext>
              </a:extLst>
            </p:cNvPr>
            <p:cNvSpPr>
              <a:spLocks/>
            </p:cNvSpPr>
            <p:nvPr/>
          </p:nvSpPr>
          <p:spPr bwMode="gray">
            <a:xfrm>
              <a:off x="8824715" y="2409633"/>
              <a:ext cx="10788" cy="8991"/>
            </a:xfrm>
            <a:custGeom>
              <a:avLst/>
              <a:gdLst>
                <a:gd name="T0" fmla="*/ 4 w 6"/>
                <a:gd name="T1" fmla="*/ 0 h 5"/>
                <a:gd name="T2" fmla="*/ 0 w 6"/>
                <a:gd name="T3" fmla="*/ 5 h 5"/>
                <a:gd name="T4" fmla="*/ 6 w 6"/>
                <a:gd name="T5" fmla="*/ 3 h 5"/>
                <a:gd name="T6" fmla="*/ 4 w 6"/>
                <a:gd name="T7" fmla="*/ 0 h 5"/>
              </a:gdLst>
              <a:ahLst/>
              <a:cxnLst>
                <a:cxn ang="0">
                  <a:pos x="T0" y="T1"/>
                </a:cxn>
                <a:cxn ang="0">
                  <a:pos x="T2" y="T3"/>
                </a:cxn>
                <a:cxn ang="0">
                  <a:pos x="T4" y="T5"/>
                </a:cxn>
                <a:cxn ang="0">
                  <a:pos x="T6" y="T7"/>
                </a:cxn>
              </a:cxnLst>
              <a:rect l="0" t="0" r="r" b="b"/>
              <a:pathLst>
                <a:path w="6" h="5">
                  <a:moveTo>
                    <a:pt x="4" y="0"/>
                  </a:moveTo>
                  <a:lnTo>
                    <a:pt x="0" y="5"/>
                  </a:lnTo>
                  <a:lnTo>
                    <a:pt x="6" y="3"/>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4" name="Freeform 247">
              <a:extLst>
                <a:ext uri="{FF2B5EF4-FFF2-40B4-BE49-F238E27FC236}">
                  <a16:creationId xmlns:a16="http://schemas.microsoft.com/office/drawing/2014/main" id="{5521E81D-88B3-7479-0986-2257622F88A2}"/>
                </a:ext>
              </a:extLst>
            </p:cNvPr>
            <p:cNvSpPr>
              <a:spLocks/>
            </p:cNvSpPr>
            <p:nvPr/>
          </p:nvSpPr>
          <p:spPr bwMode="gray">
            <a:xfrm>
              <a:off x="9214875" y="2078805"/>
              <a:ext cx="3596" cy="7192"/>
            </a:xfrm>
            <a:custGeom>
              <a:avLst/>
              <a:gdLst>
                <a:gd name="T0" fmla="*/ 2 w 2"/>
                <a:gd name="T1" fmla="*/ 0 h 4"/>
                <a:gd name="T2" fmla="*/ 1 w 2"/>
                <a:gd name="T3" fmla="*/ 0 h 4"/>
                <a:gd name="T4" fmla="*/ 0 w 2"/>
                <a:gd name="T5" fmla="*/ 4 h 4"/>
                <a:gd name="T6" fmla="*/ 2 w 2"/>
                <a:gd name="T7" fmla="*/ 3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1" y="0"/>
                  </a:lnTo>
                  <a:lnTo>
                    <a:pt x="0" y="4"/>
                  </a:lnTo>
                  <a:lnTo>
                    <a:pt x="2" y="3"/>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5" name="Freeform 248">
              <a:extLst>
                <a:ext uri="{FF2B5EF4-FFF2-40B4-BE49-F238E27FC236}">
                  <a16:creationId xmlns:a16="http://schemas.microsoft.com/office/drawing/2014/main" id="{1C35A7BF-7D3A-65FF-0B80-89ADD7699EC4}"/>
                </a:ext>
              </a:extLst>
            </p:cNvPr>
            <p:cNvSpPr>
              <a:spLocks/>
            </p:cNvSpPr>
            <p:nvPr/>
          </p:nvSpPr>
          <p:spPr bwMode="gray">
            <a:xfrm>
              <a:off x="9094411" y="2148926"/>
              <a:ext cx="8991" cy="17980"/>
            </a:xfrm>
            <a:custGeom>
              <a:avLst/>
              <a:gdLst>
                <a:gd name="T0" fmla="*/ 0 w 15"/>
                <a:gd name="T1" fmla="*/ 11 h 31"/>
                <a:gd name="T2" fmla="*/ 6 w 15"/>
                <a:gd name="T3" fmla="*/ 31 h 31"/>
                <a:gd name="T4" fmla="*/ 15 w 15"/>
                <a:gd name="T5" fmla="*/ 8 h 31"/>
                <a:gd name="T6" fmla="*/ 8 w 15"/>
                <a:gd name="T7" fmla="*/ 4 h 31"/>
                <a:gd name="T8" fmla="*/ 0 w 15"/>
                <a:gd name="T9" fmla="*/ 11 h 31"/>
              </a:gdLst>
              <a:ahLst/>
              <a:cxnLst>
                <a:cxn ang="0">
                  <a:pos x="T0" y="T1"/>
                </a:cxn>
                <a:cxn ang="0">
                  <a:pos x="T2" y="T3"/>
                </a:cxn>
                <a:cxn ang="0">
                  <a:pos x="T4" y="T5"/>
                </a:cxn>
                <a:cxn ang="0">
                  <a:pos x="T6" y="T7"/>
                </a:cxn>
                <a:cxn ang="0">
                  <a:pos x="T8" y="T9"/>
                </a:cxn>
              </a:cxnLst>
              <a:rect l="0" t="0" r="r" b="b"/>
              <a:pathLst>
                <a:path w="15" h="31">
                  <a:moveTo>
                    <a:pt x="0" y="11"/>
                  </a:moveTo>
                  <a:cubicBezTo>
                    <a:pt x="6" y="31"/>
                    <a:pt x="6" y="31"/>
                    <a:pt x="6" y="31"/>
                  </a:cubicBezTo>
                  <a:cubicBezTo>
                    <a:pt x="15" y="8"/>
                    <a:pt x="15" y="8"/>
                    <a:pt x="15" y="8"/>
                  </a:cubicBezTo>
                  <a:cubicBezTo>
                    <a:pt x="8" y="4"/>
                    <a:pt x="8" y="4"/>
                    <a:pt x="8" y="4"/>
                  </a:cubicBezTo>
                  <a:cubicBezTo>
                    <a:pt x="8" y="4"/>
                    <a:pt x="0" y="0"/>
                    <a:pt x="0"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6" name="Freeform 249">
              <a:extLst>
                <a:ext uri="{FF2B5EF4-FFF2-40B4-BE49-F238E27FC236}">
                  <a16:creationId xmlns:a16="http://schemas.microsoft.com/office/drawing/2014/main" id="{0AC6080A-8A4A-3D4F-86AB-34A5E61DF5A7}"/>
                </a:ext>
              </a:extLst>
            </p:cNvPr>
            <p:cNvSpPr>
              <a:spLocks/>
            </p:cNvSpPr>
            <p:nvPr/>
          </p:nvSpPr>
          <p:spPr bwMode="gray">
            <a:xfrm>
              <a:off x="9071037" y="2121957"/>
              <a:ext cx="19778" cy="37758"/>
            </a:xfrm>
            <a:custGeom>
              <a:avLst/>
              <a:gdLst>
                <a:gd name="T0" fmla="*/ 25 w 32"/>
                <a:gd name="T1" fmla="*/ 62 h 63"/>
                <a:gd name="T2" fmla="*/ 22 w 32"/>
                <a:gd name="T3" fmla="*/ 32 h 63"/>
                <a:gd name="T4" fmla="*/ 0 w 32"/>
                <a:gd name="T5" fmla="*/ 27 h 63"/>
                <a:gd name="T6" fmla="*/ 6 w 32"/>
                <a:gd name="T7" fmla="*/ 57 h 63"/>
                <a:gd name="T8" fmla="*/ 25 w 32"/>
                <a:gd name="T9" fmla="*/ 62 h 63"/>
              </a:gdLst>
              <a:ahLst/>
              <a:cxnLst>
                <a:cxn ang="0">
                  <a:pos x="T0" y="T1"/>
                </a:cxn>
                <a:cxn ang="0">
                  <a:pos x="T2" y="T3"/>
                </a:cxn>
                <a:cxn ang="0">
                  <a:pos x="T4" y="T5"/>
                </a:cxn>
                <a:cxn ang="0">
                  <a:pos x="T6" y="T7"/>
                </a:cxn>
                <a:cxn ang="0">
                  <a:pos x="T8" y="T9"/>
                </a:cxn>
              </a:cxnLst>
              <a:rect l="0" t="0" r="r" b="b"/>
              <a:pathLst>
                <a:path w="32" h="63">
                  <a:moveTo>
                    <a:pt x="25" y="62"/>
                  </a:moveTo>
                  <a:cubicBezTo>
                    <a:pt x="25" y="62"/>
                    <a:pt x="32" y="63"/>
                    <a:pt x="22" y="32"/>
                  </a:cubicBezTo>
                  <a:cubicBezTo>
                    <a:pt x="12" y="0"/>
                    <a:pt x="0" y="27"/>
                    <a:pt x="0" y="27"/>
                  </a:cubicBezTo>
                  <a:cubicBezTo>
                    <a:pt x="6" y="57"/>
                    <a:pt x="6" y="57"/>
                    <a:pt x="6" y="57"/>
                  </a:cubicBezTo>
                  <a:lnTo>
                    <a:pt x="25" y="6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7" name="Freeform 250">
              <a:extLst>
                <a:ext uri="{FF2B5EF4-FFF2-40B4-BE49-F238E27FC236}">
                  <a16:creationId xmlns:a16="http://schemas.microsoft.com/office/drawing/2014/main" id="{B07708FA-FDA5-03C1-5D9B-86C29CF1DE74}"/>
                </a:ext>
              </a:extLst>
            </p:cNvPr>
            <p:cNvSpPr>
              <a:spLocks/>
            </p:cNvSpPr>
            <p:nvPr/>
          </p:nvSpPr>
          <p:spPr bwMode="gray">
            <a:xfrm>
              <a:off x="8932593" y="3274460"/>
              <a:ext cx="43151" cy="26971"/>
            </a:xfrm>
            <a:custGeom>
              <a:avLst/>
              <a:gdLst>
                <a:gd name="T0" fmla="*/ 60 w 74"/>
                <a:gd name="T1" fmla="*/ 13 h 46"/>
                <a:gd name="T2" fmla="*/ 42 w 74"/>
                <a:gd name="T3" fmla="*/ 1 h 46"/>
                <a:gd name="T4" fmla="*/ 30 w 74"/>
                <a:gd name="T5" fmla="*/ 8 h 46"/>
                <a:gd name="T6" fmla="*/ 0 w 74"/>
                <a:gd name="T7" fmla="*/ 10 h 46"/>
                <a:gd name="T8" fmla="*/ 7 w 74"/>
                <a:gd name="T9" fmla="*/ 22 h 46"/>
                <a:gd name="T10" fmla="*/ 18 w 74"/>
                <a:gd name="T11" fmla="*/ 23 h 46"/>
                <a:gd name="T12" fmla="*/ 32 w 74"/>
                <a:gd name="T13" fmla="*/ 46 h 46"/>
                <a:gd name="T14" fmla="*/ 55 w 74"/>
                <a:gd name="T15" fmla="*/ 43 h 46"/>
                <a:gd name="T16" fmla="*/ 63 w 74"/>
                <a:gd name="T17" fmla="*/ 32 h 46"/>
                <a:gd name="T18" fmla="*/ 74 w 74"/>
                <a:gd name="T19" fmla="*/ 25 h 46"/>
                <a:gd name="T20" fmla="*/ 67 w 74"/>
                <a:gd name="T21" fmla="*/ 13 h 46"/>
                <a:gd name="T22" fmla="*/ 60 w 74"/>
                <a:gd name="T23" fmla="*/ 1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6">
                  <a:moveTo>
                    <a:pt x="60" y="13"/>
                  </a:moveTo>
                  <a:cubicBezTo>
                    <a:pt x="60" y="13"/>
                    <a:pt x="49" y="1"/>
                    <a:pt x="42" y="1"/>
                  </a:cubicBezTo>
                  <a:cubicBezTo>
                    <a:pt x="38" y="0"/>
                    <a:pt x="30" y="8"/>
                    <a:pt x="30" y="8"/>
                  </a:cubicBezTo>
                  <a:cubicBezTo>
                    <a:pt x="0" y="10"/>
                    <a:pt x="0" y="10"/>
                    <a:pt x="0" y="10"/>
                  </a:cubicBezTo>
                  <a:cubicBezTo>
                    <a:pt x="7" y="22"/>
                    <a:pt x="7" y="22"/>
                    <a:pt x="7" y="22"/>
                  </a:cubicBezTo>
                  <a:cubicBezTo>
                    <a:pt x="18" y="23"/>
                    <a:pt x="18" y="23"/>
                    <a:pt x="18" y="23"/>
                  </a:cubicBezTo>
                  <a:cubicBezTo>
                    <a:pt x="32" y="46"/>
                    <a:pt x="32" y="46"/>
                    <a:pt x="32" y="46"/>
                  </a:cubicBezTo>
                  <a:cubicBezTo>
                    <a:pt x="55" y="43"/>
                    <a:pt x="55" y="43"/>
                    <a:pt x="55" y="43"/>
                  </a:cubicBezTo>
                  <a:cubicBezTo>
                    <a:pt x="55" y="43"/>
                    <a:pt x="59" y="36"/>
                    <a:pt x="63" y="32"/>
                  </a:cubicBezTo>
                  <a:cubicBezTo>
                    <a:pt x="70" y="33"/>
                    <a:pt x="74" y="25"/>
                    <a:pt x="74" y="25"/>
                  </a:cubicBezTo>
                  <a:cubicBezTo>
                    <a:pt x="67" y="13"/>
                    <a:pt x="67" y="13"/>
                    <a:pt x="67" y="13"/>
                  </a:cubicBezTo>
                  <a:lnTo>
                    <a:pt x="60"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8" name="Freeform 251">
              <a:extLst>
                <a:ext uri="{FF2B5EF4-FFF2-40B4-BE49-F238E27FC236}">
                  <a16:creationId xmlns:a16="http://schemas.microsoft.com/office/drawing/2014/main" id="{004E84D4-AF0C-244B-57AE-650400646A5E}"/>
                </a:ext>
              </a:extLst>
            </p:cNvPr>
            <p:cNvSpPr>
              <a:spLocks/>
            </p:cNvSpPr>
            <p:nvPr/>
          </p:nvSpPr>
          <p:spPr bwMode="gray">
            <a:xfrm>
              <a:off x="9240047" y="1933169"/>
              <a:ext cx="48546" cy="111474"/>
            </a:xfrm>
            <a:custGeom>
              <a:avLst/>
              <a:gdLst>
                <a:gd name="T0" fmla="*/ 41 w 83"/>
                <a:gd name="T1" fmla="*/ 76 h 186"/>
                <a:gd name="T2" fmla="*/ 0 w 83"/>
                <a:gd name="T3" fmla="*/ 74 h 186"/>
                <a:gd name="T4" fmla="*/ 7 w 83"/>
                <a:gd name="T5" fmla="*/ 86 h 186"/>
                <a:gd name="T6" fmla="*/ 18 w 83"/>
                <a:gd name="T7" fmla="*/ 90 h 186"/>
                <a:gd name="T8" fmla="*/ 13 w 83"/>
                <a:gd name="T9" fmla="*/ 109 h 186"/>
                <a:gd name="T10" fmla="*/ 44 w 83"/>
                <a:gd name="T11" fmla="*/ 95 h 186"/>
                <a:gd name="T12" fmla="*/ 10 w 83"/>
                <a:gd name="T13" fmla="*/ 170 h 186"/>
                <a:gd name="T14" fmla="*/ 21 w 83"/>
                <a:gd name="T15" fmla="*/ 186 h 186"/>
                <a:gd name="T16" fmla="*/ 50 w 83"/>
                <a:gd name="T17" fmla="*/ 126 h 186"/>
                <a:gd name="T18" fmla="*/ 61 w 83"/>
                <a:gd name="T19" fmla="*/ 130 h 186"/>
                <a:gd name="T20" fmla="*/ 58 w 83"/>
                <a:gd name="T21" fmla="*/ 107 h 186"/>
                <a:gd name="T22" fmla="*/ 66 w 83"/>
                <a:gd name="T23" fmla="*/ 92 h 186"/>
                <a:gd name="T24" fmla="*/ 83 w 83"/>
                <a:gd name="T25" fmla="*/ 55 h 186"/>
                <a:gd name="T26" fmla="*/ 68 w 83"/>
                <a:gd name="T27" fmla="*/ 54 h 186"/>
                <a:gd name="T28" fmla="*/ 73 w 83"/>
                <a:gd name="T29" fmla="*/ 35 h 186"/>
                <a:gd name="T30" fmla="*/ 65 w 83"/>
                <a:gd name="T31" fmla="*/ 35 h 186"/>
                <a:gd name="T32" fmla="*/ 53 w 83"/>
                <a:gd name="T33" fmla="*/ 50 h 186"/>
                <a:gd name="T34" fmla="*/ 63 w 83"/>
                <a:gd name="T35" fmla="*/ 8 h 186"/>
                <a:gd name="T36" fmla="*/ 32 w 83"/>
                <a:gd name="T37" fmla="*/ 22 h 186"/>
                <a:gd name="T38" fmla="*/ 25 w 83"/>
                <a:gd name="T39" fmla="*/ 22 h 186"/>
                <a:gd name="T40" fmla="*/ 24 w 83"/>
                <a:gd name="T41" fmla="*/ 33 h 186"/>
                <a:gd name="T42" fmla="*/ 31 w 83"/>
                <a:gd name="T43" fmla="*/ 37 h 186"/>
                <a:gd name="T44" fmla="*/ 30 w 83"/>
                <a:gd name="T45" fmla="*/ 64 h 186"/>
                <a:gd name="T46" fmla="*/ 41 w 83"/>
                <a:gd name="T47" fmla="*/ 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86">
                  <a:moveTo>
                    <a:pt x="41" y="76"/>
                  </a:moveTo>
                  <a:cubicBezTo>
                    <a:pt x="0" y="74"/>
                    <a:pt x="0" y="74"/>
                    <a:pt x="0" y="74"/>
                  </a:cubicBezTo>
                  <a:cubicBezTo>
                    <a:pt x="7" y="86"/>
                    <a:pt x="7" y="86"/>
                    <a:pt x="7" y="86"/>
                  </a:cubicBezTo>
                  <a:cubicBezTo>
                    <a:pt x="18" y="90"/>
                    <a:pt x="18" y="90"/>
                    <a:pt x="18" y="90"/>
                  </a:cubicBezTo>
                  <a:cubicBezTo>
                    <a:pt x="13" y="109"/>
                    <a:pt x="13" y="109"/>
                    <a:pt x="13" y="109"/>
                  </a:cubicBezTo>
                  <a:cubicBezTo>
                    <a:pt x="44" y="95"/>
                    <a:pt x="44" y="95"/>
                    <a:pt x="44" y="95"/>
                  </a:cubicBezTo>
                  <a:cubicBezTo>
                    <a:pt x="10" y="170"/>
                    <a:pt x="10" y="170"/>
                    <a:pt x="10" y="170"/>
                  </a:cubicBezTo>
                  <a:cubicBezTo>
                    <a:pt x="21" y="186"/>
                    <a:pt x="21" y="186"/>
                    <a:pt x="21" y="186"/>
                  </a:cubicBezTo>
                  <a:cubicBezTo>
                    <a:pt x="50" y="126"/>
                    <a:pt x="50" y="126"/>
                    <a:pt x="50" y="126"/>
                  </a:cubicBezTo>
                  <a:cubicBezTo>
                    <a:pt x="50" y="126"/>
                    <a:pt x="53" y="142"/>
                    <a:pt x="61" y="130"/>
                  </a:cubicBezTo>
                  <a:cubicBezTo>
                    <a:pt x="69" y="123"/>
                    <a:pt x="61" y="115"/>
                    <a:pt x="58" y="107"/>
                  </a:cubicBezTo>
                  <a:cubicBezTo>
                    <a:pt x="55" y="96"/>
                    <a:pt x="62" y="104"/>
                    <a:pt x="66" y="92"/>
                  </a:cubicBezTo>
                  <a:cubicBezTo>
                    <a:pt x="70" y="85"/>
                    <a:pt x="83" y="55"/>
                    <a:pt x="83" y="55"/>
                  </a:cubicBezTo>
                  <a:cubicBezTo>
                    <a:pt x="68" y="54"/>
                    <a:pt x="68" y="54"/>
                    <a:pt x="68" y="54"/>
                  </a:cubicBezTo>
                  <a:cubicBezTo>
                    <a:pt x="73" y="35"/>
                    <a:pt x="73" y="35"/>
                    <a:pt x="73" y="35"/>
                  </a:cubicBezTo>
                  <a:cubicBezTo>
                    <a:pt x="65" y="35"/>
                    <a:pt x="65" y="35"/>
                    <a:pt x="65" y="35"/>
                  </a:cubicBezTo>
                  <a:cubicBezTo>
                    <a:pt x="65" y="35"/>
                    <a:pt x="56" y="61"/>
                    <a:pt x="53" y="50"/>
                  </a:cubicBezTo>
                  <a:cubicBezTo>
                    <a:pt x="50" y="38"/>
                    <a:pt x="66" y="16"/>
                    <a:pt x="63" y="8"/>
                  </a:cubicBezTo>
                  <a:cubicBezTo>
                    <a:pt x="59" y="0"/>
                    <a:pt x="32" y="22"/>
                    <a:pt x="32" y="22"/>
                  </a:cubicBezTo>
                  <a:cubicBezTo>
                    <a:pt x="25" y="22"/>
                    <a:pt x="25" y="22"/>
                    <a:pt x="25" y="22"/>
                  </a:cubicBezTo>
                  <a:cubicBezTo>
                    <a:pt x="24" y="33"/>
                    <a:pt x="24" y="33"/>
                    <a:pt x="24" y="33"/>
                  </a:cubicBezTo>
                  <a:cubicBezTo>
                    <a:pt x="31" y="37"/>
                    <a:pt x="31" y="37"/>
                    <a:pt x="31" y="37"/>
                  </a:cubicBezTo>
                  <a:cubicBezTo>
                    <a:pt x="30" y="64"/>
                    <a:pt x="30" y="64"/>
                    <a:pt x="30" y="64"/>
                  </a:cubicBezTo>
                  <a:cubicBezTo>
                    <a:pt x="30" y="64"/>
                    <a:pt x="63" y="77"/>
                    <a:pt x="41" y="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9" name="Freeform 252">
              <a:extLst>
                <a:ext uri="{FF2B5EF4-FFF2-40B4-BE49-F238E27FC236}">
                  <a16:creationId xmlns:a16="http://schemas.microsoft.com/office/drawing/2014/main" id="{1651034B-E639-0DDF-2AC1-E71078A7B8B9}"/>
                </a:ext>
              </a:extLst>
            </p:cNvPr>
            <p:cNvSpPr>
              <a:spLocks/>
            </p:cNvSpPr>
            <p:nvPr/>
          </p:nvSpPr>
          <p:spPr bwMode="gray">
            <a:xfrm>
              <a:off x="9283198" y="1924179"/>
              <a:ext cx="19778" cy="35959"/>
            </a:xfrm>
            <a:custGeom>
              <a:avLst/>
              <a:gdLst>
                <a:gd name="T0" fmla="*/ 11 w 36"/>
                <a:gd name="T1" fmla="*/ 61 h 61"/>
                <a:gd name="T2" fmla="*/ 24 w 36"/>
                <a:gd name="T3" fmla="*/ 34 h 61"/>
                <a:gd name="T4" fmla="*/ 29 w 36"/>
                <a:gd name="T5" fmla="*/ 8 h 61"/>
                <a:gd name="T6" fmla="*/ 5 w 36"/>
                <a:gd name="T7" fmla="*/ 30 h 61"/>
                <a:gd name="T8" fmla="*/ 11 w 36"/>
                <a:gd name="T9" fmla="*/ 61 h 61"/>
              </a:gdLst>
              <a:ahLst/>
              <a:cxnLst>
                <a:cxn ang="0">
                  <a:pos x="T0" y="T1"/>
                </a:cxn>
                <a:cxn ang="0">
                  <a:pos x="T2" y="T3"/>
                </a:cxn>
                <a:cxn ang="0">
                  <a:pos x="T4" y="T5"/>
                </a:cxn>
                <a:cxn ang="0">
                  <a:pos x="T6" y="T7"/>
                </a:cxn>
                <a:cxn ang="0">
                  <a:pos x="T8" y="T9"/>
                </a:cxn>
              </a:cxnLst>
              <a:rect l="0" t="0" r="r" b="b"/>
              <a:pathLst>
                <a:path w="36" h="61">
                  <a:moveTo>
                    <a:pt x="11" y="61"/>
                  </a:moveTo>
                  <a:cubicBezTo>
                    <a:pt x="23" y="61"/>
                    <a:pt x="20" y="46"/>
                    <a:pt x="24" y="34"/>
                  </a:cubicBezTo>
                  <a:cubicBezTo>
                    <a:pt x="24" y="23"/>
                    <a:pt x="36" y="12"/>
                    <a:pt x="29" y="8"/>
                  </a:cubicBezTo>
                  <a:cubicBezTo>
                    <a:pt x="22" y="0"/>
                    <a:pt x="6" y="18"/>
                    <a:pt x="5" y="30"/>
                  </a:cubicBezTo>
                  <a:cubicBezTo>
                    <a:pt x="5" y="41"/>
                    <a:pt x="0" y="56"/>
                    <a:pt x="11"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0" name="Freeform 253">
              <a:extLst>
                <a:ext uri="{FF2B5EF4-FFF2-40B4-BE49-F238E27FC236}">
                  <a16:creationId xmlns:a16="http://schemas.microsoft.com/office/drawing/2014/main" id="{15DA9B72-5FF2-C324-CDDE-FBBC871BABBA}"/>
                </a:ext>
              </a:extLst>
            </p:cNvPr>
            <p:cNvSpPr>
              <a:spLocks/>
            </p:cNvSpPr>
            <p:nvPr/>
          </p:nvSpPr>
          <p:spPr bwMode="gray">
            <a:xfrm>
              <a:off x="9130370" y="2094987"/>
              <a:ext cx="26971" cy="12586"/>
            </a:xfrm>
            <a:custGeom>
              <a:avLst/>
              <a:gdLst>
                <a:gd name="T0" fmla="*/ 11 w 15"/>
                <a:gd name="T1" fmla="*/ 0 h 7"/>
                <a:gd name="T2" fmla="*/ 0 w 15"/>
                <a:gd name="T3" fmla="*/ 7 h 7"/>
                <a:gd name="T4" fmla="*/ 15 w 15"/>
                <a:gd name="T5" fmla="*/ 5 h 7"/>
                <a:gd name="T6" fmla="*/ 15 w 15"/>
                <a:gd name="T7" fmla="*/ 2 h 7"/>
                <a:gd name="T8" fmla="*/ 8 w 15"/>
                <a:gd name="T9" fmla="*/ 3 h 7"/>
                <a:gd name="T10" fmla="*/ 10 w 15"/>
                <a:gd name="T11" fmla="*/ 2 h 7"/>
                <a:gd name="T12" fmla="*/ 11 w 1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1" y="0"/>
                  </a:moveTo>
                  <a:lnTo>
                    <a:pt x="0" y="7"/>
                  </a:lnTo>
                  <a:lnTo>
                    <a:pt x="15" y="5"/>
                  </a:lnTo>
                  <a:lnTo>
                    <a:pt x="15" y="2"/>
                  </a:lnTo>
                  <a:lnTo>
                    <a:pt x="8" y="3"/>
                  </a:lnTo>
                  <a:lnTo>
                    <a:pt x="10" y="2"/>
                  </a:lnTo>
                  <a:lnTo>
                    <a:pt x="1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1" name="Freeform 254">
              <a:extLst>
                <a:ext uri="{FF2B5EF4-FFF2-40B4-BE49-F238E27FC236}">
                  <a16:creationId xmlns:a16="http://schemas.microsoft.com/office/drawing/2014/main" id="{C58BF403-7F03-FBA5-6BE2-93C608ABFFC6}"/>
                </a:ext>
              </a:extLst>
            </p:cNvPr>
            <p:cNvSpPr>
              <a:spLocks/>
            </p:cNvSpPr>
            <p:nvPr/>
          </p:nvSpPr>
          <p:spPr bwMode="gray">
            <a:xfrm>
              <a:off x="8686270" y="2299956"/>
              <a:ext cx="37758" cy="16183"/>
            </a:xfrm>
            <a:custGeom>
              <a:avLst/>
              <a:gdLst>
                <a:gd name="T0" fmla="*/ 31 w 64"/>
                <a:gd name="T1" fmla="*/ 10 h 29"/>
                <a:gd name="T2" fmla="*/ 34 w 64"/>
                <a:gd name="T3" fmla="*/ 29 h 29"/>
                <a:gd name="T4" fmla="*/ 31 w 64"/>
                <a:gd name="T5" fmla="*/ 10 h 29"/>
              </a:gdLst>
              <a:ahLst/>
              <a:cxnLst>
                <a:cxn ang="0">
                  <a:pos x="T0" y="T1"/>
                </a:cxn>
                <a:cxn ang="0">
                  <a:pos x="T2" y="T3"/>
                </a:cxn>
                <a:cxn ang="0">
                  <a:pos x="T4" y="T5"/>
                </a:cxn>
              </a:cxnLst>
              <a:rect l="0" t="0" r="r" b="b"/>
              <a:pathLst>
                <a:path w="64" h="29">
                  <a:moveTo>
                    <a:pt x="31" y="10"/>
                  </a:moveTo>
                  <a:cubicBezTo>
                    <a:pt x="0" y="24"/>
                    <a:pt x="34" y="29"/>
                    <a:pt x="34" y="29"/>
                  </a:cubicBezTo>
                  <a:cubicBezTo>
                    <a:pt x="64" y="16"/>
                    <a:pt x="57" y="0"/>
                    <a:pt x="31" y="1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2" name="Freeform 255">
              <a:extLst>
                <a:ext uri="{FF2B5EF4-FFF2-40B4-BE49-F238E27FC236}">
                  <a16:creationId xmlns:a16="http://schemas.microsoft.com/office/drawing/2014/main" id="{6353A07D-DD71-6DB6-B2D2-B0FE7725104C}"/>
                </a:ext>
              </a:extLst>
            </p:cNvPr>
            <p:cNvSpPr>
              <a:spLocks/>
            </p:cNvSpPr>
            <p:nvPr/>
          </p:nvSpPr>
          <p:spPr bwMode="gray">
            <a:xfrm>
              <a:off x="8752795" y="2384461"/>
              <a:ext cx="62930" cy="52142"/>
            </a:xfrm>
            <a:custGeom>
              <a:avLst/>
              <a:gdLst>
                <a:gd name="T0" fmla="*/ 26 w 104"/>
                <a:gd name="T1" fmla="*/ 67 h 86"/>
                <a:gd name="T2" fmla="*/ 22 w 104"/>
                <a:gd name="T3" fmla="*/ 71 h 86"/>
                <a:gd name="T4" fmla="*/ 11 w 104"/>
                <a:gd name="T5" fmla="*/ 55 h 86"/>
                <a:gd name="T6" fmla="*/ 0 w 104"/>
                <a:gd name="T7" fmla="*/ 58 h 86"/>
                <a:gd name="T8" fmla="*/ 14 w 104"/>
                <a:gd name="T9" fmla="*/ 78 h 86"/>
                <a:gd name="T10" fmla="*/ 25 w 104"/>
                <a:gd name="T11" fmla="*/ 86 h 86"/>
                <a:gd name="T12" fmla="*/ 36 w 104"/>
                <a:gd name="T13" fmla="*/ 83 h 86"/>
                <a:gd name="T14" fmla="*/ 40 w 104"/>
                <a:gd name="T15" fmla="*/ 83 h 86"/>
                <a:gd name="T16" fmla="*/ 74 w 104"/>
                <a:gd name="T17" fmla="*/ 77 h 86"/>
                <a:gd name="T18" fmla="*/ 73 w 104"/>
                <a:gd name="T19" fmla="*/ 85 h 86"/>
                <a:gd name="T20" fmla="*/ 92 w 104"/>
                <a:gd name="T21" fmla="*/ 78 h 86"/>
                <a:gd name="T22" fmla="*/ 85 w 104"/>
                <a:gd name="T23" fmla="*/ 70 h 86"/>
                <a:gd name="T24" fmla="*/ 100 w 104"/>
                <a:gd name="T25" fmla="*/ 75 h 86"/>
                <a:gd name="T26" fmla="*/ 104 w 104"/>
                <a:gd name="T27" fmla="*/ 63 h 86"/>
                <a:gd name="T28" fmla="*/ 90 w 104"/>
                <a:gd name="T29" fmla="*/ 44 h 86"/>
                <a:gd name="T30" fmla="*/ 72 w 104"/>
                <a:gd name="T31" fmla="*/ 35 h 86"/>
                <a:gd name="T32" fmla="*/ 69 w 104"/>
                <a:gd name="T33" fmla="*/ 20 h 86"/>
                <a:gd name="T34" fmla="*/ 59 w 104"/>
                <a:gd name="T35" fmla="*/ 0 h 86"/>
                <a:gd name="T36" fmla="*/ 51 w 104"/>
                <a:gd name="T37" fmla="*/ 0 h 86"/>
                <a:gd name="T38" fmla="*/ 47 w 104"/>
                <a:gd name="T39" fmla="*/ 7 h 86"/>
                <a:gd name="T40" fmla="*/ 40 w 104"/>
                <a:gd name="T41" fmla="*/ 3 h 86"/>
                <a:gd name="T42" fmla="*/ 28 w 104"/>
                <a:gd name="T43" fmla="*/ 14 h 86"/>
                <a:gd name="T44" fmla="*/ 49 w 104"/>
                <a:gd name="T45" fmla="*/ 34 h 86"/>
                <a:gd name="T46" fmla="*/ 64 w 104"/>
                <a:gd name="T47" fmla="*/ 39 h 86"/>
                <a:gd name="T48" fmla="*/ 45 w 104"/>
                <a:gd name="T49" fmla="*/ 45 h 86"/>
                <a:gd name="T50" fmla="*/ 33 w 104"/>
                <a:gd name="T51" fmla="*/ 60 h 86"/>
                <a:gd name="T52" fmla="*/ 63 w 104"/>
                <a:gd name="T53" fmla="*/ 61 h 86"/>
                <a:gd name="T54" fmla="*/ 26 w 104"/>
                <a:gd name="T5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86">
                  <a:moveTo>
                    <a:pt x="26" y="67"/>
                  </a:moveTo>
                  <a:cubicBezTo>
                    <a:pt x="22" y="71"/>
                    <a:pt x="22" y="71"/>
                    <a:pt x="22" y="71"/>
                  </a:cubicBezTo>
                  <a:cubicBezTo>
                    <a:pt x="11" y="55"/>
                    <a:pt x="11" y="55"/>
                    <a:pt x="11" y="55"/>
                  </a:cubicBezTo>
                  <a:cubicBezTo>
                    <a:pt x="0" y="58"/>
                    <a:pt x="0" y="58"/>
                    <a:pt x="0" y="58"/>
                  </a:cubicBezTo>
                  <a:cubicBezTo>
                    <a:pt x="14" y="78"/>
                    <a:pt x="14" y="78"/>
                    <a:pt x="14" y="78"/>
                  </a:cubicBezTo>
                  <a:cubicBezTo>
                    <a:pt x="25" y="86"/>
                    <a:pt x="25" y="86"/>
                    <a:pt x="25" y="86"/>
                  </a:cubicBezTo>
                  <a:cubicBezTo>
                    <a:pt x="36" y="83"/>
                    <a:pt x="36" y="83"/>
                    <a:pt x="36" y="83"/>
                  </a:cubicBezTo>
                  <a:cubicBezTo>
                    <a:pt x="40" y="83"/>
                    <a:pt x="40" y="83"/>
                    <a:pt x="40" y="83"/>
                  </a:cubicBezTo>
                  <a:cubicBezTo>
                    <a:pt x="74" y="77"/>
                    <a:pt x="74" y="77"/>
                    <a:pt x="74" y="77"/>
                  </a:cubicBezTo>
                  <a:cubicBezTo>
                    <a:pt x="73" y="85"/>
                    <a:pt x="73" y="85"/>
                    <a:pt x="73" y="85"/>
                  </a:cubicBezTo>
                  <a:cubicBezTo>
                    <a:pt x="92" y="78"/>
                    <a:pt x="92" y="78"/>
                    <a:pt x="92" y="78"/>
                  </a:cubicBezTo>
                  <a:cubicBezTo>
                    <a:pt x="92" y="78"/>
                    <a:pt x="85" y="74"/>
                    <a:pt x="85" y="70"/>
                  </a:cubicBezTo>
                  <a:cubicBezTo>
                    <a:pt x="89" y="63"/>
                    <a:pt x="100" y="75"/>
                    <a:pt x="100" y="75"/>
                  </a:cubicBezTo>
                  <a:cubicBezTo>
                    <a:pt x="104" y="63"/>
                    <a:pt x="104" y="63"/>
                    <a:pt x="104" y="63"/>
                  </a:cubicBezTo>
                  <a:cubicBezTo>
                    <a:pt x="90" y="44"/>
                    <a:pt x="90" y="44"/>
                    <a:pt x="90" y="44"/>
                  </a:cubicBezTo>
                  <a:cubicBezTo>
                    <a:pt x="72" y="35"/>
                    <a:pt x="72" y="35"/>
                    <a:pt x="72" y="35"/>
                  </a:cubicBezTo>
                  <a:cubicBezTo>
                    <a:pt x="69" y="20"/>
                    <a:pt x="69" y="20"/>
                    <a:pt x="69" y="20"/>
                  </a:cubicBezTo>
                  <a:cubicBezTo>
                    <a:pt x="59" y="0"/>
                    <a:pt x="59" y="0"/>
                    <a:pt x="59" y="0"/>
                  </a:cubicBezTo>
                  <a:cubicBezTo>
                    <a:pt x="51" y="0"/>
                    <a:pt x="51" y="0"/>
                    <a:pt x="51" y="0"/>
                  </a:cubicBezTo>
                  <a:cubicBezTo>
                    <a:pt x="47" y="7"/>
                    <a:pt x="47" y="7"/>
                    <a:pt x="47" y="7"/>
                  </a:cubicBezTo>
                  <a:cubicBezTo>
                    <a:pt x="40" y="3"/>
                    <a:pt x="40" y="3"/>
                    <a:pt x="40" y="3"/>
                  </a:cubicBezTo>
                  <a:cubicBezTo>
                    <a:pt x="28" y="14"/>
                    <a:pt x="28" y="14"/>
                    <a:pt x="28" y="14"/>
                  </a:cubicBezTo>
                  <a:cubicBezTo>
                    <a:pt x="49" y="34"/>
                    <a:pt x="49" y="34"/>
                    <a:pt x="49" y="34"/>
                  </a:cubicBezTo>
                  <a:cubicBezTo>
                    <a:pt x="49" y="34"/>
                    <a:pt x="65" y="31"/>
                    <a:pt x="64" y="39"/>
                  </a:cubicBezTo>
                  <a:cubicBezTo>
                    <a:pt x="68" y="46"/>
                    <a:pt x="45" y="45"/>
                    <a:pt x="45" y="45"/>
                  </a:cubicBezTo>
                  <a:cubicBezTo>
                    <a:pt x="33" y="60"/>
                    <a:pt x="33" y="60"/>
                    <a:pt x="33" y="60"/>
                  </a:cubicBezTo>
                  <a:cubicBezTo>
                    <a:pt x="33" y="60"/>
                    <a:pt x="63" y="58"/>
                    <a:pt x="63" y="61"/>
                  </a:cubicBezTo>
                  <a:cubicBezTo>
                    <a:pt x="59" y="69"/>
                    <a:pt x="26" y="67"/>
                    <a:pt x="26" y="6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3" name="Freeform 256">
              <a:extLst>
                <a:ext uri="{FF2B5EF4-FFF2-40B4-BE49-F238E27FC236}">
                  <a16:creationId xmlns:a16="http://schemas.microsoft.com/office/drawing/2014/main" id="{5B85B3D7-BC61-3E6B-78D7-2CFAC612AE8B}"/>
                </a:ext>
              </a:extLst>
            </p:cNvPr>
            <p:cNvSpPr>
              <a:spLocks/>
            </p:cNvSpPr>
            <p:nvPr/>
          </p:nvSpPr>
          <p:spPr bwMode="gray">
            <a:xfrm>
              <a:off x="8759988" y="2463572"/>
              <a:ext cx="37758" cy="39556"/>
            </a:xfrm>
            <a:custGeom>
              <a:avLst/>
              <a:gdLst>
                <a:gd name="T0" fmla="*/ 12 w 21"/>
                <a:gd name="T1" fmla="*/ 13 h 22"/>
                <a:gd name="T2" fmla="*/ 21 w 21"/>
                <a:gd name="T3" fmla="*/ 0 h 22"/>
                <a:gd name="T4" fmla="*/ 17 w 21"/>
                <a:gd name="T5" fmla="*/ 1 h 22"/>
                <a:gd name="T6" fmla="*/ 12 w 21"/>
                <a:gd name="T7" fmla="*/ 4 h 22"/>
                <a:gd name="T8" fmla="*/ 8 w 21"/>
                <a:gd name="T9" fmla="*/ 4 h 22"/>
                <a:gd name="T10" fmla="*/ 7 w 21"/>
                <a:gd name="T11" fmla="*/ 9 h 22"/>
                <a:gd name="T12" fmla="*/ 11 w 21"/>
                <a:gd name="T13" fmla="*/ 9 h 22"/>
                <a:gd name="T14" fmla="*/ 9 w 21"/>
                <a:gd name="T15" fmla="*/ 11 h 22"/>
                <a:gd name="T16" fmla="*/ 2 w 21"/>
                <a:gd name="T17" fmla="*/ 13 h 22"/>
                <a:gd name="T18" fmla="*/ 0 w 21"/>
                <a:gd name="T19" fmla="*/ 18 h 22"/>
                <a:gd name="T20" fmla="*/ 1 w 21"/>
                <a:gd name="T21" fmla="*/ 22 h 22"/>
                <a:gd name="T22" fmla="*/ 12 w 21"/>
                <a:gd name="T23"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2">
                  <a:moveTo>
                    <a:pt x="12" y="13"/>
                  </a:moveTo>
                  <a:lnTo>
                    <a:pt x="21" y="0"/>
                  </a:lnTo>
                  <a:lnTo>
                    <a:pt x="17" y="1"/>
                  </a:lnTo>
                  <a:lnTo>
                    <a:pt x="12" y="4"/>
                  </a:lnTo>
                  <a:lnTo>
                    <a:pt x="8" y="4"/>
                  </a:lnTo>
                  <a:lnTo>
                    <a:pt x="7" y="9"/>
                  </a:lnTo>
                  <a:lnTo>
                    <a:pt x="11" y="9"/>
                  </a:lnTo>
                  <a:lnTo>
                    <a:pt x="9" y="11"/>
                  </a:lnTo>
                  <a:lnTo>
                    <a:pt x="2" y="13"/>
                  </a:lnTo>
                  <a:lnTo>
                    <a:pt x="0" y="18"/>
                  </a:lnTo>
                  <a:lnTo>
                    <a:pt x="1" y="22"/>
                  </a:lnTo>
                  <a:lnTo>
                    <a:pt x="12"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4" name="Freeform 257">
              <a:extLst>
                <a:ext uri="{FF2B5EF4-FFF2-40B4-BE49-F238E27FC236}">
                  <a16:creationId xmlns:a16="http://schemas.microsoft.com/office/drawing/2014/main" id="{DC6EA012-64A9-0E40-F0AD-AF56120B566A}"/>
                </a:ext>
              </a:extLst>
            </p:cNvPr>
            <p:cNvSpPr>
              <a:spLocks/>
            </p:cNvSpPr>
            <p:nvPr/>
          </p:nvSpPr>
          <p:spPr bwMode="gray">
            <a:xfrm>
              <a:off x="8828310" y="2292765"/>
              <a:ext cx="5395" cy="8991"/>
            </a:xfrm>
            <a:custGeom>
              <a:avLst/>
              <a:gdLst>
                <a:gd name="T0" fmla="*/ 3 w 3"/>
                <a:gd name="T1" fmla="*/ 5 h 5"/>
                <a:gd name="T2" fmla="*/ 2 w 3"/>
                <a:gd name="T3" fmla="*/ 0 h 5"/>
                <a:gd name="T4" fmla="*/ 0 w 3"/>
                <a:gd name="T5" fmla="*/ 3 h 5"/>
                <a:gd name="T6" fmla="*/ 3 w 3"/>
                <a:gd name="T7" fmla="*/ 5 h 5"/>
              </a:gdLst>
              <a:ahLst/>
              <a:cxnLst>
                <a:cxn ang="0">
                  <a:pos x="T0" y="T1"/>
                </a:cxn>
                <a:cxn ang="0">
                  <a:pos x="T2" y="T3"/>
                </a:cxn>
                <a:cxn ang="0">
                  <a:pos x="T4" y="T5"/>
                </a:cxn>
                <a:cxn ang="0">
                  <a:pos x="T6" y="T7"/>
                </a:cxn>
              </a:cxnLst>
              <a:rect l="0" t="0" r="r" b="b"/>
              <a:pathLst>
                <a:path w="3" h="5">
                  <a:moveTo>
                    <a:pt x="3" y="5"/>
                  </a:moveTo>
                  <a:lnTo>
                    <a:pt x="2" y="0"/>
                  </a:lnTo>
                  <a:lnTo>
                    <a:pt x="0" y="3"/>
                  </a:lnTo>
                  <a:lnTo>
                    <a:pt x="3"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258">
              <a:extLst>
                <a:ext uri="{FF2B5EF4-FFF2-40B4-BE49-F238E27FC236}">
                  <a16:creationId xmlns:a16="http://schemas.microsoft.com/office/drawing/2014/main" id="{62F72D33-A88D-4C42-AF1B-1EF18829AB99}"/>
                </a:ext>
              </a:extLst>
            </p:cNvPr>
            <p:cNvSpPr>
              <a:spLocks/>
            </p:cNvSpPr>
            <p:nvPr/>
          </p:nvSpPr>
          <p:spPr bwMode="gray">
            <a:xfrm>
              <a:off x="8794148" y="2346704"/>
              <a:ext cx="7192" cy="8991"/>
            </a:xfrm>
            <a:custGeom>
              <a:avLst/>
              <a:gdLst>
                <a:gd name="T0" fmla="*/ 4 w 4"/>
                <a:gd name="T1" fmla="*/ 0 h 5"/>
                <a:gd name="T2" fmla="*/ 0 w 4"/>
                <a:gd name="T3" fmla="*/ 2 h 5"/>
                <a:gd name="T4" fmla="*/ 2 w 4"/>
                <a:gd name="T5" fmla="*/ 5 h 5"/>
                <a:gd name="T6" fmla="*/ 4 w 4"/>
                <a:gd name="T7" fmla="*/ 0 h 5"/>
              </a:gdLst>
              <a:ahLst/>
              <a:cxnLst>
                <a:cxn ang="0">
                  <a:pos x="T0" y="T1"/>
                </a:cxn>
                <a:cxn ang="0">
                  <a:pos x="T2" y="T3"/>
                </a:cxn>
                <a:cxn ang="0">
                  <a:pos x="T4" y="T5"/>
                </a:cxn>
                <a:cxn ang="0">
                  <a:pos x="T6" y="T7"/>
                </a:cxn>
              </a:cxnLst>
              <a:rect l="0" t="0" r="r" b="b"/>
              <a:pathLst>
                <a:path w="4" h="5">
                  <a:moveTo>
                    <a:pt x="4" y="0"/>
                  </a:moveTo>
                  <a:lnTo>
                    <a:pt x="0" y="2"/>
                  </a:lnTo>
                  <a:lnTo>
                    <a:pt x="2" y="5"/>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6" name="Freeform 259">
              <a:extLst>
                <a:ext uri="{FF2B5EF4-FFF2-40B4-BE49-F238E27FC236}">
                  <a16:creationId xmlns:a16="http://schemas.microsoft.com/office/drawing/2014/main" id="{1F56AA74-793A-26BB-3D1D-8A4057A342C9}"/>
                </a:ext>
              </a:extLst>
            </p:cNvPr>
            <p:cNvSpPr>
              <a:spLocks/>
            </p:cNvSpPr>
            <p:nvPr/>
          </p:nvSpPr>
          <p:spPr bwMode="gray">
            <a:xfrm>
              <a:off x="8837300" y="2255006"/>
              <a:ext cx="5395" cy="16183"/>
            </a:xfrm>
            <a:custGeom>
              <a:avLst/>
              <a:gdLst>
                <a:gd name="T0" fmla="*/ 8 w 9"/>
                <a:gd name="T1" fmla="*/ 19 h 26"/>
                <a:gd name="T2" fmla="*/ 9 w 9"/>
                <a:gd name="T3" fmla="*/ 0 h 26"/>
                <a:gd name="T4" fmla="*/ 5 w 9"/>
                <a:gd name="T5" fmla="*/ 3 h 26"/>
                <a:gd name="T6" fmla="*/ 0 w 9"/>
                <a:gd name="T7" fmla="*/ 22 h 26"/>
                <a:gd name="T8" fmla="*/ 8 w 9"/>
                <a:gd name="T9" fmla="*/ 19 h 26"/>
              </a:gdLst>
              <a:ahLst/>
              <a:cxnLst>
                <a:cxn ang="0">
                  <a:pos x="T0" y="T1"/>
                </a:cxn>
                <a:cxn ang="0">
                  <a:pos x="T2" y="T3"/>
                </a:cxn>
                <a:cxn ang="0">
                  <a:pos x="T4" y="T5"/>
                </a:cxn>
                <a:cxn ang="0">
                  <a:pos x="T6" y="T7"/>
                </a:cxn>
                <a:cxn ang="0">
                  <a:pos x="T8" y="T9"/>
                </a:cxn>
              </a:cxnLst>
              <a:rect l="0" t="0" r="r" b="b"/>
              <a:pathLst>
                <a:path w="9" h="26">
                  <a:moveTo>
                    <a:pt x="8" y="19"/>
                  </a:moveTo>
                  <a:cubicBezTo>
                    <a:pt x="9" y="0"/>
                    <a:pt x="9" y="0"/>
                    <a:pt x="9" y="0"/>
                  </a:cubicBezTo>
                  <a:cubicBezTo>
                    <a:pt x="5" y="3"/>
                    <a:pt x="5" y="3"/>
                    <a:pt x="5" y="3"/>
                  </a:cubicBezTo>
                  <a:cubicBezTo>
                    <a:pt x="0" y="22"/>
                    <a:pt x="0" y="22"/>
                    <a:pt x="0" y="22"/>
                  </a:cubicBezTo>
                  <a:cubicBezTo>
                    <a:pt x="0" y="22"/>
                    <a:pt x="8" y="26"/>
                    <a:pt x="8"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7" name="Freeform 260">
              <a:extLst>
                <a:ext uri="{FF2B5EF4-FFF2-40B4-BE49-F238E27FC236}">
                  <a16:creationId xmlns:a16="http://schemas.microsoft.com/office/drawing/2014/main" id="{1DC46720-D1B6-57E8-1F78-744C46C70AA5}"/>
                </a:ext>
              </a:extLst>
            </p:cNvPr>
            <p:cNvSpPr>
              <a:spLocks/>
            </p:cNvSpPr>
            <p:nvPr/>
          </p:nvSpPr>
          <p:spPr bwMode="gray">
            <a:xfrm>
              <a:off x="8720432" y="2479754"/>
              <a:ext cx="37758" cy="43151"/>
            </a:xfrm>
            <a:custGeom>
              <a:avLst/>
              <a:gdLst>
                <a:gd name="T0" fmla="*/ 60 w 65"/>
                <a:gd name="T1" fmla="*/ 23 h 75"/>
                <a:gd name="T2" fmla="*/ 65 w 65"/>
                <a:gd name="T3" fmla="*/ 0 h 75"/>
                <a:gd name="T4" fmla="*/ 35 w 65"/>
                <a:gd name="T5" fmla="*/ 10 h 75"/>
                <a:gd name="T6" fmla="*/ 35 w 65"/>
                <a:gd name="T7" fmla="*/ 14 h 75"/>
                <a:gd name="T8" fmla="*/ 20 w 65"/>
                <a:gd name="T9" fmla="*/ 6 h 75"/>
                <a:gd name="T10" fmla="*/ 4 w 65"/>
                <a:gd name="T11" fmla="*/ 24 h 75"/>
                <a:gd name="T12" fmla="*/ 0 w 65"/>
                <a:gd name="T13" fmla="*/ 43 h 75"/>
                <a:gd name="T14" fmla="*/ 7 w 65"/>
                <a:gd name="T15" fmla="*/ 43 h 75"/>
                <a:gd name="T16" fmla="*/ 23 w 65"/>
                <a:gd name="T17" fmla="*/ 21 h 75"/>
                <a:gd name="T18" fmla="*/ 38 w 65"/>
                <a:gd name="T19" fmla="*/ 26 h 75"/>
                <a:gd name="T20" fmla="*/ 37 w 65"/>
                <a:gd name="T21" fmla="*/ 37 h 75"/>
                <a:gd name="T22" fmla="*/ 26 w 65"/>
                <a:gd name="T23" fmla="*/ 37 h 75"/>
                <a:gd name="T24" fmla="*/ 29 w 65"/>
                <a:gd name="T25" fmla="*/ 56 h 75"/>
                <a:gd name="T26" fmla="*/ 13 w 65"/>
                <a:gd name="T27" fmla="*/ 67 h 75"/>
                <a:gd name="T28" fmla="*/ 32 w 65"/>
                <a:gd name="T29" fmla="*/ 68 h 75"/>
                <a:gd name="T30" fmla="*/ 59 w 65"/>
                <a:gd name="T31" fmla="*/ 54 h 75"/>
                <a:gd name="T32" fmla="*/ 52 w 65"/>
                <a:gd name="T33" fmla="*/ 38 h 75"/>
                <a:gd name="T34" fmla="*/ 60 w 65"/>
                <a:gd name="T35" fmla="*/ 31 h 75"/>
                <a:gd name="T36" fmla="*/ 60 w 65"/>
                <a:gd name="T37" fmla="*/ 2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75">
                  <a:moveTo>
                    <a:pt x="60" y="23"/>
                  </a:moveTo>
                  <a:cubicBezTo>
                    <a:pt x="61" y="12"/>
                    <a:pt x="65" y="0"/>
                    <a:pt x="65" y="0"/>
                  </a:cubicBezTo>
                  <a:cubicBezTo>
                    <a:pt x="35" y="10"/>
                    <a:pt x="35" y="10"/>
                    <a:pt x="35" y="10"/>
                  </a:cubicBezTo>
                  <a:cubicBezTo>
                    <a:pt x="35" y="14"/>
                    <a:pt x="35" y="14"/>
                    <a:pt x="35" y="14"/>
                  </a:cubicBezTo>
                  <a:cubicBezTo>
                    <a:pt x="20" y="6"/>
                    <a:pt x="20" y="6"/>
                    <a:pt x="20" y="6"/>
                  </a:cubicBezTo>
                  <a:cubicBezTo>
                    <a:pt x="20" y="6"/>
                    <a:pt x="9" y="9"/>
                    <a:pt x="4" y="24"/>
                  </a:cubicBezTo>
                  <a:cubicBezTo>
                    <a:pt x="4" y="36"/>
                    <a:pt x="0" y="43"/>
                    <a:pt x="0" y="43"/>
                  </a:cubicBezTo>
                  <a:cubicBezTo>
                    <a:pt x="7" y="43"/>
                    <a:pt x="7" y="43"/>
                    <a:pt x="7" y="43"/>
                  </a:cubicBezTo>
                  <a:cubicBezTo>
                    <a:pt x="23" y="21"/>
                    <a:pt x="23" y="21"/>
                    <a:pt x="23" y="21"/>
                  </a:cubicBezTo>
                  <a:cubicBezTo>
                    <a:pt x="38" y="26"/>
                    <a:pt x="38" y="26"/>
                    <a:pt x="38" y="26"/>
                  </a:cubicBezTo>
                  <a:cubicBezTo>
                    <a:pt x="37" y="37"/>
                    <a:pt x="37" y="37"/>
                    <a:pt x="37" y="37"/>
                  </a:cubicBezTo>
                  <a:cubicBezTo>
                    <a:pt x="37" y="37"/>
                    <a:pt x="26" y="33"/>
                    <a:pt x="26" y="37"/>
                  </a:cubicBezTo>
                  <a:cubicBezTo>
                    <a:pt x="26" y="41"/>
                    <a:pt x="29" y="56"/>
                    <a:pt x="29" y="56"/>
                  </a:cubicBezTo>
                  <a:cubicBezTo>
                    <a:pt x="29" y="56"/>
                    <a:pt x="14" y="59"/>
                    <a:pt x="13" y="67"/>
                  </a:cubicBezTo>
                  <a:cubicBezTo>
                    <a:pt x="17" y="75"/>
                    <a:pt x="32" y="68"/>
                    <a:pt x="32" y="68"/>
                  </a:cubicBezTo>
                  <a:cubicBezTo>
                    <a:pt x="32" y="68"/>
                    <a:pt x="51" y="68"/>
                    <a:pt x="59" y="54"/>
                  </a:cubicBezTo>
                  <a:cubicBezTo>
                    <a:pt x="63" y="42"/>
                    <a:pt x="52" y="38"/>
                    <a:pt x="52" y="38"/>
                  </a:cubicBezTo>
                  <a:cubicBezTo>
                    <a:pt x="60" y="31"/>
                    <a:pt x="60" y="31"/>
                    <a:pt x="60" y="31"/>
                  </a:cubicBezTo>
                  <a:lnTo>
                    <a:pt x="60" y="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8" name="Freeform 261">
              <a:extLst>
                <a:ext uri="{FF2B5EF4-FFF2-40B4-BE49-F238E27FC236}">
                  <a16:creationId xmlns:a16="http://schemas.microsoft.com/office/drawing/2014/main" id="{56526530-F0F5-E56F-4A43-1D8CC620A457}"/>
                </a:ext>
              </a:extLst>
            </p:cNvPr>
            <p:cNvSpPr>
              <a:spLocks/>
            </p:cNvSpPr>
            <p:nvPr/>
          </p:nvSpPr>
          <p:spPr bwMode="gray">
            <a:xfrm>
              <a:off x="8718633" y="2382663"/>
              <a:ext cx="21576" cy="14383"/>
            </a:xfrm>
            <a:custGeom>
              <a:avLst/>
              <a:gdLst>
                <a:gd name="T0" fmla="*/ 11 w 12"/>
                <a:gd name="T1" fmla="*/ 4 h 8"/>
                <a:gd name="T2" fmla="*/ 12 w 12"/>
                <a:gd name="T3" fmla="*/ 1 h 8"/>
                <a:gd name="T4" fmla="*/ 9 w 12"/>
                <a:gd name="T5" fmla="*/ 0 h 8"/>
                <a:gd name="T6" fmla="*/ 6 w 12"/>
                <a:gd name="T7" fmla="*/ 2 h 8"/>
                <a:gd name="T8" fmla="*/ 2 w 12"/>
                <a:gd name="T9" fmla="*/ 1 h 8"/>
                <a:gd name="T10" fmla="*/ 0 w 12"/>
                <a:gd name="T11" fmla="*/ 7 h 8"/>
                <a:gd name="T12" fmla="*/ 2 w 12"/>
                <a:gd name="T13" fmla="*/ 8 h 8"/>
                <a:gd name="T14" fmla="*/ 7 w 12"/>
                <a:gd name="T15" fmla="*/ 5 h 8"/>
                <a:gd name="T16" fmla="*/ 11 w 12"/>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11" y="4"/>
                  </a:moveTo>
                  <a:lnTo>
                    <a:pt x="12" y="1"/>
                  </a:lnTo>
                  <a:lnTo>
                    <a:pt x="9" y="0"/>
                  </a:lnTo>
                  <a:lnTo>
                    <a:pt x="6" y="2"/>
                  </a:lnTo>
                  <a:lnTo>
                    <a:pt x="2" y="1"/>
                  </a:lnTo>
                  <a:lnTo>
                    <a:pt x="0" y="7"/>
                  </a:lnTo>
                  <a:lnTo>
                    <a:pt x="2" y="8"/>
                  </a:lnTo>
                  <a:lnTo>
                    <a:pt x="7" y="5"/>
                  </a:lnTo>
                  <a:lnTo>
                    <a:pt x="11"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9" name="Freeform 262">
              <a:extLst>
                <a:ext uri="{FF2B5EF4-FFF2-40B4-BE49-F238E27FC236}">
                  <a16:creationId xmlns:a16="http://schemas.microsoft.com/office/drawing/2014/main" id="{56848EDC-95A4-B6E4-1E86-DAEBE8072987}"/>
                </a:ext>
              </a:extLst>
            </p:cNvPr>
            <p:cNvSpPr>
              <a:spLocks/>
            </p:cNvSpPr>
            <p:nvPr/>
          </p:nvSpPr>
          <p:spPr bwMode="gray">
            <a:xfrm>
              <a:off x="8752795" y="2452784"/>
              <a:ext cx="14383" cy="12586"/>
            </a:xfrm>
            <a:custGeom>
              <a:avLst/>
              <a:gdLst>
                <a:gd name="T0" fmla="*/ 12 w 23"/>
                <a:gd name="T1" fmla="*/ 15 h 22"/>
                <a:gd name="T2" fmla="*/ 23 w 23"/>
                <a:gd name="T3" fmla="*/ 8 h 22"/>
                <a:gd name="T4" fmla="*/ 8 w 23"/>
                <a:gd name="T5" fmla="*/ 3 h 22"/>
                <a:gd name="T6" fmla="*/ 0 w 23"/>
                <a:gd name="T7" fmla="*/ 18 h 22"/>
                <a:gd name="T8" fmla="*/ 11 w 23"/>
                <a:gd name="T9" fmla="*/ 22 h 22"/>
                <a:gd name="T10" fmla="*/ 12 w 23"/>
                <a:gd name="T11" fmla="*/ 15 h 22"/>
              </a:gdLst>
              <a:ahLst/>
              <a:cxnLst>
                <a:cxn ang="0">
                  <a:pos x="T0" y="T1"/>
                </a:cxn>
                <a:cxn ang="0">
                  <a:pos x="T2" y="T3"/>
                </a:cxn>
                <a:cxn ang="0">
                  <a:pos x="T4" y="T5"/>
                </a:cxn>
                <a:cxn ang="0">
                  <a:pos x="T6" y="T7"/>
                </a:cxn>
                <a:cxn ang="0">
                  <a:pos x="T8" y="T9"/>
                </a:cxn>
                <a:cxn ang="0">
                  <a:pos x="T10" y="T11"/>
                </a:cxn>
              </a:cxnLst>
              <a:rect l="0" t="0" r="r" b="b"/>
              <a:pathLst>
                <a:path w="23" h="22">
                  <a:moveTo>
                    <a:pt x="12" y="15"/>
                  </a:moveTo>
                  <a:cubicBezTo>
                    <a:pt x="23" y="8"/>
                    <a:pt x="23" y="8"/>
                    <a:pt x="23" y="8"/>
                  </a:cubicBezTo>
                  <a:cubicBezTo>
                    <a:pt x="23" y="8"/>
                    <a:pt x="20" y="0"/>
                    <a:pt x="8" y="3"/>
                  </a:cubicBezTo>
                  <a:cubicBezTo>
                    <a:pt x="1" y="7"/>
                    <a:pt x="0" y="18"/>
                    <a:pt x="0" y="18"/>
                  </a:cubicBezTo>
                  <a:cubicBezTo>
                    <a:pt x="11" y="22"/>
                    <a:pt x="11" y="22"/>
                    <a:pt x="11" y="22"/>
                  </a:cubicBezTo>
                  <a:lnTo>
                    <a:pt x="12" y="1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0" name="Freeform 263">
              <a:extLst>
                <a:ext uri="{FF2B5EF4-FFF2-40B4-BE49-F238E27FC236}">
                  <a16:creationId xmlns:a16="http://schemas.microsoft.com/office/drawing/2014/main" id="{B850A6AB-6D0E-086A-6E97-B7845F66C717}"/>
                </a:ext>
              </a:extLst>
            </p:cNvPr>
            <p:cNvSpPr>
              <a:spLocks/>
            </p:cNvSpPr>
            <p:nvPr/>
          </p:nvSpPr>
          <p:spPr bwMode="gray">
            <a:xfrm>
              <a:off x="8770775" y="2317936"/>
              <a:ext cx="8991" cy="8991"/>
            </a:xfrm>
            <a:custGeom>
              <a:avLst/>
              <a:gdLst>
                <a:gd name="T0" fmla="*/ 5 w 5"/>
                <a:gd name="T1" fmla="*/ 5 h 5"/>
                <a:gd name="T2" fmla="*/ 5 w 5"/>
                <a:gd name="T3" fmla="*/ 0 h 5"/>
                <a:gd name="T4" fmla="*/ 0 w 5"/>
                <a:gd name="T5" fmla="*/ 0 h 5"/>
                <a:gd name="T6" fmla="*/ 5 w 5"/>
                <a:gd name="T7" fmla="*/ 5 h 5"/>
              </a:gdLst>
              <a:ahLst/>
              <a:cxnLst>
                <a:cxn ang="0">
                  <a:pos x="T0" y="T1"/>
                </a:cxn>
                <a:cxn ang="0">
                  <a:pos x="T2" y="T3"/>
                </a:cxn>
                <a:cxn ang="0">
                  <a:pos x="T4" y="T5"/>
                </a:cxn>
                <a:cxn ang="0">
                  <a:pos x="T6" y="T7"/>
                </a:cxn>
              </a:cxnLst>
              <a:rect l="0" t="0" r="r" b="b"/>
              <a:pathLst>
                <a:path w="5" h="5">
                  <a:moveTo>
                    <a:pt x="5" y="5"/>
                  </a:moveTo>
                  <a:lnTo>
                    <a:pt x="5" y="0"/>
                  </a:lnTo>
                  <a:lnTo>
                    <a:pt x="0"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1" name="Freeform 264">
              <a:extLst>
                <a:ext uri="{FF2B5EF4-FFF2-40B4-BE49-F238E27FC236}">
                  <a16:creationId xmlns:a16="http://schemas.microsoft.com/office/drawing/2014/main" id="{3453B9E3-3EA3-176A-EA43-E082E267C3FE}"/>
                </a:ext>
              </a:extLst>
            </p:cNvPr>
            <p:cNvSpPr>
              <a:spLocks/>
            </p:cNvSpPr>
            <p:nvPr/>
          </p:nvSpPr>
          <p:spPr bwMode="gray">
            <a:xfrm>
              <a:off x="8781563" y="2328724"/>
              <a:ext cx="12586" cy="14383"/>
            </a:xfrm>
            <a:custGeom>
              <a:avLst/>
              <a:gdLst>
                <a:gd name="T0" fmla="*/ 0 w 7"/>
                <a:gd name="T1" fmla="*/ 2 h 8"/>
                <a:gd name="T2" fmla="*/ 2 w 7"/>
                <a:gd name="T3" fmla="*/ 8 h 8"/>
                <a:gd name="T4" fmla="*/ 6 w 7"/>
                <a:gd name="T5" fmla="*/ 6 h 8"/>
                <a:gd name="T6" fmla="*/ 7 w 7"/>
                <a:gd name="T7" fmla="*/ 2 h 8"/>
                <a:gd name="T8" fmla="*/ 5 w 7"/>
                <a:gd name="T9" fmla="*/ 0 h 8"/>
                <a:gd name="T10" fmla="*/ 0 w 7"/>
                <a:gd name="T11" fmla="*/ 2 h 8"/>
              </a:gdLst>
              <a:ahLst/>
              <a:cxnLst>
                <a:cxn ang="0">
                  <a:pos x="T0" y="T1"/>
                </a:cxn>
                <a:cxn ang="0">
                  <a:pos x="T2" y="T3"/>
                </a:cxn>
                <a:cxn ang="0">
                  <a:pos x="T4" y="T5"/>
                </a:cxn>
                <a:cxn ang="0">
                  <a:pos x="T6" y="T7"/>
                </a:cxn>
                <a:cxn ang="0">
                  <a:pos x="T8" y="T9"/>
                </a:cxn>
                <a:cxn ang="0">
                  <a:pos x="T10" y="T11"/>
                </a:cxn>
              </a:cxnLst>
              <a:rect l="0" t="0" r="r" b="b"/>
              <a:pathLst>
                <a:path w="7" h="8">
                  <a:moveTo>
                    <a:pt x="0" y="2"/>
                  </a:moveTo>
                  <a:lnTo>
                    <a:pt x="2" y="8"/>
                  </a:lnTo>
                  <a:lnTo>
                    <a:pt x="6" y="6"/>
                  </a:lnTo>
                  <a:lnTo>
                    <a:pt x="7" y="2"/>
                  </a:lnTo>
                  <a:lnTo>
                    <a:pt x="5"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2" name="Freeform 265">
              <a:extLst>
                <a:ext uri="{FF2B5EF4-FFF2-40B4-BE49-F238E27FC236}">
                  <a16:creationId xmlns:a16="http://schemas.microsoft.com/office/drawing/2014/main" id="{E380279D-2CC8-B963-C1AA-019F3DD14B45}"/>
                </a:ext>
              </a:extLst>
            </p:cNvPr>
            <p:cNvSpPr>
              <a:spLocks/>
            </p:cNvSpPr>
            <p:nvPr/>
          </p:nvSpPr>
          <p:spPr bwMode="gray">
            <a:xfrm>
              <a:off x="8776168" y="2240623"/>
              <a:ext cx="68323" cy="95293"/>
            </a:xfrm>
            <a:custGeom>
              <a:avLst/>
              <a:gdLst>
                <a:gd name="T0" fmla="*/ 12 w 116"/>
                <a:gd name="T1" fmla="*/ 24 h 161"/>
                <a:gd name="T2" fmla="*/ 0 w 116"/>
                <a:gd name="T3" fmla="*/ 38 h 161"/>
                <a:gd name="T4" fmla="*/ 13 w 116"/>
                <a:gd name="T5" fmla="*/ 70 h 161"/>
                <a:gd name="T6" fmla="*/ 29 w 116"/>
                <a:gd name="T7" fmla="*/ 59 h 161"/>
                <a:gd name="T8" fmla="*/ 39 w 116"/>
                <a:gd name="T9" fmla="*/ 82 h 161"/>
                <a:gd name="T10" fmla="*/ 28 w 116"/>
                <a:gd name="T11" fmla="*/ 82 h 161"/>
                <a:gd name="T12" fmla="*/ 34 w 116"/>
                <a:gd name="T13" fmla="*/ 120 h 161"/>
                <a:gd name="T14" fmla="*/ 56 w 116"/>
                <a:gd name="T15" fmla="*/ 117 h 161"/>
                <a:gd name="T16" fmla="*/ 59 w 116"/>
                <a:gd name="T17" fmla="*/ 137 h 161"/>
                <a:gd name="T18" fmla="*/ 71 w 116"/>
                <a:gd name="T19" fmla="*/ 118 h 161"/>
                <a:gd name="T20" fmla="*/ 78 w 116"/>
                <a:gd name="T21" fmla="*/ 130 h 161"/>
                <a:gd name="T22" fmla="*/ 93 w 116"/>
                <a:gd name="T23" fmla="*/ 131 h 161"/>
                <a:gd name="T24" fmla="*/ 74 w 116"/>
                <a:gd name="T25" fmla="*/ 141 h 161"/>
                <a:gd name="T26" fmla="*/ 65 w 116"/>
                <a:gd name="T27" fmla="*/ 160 h 161"/>
                <a:gd name="T28" fmla="*/ 96 w 116"/>
                <a:gd name="T29" fmla="*/ 146 h 161"/>
                <a:gd name="T30" fmla="*/ 96 w 116"/>
                <a:gd name="T31" fmla="*/ 139 h 161"/>
                <a:gd name="T32" fmla="*/ 112 w 116"/>
                <a:gd name="T33" fmla="*/ 132 h 161"/>
                <a:gd name="T34" fmla="*/ 94 w 116"/>
                <a:gd name="T35" fmla="*/ 115 h 161"/>
                <a:gd name="T36" fmla="*/ 72 w 116"/>
                <a:gd name="T37" fmla="*/ 95 h 161"/>
                <a:gd name="T38" fmla="*/ 77 w 116"/>
                <a:gd name="T39" fmla="*/ 76 h 161"/>
                <a:gd name="T40" fmla="*/ 69 w 116"/>
                <a:gd name="T41" fmla="*/ 72 h 161"/>
                <a:gd name="T42" fmla="*/ 86 w 116"/>
                <a:gd name="T43" fmla="*/ 35 h 161"/>
                <a:gd name="T44" fmla="*/ 77 w 116"/>
                <a:gd name="T45" fmla="*/ 0 h 161"/>
                <a:gd name="T46" fmla="*/ 57 w 116"/>
                <a:gd name="T47" fmla="*/ 10 h 161"/>
                <a:gd name="T48" fmla="*/ 56 w 116"/>
                <a:gd name="T49" fmla="*/ 41 h 161"/>
                <a:gd name="T50" fmla="*/ 38 w 116"/>
                <a:gd name="T51" fmla="*/ 32 h 161"/>
                <a:gd name="T52" fmla="*/ 31 w 116"/>
                <a:gd name="T53" fmla="*/ 9 h 161"/>
                <a:gd name="T54" fmla="*/ 27 w 116"/>
                <a:gd name="T55" fmla="*/ 20 h 161"/>
                <a:gd name="T56" fmla="*/ 30 w 116"/>
                <a:gd name="T57" fmla="*/ 36 h 161"/>
                <a:gd name="T58" fmla="*/ 18 w 116"/>
                <a:gd name="T59" fmla="*/ 43 h 161"/>
                <a:gd name="T60" fmla="*/ 12 w 116"/>
                <a:gd name="T61" fmla="*/ 2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61">
                  <a:moveTo>
                    <a:pt x="12" y="24"/>
                  </a:moveTo>
                  <a:cubicBezTo>
                    <a:pt x="0" y="38"/>
                    <a:pt x="0" y="38"/>
                    <a:pt x="0" y="38"/>
                  </a:cubicBezTo>
                  <a:cubicBezTo>
                    <a:pt x="13" y="70"/>
                    <a:pt x="13" y="70"/>
                    <a:pt x="13" y="70"/>
                  </a:cubicBezTo>
                  <a:cubicBezTo>
                    <a:pt x="29" y="59"/>
                    <a:pt x="29" y="59"/>
                    <a:pt x="29" y="59"/>
                  </a:cubicBezTo>
                  <a:cubicBezTo>
                    <a:pt x="39" y="82"/>
                    <a:pt x="39" y="82"/>
                    <a:pt x="39" y="82"/>
                  </a:cubicBezTo>
                  <a:cubicBezTo>
                    <a:pt x="39" y="82"/>
                    <a:pt x="28" y="74"/>
                    <a:pt x="28" y="82"/>
                  </a:cubicBezTo>
                  <a:cubicBezTo>
                    <a:pt x="28" y="86"/>
                    <a:pt x="26" y="116"/>
                    <a:pt x="34" y="120"/>
                  </a:cubicBezTo>
                  <a:cubicBezTo>
                    <a:pt x="45" y="125"/>
                    <a:pt x="49" y="113"/>
                    <a:pt x="56" y="117"/>
                  </a:cubicBezTo>
                  <a:cubicBezTo>
                    <a:pt x="60" y="121"/>
                    <a:pt x="59" y="137"/>
                    <a:pt x="59" y="137"/>
                  </a:cubicBezTo>
                  <a:cubicBezTo>
                    <a:pt x="71" y="118"/>
                    <a:pt x="71" y="118"/>
                    <a:pt x="71" y="118"/>
                  </a:cubicBezTo>
                  <a:cubicBezTo>
                    <a:pt x="78" y="130"/>
                    <a:pt x="78" y="130"/>
                    <a:pt x="78" y="130"/>
                  </a:cubicBezTo>
                  <a:cubicBezTo>
                    <a:pt x="93" y="131"/>
                    <a:pt x="93" y="131"/>
                    <a:pt x="93" y="131"/>
                  </a:cubicBezTo>
                  <a:cubicBezTo>
                    <a:pt x="93" y="131"/>
                    <a:pt x="81" y="138"/>
                    <a:pt x="74" y="141"/>
                  </a:cubicBezTo>
                  <a:cubicBezTo>
                    <a:pt x="66" y="149"/>
                    <a:pt x="58" y="156"/>
                    <a:pt x="65" y="160"/>
                  </a:cubicBezTo>
                  <a:cubicBezTo>
                    <a:pt x="77" y="161"/>
                    <a:pt x="96" y="146"/>
                    <a:pt x="96" y="146"/>
                  </a:cubicBezTo>
                  <a:cubicBezTo>
                    <a:pt x="96" y="139"/>
                    <a:pt x="96" y="139"/>
                    <a:pt x="96" y="139"/>
                  </a:cubicBezTo>
                  <a:cubicBezTo>
                    <a:pt x="96" y="139"/>
                    <a:pt x="111" y="139"/>
                    <a:pt x="112" y="132"/>
                  </a:cubicBezTo>
                  <a:cubicBezTo>
                    <a:pt x="116" y="120"/>
                    <a:pt x="94" y="115"/>
                    <a:pt x="94" y="115"/>
                  </a:cubicBezTo>
                  <a:cubicBezTo>
                    <a:pt x="72" y="95"/>
                    <a:pt x="72" y="95"/>
                    <a:pt x="72" y="95"/>
                  </a:cubicBezTo>
                  <a:cubicBezTo>
                    <a:pt x="77" y="76"/>
                    <a:pt x="77" y="76"/>
                    <a:pt x="77" y="76"/>
                  </a:cubicBezTo>
                  <a:cubicBezTo>
                    <a:pt x="69" y="72"/>
                    <a:pt x="69" y="72"/>
                    <a:pt x="69" y="72"/>
                  </a:cubicBezTo>
                  <a:cubicBezTo>
                    <a:pt x="69" y="72"/>
                    <a:pt x="85" y="58"/>
                    <a:pt x="86" y="35"/>
                  </a:cubicBezTo>
                  <a:cubicBezTo>
                    <a:pt x="87" y="12"/>
                    <a:pt x="77" y="0"/>
                    <a:pt x="77" y="0"/>
                  </a:cubicBezTo>
                  <a:cubicBezTo>
                    <a:pt x="57" y="10"/>
                    <a:pt x="57" y="10"/>
                    <a:pt x="57" y="10"/>
                  </a:cubicBezTo>
                  <a:cubicBezTo>
                    <a:pt x="56" y="41"/>
                    <a:pt x="56" y="41"/>
                    <a:pt x="56" y="41"/>
                  </a:cubicBezTo>
                  <a:cubicBezTo>
                    <a:pt x="38" y="32"/>
                    <a:pt x="38" y="32"/>
                    <a:pt x="38" y="32"/>
                  </a:cubicBezTo>
                  <a:cubicBezTo>
                    <a:pt x="31" y="9"/>
                    <a:pt x="31" y="9"/>
                    <a:pt x="31" y="9"/>
                  </a:cubicBezTo>
                  <a:cubicBezTo>
                    <a:pt x="31" y="9"/>
                    <a:pt x="24" y="9"/>
                    <a:pt x="27" y="20"/>
                  </a:cubicBezTo>
                  <a:cubicBezTo>
                    <a:pt x="26" y="32"/>
                    <a:pt x="30" y="36"/>
                    <a:pt x="30" y="36"/>
                  </a:cubicBezTo>
                  <a:cubicBezTo>
                    <a:pt x="18" y="43"/>
                    <a:pt x="18" y="43"/>
                    <a:pt x="18" y="43"/>
                  </a:cubicBezTo>
                  <a:lnTo>
                    <a:pt x="12"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3" name="Freeform 266">
              <a:extLst>
                <a:ext uri="{FF2B5EF4-FFF2-40B4-BE49-F238E27FC236}">
                  <a16:creationId xmlns:a16="http://schemas.microsoft.com/office/drawing/2014/main" id="{34957C9E-EBCF-987F-FC71-2434F0EB5B0F}"/>
                </a:ext>
              </a:extLst>
            </p:cNvPr>
            <p:cNvSpPr>
              <a:spLocks/>
            </p:cNvSpPr>
            <p:nvPr/>
          </p:nvSpPr>
          <p:spPr bwMode="gray">
            <a:xfrm>
              <a:off x="8745603" y="2371876"/>
              <a:ext cx="19778" cy="14383"/>
            </a:xfrm>
            <a:custGeom>
              <a:avLst/>
              <a:gdLst>
                <a:gd name="T0" fmla="*/ 0 w 11"/>
                <a:gd name="T1" fmla="*/ 5 h 8"/>
                <a:gd name="T2" fmla="*/ 5 w 11"/>
                <a:gd name="T3" fmla="*/ 8 h 8"/>
                <a:gd name="T4" fmla="*/ 11 w 11"/>
                <a:gd name="T5" fmla="*/ 3 h 8"/>
                <a:gd name="T6" fmla="*/ 9 w 11"/>
                <a:gd name="T7" fmla="*/ 0 h 8"/>
                <a:gd name="T8" fmla="*/ 0 w 11"/>
                <a:gd name="T9" fmla="*/ 5 h 8"/>
              </a:gdLst>
              <a:ahLst/>
              <a:cxnLst>
                <a:cxn ang="0">
                  <a:pos x="T0" y="T1"/>
                </a:cxn>
                <a:cxn ang="0">
                  <a:pos x="T2" y="T3"/>
                </a:cxn>
                <a:cxn ang="0">
                  <a:pos x="T4" y="T5"/>
                </a:cxn>
                <a:cxn ang="0">
                  <a:pos x="T6" y="T7"/>
                </a:cxn>
                <a:cxn ang="0">
                  <a:pos x="T8" y="T9"/>
                </a:cxn>
              </a:cxnLst>
              <a:rect l="0" t="0" r="r" b="b"/>
              <a:pathLst>
                <a:path w="11" h="8">
                  <a:moveTo>
                    <a:pt x="0" y="5"/>
                  </a:moveTo>
                  <a:lnTo>
                    <a:pt x="5" y="8"/>
                  </a:lnTo>
                  <a:lnTo>
                    <a:pt x="11" y="3"/>
                  </a:lnTo>
                  <a:lnTo>
                    <a:pt x="9"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4" name="Freeform 267">
              <a:extLst>
                <a:ext uri="{FF2B5EF4-FFF2-40B4-BE49-F238E27FC236}">
                  <a16:creationId xmlns:a16="http://schemas.microsoft.com/office/drawing/2014/main" id="{9D9CD290-3BF2-6718-7CCF-77621471523A}"/>
                </a:ext>
              </a:extLst>
            </p:cNvPr>
            <p:cNvSpPr>
              <a:spLocks/>
            </p:cNvSpPr>
            <p:nvPr/>
          </p:nvSpPr>
          <p:spPr bwMode="gray">
            <a:xfrm>
              <a:off x="8351846" y="2760239"/>
              <a:ext cx="12586" cy="10788"/>
            </a:xfrm>
            <a:custGeom>
              <a:avLst/>
              <a:gdLst>
                <a:gd name="T0" fmla="*/ 0 w 7"/>
                <a:gd name="T1" fmla="*/ 0 h 6"/>
                <a:gd name="T2" fmla="*/ 7 w 7"/>
                <a:gd name="T3" fmla="*/ 6 h 6"/>
                <a:gd name="T4" fmla="*/ 7 w 7"/>
                <a:gd name="T5" fmla="*/ 4 h 6"/>
                <a:gd name="T6" fmla="*/ 2 w 7"/>
                <a:gd name="T7" fmla="*/ 0 h 6"/>
                <a:gd name="T8" fmla="*/ 0 w 7"/>
                <a:gd name="T9" fmla="*/ 0 h 6"/>
              </a:gdLst>
              <a:ahLst/>
              <a:cxnLst>
                <a:cxn ang="0">
                  <a:pos x="T0" y="T1"/>
                </a:cxn>
                <a:cxn ang="0">
                  <a:pos x="T2" y="T3"/>
                </a:cxn>
                <a:cxn ang="0">
                  <a:pos x="T4" y="T5"/>
                </a:cxn>
                <a:cxn ang="0">
                  <a:pos x="T6" y="T7"/>
                </a:cxn>
                <a:cxn ang="0">
                  <a:pos x="T8" y="T9"/>
                </a:cxn>
              </a:cxnLst>
              <a:rect l="0" t="0" r="r" b="b"/>
              <a:pathLst>
                <a:path w="7" h="6">
                  <a:moveTo>
                    <a:pt x="0" y="0"/>
                  </a:moveTo>
                  <a:lnTo>
                    <a:pt x="7" y="6"/>
                  </a:lnTo>
                  <a:lnTo>
                    <a:pt x="7" y="4"/>
                  </a:lnTo>
                  <a:lnTo>
                    <a:pt x="2"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5" name="Freeform 268">
              <a:extLst>
                <a:ext uri="{FF2B5EF4-FFF2-40B4-BE49-F238E27FC236}">
                  <a16:creationId xmlns:a16="http://schemas.microsoft.com/office/drawing/2014/main" id="{9340997A-D587-B3A5-491D-F7A21EBB7F4B}"/>
                </a:ext>
              </a:extLst>
            </p:cNvPr>
            <p:cNvSpPr>
              <a:spLocks/>
            </p:cNvSpPr>
            <p:nvPr/>
          </p:nvSpPr>
          <p:spPr bwMode="gray">
            <a:xfrm>
              <a:off x="8243967" y="2521107"/>
              <a:ext cx="433313" cy="480060"/>
            </a:xfrm>
            <a:custGeom>
              <a:avLst/>
              <a:gdLst>
                <a:gd name="T0" fmla="*/ 567 w 729"/>
                <a:gd name="T1" fmla="*/ 718 h 805"/>
                <a:gd name="T2" fmla="*/ 625 w 729"/>
                <a:gd name="T3" fmla="*/ 687 h 805"/>
                <a:gd name="T4" fmla="*/ 684 w 729"/>
                <a:gd name="T5" fmla="*/ 533 h 805"/>
                <a:gd name="T6" fmla="*/ 706 w 729"/>
                <a:gd name="T7" fmla="*/ 465 h 805"/>
                <a:gd name="T8" fmla="*/ 729 w 729"/>
                <a:gd name="T9" fmla="*/ 367 h 805"/>
                <a:gd name="T10" fmla="*/ 667 w 729"/>
                <a:gd name="T11" fmla="*/ 337 h 805"/>
                <a:gd name="T12" fmla="*/ 642 w 729"/>
                <a:gd name="T13" fmla="*/ 236 h 805"/>
                <a:gd name="T14" fmla="*/ 543 w 729"/>
                <a:gd name="T15" fmla="*/ 262 h 805"/>
                <a:gd name="T16" fmla="*/ 521 w 729"/>
                <a:gd name="T17" fmla="*/ 181 h 805"/>
                <a:gd name="T18" fmla="*/ 574 w 729"/>
                <a:gd name="T19" fmla="*/ 164 h 805"/>
                <a:gd name="T20" fmla="*/ 590 w 729"/>
                <a:gd name="T21" fmla="*/ 142 h 805"/>
                <a:gd name="T22" fmla="*/ 633 w 729"/>
                <a:gd name="T23" fmla="*/ 106 h 805"/>
                <a:gd name="T24" fmla="*/ 710 w 729"/>
                <a:gd name="T25" fmla="*/ 56 h 805"/>
                <a:gd name="T26" fmla="*/ 673 w 729"/>
                <a:gd name="T27" fmla="*/ 31 h 805"/>
                <a:gd name="T28" fmla="*/ 639 w 729"/>
                <a:gd name="T29" fmla="*/ 45 h 805"/>
                <a:gd name="T30" fmla="*/ 615 w 729"/>
                <a:gd name="T31" fmla="*/ 74 h 805"/>
                <a:gd name="T32" fmla="*/ 629 w 729"/>
                <a:gd name="T33" fmla="*/ 21 h 805"/>
                <a:gd name="T34" fmla="*/ 609 w 729"/>
                <a:gd name="T35" fmla="*/ 55 h 805"/>
                <a:gd name="T36" fmla="*/ 594 w 729"/>
                <a:gd name="T37" fmla="*/ 43 h 805"/>
                <a:gd name="T38" fmla="*/ 557 w 729"/>
                <a:gd name="T39" fmla="*/ 29 h 805"/>
                <a:gd name="T40" fmla="*/ 503 w 729"/>
                <a:gd name="T41" fmla="*/ 65 h 805"/>
                <a:gd name="T42" fmla="*/ 450 w 729"/>
                <a:gd name="T43" fmla="*/ 97 h 805"/>
                <a:gd name="T44" fmla="*/ 477 w 729"/>
                <a:gd name="T45" fmla="*/ 152 h 805"/>
                <a:gd name="T46" fmla="*/ 461 w 729"/>
                <a:gd name="T47" fmla="*/ 174 h 805"/>
                <a:gd name="T48" fmla="*/ 422 w 729"/>
                <a:gd name="T49" fmla="*/ 214 h 805"/>
                <a:gd name="T50" fmla="*/ 348 w 729"/>
                <a:gd name="T51" fmla="*/ 180 h 805"/>
                <a:gd name="T52" fmla="*/ 268 w 729"/>
                <a:gd name="T53" fmla="*/ 146 h 805"/>
                <a:gd name="T54" fmla="*/ 242 w 729"/>
                <a:gd name="T55" fmla="*/ 144 h 805"/>
                <a:gd name="T56" fmla="*/ 244 w 729"/>
                <a:gd name="T57" fmla="*/ 183 h 805"/>
                <a:gd name="T58" fmla="*/ 246 w 729"/>
                <a:gd name="T59" fmla="*/ 206 h 805"/>
                <a:gd name="T60" fmla="*/ 274 w 729"/>
                <a:gd name="T61" fmla="*/ 245 h 805"/>
                <a:gd name="T62" fmla="*/ 234 w 729"/>
                <a:gd name="T63" fmla="*/ 312 h 805"/>
                <a:gd name="T64" fmla="*/ 178 w 729"/>
                <a:gd name="T65" fmla="*/ 317 h 805"/>
                <a:gd name="T66" fmla="*/ 206 w 729"/>
                <a:gd name="T67" fmla="*/ 349 h 805"/>
                <a:gd name="T68" fmla="*/ 224 w 729"/>
                <a:gd name="T69" fmla="*/ 365 h 805"/>
                <a:gd name="T70" fmla="*/ 219 w 729"/>
                <a:gd name="T71" fmla="*/ 392 h 805"/>
                <a:gd name="T72" fmla="*/ 277 w 729"/>
                <a:gd name="T73" fmla="*/ 441 h 805"/>
                <a:gd name="T74" fmla="*/ 234 w 729"/>
                <a:gd name="T75" fmla="*/ 477 h 805"/>
                <a:gd name="T76" fmla="*/ 172 w 729"/>
                <a:gd name="T77" fmla="*/ 512 h 805"/>
                <a:gd name="T78" fmla="*/ 216 w 729"/>
                <a:gd name="T79" fmla="*/ 541 h 805"/>
                <a:gd name="T80" fmla="*/ 283 w 729"/>
                <a:gd name="T81" fmla="*/ 548 h 805"/>
                <a:gd name="T82" fmla="*/ 197 w 729"/>
                <a:gd name="T83" fmla="*/ 552 h 805"/>
                <a:gd name="T84" fmla="*/ 112 w 729"/>
                <a:gd name="T85" fmla="*/ 593 h 805"/>
                <a:gd name="T86" fmla="*/ 75 w 729"/>
                <a:gd name="T87" fmla="*/ 588 h 805"/>
                <a:gd name="T88" fmla="*/ 15 w 729"/>
                <a:gd name="T89" fmla="*/ 604 h 805"/>
                <a:gd name="T90" fmla="*/ 31 w 729"/>
                <a:gd name="T91" fmla="*/ 655 h 805"/>
                <a:gd name="T92" fmla="*/ 33 w 729"/>
                <a:gd name="T93" fmla="*/ 701 h 805"/>
                <a:gd name="T94" fmla="*/ 28 w 729"/>
                <a:gd name="T95" fmla="*/ 719 h 805"/>
                <a:gd name="T96" fmla="*/ 110 w 729"/>
                <a:gd name="T97" fmla="*/ 727 h 805"/>
                <a:gd name="T98" fmla="*/ 94 w 729"/>
                <a:gd name="T99" fmla="*/ 757 h 805"/>
                <a:gd name="T100" fmla="*/ 112 w 729"/>
                <a:gd name="T101" fmla="*/ 777 h 805"/>
                <a:gd name="T102" fmla="*/ 156 w 729"/>
                <a:gd name="T103" fmla="*/ 791 h 805"/>
                <a:gd name="T104" fmla="*/ 223 w 729"/>
                <a:gd name="T105" fmla="*/ 790 h 805"/>
                <a:gd name="T106" fmla="*/ 300 w 729"/>
                <a:gd name="T107" fmla="*/ 751 h 805"/>
                <a:gd name="T108" fmla="*/ 356 w 729"/>
                <a:gd name="T109" fmla="*/ 750 h 805"/>
                <a:gd name="T110" fmla="*/ 435 w 729"/>
                <a:gd name="T111" fmla="*/ 731 h 805"/>
                <a:gd name="T112" fmla="*/ 498 w 729"/>
                <a:gd name="T113" fmla="*/ 753 h 805"/>
                <a:gd name="T114" fmla="*/ 546 w 729"/>
                <a:gd name="T115" fmla="*/ 759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9" h="805">
                  <a:moveTo>
                    <a:pt x="546" y="759"/>
                  </a:moveTo>
                  <a:cubicBezTo>
                    <a:pt x="561" y="760"/>
                    <a:pt x="588" y="758"/>
                    <a:pt x="588" y="758"/>
                  </a:cubicBezTo>
                  <a:cubicBezTo>
                    <a:pt x="585" y="738"/>
                    <a:pt x="585" y="738"/>
                    <a:pt x="585" y="738"/>
                  </a:cubicBezTo>
                  <a:cubicBezTo>
                    <a:pt x="567" y="718"/>
                    <a:pt x="567" y="718"/>
                    <a:pt x="567" y="718"/>
                  </a:cubicBezTo>
                  <a:cubicBezTo>
                    <a:pt x="571" y="715"/>
                    <a:pt x="571" y="715"/>
                    <a:pt x="571" y="715"/>
                  </a:cubicBezTo>
                  <a:cubicBezTo>
                    <a:pt x="589" y="723"/>
                    <a:pt x="589" y="723"/>
                    <a:pt x="589" y="723"/>
                  </a:cubicBezTo>
                  <a:cubicBezTo>
                    <a:pt x="590" y="716"/>
                    <a:pt x="590" y="716"/>
                    <a:pt x="590" y="716"/>
                  </a:cubicBezTo>
                  <a:cubicBezTo>
                    <a:pt x="625" y="687"/>
                    <a:pt x="625" y="687"/>
                    <a:pt x="625" y="687"/>
                  </a:cubicBezTo>
                  <a:cubicBezTo>
                    <a:pt x="625" y="668"/>
                    <a:pt x="625" y="668"/>
                    <a:pt x="625" y="668"/>
                  </a:cubicBezTo>
                  <a:cubicBezTo>
                    <a:pt x="625" y="668"/>
                    <a:pt x="638" y="634"/>
                    <a:pt x="646" y="630"/>
                  </a:cubicBezTo>
                  <a:cubicBezTo>
                    <a:pt x="657" y="627"/>
                    <a:pt x="677" y="609"/>
                    <a:pt x="682" y="575"/>
                  </a:cubicBezTo>
                  <a:cubicBezTo>
                    <a:pt x="684" y="533"/>
                    <a:pt x="684" y="533"/>
                    <a:pt x="684" y="533"/>
                  </a:cubicBezTo>
                  <a:cubicBezTo>
                    <a:pt x="684" y="533"/>
                    <a:pt x="659" y="516"/>
                    <a:pt x="666" y="509"/>
                  </a:cubicBezTo>
                  <a:cubicBezTo>
                    <a:pt x="678" y="502"/>
                    <a:pt x="689" y="506"/>
                    <a:pt x="689" y="506"/>
                  </a:cubicBezTo>
                  <a:cubicBezTo>
                    <a:pt x="689" y="506"/>
                    <a:pt x="690" y="491"/>
                    <a:pt x="694" y="483"/>
                  </a:cubicBezTo>
                  <a:cubicBezTo>
                    <a:pt x="698" y="480"/>
                    <a:pt x="709" y="473"/>
                    <a:pt x="706" y="465"/>
                  </a:cubicBezTo>
                  <a:cubicBezTo>
                    <a:pt x="699" y="457"/>
                    <a:pt x="693" y="426"/>
                    <a:pt x="693" y="426"/>
                  </a:cubicBezTo>
                  <a:cubicBezTo>
                    <a:pt x="693" y="426"/>
                    <a:pt x="700" y="419"/>
                    <a:pt x="701" y="403"/>
                  </a:cubicBezTo>
                  <a:cubicBezTo>
                    <a:pt x="702" y="384"/>
                    <a:pt x="680" y="372"/>
                    <a:pt x="692" y="365"/>
                  </a:cubicBezTo>
                  <a:cubicBezTo>
                    <a:pt x="703" y="354"/>
                    <a:pt x="725" y="370"/>
                    <a:pt x="729" y="367"/>
                  </a:cubicBezTo>
                  <a:cubicBezTo>
                    <a:pt x="729" y="363"/>
                    <a:pt x="719" y="343"/>
                    <a:pt x="719" y="343"/>
                  </a:cubicBezTo>
                  <a:cubicBezTo>
                    <a:pt x="712" y="327"/>
                    <a:pt x="712" y="327"/>
                    <a:pt x="712" y="327"/>
                  </a:cubicBezTo>
                  <a:cubicBezTo>
                    <a:pt x="704" y="342"/>
                    <a:pt x="704" y="342"/>
                    <a:pt x="704" y="342"/>
                  </a:cubicBezTo>
                  <a:cubicBezTo>
                    <a:pt x="704" y="342"/>
                    <a:pt x="689" y="338"/>
                    <a:pt x="667" y="337"/>
                  </a:cubicBezTo>
                  <a:cubicBezTo>
                    <a:pt x="648" y="336"/>
                    <a:pt x="676" y="303"/>
                    <a:pt x="676" y="303"/>
                  </a:cubicBezTo>
                  <a:cubicBezTo>
                    <a:pt x="657" y="298"/>
                    <a:pt x="657" y="298"/>
                    <a:pt x="657" y="298"/>
                  </a:cubicBezTo>
                  <a:cubicBezTo>
                    <a:pt x="659" y="271"/>
                    <a:pt x="659" y="271"/>
                    <a:pt x="659" y="271"/>
                  </a:cubicBezTo>
                  <a:cubicBezTo>
                    <a:pt x="659" y="271"/>
                    <a:pt x="656" y="241"/>
                    <a:pt x="642" y="236"/>
                  </a:cubicBezTo>
                  <a:cubicBezTo>
                    <a:pt x="623" y="231"/>
                    <a:pt x="611" y="258"/>
                    <a:pt x="611" y="258"/>
                  </a:cubicBezTo>
                  <a:cubicBezTo>
                    <a:pt x="614" y="273"/>
                    <a:pt x="614" y="273"/>
                    <a:pt x="614" y="273"/>
                  </a:cubicBezTo>
                  <a:cubicBezTo>
                    <a:pt x="614" y="273"/>
                    <a:pt x="602" y="292"/>
                    <a:pt x="576" y="287"/>
                  </a:cubicBezTo>
                  <a:cubicBezTo>
                    <a:pt x="549" y="285"/>
                    <a:pt x="543" y="262"/>
                    <a:pt x="543" y="262"/>
                  </a:cubicBezTo>
                  <a:cubicBezTo>
                    <a:pt x="521" y="257"/>
                    <a:pt x="521" y="257"/>
                    <a:pt x="521" y="257"/>
                  </a:cubicBezTo>
                  <a:cubicBezTo>
                    <a:pt x="526" y="234"/>
                    <a:pt x="526" y="234"/>
                    <a:pt x="526" y="234"/>
                  </a:cubicBezTo>
                  <a:cubicBezTo>
                    <a:pt x="526" y="234"/>
                    <a:pt x="501" y="195"/>
                    <a:pt x="502" y="184"/>
                  </a:cubicBezTo>
                  <a:cubicBezTo>
                    <a:pt x="502" y="172"/>
                    <a:pt x="521" y="181"/>
                    <a:pt x="521" y="181"/>
                  </a:cubicBezTo>
                  <a:cubicBezTo>
                    <a:pt x="529" y="166"/>
                    <a:pt x="529" y="166"/>
                    <a:pt x="529" y="166"/>
                  </a:cubicBezTo>
                  <a:cubicBezTo>
                    <a:pt x="547" y="174"/>
                    <a:pt x="547" y="174"/>
                    <a:pt x="547" y="174"/>
                  </a:cubicBezTo>
                  <a:cubicBezTo>
                    <a:pt x="562" y="167"/>
                    <a:pt x="562" y="167"/>
                    <a:pt x="562" y="167"/>
                  </a:cubicBezTo>
                  <a:cubicBezTo>
                    <a:pt x="574" y="164"/>
                    <a:pt x="574" y="164"/>
                    <a:pt x="574" y="164"/>
                  </a:cubicBezTo>
                  <a:cubicBezTo>
                    <a:pt x="574" y="164"/>
                    <a:pt x="544" y="155"/>
                    <a:pt x="545" y="147"/>
                  </a:cubicBezTo>
                  <a:cubicBezTo>
                    <a:pt x="545" y="136"/>
                    <a:pt x="560" y="133"/>
                    <a:pt x="564" y="133"/>
                  </a:cubicBezTo>
                  <a:cubicBezTo>
                    <a:pt x="571" y="133"/>
                    <a:pt x="574" y="149"/>
                    <a:pt x="574" y="149"/>
                  </a:cubicBezTo>
                  <a:cubicBezTo>
                    <a:pt x="574" y="149"/>
                    <a:pt x="582" y="142"/>
                    <a:pt x="590" y="142"/>
                  </a:cubicBezTo>
                  <a:cubicBezTo>
                    <a:pt x="601" y="142"/>
                    <a:pt x="597" y="150"/>
                    <a:pt x="597" y="150"/>
                  </a:cubicBezTo>
                  <a:cubicBezTo>
                    <a:pt x="620" y="124"/>
                    <a:pt x="620" y="124"/>
                    <a:pt x="620" y="124"/>
                  </a:cubicBezTo>
                  <a:cubicBezTo>
                    <a:pt x="625" y="105"/>
                    <a:pt x="625" y="105"/>
                    <a:pt x="625" y="105"/>
                  </a:cubicBezTo>
                  <a:cubicBezTo>
                    <a:pt x="633" y="106"/>
                    <a:pt x="633" y="106"/>
                    <a:pt x="633" y="106"/>
                  </a:cubicBezTo>
                  <a:cubicBezTo>
                    <a:pt x="645" y="79"/>
                    <a:pt x="645" y="79"/>
                    <a:pt x="645" y="79"/>
                  </a:cubicBezTo>
                  <a:cubicBezTo>
                    <a:pt x="663" y="84"/>
                    <a:pt x="663" y="84"/>
                    <a:pt x="663" y="84"/>
                  </a:cubicBezTo>
                  <a:cubicBezTo>
                    <a:pt x="679" y="70"/>
                    <a:pt x="679" y="70"/>
                    <a:pt x="679" y="70"/>
                  </a:cubicBezTo>
                  <a:cubicBezTo>
                    <a:pt x="679" y="70"/>
                    <a:pt x="709" y="63"/>
                    <a:pt x="710" y="56"/>
                  </a:cubicBezTo>
                  <a:cubicBezTo>
                    <a:pt x="714" y="48"/>
                    <a:pt x="692" y="32"/>
                    <a:pt x="692" y="32"/>
                  </a:cubicBezTo>
                  <a:cubicBezTo>
                    <a:pt x="693" y="21"/>
                    <a:pt x="693" y="21"/>
                    <a:pt x="693" y="21"/>
                  </a:cubicBezTo>
                  <a:cubicBezTo>
                    <a:pt x="693" y="21"/>
                    <a:pt x="671" y="0"/>
                    <a:pt x="667" y="4"/>
                  </a:cubicBezTo>
                  <a:cubicBezTo>
                    <a:pt x="663" y="8"/>
                    <a:pt x="677" y="31"/>
                    <a:pt x="673" y="31"/>
                  </a:cubicBezTo>
                  <a:cubicBezTo>
                    <a:pt x="673" y="35"/>
                    <a:pt x="666" y="23"/>
                    <a:pt x="666" y="23"/>
                  </a:cubicBezTo>
                  <a:cubicBezTo>
                    <a:pt x="644" y="18"/>
                    <a:pt x="644" y="18"/>
                    <a:pt x="644" y="18"/>
                  </a:cubicBezTo>
                  <a:cubicBezTo>
                    <a:pt x="636" y="37"/>
                    <a:pt x="636" y="37"/>
                    <a:pt x="636" y="37"/>
                  </a:cubicBezTo>
                  <a:cubicBezTo>
                    <a:pt x="639" y="45"/>
                    <a:pt x="639" y="45"/>
                    <a:pt x="639" y="45"/>
                  </a:cubicBezTo>
                  <a:cubicBezTo>
                    <a:pt x="638" y="75"/>
                    <a:pt x="638" y="75"/>
                    <a:pt x="638" y="75"/>
                  </a:cubicBezTo>
                  <a:cubicBezTo>
                    <a:pt x="607" y="89"/>
                    <a:pt x="607" y="89"/>
                    <a:pt x="607" y="89"/>
                  </a:cubicBezTo>
                  <a:cubicBezTo>
                    <a:pt x="603" y="89"/>
                    <a:pt x="603" y="89"/>
                    <a:pt x="603" y="89"/>
                  </a:cubicBezTo>
                  <a:cubicBezTo>
                    <a:pt x="615" y="74"/>
                    <a:pt x="615" y="74"/>
                    <a:pt x="615" y="74"/>
                  </a:cubicBezTo>
                  <a:cubicBezTo>
                    <a:pt x="612" y="70"/>
                    <a:pt x="612" y="70"/>
                    <a:pt x="612" y="70"/>
                  </a:cubicBezTo>
                  <a:cubicBezTo>
                    <a:pt x="612" y="70"/>
                    <a:pt x="627" y="71"/>
                    <a:pt x="631" y="60"/>
                  </a:cubicBezTo>
                  <a:cubicBezTo>
                    <a:pt x="631" y="52"/>
                    <a:pt x="624" y="40"/>
                    <a:pt x="624" y="36"/>
                  </a:cubicBezTo>
                  <a:cubicBezTo>
                    <a:pt x="625" y="29"/>
                    <a:pt x="629" y="21"/>
                    <a:pt x="629" y="21"/>
                  </a:cubicBezTo>
                  <a:cubicBezTo>
                    <a:pt x="610" y="20"/>
                    <a:pt x="610" y="20"/>
                    <a:pt x="610" y="20"/>
                  </a:cubicBezTo>
                  <a:cubicBezTo>
                    <a:pt x="610" y="32"/>
                    <a:pt x="610" y="32"/>
                    <a:pt x="610" y="32"/>
                  </a:cubicBezTo>
                  <a:cubicBezTo>
                    <a:pt x="610" y="32"/>
                    <a:pt x="621" y="36"/>
                    <a:pt x="617" y="44"/>
                  </a:cubicBezTo>
                  <a:cubicBezTo>
                    <a:pt x="616" y="51"/>
                    <a:pt x="609" y="55"/>
                    <a:pt x="609" y="55"/>
                  </a:cubicBezTo>
                  <a:cubicBezTo>
                    <a:pt x="609" y="55"/>
                    <a:pt x="609" y="43"/>
                    <a:pt x="606" y="39"/>
                  </a:cubicBezTo>
                  <a:cubicBezTo>
                    <a:pt x="602" y="35"/>
                    <a:pt x="603" y="20"/>
                    <a:pt x="603" y="20"/>
                  </a:cubicBezTo>
                  <a:cubicBezTo>
                    <a:pt x="595" y="20"/>
                    <a:pt x="595" y="20"/>
                    <a:pt x="595" y="20"/>
                  </a:cubicBezTo>
                  <a:cubicBezTo>
                    <a:pt x="595" y="20"/>
                    <a:pt x="598" y="43"/>
                    <a:pt x="594" y="43"/>
                  </a:cubicBezTo>
                  <a:cubicBezTo>
                    <a:pt x="590" y="46"/>
                    <a:pt x="587" y="35"/>
                    <a:pt x="587" y="35"/>
                  </a:cubicBezTo>
                  <a:cubicBezTo>
                    <a:pt x="580" y="27"/>
                    <a:pt x="580" y="27"/>
                    <a:pt x="580" y="27"/>
                  </a:cubicBezTo>
                  <a:cubicBezTo>
                    <a:pt x="580" y="19"/>
                    <a:pt x="580" y="19"/>
                    <a:pt x="580" y="19"/>
                  </a:cubicBezTo>
                  <a:cubicBezTo>
                    <a:pt x="557" y="29"/>
                    <a:pt x="557" y="29"/>
                    <a:pt x="557" y="29"/>
                  </a:cubicBezTo>
                  <a:cubicBezTo>
                    <a:pt x="539" y="21"/>
                    <a:pt x="539" y="21"/>
                    <a:pt x="539" y="21"/>
                  </a:cubicBezTo>
                  <a:cubicBezTo>
                    <a:pt x="539" y="21"/>
                    <a:pt x="531" y="40"/>
                    <a:pt x="527" y="43"/>
                  </a:cubicBezTo>
                  <a:cubicBezTo>
                    <a:pt x="519" y="47"/>
                    <a:pt x="512" y="46"/>
                    <a:pt x="512" y="46"/>
                  </a:cubicBezTo>
                  <a:cubicBezTo>
                    <a:pt x="503" y="65"/>
                    <a:pt x="503" y="65"/>
                    <a:pt x="503" y="65"/>
                  </a:cubicBezTo>
                  <a:cubicBezTo>
                    <a:pt x="510" y="81"/>
                    <a:pt x="510" y="81"/>
                    <a:pt x="510" y="81"/>
                  </a:cubicBezTo>
                  <a:cubicBezTo>
                    <a:pt x="484" y="83"/>
                    <a:pt x="484" y="83"/>
                    <a:pt x="484" y="83"/>
                  </a:cubicBezTo>
                  <a:cubicBezTo>
                    <a:pt x="487" y="95"/>
                    <a:pt x="487" y="95"/>
                    <a:pt x="487" y="95"/>
                  </a:cubicBezTo>
                  <a:cubicBezTo>
                    <a:pt x="487" y="95"/>
                    <a:pt x="461" y="86"/>
                    <a:pt x="450" y="97"/>
                  </a:cubicBezTo>
                  <a:cubicBezTo>
                    <a:pt x="438" y="104"/>
                    <a:pt x="437" y="131"/>
                    <a:pt x="459" y="132"/>
                  </a:cubicBezTo>
                  <a:cubicBezTo>
                    <a:pt x="482" y="133"/>
                    <a:pt x="478" y="140"/>
                    <a:pt x="478" y="140"/>
                  </a:cubicBezTo>
                  <a:cubicBezTo>
                    <a:pt x="466" y="147"/>
                    <a:pt x="466" y="147"/>
                    <a:pt x="466" y="147"/>
                  </a:cubicBezTo>
                  <a:cubicBezTo>
                    <a:pt x="477" y="152"/>
                    <a:pt x="477" y="152"/>
                    <a:pt x="477" y="152"/>
                  </a:cubicBezTo>
                  <a:cubicBezTo>
                    <a:pt x="492" y="141"/>
                    <a:pt x="492" y="141"/>
                    <a:pt x="492" y="141"/>
                  </a:cubicBezTo>
                  <a:cubicBezTo>
                    <a:pt x="511" y="146"/>
                    <a:pt x="511" y="146"/>
                    <a:pt x="511" y="146"/>
                  </a:cubicBezTo>
                  <a:cubicBezTo>
                    <a:pt x="484" y="171"/>
                    <a:pt x="484" y="171"/>
                    <a:pt x="484" y="171"/>
                  </a:cubicBezTo>
                  <a:cubicBezTo>
                    <a:pt x="461" y="174"/>
                    <a:pt x="461" y="174"/>
                    <a:pt x="461" y="174"/>
                  </a:cubicBezTo>
                  <a:cubicBezTo>
                    <a:pt x="430" y="188"/>
                    <a:pt x="430" y="188"/>
                    <a:pt x="430" y="188"/>
                  </a:cubicBezTo>
                  <a:cubicBezTo>
                    <a:pt x="430" y="188"/>
                    <a:pt x="437" y="211"/>
                    <a:pt x="433" y="215"/>
                  </a:cubicBezTo>
                  <a:cubicBezTo>
                    <a:pt x="429" y="218"/>
                    <a:pt x="421" y="222"/>
                    <a:pt x="421" y="222"/>
                  </a:cubicBezTo>
                  <a:cubicBezTo>
                    <a:pt x="422" y="214"/>
                    <a:pt x="422" y="214"/>
                    <a:pt x="422" y="214"/>
                  </a:cubicBezTo>
                  <a:cubicBezTo>
                    <a:pt x="422" y="214"/>
                    <a:pt x="389" y="186"/>
                    <a:pt x="382" y="186"/>
                  </a:cubicBezTo>
                  <a:cubicBezTo>
                    <a:pt x="371" y="185"/>
                    <a:pt x="355" y="203"/>
                    <a:pt x="355" y="203"/>
                  </a:cubicBezTo>
                  <a:cubicBezTo>
                    <a:pt x="348" y="195"/>
                    <a:pt x="348" y="195"/>
                    <a:pt x="348" y="195"/>
                  </a:cubicBezTo>
                  <a:cubicBezTo>
                    <a:pt x="348" y="180"/>
                    <a:pt x="348" y="180"/>
                    <a:pt x="348" y="180"/>
                  </a:cubicBezTo>
                  <a:cubicBezTo>
                    <a:pt x="342" y="168"/>
                    <a:pt x="342" y="168"/>
                    <a:pt x="342" y="168"/>
                  </a:cubicBezTo>
                  <a:cubicBezTo>
                    <a:pt x="342" y="168"/>
                    <a:pt x="323" y="164"/>
                    <a:pt x="316" y="163"/>
                  </a:cubicBezTo>
                  <a:cubicBezTo>
                    <a:pt x="305" y="159"/>
                    <a:pt x="287" y="139"/>
                    <a:pt x="279" y="142"/>
                  </a:cubicBezTo>
                  <a:cubicBezTo>
                    <a:pt x="275" y="142"/>
                    <a:pt x="268" y="146"/>
                    <a:pt x="268" y="146"/>
                  </a:cubicBezTo>
                  <a:cubicBezTo>
                    <a:pt x="271" y="157"/>
                    <a:pt x="271" y="157"/>
                    <a:pt x="271" y="157"/>
                  </a:cubicBezTo>
                  <a:cubicBezTo>
                    <a:pt x="256" y="164"/>
                    <a:pt x="256" y="164"/>
                    <a:pt x="256" y="164"/>
                  </a:cubicBezTo>
                  <a:cubicBezTo>
                    <a:pt x="256" y="149"/>
                    <a:pt x="256" y="149"/>
                    <a:pt x="256" y="149"/>
                  </a:cubicBezTo>
                  <a:cubicBezTo>
                    <a:pt x="242" y="144"/>
                    <a:pt x="242" y="144"/>
                    <a:pt x="242" y="144"/>
                  </a:cubicBezTo>
                  <a:cubicBezTo>
                    <a:pt x="221" y="178"/>
                    <a:pt x="221" y="178"/>
                    <a:pt x="221" y="178"/>
                  </a:cubicBezTo>
                  <a:cubicBezTo>
                    <a:pt x="225" y="178"/>
                    <a:pt x="225" y="178"/>
                    <a:pt x="225" y="178"/>
                  </a:cubicBezTo>
                  <a:cubicBezTo>
                    <a:pt x="241" y="160"/>
                    <a:pt x="241" y="160"/>
                    <a:pt x="241" y="160"/>
                  </a:cubicBezTo>
                  <a:cubicBezTo>
                    <a:pt x="244" y="183"/>
                    <a:pt x="244" y="183"/>
                    <a:pt x="244" y="183"/>
                  </a:cubicBezTo>
                  <a:cubicBezTo>
                    <a:pt x="236" y="182"/>
                    <a:pt x="236" y="182"/>
                    <a:pt x="236" y="182"/>
                  </a:cubicBezTo>
                  <a:cubicBezTo>
                    <a:pt x="239" y="190"/>
                    <a:pt x="239" y="190"/>
                    <a:pt x="239" y="190"/>
                  </a:cubicBezTo>
                  <a:cubicBezTo>
                    <a:pt x="255" y="187"/>
                    <a:pt x="255" y="187"/>
                    <a:pt x="255" y="187"/>
                  </a:cubicBezTo>
                  <a:cubicBezTo>
                    <a:pt x="246" y="206"/>
                    <a:pt x="246" y="206"/>
                    <a:pt x="246" y="206"/>
                  </a:cubicBezTo>
                  <a:cubicBezTo>
                    <a:pt x="245" y="229"/>
                    <a:pt x="245" y="229"/>
                    <a:pt x="245" y="229"/>
                  </a:cubicBezTo>
                  <a:cubicBezTo>
                    <a:pt x="238" y="221"/>
                    <a:pt x="238" y="221"/>
                    <a:pt x="238" y="221"/>
                  </a:cubicBezTo>
                  <a:cubicBezTo>
                    <a:pt x="238" y="221"/>
                    <a:pt x="211" y="239"/>
                    <a:pt x="230" y="239"/>
                  </a:cubicBezTo>
                  <a:cubicBezTo>
                    <a:pt x="244" y="244"/>
                    <a:pt x="274" y="245"/>
                    <a:pt x="274" y="245"/>
                  </a:cubicBezTo>
                  <a:cubicBezTo>
                    <a:pt x="262" y="268"/>
                    <a:pt x="262" y="268"/>
                    <a:pt x="262" y="268"/>
                  </a:cubicBezTo>
                  <a:cubicBezTo>
                    <a:pt x="221" y="262"/>
                    <a:pt x="221" y="262"/>
                    <a:pt x="221" y="262"/>
                  </a:cubicBezTo>
                  <a:cubicBezTo>
                    <a:pt x="213" y="288"/>
                    <a:pt x="213" y="288"/>
                    <a:pt x="213" y="288"/>
                  </a:cubicBezTo>
                  <a:cubicBezTo>
                    <a:pt x="234" y="312"/>
                    <a:pt x="234" y="312"/>
                    <a:pt x="234" y="312"/>
                  </a:cubicBezTo>
                  <a:cubicBezTo>
                    <a:pt x="194" y="291"/>
                    <a:pt x="194" y="291"/>
                    <a:pt x="194" y="291"/>
                  </a:cubicBezTo>
                  <a:cubicBezTo>
                    <a:pt x="193" y="303"/>
                    <a:pt x="193" y="303"/>
                    <a:pt x="193" y="303"/>
                  </a:cubicBezTo>
                  <a:cubicBezTo>
                    <a:pt x="171" y="298"/>
                    <a:pt x="171" y="298"/>
                    <a:pt x="171" y="298"/>
                  </a:cubicBezTo>
                  <a:cubicBezTo>
                    <a:pt x="171" y="298"/>
                    <a:pt x="182" y="310"/>
                    <a:pt x="178" y="317"/>
                  </a:cubicBezTo>
                  <a:cubicBezTo>
                    <a:pt x="170" y="328"/>
                    <a:pt x="162" y="324"/>
                    <a:pt x="162" y="324"/>
                  </a:cubicBezTo>
                  <a:cubicBezTo>
                    <a:pt x="184" y="348"/>
                    <a:pt x="184" y="348"/>
                    <a:pt x="184" y="348"/>
                  </a:cubicBezTo>
                  <a:cubicBezTo>
                    <a:pt x="195" y="341"/>
                    <a:pt x="195" y="341"/>
                    <a:pt x="195" y="341"/>
                  </a:cubicBezTo>
                  <a:cubicBezTo>
                    <a:pt x="206" y="349"/>
                    <a:pt x="206" y="349"/>
                    <a:pt x="206" y="349"/>
                  </a:cubicBezTo>
                  <a:cubicBezTo>
                    <a:pt x="183" y="356"/>
                    <a:pt x="183" y="356"/>
                    <a:pt x="183" y="356"/>
                  </a:cubicBezTo>
                  <a:cubicBezTo>
                    <a:pt x="205" y="372"/>
                    <a:pt x="205" y="372"/>
                    <a:pt x="205" y="372"/>
                  </a:cubicBezTo>
                  <a:cubicBezTo>
                    <a:pt x="221" y="358"/>
                    <a:pt x="221" y="358"/>
                    <a:pt x="221" y="358"/>
                  </a:cubicBezTo>
                  <a:cubicBezTo>
                    <a:pt x="224" y="365"/>
                    <a:pt x="224" y="365"/>
                    <a:pt x="224" y="365"/>
                  </a:cubicBezTo>
                  <a:cubicBezTo>
                    <a:pt x="232" y="362"/>
                    <a:pt x="232" y="362"/>
                    <a:pt x="232" y="362"/>
                  </a:cubicBezTo>
                  <a:cubicBezTo>
                    <a:pt x="235" y="377"/>
                    <a:pt x="235" y="377"/>
                    <a:pt x="235" y="377"/>
                  </a:cubicBezTo>
                  <a:cubicBezTo>
                    <a:pt x="220" y="377"/>
                    <a:pt x="220" y="377"/>
                    <a:pt x="220" y="377"/>
                  </a:cubicBezTo>
                  <a:cubicBezTo>
                    <a:pt x="219" y="392"/>
                    <a:pt x="219" y="392"/>
                    <a:pt x="219" y="392"/>
                  </a:cubicBezTo>
                  <a:cubicBezTo>
                    <a:pt x="219" y="392"/>
                    <a:pt x="237" y="404"/>
                    <a:pt x="252" y="405"/>
                  </a:cubicBezTo>
                  <a:cubicBezTo>
                    <a:pt x="271" y="406"/>
                    <a:pt x="304" y="415"/>
                    <a:pt x="304" y="415"/>
                  </a:cubicBezTo>
                  <a:cubicBezTo>
                    <a:pt x="299" y="438"/>
                    <a:pt x="299" y="438"/>
                    <a:pt x="299" y="438"/>
                  </a:cubicBezTo>
                  <a:cubicBezTo>
                    <a:pt x="299" y="438"/>
                    <a:pt x="284" y="441"/>
                    <a:pt x="277" y="441"/>
                  </a:cubicBezTo>
                  <a:cubicBezTo>
                    <a:pt x="269" y="440"/>
                    <a:pt x="255" y="424"/>
                    <a:pt x="255" y="424"/>
                  </a:cubicBezTo>
                  <a:cubicBezTo>
                    <a:pt x="255" y="424"/>
                    <a:pt x="243" y="439"/>
                    <a:pt x="235" y="446"/>
                  </a:cubicBezTo>
                  <a:cubicBezTo>
                    <a:pt x="228" y="450"/>
                    <a:pt x="220" y="461"/>
                    <a:pt x="220" y="461"/>
                  </a:cubicBezTo>
                  <a:cubicBezTo>
                    <a:pt x="234" y="477"/>
                    <a:pt x="234" y="477"/>
                    <a:pt x="234" y="477"/>
                  </a:cubicBezTo>
                  <a:cubicBezTo>
                    <a:pt x="234" y="477"/>
                    <a:pt x="222" y="480"/>
                    <a:pt x="211" y="487"/>
                  </a:cubicBezTo>
                  <a:cubicBezTo>
                    <a:pt x="203" y="494"/>
                    <a:pt x="195" y="506"/>
                    <a:pt x="195" y="506"/>
                  </a:cubicBezTo>
                  <a:cubicBezTo>
                    <a:pt x="180" y="501"/>
                    <a:pt x="180" y="501"/>
                    <a:pt x="180" y="501"/>
                  </a:cubicBezTo>
                  <a:cubicBezTo>
                    <a:pt x="172" y="512"/>
                    <a:pt x="172" y="512"/>
                    <a:pt x="172" y="512"/>
                  </a:cubicBezTo>
                  <a:cubicBezTo>
                    <a:pt x="127" y="529"/>
                    <a:pt x="127" y="529"/>
                    <a:pt x="127" y="529"/>
                  </a:cubicBezTo>
                  <a:cubicBezTo>
                    <a:pt x="171" y="531"/>
                    <a:pt x="171" y="531"/>
                    <a:pt x="171" y="531"/>
                  </a:cubicBezTo>
                  <a:cubicBezTo>
                    <a:pt x="176" y="524"/>
                    <a:pt x="176" y="524"/>
                    <a:pt x="176" y="524"/>
                  </a:cubicBezTo>
                  <a:cubicBezTo>
                    <a:pt x="176" y="524"/>
                    <a:pt x="189" y="547"/>
                    <a:pt x="216" y="541"/>
                  </a:cubicBezTo>
                  <a:cubicBezTo>
                    <a:pt x="239" y="538"/>
                    <a:pt x="254" y="524"/>
                    <a:pt x="254" y="524"/>
                  </a:cubicBezTo>
                  <a:cubicBezTo>
                    <a:pt x="262" y="520"/>
                    <a:pt x="262" y="520"/>
                    <a:pt x="262" y="520"/>
                  </a:cubicBezTo>
                  <a:cubicBezTo>
                    <a:pt x="261" y="543"/>
                    <a:pt x="261" y="543"/>
                    <a:pt x="261" y="543"/>
                  </a:cubicBezTo>
                  <a:cubicBezTo>
                    <a:pt x="283" y="548"/>
                    <a:pt x="283" y="548"/>
                    <a:pt x="283" y="548"/>
                  </a:cubicBezTo>
                  <a:cubicBezTo>
                    <a:pt x="290" y="556"/>
                    <a:pt x="290" y="556"/>
                    <a:pt x="290" y="556"/>
                  </a:cubicBezTo>
                  <a:cubicBezTo>
                    <a:pt x="268" y="551"/>
                    <a:pt x="268" y="551"/>
                    <a:pt x="268" y="551"/>
                  </a:cubicBezTo>
                  <a:cubicBezTo>
                    <a:pt x="238" y="550"/>
                    <a:pt x="238" y="550"/>
                    <a:pt x="238" y="550"/>
                  </a:cubicBezTo>
                  <a:cubicBezTo>
                    <a:pt x="197" y="552"/>
                    <a:pt x="197" y="552"/>
                    <a:pt x="197" y="552"/>
                  </a:cubicBezTo>
                  <a:cubicBezTo>
                    <a:pt x="167" y="539"/>
                    <a:pt x="167" y="539"/>
                    <a:pt x="167" y="539"/>
                  </a:cubicBezTo>
                  <a:cubicBezTo>
                    <a:pt x="140" y="556"/>
                    <a:pt x="140" y="556"/>
                    <a:pt x="140" y="556"/>
                  </a:cubicBezTo>
                  <a:cubicBezTo>
                    <a:pt x="122" y="559"/>
                    <a:pt x="122" y="559"/>
                    <a:pt x="122" y="559"/>
                  </a:cubicBezTo>
                  <a:cubicBezTo>
                    <a:pt x="112" y="593"/>
                    <a:pt x="112" y="593"/>
                    <a:pt x="112" y="593"/>
                  </a:cubicBezTo>
                  <a:cubicBezTo>
                    <a:pt x="123" y="602"/>
                    <a:pt x="123" y="602"/>
                    <a:pt x="123" y="602"/>
                  </a:cubicBezTo>
                  <a:cubicBezTo>
                    <a:pt x="94" y="593"/>
                    <a:pt x="94" y="593"/>
                    <a:pt x="94" y="593"/>
                  </a:cubicBezTo>
                  <a:cubicBezTo>
                    <a:pt x="95" y="577"/>
                    <a:pt x="95" y="577"/>
                    <a:pt x="95" y="577"/>
                  </a:cubicBezTo>
                  <a:cubicBezTo>
                    <a:pt x="75" y="588"/>
                    <a:pt x="75" y="588"/>
                    <a:pt x="75" y="588"/>
                  </a:cubicBezTo>
                  <a:cubicBezTo>
                    <a:pt x="68" y="584"/>
                    <a:pt x="68" y="584"/>
                    <a:pt x="68" y="584"/>
                  </a:cubicBezTo>
                  <a:cubicBezTo>
                    <a:pt x="68" y="576"/>
                    <a:pt x="68" y="576"/>
                    <a:pt x="68" y="576"/>
                  </a:cubicBezTo>
                  <a:cubicBezTo>
                    <a:pt x="68" y="576"/>
                    <a:pt x="53" y="575"/>
                    <a:pt x="34" y="582"/>
                  </a:cubicBezTo>
                  <a:cubicBezTo>
                    <a:pt x="19" y="589"/>
                    <a:pt x="0" y="596"/>
                    <a:pt x="15" y="604"/>
                  </a:cubicBezTo>
                  <a:cubicBezTo>
                    <a:pt x="33" y="609"/>
                    <a:pt x="59" y="618"/>
                    <a:pt x="66" y="618"/>
                  </a:cubicBezTo>
                  <a:cubicBezTo>
                    <a:pt x="74" y="618"/>
                    <a:pt x="108" y="616"/>
                    <a:pt x="104" y="624"/>
                  </a:cubicBezTo>
                  <a:cubicBezTo>
                    <a:pt x="100" y="631"/>
                    <a:pt x="76" y="645"/>
                    <a:pt x="54" y="644"/>
                  </a:cubicBezTo>
                  <a:cubicBezTo>
                    <a:pt x="35" y="643"/>
                    <a:pt x="35" y="651"/>
                    <a:pt x="31" y="655"/>
                  </a:cubicBezTo>
                  <a:cubicBezTo>
                    <a:pt x="23" y="658"/>
                    <a:pt x="5" y="657"/>
                    <a:pt x="5" y="657"/>
                  </a:cubicBezTo>
                  <a:cubicBezTo>
                    <a:pt x="4" y="680"/>
                    <a:pt x="4" y="680"/>
                    <a:pt x="4" y="680"/>
                  </a:cubicBezTo>
                  <a:cubicBezTo>
                    <a:pt x="4" y="680"/>
                    <a:pt x="27" y="670"/>
                    <a:pt x="26" y="677"/>
                  </a:cubicBezTo>
                  <a:cubicBezTo>
                    <a:pt x="26" y="685"/>
                    <a:pt x="33" y="701"/>
                    <a:pt x="33" y="701"/>
                  </a:cubicBezTo>
                  <a:cubicBezTo>
                    <a:pt x="104" y="696"/>
                    <a:pt x="104" y="696"/>
                    <a:pt x="104" y="696"/>
                  </a:cubicBezTo>
                  <a:cubicBezTo>
                    <a:pt x="51" y="709"/>
                    <a:pt x="51" y="709"/>
                    <a:pt x="51" y="709"/>
                  </a:cubicBezTo>
                  <a:cubicBezTo>
                    <a:pt x="47" y="720"/>
                    <a:pt x="47" y="720"/>
                    <a:pt x="47" y="720"/>
                  </a:cubicBezTo>
                  <a:cubicBezTo>
                    <a:pt x="28" y="719"/>
                    <a:pt x="28" y="719"/>
                    <a:pt x="28" y="719"/>
                  </a:cubicBezTo>
                  <a:cubicBezTo>
                    <a:pt x="20" y="734"/>
                    <a:pt x="20" y="734"/>
                    <a:pt x="20" y="734"/>
                  </a:cubicBezTo>
                  <a:cubicBezTo>
                    <a:pt x="73" y="729"/>
                    <a:pt x="73" y="729"/>
                    <a:pt x="73" y="729"/>
                  </a:cubicBezTo>
                  <a:cubicBezTo>
                    <a:pt x="87" y="734"/>
                    <a:pt x="87" y="734"/>
                    <a:pt x="87" y="734"/>
                  </a:cubicBezTo>
                  <a:cubicBezTo>
                    <a:pt x="110" y="727"/>
                    <a:pt x="110" y="727"/>
                    <a:pt x="110" y="727"/>
                  </a:cubicBezTo>
                  <a:cubicBezTo>
                    <a:pt x="117" y="739"/>
                    <a:pt x="117" y="739"/>
                    <a:pt x="117" y="739"/>
                  </a:cubicBezTo>
                  <a:cubicBezTo>
                    <a:pt x="117" y="739"/>
                    <a:pt x="98" y="742"/>
                    <a:pt x="87" y="745"/>
                  </a:cubicBezTo>
                  <a:cubicBezTo>
                    <a:pt x="76" y="745"/>
                    <a:pt x="56" y="759"/>
                    <a:pt x="56" y="759"/>
                  </a:cubicBezTo>
                  <a:cubicBezTo>
                    <a:pt x="94" y="757"/>
                    <a:pt x="94" y="757"/>
                    <a:pt x="94" y="757"/>
                  </a:cubicBezTo>
                  <a:cubicBezTo>
                    <a:pt x="94" y="757"/>
                    <a:pt x="74" y="771"/>
                    <a:pt x="71" y="771"/>
                  </a:cubicBezTo>
                  <a:cubicBezTo>
                    <a:pt x="63" y="771"/>
                    <a:pt x="48" y="774"/>
                    <a:pt x="48" y="774"/>
                  </a:cubicBezTo>
                  <a:cubicBezTo>
                    <a:pt x="55" y="778"/>
                    <a:pt x="55" y="778"/>
                    <a:pt x="55" y="778"/>
                  </a:cubicBezTo>
                  <a:cubicBezTo>
                    <a:pt x="112" y="777"/>
                    <a:pt x="112" y="777"/>
                    <a:pt x="112" y="777"/>
                  </a:cubicBezTo>
                  <a:cubicBezTo>
                    <a:pt x="123" y="781"/>
                    <a:pt x="123" y="781"/>
                    <a:pt x="123" y="781"/>
                  </a:cubicBezTo>
                  <a:cubicBezTo>
                    <a:pt x="114" y="796"/>
                    <a:pt x="114" y="796"/>
                    <a:pt x="114" y="796"/>
                  </a:cubicBezTo>
                  <a:cubicBezTo>
                    <a:pt x="114" y="796"/>
                    <a:pt x="133" y="805"/>
                    <a:pt x="140" y="801"/>
                  </a:cubicBezTo>
                  <a:cubicBezTo>
                    <a:pt x="148" y="794"/>
                    <a:pt x="156" y="791"/>
                    <a:pt x="156" y="791"/>
                  </a:cubicBezTo>
                  <a:cubicBezTo>
                    <a:pt x="178" y="803"/>
                    <a:pt x="178" y="803"/>
                    <a:pt x="178" y="803"/>
                  </a:cubicBezTo>
                  <a:cubicBezTo>
                    <a:pt x="193" y="792"/>
                    <a:pt x="193" y="792"/>
                    <a:pt x="193" y="792"/>
                  </a:cubicBezTo>
                  <a:cubicBezTo>
                    <a:pt x="208" y="801"/>
                    <a:pt x="208" y="801"/>
                    <a:pt x="208" y="801"/>
                  </a:cubicBezTo>
                  <a:cubicBezTo>
                    <a:pt x="223" y="790"/>
                    <a:pt x="223" y="790"/>
                    <a:pt x="223" y="790"/>
                  </a:cubicBezTo>
                  <a:cubicBezTo>
                    <a:pt x="234" y="794"/>
                    <a:pt x="234" y="794"/>
                    <a:pt x="234" y="794"/>
                  </a:cubicBezTo>
                  <a:cubicBezTo>
                    <a:pt x="234" y="794"/>
                    <a:pt x="283" y="797"/>
                    <a:pt x="280" y="777"/>
                  </a:cubicBezTo>
                  <a:cubicBezTo>
                    <a:pt x="281" y="743"/>
                    <a:pt x="281" y="743"/>
                    <a:pt x="281" y="743"/>
                  </a:cubicBezTo>
                  <a:cubicBezTo>
                    <a:pt x="281" y="743"/>
                    <a:pt x="293" y="740"/>
                    <a:pt x="300" y="751"/>
                  </a:cubicBezTo>
                  <a:cubicBezTo>
                    <a:pt x="310" y="767"/>
                    <a:pt x="292" y="763"/>
                    <a:pt x="291" y="770"/>
                  </a:cubicBezTo>
                  <a:cubicBezTo>
                    <a:pt x="291" y="778"/>
                    <a:pt x="298" y="782"/>
                    <a:pt x="314" y="779"/>
                  </a:cubicBezTo>
                  <a:cubicBezTo>
                    <a:pt x="332" y="780"/>
                    <a:pt x="355" y="766"/>
                    <a:pt x="355" y="766"/>
                  </a:cubicBezTo>
                  <a:cubicBezTo>
                    <a:pt x="356" y="750"/>
                    <a:pt x="356" y="750"/>
                    <a:pt x="356" y="750"/>
                  </a:cubicBezTo>
                  <a:cubicBezTo>
                    <a:pt x="356" y="750"/>
                    <a:pt x="377" y="774"/>
                    <a:pt x="389" y="767"/>
                  </a:cubicBezTo>
                  <a:cubicBezTo>
                    <a:pt x="404" y="760"/>
                    <a:pt x="401" y="737"/>
                    <a:pt x="401" y="737"/>
                  </a:cubicBezTo>
                  <a:cubicBezTo>
                    <a:pt x="413" y="742"/>
                    <a:pt x="413" y="742"/>
                    <a:pt x="413" y="742"/>
                  </a:cubicBezTo>
                  <a:cubicBezTo>
                    <a:pt x="435" y="731"/>
                    <a:pt x="435" y="731"/>
                    <a:pt x="435" y="731"/>
                  </a:cubicBezTo>
                  <a:cubicBezTo>
                    <a:pt x="483" y="749"/>
                    <a:pt x="483" y="749"/>
                    <a:pt x="483" y="749"/>
                  </a:cubicBezTo>
                  <a:cubicBezTo>
                    <a:pt x="492" y="722"/>
                    <a:pt x="492" y="722"/>
                    <a:pt x="492" y="722"/>
                  </a:cubicBezTo>
                  <a:cubicBezTo>
                    <a:pt x="503" y="731"/>
                    <a:pt x="503" y="731"/>
                    <a:pt x="503" y="731"/>
                  </a:cubicBezTo>
                  <a:cubicBezTo>
                    <a:pt x="498" y="753"/>
                    <a:pt x="498" y="753"/>
                    <a:pt x="498" y="753"/>
                  </a:cubicBezTo>
                  <a:cubicBezTo>
                    <a:pt x="513" y="750"/>
                    <a:pt x="513" y="750"/>
                    <a:pt x="513" y="750"/>
                  </a:cubicBezTo>
                  <a:cubicBezTo>
                    <a:pt x="522" y="731"/>
                    <a:pt x="522" y="731"/>
                    <a:pt x="522" y="731"/>
                  </a:cubicBezTo>
                  <a:cubicBezTo>
                    <a:pt x="521" y="743"/>
                    <a:pt x="521" y="743"/>
                    <a:pt x="521" y="743"/>
                  </a:cubicBezTo>
                  <a:cubicBezTo>
                    <a:pt x="521" y="743"/>
                    <a:pt x="531" y="759"/>
                    <a:pt x="546" y="75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6" name="Freeform 269">
              <a:extLst>
                <a:ext uri="{FF2B5EF4-FFF2-40B4-BE49-F238E27FC236}">
                  <a16:creationId xmlns:a16="http://schemas.microsoft.com/office/drawing/2014/main" id="{B0D5F4B9-0151-227F-F8CB-1F9BD7802D13}"/>
                </a:ext>
              </a:extLst>
            </p:cNvPr>
            <p:cNvSpPr>
              <a:spLocks/>
            </p:cNvSpPr>
            <p:nvPr/>
          </p:nvSpPr>
          <p:spPr bwMode="gray">
            <a:xfrm>
              <a:off x="8364433" y="2772824"/>
              <a:ext cx="7192" cy="5395"/>
            </a:xfrm>
            <a:custGeom>
              <a:avLst/>
              <a:gdLst>
                <a:gd name="T0" fmla="*/ 4 w 4"/>
                <a:gd name="T1" fmla="*/ 3 h 3"/>
                <a:gd name="T2" fmla="*/ 1 w 4"/>
                <a:gd name="T3" fmla="*/ 0 h 3"/>
                <a:gd name="T4" fmla="*/ 0 w 4"/>
                <a:gd name="T5" fmla="*/ 2 h 3"/>
                <a:gd name="T6" fmla="*/ 4 w 4"/>
                <a:gd name="T7" fmla="*/ 3 h 3"/>
              </a:gdLst>
              <a:ahLst/>
              <a:cxnLst>
                <a:cxn ang="0">
                  <a:pos x="T0" y="T1"/>
                </a:cxn>
                <a:cxn ang="0">
                  <a:pos x="T2" y="T3"/>
                </a:cxn>
                <a:cxn ang="0">
                  <a:pos x="T4" y="T5"/>
                </a:cxn>
                <a:cxn ang="0">
                  <a:pos x="T6" y="T7"/>
                </a:cxn>
              </a:cxnLst>
              <a:rect l="0" t="0" r="r" b="b"/>
              <a:pathLst>
                <a:path w="4" h="3">
                  <a:moveTo>
                    <a:pt x="4" y="3"/>
                  </a:moveTo>
                  <a:lnTo>
                    <a:pt x="1" y="0"/>
                  </a:lnTo>
                  <a:lnTo>
                    <a:pt x="0" y="2"/>
                  </a:lnTo>
                  <a:lnTo>
                    <a:pt x="4"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7" name="Freeform 270">
              <a:extLst>
                <a:ext uri="{FF2B5EF4-FFF2-40B4-BE49-F238E27FC236}">
                  <a16:creationId xmlns:a16="http://schemas.microsoft.com/office/drawing/2014/main" id="{95B609FB-0819-8A7A-98BE-A438BABCA38C}"/>
                </a:ext>
              </a:extLst>
            </p:cNvPr>
            <p:cNvSpPr>
              <a:spLocks/>
            </p:cNvSpPr>
            <p:nvPr/>
          </p:nvSpPr>
          <p:spPr bwMode="gray">
            <a:xfrm>
              <a:off x="8531643" y="2546278"/>
              <a:ext cx="8991" cy="8991"/>
            </a:xfrm>
            <a:custGeom>
              <a:avLst/>
              <a:gdLst>
                <a:gd name="T0" fmla="*/ 0 w 5"/>
                <a:gd name="T1" fmla="*/ 4 h 5"/>
                <a:gd name="T2" fmla="*/ 5 w 5"/>
                <a:gd name="T3" fmla="*/ 5 h 5"/>
                <a:gd name="T4" fmla="*/ 4 w 5"/>
                <a:gd name="T5" fmla="*/ 0 h 5"/>
                <a:gd name="T6" fmla="*/ 0 w 5"/>
                <a:gd name="T7" fmla="*/ 4 h 5"/>
              </a:gdLst>
              <a:ahLst/>
              <a:cxnLst>
                <a:cxn ang="0">
                  <a:pos x="T0" y="T1"/>
                </a:cxn>
                <a:cxn ang="0">
                  <a:pos x="T2" y="T3"/>
                </a:cxn>
                <a:cxn ang="0">
                  <a:pos x="T4" y="T5"/>
                </a:cxn>
                <a:cxn ang="0">
                  <a:pos x="T6" y="T7"/>
                </a:cxn>
              </a:cxnLst>
              <a:rect l="0" t="0" r="r" b="b"/>
              <a:pathLst>
                <a:path w="5" h="5">
                  <a:moveTo>
                    <a:pt x="0" y="4"/>
                  </a:moveTo>
                  <a:lnTo>
                    <a:pt x="5" y="5"/>
                  </a:lnTo>
                  <a:lnTo>
                    <a:pt x="4"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8" name="Freeform 271">
              <a:extLst>
                <a:ext uri="{FF2B5EF4-FFF2-40B4-BE49-F238E27FC236}">
                  <a16:creationId xmlns:a16="http://schemas.microsoft.com/office/drawing/2014/main" id="{6C628867-3842-746B-A264-7BFF22F8E63B}"/>
                </a:ext>
              </a:extLst>
            </p:cNvPr>
            <p:cNvSpPr>
              <a:spLocks/>
            </p:cNvSpPr>
            <p:nvPr/>
          </p:nvSpPr>
          <p:spPr bwMode="gray">
            <a:xfrm>
              <a:off x="8366230" y="2747652"/>
              <a:ext cx="3596" cy="8991"/>
            </a:xfrm>
            <a:custGeom>
              <a:avLst/>
              <a:gdLst>
                <a:gd name="T0" fmla="*/ 2 w 2"/>
                <a:gd name="T1" fmla="*/ 0 h 5"/>
                <a:gd name="T2" fmla="*/ 0 w 2"/>
                <a:gd name="T3" fmla="*/ 0 h 5"/>
                <a:gd name="T4" fmla="*/ 1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1" y="5"/>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9" name="Freeform 272">
              <a:extLst>
                <a:ext uri="{FF2B5EF4-FFF2-40B4-BE49-F238E27FC236}">
                  <a16:creationId xmlns:a16="http://schemas.microsoft.com/office/drawing/2014/main" id="{37A15AA6-706A-31FC-52A3-44D69453B5AD}"/>
                </a:ext>
              </a:extLst>
            </p:cNvPr>
            <p:cNvSpPr>
              <a:spLocks/>
            </p:cNvSpPr>
            <p:nvPr/>
          </p:nvSpPr>
          <p:spPr bwMode="gray">
            <a:xfrm>
              <a:off x="8357241" y="2636178"/>
              <a:ext cx="23374" cy="23374"/>
            </a:xfrm>
            <a:custGeom>
              <a:avLst/>
              <a:gdLst>
                <a:gd name="T0" fmla="*/ 40 w 41"/>
                <a:gd name="T1" fmla="*/ 25 h 39"/>
                <a:gd name="T2" fmla="*/ 41 w 41"/>
                <a:gd name="T3" fmla="*/ 2 h 39"/>
                <a:gd name="T4" fmla="*/ 26 w 41"/>
                <a:gd name="T5" fmla="*/ 9 h 39"/>
                <a:gd name="T6" fmla="*/ 11 w 41"/>
                <a:gd name="T7" fmla="*/ 0 h 39"/>
                <a:gd name="T8" fmla="*/ 0 w 41"/>
                <a:gd name="T9" fmla="*/ 4 h 39"/>
                <a:gd name="T10" fmla="*/ 10 w 41"/>
                <a:gd name="T11" fmla="*/ 16 h 39"/>
                <a:gd name="T12" fmla="*/ 21 w 41"/>
                <a:gd name="T13" fmla="*/ 27 h 39"/>
                <a:gd name="T14" fmla="*/ 28 w 41"/>
                <a:gd name="T15" fmla="*/ 39 h 39"/>
                <a:gd name="T16" fmla="*/ 40 w 41"/>
                <a:gd name="T1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40" y="25"/>
                  </a:moveTo>
                  <a:cubicBezTo>
                    <a:pt x="41" y="2"/>
                    <a:pt x="41" y="2"/>
                    <a:pt x="41" y="2"/>
                  </a:cubicBezTo>
                  <a:cubicBezTo>
                    <a:pt x="26" y="9"/>
                    <a:pt x="26" y="9"/>
                    <a:pt x="26" y="9"/>
                  </a:cubicBezTo>
                  <a:cubicBezTo>
                    <a:pt x="11" y="0"/>
                    <a:pt x="11" y="0"/>
                    <a:pt x="11" y="0"/>
                  </a:cubicBezTo>
                  <a:cubicBezTo>
                    <a:pt x="0" y="4"/>
                    <a:pt x="0" y="4"/>
                    <a:pt x="0" y="4"/>
                  </a:cubicBezTo>
                  <a:cubicBezTo>
                    <a:pt x="0" y="4"/>
                    <a:pt x="7" y="15"/>
                    <a:pt x="10" y="16"/>
                  </a:cubicBezTo>
                  <a:cubicBezTo>
                    <a:pt x="14" y="16"/>
                    <a:pt x="21" y="20"/>
                    <a:pt x="21" y="27"/>
                  </a:cubicBezTo>
                  <a:cubicBezTo>
                    <a:pt x="21" y="35"/>
                    <a:pt x="28" y="39"/>
                    <a:pt x="28" y="39"/>
                  </a:cubicBezTo>
                  <a:lnTo>
                    <a:pt x="40" y="2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0" name="Freeform 273">
              <a:extLst>
                <a:ext uri="{FF2B5EF4-FFF2-40B4-BE49-F238E27FC236}">
                  <a16:creationId xmlns:a16="http://schemas.microsoft.com/office/drawing/2014/main" id="{BA38E8FA-0374-B27F-1142-EF67C73A0C3B}"/>
                </a:ext>
              </a:extLst>
            </p:cNvPr>
            <p:cNvSpPr>
              <a:spLocks/>
            </p:cNvSpPr>
            <p:nvPr/>
          </p:nvSpPr>
          <p:spPr bwMode="gray">
            <a:xfrm>
              <a:off x="8364433" y="2666744"/>
              <a:ext cx="8991" cy="5395"/>
            </a:xfrm>
            <a:custGeom>
              <a:avLst/>
              <a:gdLst>
                <a:gd name="T0" fmla="*/ 5 w 5"/>
                <a:gd name="T1" fmla="*/ 3 h 3"/>
                <a:gd name="T2" fmla="*/ 5 w 5"/>
                <a:gd name="T3" fmla="*/ 0 h 3"/>
                <a:gd name="T4" fmla="*/ 0 w 5"/>
                <a:gd name="T5" fmla="*/ 2 h 3"/>
                <a:gd name="T6" fmla="*/ 5 w 5"/>
                <a:gd name="T7" fmla="*/ 3 h 3"/>
              </a:gdLst>
              <a:ahLst/>
              <a:cxnLst>
                <a:cxn ang="0">
                  <a:pos x="T0" y="T1"/>
                </a:cxn>
                <a:cxn ang="0">
                  <a:pos x="T2" y="T3"/>
                </a:cxn>
                <a:cxn ang="0">
                  <a:pos x="T4" y="T5"/>
                </a:cxn>
                <a:cxn ang="0">
                  <a:pos x="T6" y="T7"/>
                </a:cxn>
              </a:cxnLst>
              <a:rect l="0" t="0" r="r" b="b"/>
              <a:pathLst>
                <a:path w="5" h="3">
                  <a:moveTo>
                    <a:pt x="5" y="3"/>
                  </a:moveTo>
                  <a:lnTo>
                    <a:pt x="5" y="0"/>
                  </a:lnTo>
                  <a:lnTo>
                    <a:pt x="0" y="2"/>
                  </a:lnTo>
                  <a:lnTo>
                    <a:pt x="5"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1" name="Freeform 274">
              <a:extLst>
                <a:ext uri="{FF2B5EF4-FFF2-40B4-BE49-F238E27FC236}">
                  <a16:creationId xmlns:a16="http://schemas.microsoft.com/office/drawing/2014/main" id="{AD2D8D6A-4FE2-54C5-95F2-81FDED023F16}"/>
                </a:ext>
              </a:extLst>
            </p:cNvPr>
            <p:cNvSpPr>
              <a:spLocks/>
            </p:cNvSpPr>
            <p:nvPr/>
          </p:nvSpPr>
          <p:spPr bwMode="gray">
            <a:xfrm>
              <a:off x="8341058" y="2684724"/>
              <a:ext cx="7192" cy="5395"/>
            </a:xfrm>
            <a:custGeom>
              <a:avLst/>
              <a:gdLst>
                <a:gd name="T0" fmla="*/ 0 w 4"/>
                <a:gd name="T1" fmla="*/ 0 h 3"/>
                <a:gd name="T2" fmla="*/ 0 w 4"/>
                <a:gd name="T3" fmla="*/ 3 h 3"/>
                <a:gd name="T4" fmla="*/ 4 w 4"/>
                <a:gd name="T5" fmla="*/ 2 h 3"/>
                <a:gd name="T6" fmla="*/ 0 w 4"/>
                <a:gd name="T7" fmla="*/ 0 h 3"/>
              </a:gdLst>
              <a:ahLst/>
              <a:cxnLst>
                <a:cxn ang="0">
                  <a:pos x="T0" y="T1"/>
                </a:cxn>
                <a:cxn ang="0">
                  <a:pos x="T2" y="T3"/>
                </a:cxn>
                <a:cxn ang="0">
                  <a:pos x="T4" y="T5"/>
                </a:cxn>
                <a:cxn ang="0">
                  <a:pos x="T6" y="T7"/>
                </a:cxn>
              </a:cxnLst>
              <a:rect l="0" t="0" r="r" b="b"/>
              <a:pathLst>
                <a:path w="4" h="3">
                  <a:moveTo>
                    <a:pt x="0" y="0"/>
                  </a:moveTo>
                  <a:lnTo>
                    <a:pt x="0" y="3"/>
                  </a:lnTo>
                  <a:lnTo>
                    <a:pt x="4" y="2"/>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2" name="Freeform 275">
              <a:extLst>
                <a:ext uri="{FF2B5EF4-FFF2-40B4-BE49-F238E27FC236}">
                  <a16:creationId xmlns:a16="http://schemas.microsoft.com/office/drawing/2014/main" id="{095804D7-550E-DD5E-8376-84F1A869D497}"/>
                </a:ext>
              </a:extLst>
            </p:cNvPr>
            <p:cNvSpPr>
              <a:spLocks/>
            </p:cNvSpPr>
            <p:nvPr/>
          </p:nvSpPr>
          <p:spPr bwMode="gray">
            <a:xfrm>
              <a:off x="9721905" y="4477307"/>
              <a:ext cx="111474" cy="228343"/>
            </a:xfrm>
            <a:custGeom>
              <a:avLst/>
              <a:gdLst>
                <a:gd name="T0" fmla="*/ 3 w 187"/>
                <a:gd name="T1" fmla="*/ 199 h 383"/>
                <a:gd name="T2" fmla="*/ 17 w 187"/>
                <a:gd name="T3" fmla="*/ 208 h 383"/>
                <a:gd name="T4" fmla="*/ 16 w 187"/>
                <a:gd name="T5" fmla="*/ 227 h 383"/>
                <a:gd name="T6" fmla="*/ 0 w 187"/>
                <a:gd name="T7" fmla="*/ 253 h 383"/>
                <a:gd name="T8" fmla="*/ 33 w 187"/>
                <a:gd name="T9" fmla="*/ 262 h 383"/>
                <a:gd name="T10" fmla="*/ 10 w 187"/>
                <a:gd name="T11" fmla="*/ 291 h 383"/>
                <a:gd name="T12" fmla="*/ 9 w 187"/>
                <a:gd name="T13" fmla="*/ 299 h 383"/>
                <a:gd name="T14" fmla="*/ 39 w 187"/>
                <a:gd name="T15" fmla="*/ 297 h 383"/>
                <a:gd name="T16" fmla="*/ 53 w 187"/>
                <a:gd name="T17" fmla="*/ 313 h 383"/>
                <a:gd name="T18" fmla="*/ 27 w 187"/>
                <a:gd name="T19" fmla="*/ 323 h 383"/>
                <a:gd name="T20" fmla="*/ 33 w 187"/>
                <a:gd name="T21" fmla="*/ 350 h 383"/>
                <a:gd name="T22" fmla="*/ 77 w 187"/>
                <a:gd name="T23" fmla="*/ 363 h 383"/>
                <a:gd name="T24" fmla="*/ 80 w 187"/>
                <a:gd name="T25" fmla="*/ 383 h 383"/>
                <a:gd name="T26" fmla="*/ 95 w 187"/>
                <a:gd name="T27" fmla="*/ 380 h 383"/>
                <a:gd name="T28" fmla="*/ 128 w 187"/>
                <a:gd name="T29" fmla="*/ 312 h 383"/>
                <a:gd name="T30" fmla="*/ 142 w 187"/>
                <a:gd name="T31" fmla="*/ 252 h 383"/>
                <a:gd name="T32" fmla="*/ 178 w 187"/>
                <a:gd name="T33" fmla="*/ 204 h 383"/>
                <a:gd name="T34" fmla="*/ 172 w 187"/>
                <a:gd name="T35" fmla="*/ 96 h 383"/>
                <a:gd name="T36" fmla="*/ 157 w 187"/>
                <a:gd name="T37" fmla="*/ 92 h 383"/>
                <a:gd name="T38" fmla="*/ 167 w 187"/>
                <a:gd name="T39" fmla="*/ 50 h 383"/>
                <a:gd name="T40" fmla="*/ 165 w 187"/>
                <a:gd name="T41" fmla="*/ 4 h 383"/>
                <a:gd name="T42" fmla="*/ 146 w 187"/>
                <a:gd name="T43" fmla="*/ 0 h 383"/>
                <a:gd name="T44" fmla="*/ 135 w 187"/>
                <a:gd name="T45" fmla="*/ 76 h 383"/>
                <a:gd name="T46" fmla="*/ 102 w 187"/>
                <a:gd name="T47" fmla="*/ 66 h 383"/>
                <a:gd name="T48" fmla="*/ 86 w 187"/>
                <a:gd name="T49" fmla="*/ 85 h 383"/>
                <a:gd name="T50" fmla="*/ 37 w 187"/>
                <a:gd name="T51" fmla="*/ 94 h 383"/>
                <a:gd name="T52" fmla="*/ 21 w 187"/>
                <a:gd name="T53" fmla="*/ 120 h 383"/>
                <a:gd name="T54" fmla="*/ 17 w 187"/>
                <a:gd name="T55" fmla="*/ 135 h 383"/>
                <a:gd name="T56" fmla="*/ 1 w 187"/>
                <a:gd name="T57" fmla="*/ 142 h 383"/>
                <a:gd name="T58" fmla="*/ 1 w 187"/>
                <a:gd name="T59" fmla="*/ 157 h 383"/>
                <a:gd name="T60" fmla="*/ 15 w 187"/>
                <a:gd name="T61" fmla="*/ 165 h 383"/>
                <a:gd name="T62" fmla="*/ 0 w 187"/>
                <a:gd name="T63" fmla="*/ 180 h 383"/>
                <a:gd name="T64" fmla="*/ 3 w 187"/>
                <a:gd name="T65" fmla="*/ 19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7" h="383">
                  <a:moveTo>
                    <a:pt x="3" y="199"/>
                  </a:moveTo>
                  <a:cubicBezTo>
                    <a:pt x="3" y="199"/>
                    <a:pt x="10" y="207"/>
                    <a:pt x="17" y="208"/>
                  </a:cubicBezTo>
                  <a:cubicBezTo>
                    <a:pt x="28" y="212"/>
                    <a:pt x="16" y="227"/>
                    <a:pt x="16" y="227"/>
                  </a:cubicBezTo>
                  <a:cubicBezTo>
                    <a:pt x="0" y="253"/>
                    <a:pt x="0" y="253"/>
                    <a:pt x="0" y="253"/>
                  </a:cubicBezTo>
                  <a:cubicBezTo>
                    <a:pt x="0" y="253"/>
                    <a:pt x="34" y="251"/>
                    <a:pt x="33" y="262"/>
                  </a:cubicBezTo>
                  <a:cubicBezTo>
                    <a:pt x="37" y="274"/>
                    <a:pt x="10" y="291"/>
                    <a:pt x="10" y="291"/>
                  </a:cubicBezTo>
                  <a:cubicBezTo>
                    <a:pt x="9" y="299"/>
                    <a:pt x="9" y="299"/>
                    <a:pt x="9" y="299"/>
                  </a:cubicBezTo>
                  <a:cubicBezTo>
                    <a:pt x="9" y="299"/>
                    <a:pt x="32" y="292"/>
                    <a:pt x="39" y="297"/>
                  </a:cubicBezTo>
                  <a:cubicBezTo>
                    <a:pt x="46" y="305"/>
                    <a:pt x="53" y="313"/>
                    <a:pt x="53" y="313"/>
                  </a:cubicBezTo>
                  <a:cubicBezTo>
                    <a:pt x="27" y="323"/>
                    <a:pt x="27" y="323"/>
                    <a:pt x="27" y="323"/>
                  </a:cubicBezTo>
                  <a:cubicBezTo>
                    <a:pt x="33" y="350"/>
                    <a:pt x="33" y="350"/>
                    <a:pt x="33" y="350"/>
                  </a:cubicBezTo>
                  <a:cubicBezTo>
                    <a:pt x="33" y="350"/>
                    <a:pt x="66" y="363"/>
                    <a:pt x="77" y="363"/>
                  </a:cubicBezTo>
                  <a:cubicBezTo>
                    <a:pt x="88" y="368"/>
                    <a:pt x="80" y="383"/>
                    <a:pt x="80" y="383"/>
                  </a:cubicBezTo>
                  <a:cubicBezTo>
                    <a:pt x="95" y="380"/>
                    <a:pt x="95" y="380"/>
                    <a:pt x="95" y="380"/>
                  </a:cubicBezTo>
                  <a:cubicBezTo>
                    <a:pt x="95" y="380"/>
                    <a:pt x="120" y="327"/>
                    <a:pt x="128" y="312"/>
                  </a:cubicBezTo>
                  <a:cubicBezTo>
                    <a:pt x="133" y="293"/>
                    <a:pt x="142" y="256"/>
                    <a:pt x="142" y="252"/>
                  </a:cubicBezTo>
                  <a:cubicBezTo>
                    <a:pt x="143" y="244"/>
                    <a:pt x="170" y="226"/>
                    <a:pt x="178" y="204"/>
                  </a:cubicBezTo>
                  <a:cubicBezTo>
                    <a:pt x="187" y="185"/>
                    <a:pt x="172" y="96"/>
                    <a:pt x="172" y="96"/>
                  </a:cubicBezTo>
                  <a:cubicBezTo>
                    <a:pt x="157" y="92"/>
                    <a:pt x="157" y="92"/>
                    <a:pt x="157" y="92"/>
                  </a:cubicBezTo>
                  <a:cubicBezTo>
                    <a:pt x="157" y="92"/>
                    <a:pt x="162" y="62"/>
                    <a:pt x="167" y="50"/>
                  </a:cubicBezTo>
                  <a:cubicBezTo>
                    <a:pt x="171" y="35"/>
                    <a:pt x="165" y="4"/>
                    <a:pt x="165" y="4"/>
                  </a:cubicBezTo>
                  <a:cubicBezTo>
                    <a:pt x="146" y="0"/>
                    <a:pt x="146" y="0"/>
                    <a:pt x="146" y="0"/>
                  </a:cubicBezTo>
                  <a:cubicBezTo>
                    <a:pt x="146" y="0"/>
                    <a:pt x="150" y="76"/>
                    <a:pt x="135" y="76"/>
                  </a:cubicBezTo>
                  <a:cubicBezTo>
                    <a:pt x="120" y="79"/>
                    <a:pt x="121" y="67"/>
                    <a:pt x="102" y="66"/>
                  </a:cubicBezTo>
                  <a:cubicBezTo>
                    <a:pt x="84" y="65"/>
                    <a:pt x="86" y="85"/>
                    <a:pt x="86" y="85"/>
                  </a:cubicBezTo>
                  <a:cubicBezTo>
                    <a:pt x="86" y="85"/>
                    <a:pt x="56" y="87"/>
                    <a:pt x="37" y="94"/>
                  </a:cubicBezTo>
                  <a:cubicBezTo>
                    <a:pt x="18" y="104"/>
                    <a:pt x="21" y="120"/>
                    <a:pt x="21" y="120"/>
                  </a:cubicBezTo>
                  <a:cubicBezTo>
                    <a:pt x="17" y="135"/>
                    <a:pt x="17" y="135"/>
                    <a:pt x="17" y="135"/>
                  </a:cubicBezTo>
                  <a:cubicBezTo>
                    <a:pt x="1" y="142"/>
                    <a:pt x="1" y="142"/>
                    <a:pt x="1" y="142"/>
                  </a:cubicBezTo>
                  <a:cubicBezTo>
                    <a:pt x="1" y="157"/>
                    <a:pt x="1" y="157"/>
                    <a:pt x="1" y="157"/>
                  </a:cubicBezTo>
                  <a:cubicBezTo>
                    <a:pt x="15" y="165"/>
                    <a:pt x="15" y="165"/>
                    <a:pt x="15" y="165"/>
                  </a:cubicBezTo>
                  <a:cubicBezTo>
                    <a:pt x="0" y="180"/>
                    <a:pt x="0" y="180"/>
                    <a:pt x="0" y="180"/>
                  </a:cubicBezTo>
                  <a:lnTo>
                    <a:pt x="3" y="19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3" name="Freeform 276">
              <a:extLst>
                <a:ext uri="{FF2B5EF4-FFF2-40B4-BE49-F238E27FC236}">
                  <a16:creationId xmlns:a16="http://schemas.microsoft.com/office/drawing/2014/main" id="{0671CD2F-FCEC-BD3E-FB0B-AA67CD978D8B}"/>
                </a:ext>
              </a:extLst>
            </p:cNvPr>
            <p:cNvSpPr>
              <a:spLocks/>
            </p:cNvSpPr>
            <p:nvPr/>
          </p:nvSpPr>
          <p:spPr bwMode="gray">
            <a:xfrm>
              <a:off x="8824715" y="3461451"/>
              <a:ext cx="30566" cy="26971"/>
            </a:xfrm>
            <a:custGeom>
              <a:avLst/>
              <a:gdLst>
                <a:gd name="T0" fmla="*/ 30 w 51"/>
                <a:gd name="T1" fmla="*/ 16 h 47"/>
                <a:gd name="T2" fmla="*/ 0 w 51"/>
                <a:gd name="T3" fmla="*/ 11 h 47"/>
                <a:gd name="T4" fmla="*/ 3 w 51"/>
                <a:gd name="T5" fmla="*/ 30 h 47"/>
                <a:gd name="T6" fmla="*/ 18 w 51"/>
                <a:gd name="T7" fmla="*/ 35 h 47"/>
                <a:gd name="T8" fmla="*/ 30 w 51"/>
                <a:gd name="T9" fmla="*/ 16 h 47"/>
              </a:gdLst>
              <a:ahLst/>
              <a:cxnLst>
                <a:cxn ang="0">
                  <a:pos x="T0" y="T1"/>
                </a:cxn>
                <a:cxn ang="0">
                  <a:pos x="T2" y="T3"/>
                </a:cxn>
                <a:cxn ang="0">
                  <a:pos x="T4" y="T5"/>
                </a:cxn>
                <a:cxn ang="0">
                  <a:pos x="T6" y="T7"/>
                </a:cxn>
                <a:cxn ang="0">
                  <a:pos x="T8" y="T9"/>
                </a:cxn>
              </a:cxnLst>
              <a:rect l="0" t="0" r="r" b="b"/>
              <a:pathLst>
                <a:path w="51" h="47">
                  <a:moveTo>
                    <a:pt x="30" y="16"/>
                  </a:moveTo>
                  <a:cubicBezTo>
                    <a:pt x="8" y="0"/>
                    <a:pt x="0" y="11"/>
                    <a:pt x="0" y="11"/>
                  </a:cubicBezTo>
                  <a:cubicBezTo>
                    <a:pt x="3" y="30"/>
                    <a:pt x="3" y="30"/>
                    <a:pt x="3" y="30"/>
                  </a:cubicBezTo>
                  <a:cubicBezTo>
                    <a:pt x="18" y="35"/>
                    <a:pt x="18" y="35"/>
                    <a:pt x="18" y="35"/>
                  </a:cubicBezTo>
                  <a:cubicBezTo>
                    <a:pt x="32" y="47"/>
                    <a:pt x="51" y="36"/>
                    <a:pt x="30"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4" name="Freeform 277">
              <a:extLst>
                <a:ext uri="{FF2B5EF4-FFF2-40B4-BE49-F238E27FC236}">
                  <a16:creationId xmlns:a16="http://schemas.microsoft.com/office/drawing/2014/main" id="{7285A243-BB2D-33D8-EDA5-DFB2B84B6D28}"/>
                </a:ext>
              </a:extLst>
            </p:cNvPr>
            <p:cNvSpPr>
              <a:spLocks/>
            </p:cNvSpPr>
            <p:nvPr/>
          </p:nvSpPr>
          <p:spPr bwMode="gray">
            <a:xfrm>
              <a:off x="8567604" y="3288844"/>
              <a:ext cx="1201049" cy="1211837"/>
            </a:xfrm>
            <a:custGeom>
              <a:avLst/>
              <a:gdLst>
                <a:gd name="T0" fmla="*/ 1727 w 2015"/>
                <a:gd name="T1" fmla="*/ 1579 h 2034"/>
                <a:gd name="T2" fmla="*/ 1706 w 2015"/>
                <a:gd name="T3" fmla="*/ 1475 h 2034"/>
                <a:gd name="T4" fmla="*/ 1741 w 2015"/>
                <a:gd name="T5" fmla="*/ 1310 h 2034"/>
                <a:gd name="T6" fmla="*/ 1736 w 2015"/>
                <a:gd name="T7" fmla="*/ 1216 h 2034"/>
                <a:gd name="T8" fmla="*/ 1620 w 2015"/>
                <a:gd name="T9" fmla="*/ 1226 h 2034"/>
                <a:gd name="T10" fmla="*/ 1682 w 2015"/>
                <a:gd name="T11" fmla="*/ 1091 h 2034"/>
                <a:gd name="T12" fmla="*/ 1820 w 2015"/>
                <a:gd name="T13" fmla="*/ 952 h 2034"/>
                <a:gd name="T14" fmla="*/ 1914 w 2015"/>
                <a:gd name="T15" fmla="*/ 769 h 2034"/>
                <a:gd name="T16" fmla="*/ 1964 w 2015"/>
                <a:gd name="T17" fmla="*/ 580 h 2034"/>
                <a:gd name="T18" fmla="*/ 1853 w 2015"/>
                <a:gd name="T19" fmla="*/ 541 h 2034"/>
                <a:gd name="T20" fmla="*/ 1774 w 2015"/>
                <a:gd name="T21" fmla="*/ 468 h 2034"/>
                <a:gd name="T22" fmla="*/ 1674 w 2015"/>
                <a:gd name="T23" fmla="*/ 444 h 2034"/>
                <a:gd name="T24" fmla="*/ 1521 w 2015"/>
                <a:gd name="T25" fmla="*/ 360 h 2034"/>
                <a:gd name="T26" fmla="*/ 1482 w 2015"/>
                <a:gd name="T27" fmla="*/ 313 h 2034"/>
                <a:gd name="T28" fmla="*/ 1430 w 2015"/>
                <a:gd name="T29" fmla="*/ 234 h 2034"/>
                <a:gd name="T30" fmla="*/ 1310 w 2015"/>
                <a:gd name="T31" fmla="*/ 159 h 2034"/>
                <a:gd name="T32" fmla="*/ 1235 w 2015"/>
                <a:gd name="T33" fmla="*/ 75 h 2034"/>
                <a:gd name="T34" fmla="*/ 1230 w 2015"/>
                <a:gd name="T35" fmla="*/ 10 h 2034"/>
                <a:gd name="T36" fmla="*/ 1068 w 2015"/>
                <a:gd name="T37" fmla="*/ 197 h 2034"/>
                <a:gd name="T38" fmla="*/ 798 w 2015"/>
                <a:gd name="T39" fmla="*/ 311 h 2034"/>
                <a:gd name="T40" fmla="*/ 692 w 2015"/>
                <a:gd name="T41" fmla="*/ 336 h 2034"/>
                <a:gd name="T42" fmla="*/ 585 w 2015"/>
                <a:gd name="T43" fmla="*/ 220 h 2034"/>
                <a:gd name="T44" fmla="*/ 521 w 2015"/>
                <a:gd name="T45" fmla="*/ 294 h 2034"/>
                <a:gd name="T46" fmla="*/ 540 w 2015"/>
                <a:gd name="T47" fmla="*/ 459 h 2034"/>
                <a:gd name="T48" fmla="*/ 450 w 2015"/>
                <a:gd name="T49" fmla="*/ 466 h 2034"/>
                <a:gd name="T50" fmla="*/ 315 w 2015"/>
                <a:gd name="T51" fmla="*/ 391 h 2034"/>
                <a:gd name="T52" fmla="*/ 148 w 2015"/>
                <a:gd name="T53" fmla="*/ 368 h 2034"/>
                <a:gd name="T54" fmla="*/ 70 w 2015"/>
                <a:gd name="T55" fmla="*/ 429 h 2034"/>
                <a:gd name="T56" fmla="*/ 35 w 2015"/>
                <a:gd name="T57" fmla="*/ 458 h 2034"/>
                <a:gd name="T58" fmla="*/ 49 w 2015"/>
                <a:gd name="T59" fmla="*/ 550 h 2034"/>
                <a:gd name="T60" fmla="*/ 185 w 2015"/>
                <a:gd name="T61" fmla="*/ 614 h 2034"/>
                <a:gd name="T62" fmla="*/ 210 w 2015"/>
                <a:gd name="T63" fmla="*/ 631 h 2034"/>
                <a:gd name="T64" fmla="*/ 254 w 2015"/>
                <a:gd name="T65" fmla="*/ 663 h 2034"/>
                <a:gd name="T66" fmla="*/ 402 w 2015"/>
                <a:gd name="T67" fmla="*/ 770 h 2034"/>
                <a:gd name="T68" fmla="*/ 359 w 2015"/>
                <a:gd name="T69" fmla="*/ 814 h 2034"/>
                <a:gd name="T70" fmla="*/ 447 w 2015"/>
                <a:gd name="T71" fmla="*/ 1009 h 2034"/>
                <a:gd name="T72" fmla="*/ 412 w 2015"/>
                <a:gd name="T73" fmla="*/ 1122 h 2034"/>
                <a:gd name="T74" fmla="*/ 479 w 2015"/>
                <a:gd name="T75" fmla="*/ 1301 h 2034"/>
                <a:gd name="T76" fmla="*/ 367 w 2015"/>
                <a:gd name="T77" fmla="*/ 1380 h 2034"/>
                <a:gd name="T78" fmla="*/ 285 w 2015"/>
                <a:gd name="T79" fmla="*/ 1610 h 2034"/>
                <a:gd name="T80" fmla="*/ 259 w 2015"/>
                <a:gd name="T81" fmla="*/ 1685 h 2034"/>
                <a:gd name="T82" fmla="*/ 290 w 2015"/>
                <a:gd name="T83" fmla="*/ 1748 h 2034"/>
                <a:gd name="T84" fmla="*/ 414 w 2015"/>
                <a:gd name="T85" fmla="*/ 1830 h 2034"/>
                <a:gd name="T86" fmla="*/ 550 w 2015"/>
                <a:gd name="T87" fmla="*/ 1875 h 2034"/>
                <a:gd name="T88" fmla="*/ 717 w 2015"/>
                <a:gd name="T89" fmla="*/ 1909 h 2034"/>
                <a:gd name="T90" fmla="*/ 770 w 2015"/>
                <a:gd name="T91" fmla="*/ 1969 h 2034"/>
                <a:gd name="T92" fmla="*/ 902 w 2015"/>
                <a:gd name="T93" fmla="*/ 2033 h 2034"/>
                <a:gd name="T94" fmla="*/ 1006 w 2015"/>
                <a:gd name="T95" fmla="*/ 1961 h 2034"/>
                <a:gd name="T96" fmla="*/ 1014 w 2015"/>
                <a:gd name="T97" fmla="*/ 1874 h 2034"/>
                <a:gd name="T98" fmla="*/ 1118 w 2015"/>
                <a:gd name="T99" fmla="*/ 1818 h 2034"/>
                <a:gd name="T100" fmla="*/ 1282 w 2015"/>
                <a:gd name="T101" fmla="*/ 1829 h 2034"/>
                <a:gd name="T102" fmla="*/ 1418 w 2015"/>
                <a:gd name="T103" fmla="*/ 1874 h 2034"/>
                <a:gd name="T104" fmla="*/ 1534 w 2015"/>
                <a:gd name="T105" fmla="*/ 1960 h 2034"/>
                <a:gd name="T106" fmla="*/ 1629 w 2015"/>
                <a:gd name="T107" fmla="*/ 1934 h 2034"/>
                <a:gd name="T108" fmla="*/ 1738 w 2015"/>
                <a:gd name="T109" fmla="*/ 1824 h 2034"/>
                <a:gd name="T110" fmla="*/ 1821 w 2015"/>
                <a:gd name="T111" fmla="*/ 174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5" h="2034">
                  <a:moveTo>
                    <a:pt x="1821" y="1744"/>
                  </a:moveTo>
                  <a:cubicBezTo>
                    <a:pt x="1829" y="1718"/>
                    <a:pt x="1822" y="1710"/>
                    <a:pt x="1819" y="1709"/>
                  </a:cubicBezTo>
                  <a:cubicBezTo>
                    <a:pt x="1811" y="1709"/>
                    <a:pt x="1781" y="1723"/>
                    <a:pt x="1762" y="1714"/>
                  </a:cubicBezTo>
                  <a:cubicBezTo>
                    <a:pt x="1740" y="1706"/>
                    <a:pt x="1722" y="1693"/>
                    <a:pt x="1708" y="1662"/>
                  </a:cubicBezTo>
                  <a:cubicBezTo>
                    <a:pt x="1691" y="1631"/>
                    <a:pt x="1704" y="1601"/>
                    <a:pt x="1712" y="1593"/>
                  </a:cubicBezTo>
                  <a:cubicBezTo>
                    <a:pt x="1723" y="1590"/>
                    <a:pt x="1727" y="1579"/>
                    <a:pt x="1727" y="1579"/>
                  </a:cubicBezTo>
                  <a:cubicBezTo>
                    <a:pt x="1725" y="1537"/>
                    <a:pt x="1725" y="1537"/>
                    <a:pt x="1725" y="1537"/>
                  </a:cubicBezTo>
                  <a:cubicBezTo>
                    <a:pt x="1725" y="1537"/>
                    <a:pt x="1702" y="1551"/>
                    <a:pt x="1696" y="1528"/>
                  </a:cubicBezTo>
                  <a:cubicBezTo>
                    <a:pt x="1686" y="1500"/>
                    <a:pt x="1686" y="1497"/>
                    <a:pt x="1686" y="1497"/>
                  </a:cubicBezTo>
                  <a:cubicBezTo>
                    <a:pt x="1686" y="1497"/>
                    <a:pt x="1667" y="1515"/>
                    <a:pt x="1671" y="1492"/>
                  </a:cubicBezTo>
                  <a:cubicBezTo>
                    <a:pt x="1672" y="1473"/>
                    <a:pt x="1691" y="1470"/>
                    <a:pt x="1691" y="1470"/>
                  </a:cubicBezTo>
                  <a:cubicBezTo>
                    <a:pt x="1706" y="1475"/>
                    <a:pt x="1706" y="1475"/>
                    <a:pt x="1706" y="1475"/>
                  </a:cubicBezTo>
                  <a:cubicBezTo>
                    <a:pt x="1706" y="1475"/>
                    <a:pt x="1751" y="1465"/>
                    <a:pt x="1756" y="1443"/>
                  </a:cubicBezTo>
                  <a:cubicBezTo>
                    <a:pt x="1765" y="1416"/>
                    <a:pt x="1765" y="1412"/>
                    <a:pt x="1758" y="1404"/>
                  </a:cubicBezTo>
                  <a:cubicBezTo>
                    <a:pt x="1747" y="1396"/>
                    <a:pt x="1739" y="1404"/>
                    <a:pt x="1739" y="1396"/>
                  </a:cubicBezTo>
                  <a:cubicBezTo>
                    <a:pt x="1741" y="1354"/>
                    <a:pt x="1741" y="1354"/>
                    <a:pt x="1741" y="1354"/>
                  </a:cubicBezTo>
                  <a:cubicBezTo>
                    <a:pt x="1741" y="1354"/>
                    <a:pt x="1704" y="1348"/>
                    <a:pt x="1716" y="1326"/>
                  </a:cubicBezTo>
                  <a:cubicBezTo>
                    <a:pt x="1722" y="1315"/>
                    <a:pt x="1732" y="1313"/>
                    <a:pt x="1741" y="1310"/>
                  </a:cubicBezTo>
                  <a:cubicBezTo>
                    <a:pt x="1744" y="1309"/>
                    <a:pt x="1747" y="1309"/>
                    <a:pt x="1749" y="1308"/>
                  </a:cubicBezTo>
                  <a:cubicBezTo>
                    <a:pt x="1755" y="1305"/>
                    <a:pt x="1759" y="1302"/>
                    <a:pt x="1759" y="1294"/>
                  </a:cubicBezTo>
                  <a:cubicBezTo>
                    <a:pt x="1760" y="1267"/>
                    <a:pt x="1738" y="1258"/>
                    <a:pt x="1738" y="1258"/>
                  </a:cubicBezTo>
                  <a:cubicBezTo>
                    <a:pt x="1735" y="1247"/>
                    <a:pt x="1735" y="1247"/>
                    <a:pt x="1735" y="1247"/>
                  </a:cubicBezTo>
                  <a:cubicBezTo>
                    <a:pt x="1724" y="1246"/>
                    <a:pt x="1724" y="1246"/>
                    <a:pt x="1724" y="1246"/>
                  </a:cubicBezTo>
                  <a:cubicBezTo>
                    <a:pt x="1724" y="1246"/>
                    <a:pt x="1732" y="1231"/>
                    <a:pt x="1736" y="1216"/>
                  </a:cubicBezTo>
                  <a:cubicBezTo>
                    <a:pt x="1741" y="1201"/>
                    <a:pt x="1730" y="1193"/>
                    <a:pt x="1730" y="1193"/>
                  </a:cubicBezTo>
                  <a:cubicBezTo>
                    <a:pt x="1735" y="1174"/>
                    <a:pt x="1735" y="1174"/>
                    <a:pt x="1735" y="1174"/>
                  </a:cubicBezTo>
                  <a:cubicBezTo>
                    <a:pt x="1735" y="1174"/>
                    <a:pt x="1717" y="1158"/>
                    <a:pt x="1687" y="1160"/>
                  </a:cubicBezTo>
                  <a:cubicBezTo>
                    <a:pt x="1657" y="1162"/>
                    <a:pt x="1637" y="1181"/>
                    <a:pt x="1636" y="1192"/>
                  </a:cubicBezTo>
                  <a:cubicBezTo>
                    <a:pt x="1636" y="1200"/>
                    <a:pt x="1643" y="1204"/>
                    <a:pt x="1643" y="1204"/>
                  </a:cubicBezTo>
                  <a:cubicBezTo>
                    <a:pt x="1620" y="1226"/>
                    <a:pt x="1620" y="1226"/>
                    <a:pt x="1620" y="1226"/>
                  </a:cubicBezTo>
                  <a:cubicBezTo>
                    <a:pt x="1598" y="1225"/>
                    <a:pt x="1598" y="1225"/>
                    <a:pt x="1598" y="1225"/>
                  </a:cubicBezTo>
                  <a:cubicBezTo>
                    <a:pt x="1595" y="1205"/>
                    <a:pt x="1595" y="1205"/>
                    <a:pt x="1595" y="1205"/>
                  </a:cubicBezTo>
                  <a:cubicBezTo>
                    <a:pt x="1610" y="1206"/>
                    <a:pt x="1610" y="1206"/>
                    <a:pt x="1610" y="1206"/>
                  </a:cubicBezTo>
                  <a:cubicBezTo>
                    <a:pt x="1626" y="1180"/>
                    <a:pt x="1626" y="1180"/>
                    <a:pt x="1626" y="1180"/>
                  </a:cubicBezTo>
                  <a:cubicBezTo>
                    <a:pt x="1626" y="1180"/>
                    <a:pt x="1604" y="1168"/>
                    <a:pt x="1620" y="1142"/>
                  </a:cubicBezTo>
                  <a:cubicBezTo>
                    <a:pt x="1636" y="1119"/>
                    <a:pt x="1674" y="1110"/>
                    <a:pt x="1682" y="1091"/>
                  </a:cubicBezTo>
                  <a:cubicBezTo>
                    <a:pt x="1691" y="1068"/>
                    <a:pt x="1680" y="1049"/>
                    <a:pt x="1688" y="1045"/>
                  </a:cubicBezTo>
                  <a:cubicBezTo>
                    <a:pt x="1700" y="1038"/>
                    <a:pt x="1714" y="1043"/>
                    <a:pt x="1726" y="1032"/>
                  </a:cubicBezTo>
                  <a:cubicBezTo>
                    <a:pt x="1738" y="1021"/>
                    <a:pt x="1785" y="966"/>
                    <a:pt x="1785" y="966"/>
                  </a:cubicBezTo>
                  <a:cubicBezTo>
                    <a:pt x="1767" y="961"/>
                    <a:pt x="1767" y="961"/>
                    <a:pt x="1767" y="961"/>
                  </a:cubicBezTo>
                  <a:cubicBezTo>
                    <a:pt x="1767" y="961"/>
                    <a:pt x="1776" y="920"/>
                    <a:pt x="1791" y="924"/>
                  </a:cubicBezTo>
                  <a:cubicBezTo>
                    <a:pt x="1810" y="925"/>
                    <a:pt x="1805" y="948"/>
                    <a:pt x="1820" y="952"/>
                  </a:cubicBezTo>
                  <a:cubicBezTo>
                    <a:pt x="1835" y="953"/>
                    <a:pt x="1861" y="939"/>
                    <a:pt x="1861" y="939"/>
                  </a:cubicBezTo>
                  <a:cubicBezTo>
                    <a:pt x="1862" y="927"/>
                    <a:pt x="1862" y="927"/>
                    <a:pt x="1862" y="927"/>
                  </a:cubicBezTo>
                  <a:cubicBezTo>
                    <a:pt x="1889" y="910"/>
                    <a:pt x="1889" y="910"/>
                    <a:pt x="1889" y="910"/>
                  </a:cubicBezTo>
                  <a:cubicBezTo>
                    <a:pt x="1888" y="909"/>
                    <a:pt x="1888" y="908"/>
                    <a:pt x="1888" y="906"/>
                  </a:cubicBezTo>
                  <a:cubicBezTo>
                    <a:pt x="1880" y="883"/>
                    <a:pt x="1888" y="851"/>
                    <a:pt x="1900" y="830"/>
                  </a:cubicBezTo>
                  <a:cubicBezTo>
                    <a:pt x="1904" y="822"/>
                    <a:pt x="1906" y="780"/>
                    <a:pt x="1914" y="769"/>
                  </a:cubicBezTo>
                  <a:cubicBezTo>
                    <a:pt x="1922" y="758"/>
                    <a:pt x="1930" y="743"/>
                    <a:pt x="1927" y="732"/>
                  </a:cubicBezTo>
                  <a:cubicBezTo>
                    <a:pt x="1948" y="679"/>
                    <a:pt x="1948" y="679"/>
                    <a:pt x="1948" y="679"/>
                  </a:cubicBezTo>
                  <a:cubicBezTo>
                    <a:pt x="1968" y="657"/>
                    <a:pt x="1968" y="657"/>
                    <a:pt x="1968" y="657"/>
                  </a:cubicBezTo>
                  <a:cubicBezTo>
                    <a:pt x="1972" y="642"/>
                    <a:pt x="1987" y="647"/>
                    <a:pt x="1995" y="639"/>
                  </a:cubicBezTo>
                  <a:cubicBezTo>
                    <a:pt x="2003" y="628"/>
                    <a:pt x="2000" y="609"/>
                    <a:pt x="2015" y="602"/>
                  </a:cubicBezTo>
                  <a:cubicBezTo>
                    <a:pt x="2004" y="598"/>
                    <a:pt x="1976" y="570"/>
                    <a:pt x="1964" y="580"/>
                  </a:cubicBezTo>
                  <a:cubicBezTo>
                    <a:pt x="1960" y="588"/>
                    <a:pt x="1927" y="567"/>
                    <a:pt x="1920" y="563"/>
                  </a:cubicBezTo>
                  <a:cubicBezTo>
                    <a:pt x="1916" y="563"/>
                    <a:pt x="1902" y="547"/>
                    <a:pt x="1909" y="547"/>
                  </a:cubicBezTo>
                  <a:cubicBezTo>
                    <a:pt x="1906" y="547"/>
                    <a:pt x="1902" y="543"/>
                    <a:pt x="1898" y="543"/>
                  </a:cubicBezTo>
                  <a:cubicBezTo>
                    <a:pt x="1887" y="542"/>
                    <a:pt x="1894" y="547"/>
                    <a:pt x="1894" y="547"/>
                  </a:cubicBezTo>
                  <a:cubicBezTo>
                    <a:pt x="1883" y="550"/>
                    <a:pt x="1883" y="554"/>
                    <a:pt x="1879" y="553"/>
                  </a:cubicBezTo>
                  <a:cubicBezTo>
                    <a:pt x="1872" y="553"/>
                    <a:pt x="1853" y="541"/>
                    <a:pt x="1853" y="541"/>
                  </a:cubicBezTo>
                  <a:cubicBezTo>
                    <a:pt x="1846" y="540"/>
                    <a:pt x="1841" y="559"/>
                    <a:pt x="1839" y="536"/>
                  </a:cubicBezTo>
                  <a:cubicBezTo>
                    <a:pt x="1839" y="529"/>
                    <a:pt x="1821" y="524"/>
                    <a:pt x="1813" y="524"/>
                  </a:cubicBezTo>
                  <a:cubicBezTo>
                    <a:pt x="1816" y="535"/>
                    <a:pt x="1813" y="535"/>
                    <a:pt x="1801" y="534"/>
                  </a:cubicBezTo>
                  <a:cubicBezTo>
                    <a:pt x="1790" y="530"/>
                    <a:pt x="1798" y="527"/>
                    <a:pt x="1795" y="519"/>
                  </a:cubicBezTo>
                  <a:cubicBezTo>
                    <a:pt x="1794" y="523"/>
                    <a:pt x="1774" y="483"/>
                    <a:pt x="1770" y="487"/>
                  </a:cubicBezTo>
                  <a:cubicBezTo>
                    <a:pt x="1777" y="484"/>
                    <a:pt x="1778" y="472"/>
                    <a:pt x="1774" y="468"/>
                  </a:cubicBezTo>
                  <a:cubicBezTo>
                    <a:pt x="1769" y="462"/>
                    <a:pt x="1763" y="460"/>
                    <a:pt x="1757" y="458"/>
                  </a:cubicBezTo>
                  <a:cubicBezTo>
                    <a:pt x="1755" y="457"/>
                    <a:pt x="1753" y="457"/>
                    <a:pt x="1752" y="456"/>
                  </a:cubicBezTo>
                  <a:cubicBezTo>
                    <a:pt x="1745" y="459"/>
                    <a:pt x="1741" y="459"/>
                    <a:pt x="1737" y="459"/>
                  </a:cubicBezTo>
                  <a:cubicBezTo>
                    <a:pt x="1730" y="458"/>
                    <a:pt x="1730" y="451"/>
                    <a:pt x="1719" y="450"/>
                  </a:cubicBezTo>
                  <a:cubicBezTo>
                    <a:pt x="1708" y="446"/>
                    <a:pt x="1715" y="465"/>
                    <a:pt x="1692" y="464"/>
                  </a:cubicBezTo>
                  <a:cubicBezTo>
                    <a:pt x="1673" y="467"/>
                    <a:pt x="1674" y="444"/>
                    <a:pt x="1674" y="444"/>
                  </a:cubicBezTo>
                  <a:cubicBezTo>
                    <a:pt x="1657" y="436"/>
                    <a:pt x="1657" y="436"/>
                    <a:pt x="1657" y="436"/>
                  </a:cubicBezTo>
                  <a:cubicBezTo>
                    <a:pt x="1607" y="437"/>
                    <a:pt x="1607" y="437"/>
                    <a:pt x="1607" y="437"/>
                  </a:cubicBezTo>
                  <a:cubicBezTo>
                    <a:pt x="1586" y="406"/>
                    <a:pt x="1586" y="406"/>
                    <a:pt x="1586" y="406"/>
                  </a:cubicBezTo>
                  <a:cubicBezTo>
                    <a:pt x="1587" y="398"/>
                    <a:pt x="1587" y="398"/>
                    <a:pt x="1587" y="398"/>
                  </a:cubicBezTo>
                  <a:cubicBezTo>
                    <a:pt x="1544" y="362"/>
                    <a:pt x="1544" y="362"/>
                    <a:pt x="1544" y="362"/>
                  </a:cubicBezTo>
                  <a:cubicBezTo>
                    <a:pt x="1521" y="360"/>
                    <a:pt x="1521" y="360"/>
                    <a:pt x="1521" y="360"/>
                  </a:cubicBezTo>
                  <a:cubicBezTo>
                    <a:pt x="1514" y="353"/>
                    <a:pt x="1514" y="353"/>
                    <a:pt x="1514" y="353"/>
                  </a:cubicBezTo>
                  <a:cubicBezTo>
                    <a:pt x="1514" y="353"/>
                    <a:pt x="1526" y="334"/>
                    <a:pt x="1523" y="326"/>
                  </a:cubicBezTo>
                  <a:cubicBezTo>
                    <a:pt x="1523" y="315"/>
                    <a:pt x="1516" y="314"/>
                    <a:pt x="1516" y="314"/>
                  </a:cubicBezTo>
                  <a:cubicBezTo>
                    <a:pt x="1516" y="314"/>
                    <a:pt x="1540" y="285"/>
                    <a:pt x="1529" y="273"/>
                  </a:cubicBezTo>
                  <a:cubicBezTo>
                    <a:pt x="1518" y="261"/>
                    <a:pt x="1494" y="309"/>
                    <a:pt x="1494" y="309"/>
                  </a:cubicBezTo>
                  <a:cubicBezTo>
                    <a:pt x="1482" y="313"/>
                    <a:pt x="1482" y="313"/>
                    <a:pt x="1482" y="313"/>
                  </a:cubicBezTo>
                  <a:cubicBezTo>
                    <a:pt x="1470" y="324"/>
                    <a:pt x="1470" y="324"/>
                    <a:pt x="1470" y="324"/>
                  </a:cubicBezTo>
                  <a:cubicBezTo>
                    <a:pt x="1460" y="312"/>
                    <a:pt x="1460" y="312"/>
                    <a:pt x="1460" y="312"/>
                  </a:cubicBezTo>
                  <a:cubicBezTo>
                    <a:pt x="1460" y="312"/>
                    <a:pt x="1441" y="318"/>
                    <a:pt x="1422" y="310"/>
                  </a:cubicBezTo>
                  <a:cubicBezTo>
                    <a:pt x="1400" y="301"/>
                    <a:pt x="1431" y="280"/>
                    <a:pt x="1431" y="280"/>
                  </a:cubicBezTo>
                  <a:cubicBezTo>
                    <a:pt x="1421" y="264"/>
                    <a:pt x="1421" y="264"/>
                    <a:pt x="1421" y="264"/>
                  </a:cubicBezTo>
                  <a:cubicBezTo>
                    <a:pt x="1421" y="264"/>
                    <a:pt x="1429" y="253"/>
                    <a:pt x="1430" y="234"/>
                  </a:cubicBezTo>
                  <a:cubicBezTo>
                    <a:pt x="1430" y="218"/>
                    <a:pt x="1404" y="213"/>
                    <a:pt x="1390" y="209"/>
                  </a:cubicBezTo>
                  <a:cubicBezTo>
                    <a:pt x="1371" y="204"/>
                    <a:pt x="1370" y="223"/>
                    <a:pt x="1359" y="223"/>
                  </a:cubicBezTo>
                  <a:cubicBezTo>
                    <a:pt x="1351" y="226"/>
                    <a:pt x="1365" y="181"/>
                    <a:pt x="1365" y="181"/>
                  </a:cubicBezTo>
                  <a:cubicBezTo>
                    <a:pt x="1343" y="161"/>
                    <a:pt x="1343" y="161"/>
                    <a:pt x="1343" y="161"/>
                  </a:cubicBezTo>
                  <a:cubicBezTo>
                    <a:pt x="1317" y="171"/>
                    <a:pt x="1317" y="171"/>
                    <a:pt x="1317" y="171"/>
                  </a:cubicBezTo>
                  <a:cubicBezTo>
                    <a:pt x="1310" y="159"/>
                    <a:pt x="1310" y="159"/>
                    <a:pt x="1310" y="159"/>
                  </a:cubicBezTo>
                  <a:cubicBezTo>
                    <a:pt x="1311" y="121"/>
                    <a:pt x="1311" y="121"/>
                    <a:pt x="1311" y="121"/>
                  </a:cubicBezTo>
                  <a:cubicBezTo>
                    <a:pt x="1301" y="94"/>
                    <a:pt x="1301" y="94"/>
                    <a:pt x="1301" y="94"/>
                  </a:cubicBezTo>
                  <a:cubicBezTo>
                    <a:pt x="1275" y="93"/>
                    <a:pt x="1275" y="93"/>
                    <a:pt x="1275" y="93"/>
                  </a:cubicBezTo>
                  <a:cubicBezTo>
                    <a:pt x="1268" y="92"/>
                    <a:pt x="1263" y="107"/>
                    <a:pt x="1263" y="107"/>
                  </a:cubicBezTo>
                  <a:cubicBezTo>
                    <a:pt x="1252" y="103"/>
                    <a:pt x="1252" y="103"/>
                    <a:pt x="1252" y="103"/>
                  </a:cubicBezTo>
                  <a:cubicBezTo>
                    <a:pt x="1252" y="103"/>
                    <a:pt x="1246" y="80"/>
                    <a:pt x="1235" y="75"/>
                  </a:cubicBezTo>
                  <a:cubicBezTo>
                    <a:pt x="1228" y="71"/>
                    <a:pt x="1224" y="75"/>
                    <a:pt x="1224" y="75"/>
                  </a:cubicBezTo>
                  <a:cubicBezTo>
                    <a:pt x="1228" y="52"/>
                    <a:pt x="1228" y="52"/>
                    <a:pt x="1228" y="52"/>
                  </a:cubicBezTo>
                  <a:cubicBezTo>
                    <a:pt x="1232" y="48"/>
                    <a:pt x="1232" y="48"/>
                    <a:pt x="1232" y="48"/>
                  </a:cubicBezTo>
                  <a:cubicBezTo>
                    <a:pt x="1233" y="33"/>
                    <a:pt x="1233" y="33"/>
                    <a:pt x="1233" y="33"/>
                  </a:cubicBezTo>
                  <a:cubicBezTo>
                    <a:pt x="1229" y="33"/>
                    <a:pt x="1229" y="33"/>
                    <a:pt x="1229" y="33"/>
                  </a:cubicBezTo>
                  <a:cubicBezTo>
                    <a:pt x="1230" y="10"/>
                    <a:pt x="1230" y="10"/>
                    <a:pt x="1230" y="10"/>
                  </a:cubicBezTo>
                  <a:cubicBezTo>
                    <a:pt x="1197" y="5"/>
                    <a:pt x="1197" y="5"/>
                    <a:pt x="1197" y="5"/>
                  </a:cubicBezTo>
                  <a:cubicBezTo>
                    <a:pt x="1197" y="5"/>
                    <a:pt x="1174" y="19"/>
                    <a:pt x="1159" y="18"/>
                  </a:cubicBezTo>
                  <a:cubicBezTo>
                    <a:pt x="1140" y="17"/>
                    <a:pt x="1096" y="0"/>
                    <a:pt x="1083" y="41"/>
                  </a:cubicBezTo>
                  <a:cubicBezTo>
                    <a:pt x="1066" y="83"/>
                    <a:pt x="1051" y="170"/>
                    <a:pt x="1051" y="170"/>
                  </a:cubicBezTo>
                  <a:cubicBezTo>
                    <a:pt x="1069" y="190"/>
                    <a:pt x="1069" y="190"/>
                    <a:pt x="1069" y="190"/>
                  </a:cubicBezTo>
                  <a:cubicBezTo>
                    <a:pt x="1068" y="197"/>
                    <a:pt x="1068" y="197"/>
                    <a:pt x="1068" y="197"/>
                  </a:cubicBezTo>
                  <a:cubicBezTo>
                    <a:pt x="1047" y="185"/>
                    <a:pt x="1047" y="185"/>
                    <a:pt x="1047" y="185"/>
                  </a:cubicBezTo>
                  <a:cubicBezTo>
                    <a:pt x="1047" y="185"/>
                    <a:pt x="1029" y="230"/>
                    <a:pt x="984" y="239"/>
                  </a:cubicBezTo>
                  <a:cubicBezTo>
                    <a:pt x="939" y="249"/>
                    <a:pt x="898" y="239"/>
                    <a:pt x="898" y="239"/>
                  </a:cubicBezTo>
                  <a:cubicBezTo>
                    <a:pt x="898" y="239"/>
                    <a:pt x="848" y="267"/>
                    <a:pt x="841" y="267"/>
                  </a:cubicBezTo>
                  <a:cubicBezTo>
                    <a:pt x="822" y="266"/>
                    <a:pt x="822" y="266"/>
                    <a:pt x="822" y="266"/>
                  </a:cubicBezTo>
                  <a:cubicBezTo>
                    <a:pt x="822" y="266"/>
                    <a:pt x="787" y="295"/>
                    <a:pt x="798" y="311"/>
                  </a:cubicBezTo>
                  <a:cubicBezTo>
                    <a:pt x="812" y="327"/>
                    <a:pt x="841" y="336"/>
                    <a:pt x="841" y="336"/>
                  </a:cubicBezTo>
                  <a:cubicBezTo>
                    <a:pt x="834" y="339"/>
                    <a:pt x="834" y="339"/>
                    <a:pt x="834" y="339"/>
                  </a:cubicBezTo>
                  <a:cubicBezTo>
                    <a:pt x="819" y="335"/>
                    <a:pt x="819" y="335"/>
                    <a:pt x="819" y="335"/>
                  </a:cubicBezTo>
                  <a:cubicBezTo>
                    <a:pt x="747" y="358"/>
                    <a:pt x="747" y="358"/>
                    <a:pt x="747" y="358"/>
                  </a:cubicBezTo>
                  <a:cubicBezTo>
                    <a:pt x="707" y="333"/>
                    <a:pt x="707" y="333"/>
                    <a:pt x="707" y="333"/>
                  </a:cubicBezTo>
                  <a:cubicBezTo>
                    <a:pt x="692" y="336"/>
                    <a:pt x="692" y="336"/>
                    <a:pt x="692" y="336"/>
                  </a:cubicBezTo>
                  <a:cubicBezTo>
                    <a:pt x="692" y="336"/>
                    <a:pt x="659" y="316"/>
                    <a:pt x="640" y="311"/>
                  </a:cubicBezTo>
                  <a:cubicBezTo>
                    <a:pt x="622" y="306"/>
                    <a:pt x="607" y="313"/>
                    <a:pt x="607" y="313"/>
                  </a:cubicBezTo>
                  <a:cubicBezTo>
                    <a:pt x="607" y="313"/>
                    <a:pt x="603" y="305"/>
                    <a:pt x="600" y="290"/>
                  </a:cubicBezTo>
                  <a:cubicBezTo>
                    <a:pt x="593" y="274"/>
                    <a:pt x="583" y="262"/>
                    <a:pt x="598" y="259"/>
                  </a:cubicBezTo>
                  <a:cubicBezTo>
                    <a:pt x="617" y="256"/>
                    <a:pt x="610" y="248"/>
                    <a:pt x="610" y="248"/>
                  </a:cubicBezTo>
                  <a:cubicBezTo>
                    <a:pt x="610" y="248"/>
                    <a:pt x="604" y="214"/>
                    <a:pt x="585" y="220"/>
                  </a:cubicBezTo>
                  <a:cubicBezTo>
                    <a:pt x="562" y="227"/>
                    <a:pt x="551" y="230"/>
                    <a:pt x="536" y="222"/>
                  </a:cubicBezTo>
                  <a:cubicBezTo>
                    <a:pt x="521" y="213"/>
                    <a:pt x="515" y="198"/>
                    <a:pt x="515" y="198"/>
                  </a:cubicBezTo>
                  <a:cubicBezTo>
                    <a:pt x="515" y="198"/>
                    <a:pt x="510" y="205"/>
                    <a:pt x="507" y="209"/>
                  </a:cubicBezTo>
                  <a:cubicBezTo>
                    <a:pt x="503" y="209"/>
                    <a:pt x="520" y="232"/>
                    <a:pt x="517" y="236"/>
                  </a:cubicBezTo>
                  <a:cubicBezTo>
                    <a:pt x="513" y="240"/>
                    <a:pt x="505" y="251"/>
                    <a:pt x="505" y="251"/>
                  </a:cubicBezTo>
                  <a:cubicBezTo>
                    <a:pt x="505" y="251"/>
                    <a:pt x="514" y="286"/>
                    <a:pt x="521" y="294"/>
                  </a:cubicBezTo>
                  <a:cubicBezTo>
                    <a:pt x="528" y="302"/>
                    <a:pt x="528" y="321"/>
                    <a:pt x="528" y="321"/>
                  </a:cubicBezTo>
                  <a:cubicBezTo>
                    <a:pt x="528" y="321"/>
                    <a:pt x="539" y="321"/>
                    <a:pt x="538" y="329"/>
                  </a:cubicBezTo>
                  <a:cubicBezTo>
                    <a:pt x="538" y="337"/>
                    <a:pt x="519" y="351"/>
                    <a:pt x="519" y="351"/>
                  </a:cubicBezTo>
                  <a:cubicBezTo>
                    <a:pt x="519" y="351"/>
                    <a:pt x="529" y="371"/>
                    <a:pt x="529" y="378"/>
                  </a:cubicBezTo>
                  <a:cubicBezTo>
                    <a:pt x="528" y="386"/>
                    <a:pt x="509" y="408"/>
                    <a:pt x="515" y="423"/>
                  </a:cubicBezTo>
                  <a:cubicBezTo>
                    <a:pt x="522" y="439"/>
                    <a:pt x="540" y="459"/>
                    <a:pt x="540" y="459"/>
                  </a:cubicBezTo>
                  <a:cubicBezTo>
                    <a:pt x="540" y="459"/>
                    <a:pt x="532" y="466"/>
                    <a:pt x="528" y="466"/>
                  </a:cubicBezTo>
                  <a:cubicBezTo>
                    <a:pt x="521" y="466"/>
                    <a:pt x="514" y="458"/>
                    <a:pt x="499" y="457"/>
                  </a:cubicBezTo>
                  <a:cubicBezTo>
                    <a:pt x="484" y="460"/>
                    <a:pt x="465" y="467"/>
                    <a:pt x="473" y="452"/>
                  </a:cubicBezTo>
                  <a:cubicBezTo>
                    <a:pt x="477" y="441"/>
                    <a:pt x="474" y="433"/>
                    <a:pt x="459" y="432"/>
                  </a:cubicBezTo>
                  <a:cubicBezTo>
                    <a:pt x="448" y="432"/>
                    <a:pt x="447" y="443"/>
                    <a:pt x="447" y="443"/>
                  </a:cubicBezTo>
                  <a:cubicBezTo>
                    <a:pt x="450" y="466"/>
                    <a:pt x="450" y="466"/>
                    <a:pt x="450" y="466"/>
                  </a:cubicBezTo>
                  <a:cubicBezTo>
                    <a:pt x="442" y="466"/>
                    <a:pt x="442" y="466"/>
                    <a:pt x="442" y="466"/>
                  </a:cubicBezTo>
                  <a:cubicBezTo>
                    <a:pt x="436" y="443"/>
                    <a:pt x="436" y="443"/>
                    <a:pt x="436" y="443"/>
                  </a:cubicBezTo>
                  <a:cubicBezTo>
                    <a:pt x="436" y="443"/>
                    <a:pt x="416" y="461"/>
                    <a:pt x="409" y="449"/>
                  </a:cubicBezTo>
                  <a:cubicBezTo>
                    <a:pt x="406" y="437"/>
                    <a:pt x="407" y="422"/>
                    <a:pt x="396" y="422"/>
                  </a:cubicBezTo>
                  <a:cubicBezTo>
                    <a:pt x="384" y="425"/>
                    <a:pt x="338" y="449"/>
                    <a:pt x="338" y="449"/>
                  </a:cubicBezTo>
                  <a:cubicBezTo>
                    <a:pt x="338" y="449"/>
                    <a:pt x="322" y="399"/>
                    <a:pt x="315" y="391"/>
                  </a:cubicBezTo>
                  <a:cubicBezTo>
                    <a:pt x="308" y="379"/>
                    <a:pt x="290" y="352"/>
                    <a:pt x="290" y="352"/>
                  </a:cubicBezTo>
                  <a:cubicBezTo>
                    <a:pt x="227" y="345"/>
                    <a:pt x="227" y="345"/>
                    <a:pt x="227" y="345"/>
                  </a:cubicBezTo>
                  <a:cubicBezTo>
                    <a:pt x="215" y="375"/>
                    <a:pt x="215" y="375"/>
                    <a:pt x="215" y="375"/>
                  </a:cubicBezTo>
                  <a:cubicBezTo>
                    <a:pt x="181" y="362"/>
                    <a:pt x="181" y="362"/>
                    <a:pt x="181" y="362"/>
                  </a:cubicBezTo>
                  <a:cubicBezTo>
                    <a:pt x="181" y="362"/>
                    <a:pt x="181" y="373"/>
                    <a:pt x="177" y="373"/>
                  </a:cubicBezTo>
                  <a:cubicBezTo>
                    <a:pt x="170" y="373"/>
                    <a:pt x="148" y="368"/>
                    <a:pt x="148" y="368"/>
                  </a:cubicBezTo>
                  <a:cubicBezTo>
                    <a:pt x="148" y="352"/>
                    <a:pt x="148" y="352"/>
                    <a:pt x="148" y="352"/>
                  </a:cubicBezTo>
                  <a:cubicBezTo>
                    <a:pt x="148" y="352"/>
                    <a:pt x="119" y="347"/>
                    <a:pt x="81" y="357"/>
                  </a:cubicBezTo>
                  <a:cubicBezTo>
                    <a:pt x="39" y="363"/>
                    <a:pt x="24" y="377"/>
                    <a:pt x="24" y="377"/>
                  </a:cubicBezTo>
                  <a:cubicBezTo>
                    <a:pt x="24" y="377"/>
                    <a:pt x="15" y="407"/>
                    <a:pt x="18" y="411"/>
                  </a:cubicBezTo>
                  <a:cubicBezTo>
                    <a:pt x="22" y="419"/>
                    <a:pt x="63" y="413"/>
                    <a:pt x="63" y="413"/>
                  </a:cubicBezTo>
                  <a:cubicBezTo>
                    <a:pt x="70" y="429"/>
                    <a:pt x="70" y="429"/>
                    <a:pt x="70" y="429"/>
                  </a:cubicBezTo>
                  <a:cubicBezTo>
                    <a:pt x="95" y="442"/>
                    <a:pt x="95" y="442"/>
                    <a:pt x="95" y="442"/>
                  </a:cubicBezTo>
                  <a:cubicBezTo>
                    <a:pt x="91" y="453"/>
                    <a:pt x="91" y="453"/>
                    <a:pt x="91" y="453"/>
                  </a:cubicBezTo>
                  <a:cubicBezTo>
                    <a:pt x="40" y="431"/>
                    <a:pt x="40" y="431"/>
                    <a:pt x="40" y="431"/>
                  </a:cubicBezTo>
                  <a:cubicBezTo>
                    <a:pt x="32" y="443"/>
                    <a:pt x="32" y="443"/>
                    <a:pt x="32" y="443"/>
                  </a:cubicBezTo>
                  <a:cubicBezTo>
                    <a:pt x="39" y="447"/>
                    <a:pt x="39" y="447"/>
                    <a:pt x="39" y="447"/>
                  </a:cubicBezTo>
                  <a:cubicBezTo>
                    <a:pt x="35" y="458"/>
                    <a:pt x="35" y="458"/>
                    <a:pt x="35" y="458"/>
                  </a:cubicBezTo>
                  <a:cubicBezTo>
                    <a:pt x="35" y="458"/>
                    <a:pt x="58" y="451"/>
                    <a:pt x="68" y="460"/>
                  </a:cubicBezTo>
                  <a:cubicBezTo>
                    <a:pt x="75" y="471"/>
                    <a:pt x="86" y="483"/>
                    <a:pt x="71" y="483"/>
                  </a:cubicBezTo>
                  <a:cubicBezTo>
                    <a:pt x="0" y="479"/>
                    <a:pt x="0" y="479"/>
                    <a:pt x="0" y="479"/>
                  </a:cubicBezTo>
                  <a:cubicBezTo>
                    <a:pt x="3" y="495"/>
                    <a:pt x="3" y="495"/>
                    <a:pt x="3" y="495"/>
                  </a:cubicBezTo>
                  <a:cubicBezTo>
                    <a:pt x="3" y="495"/>
                    <a:pt x="41" y="493"/>
                    <a:pt x="44" y="512"/>
                  </a:cubicBezTo>
                  <a:cubicBezTo>
                    <a:pt x="50" y="535"/>
                    <a:pt x="49" y="550"/>
                    <a:pt x="49" y="550"/>
                  </a:cubicBezTo>
                  <a:cubicBezTo>
                    <a:pt x="68" y="559"/>
                    <a:pt x="68" y="559"/>
                    <a:pt x="68" y="559"/>
                  </a:cubicBezTo>
                  <a:cubicBezTo>
                    <a:pt x="68" y="559"/>
                    <a:pt x="88" y="514"/>
                    <a:pt x="92" y="526"/>
                  </a:cubicBezTo>
                  <a:cubicBezTo>
                    <a:pt x="95" y="541"/>
                    <a:pt x="91" y="549"/>
                    <a:pt x="91" y="549"/>
                  </a:cubicBezTo>
                  <a:cubicBezTo>
                    <a:pt x="120" y="558"/>
                    <a:pt x="120" y="558"/>
                    <a:pt x="120" y="558"/>
                  </a:cubicBezTo>
                  <a:cubicBezTo>
                    <a:pt x="119" y="577"/>
                    <a:pt x="119" y="577"/>
                    <a:pt x="119" y="577"/>
                  </a:cubicBezTo>
                  <a:cubicBezTo>
                    <a:pt x="185" y="614"/>
                    <a:pt x="185" y="614"/>
                    <a:pt x="185" y="614"/>
                  </a:cubicBezTo>
                  <a:cubicBezTo>
                    <a:pt x="204" y="604"/>
                    <a:pt x="204" y="604"/>
                    <a:pt x="204" y="604"/>
                  </a:cubicBezTo>
                  <a:cubicBezTo>
                    <a:pt x="196" y="615"/>
                    <a:pt x="196" y="615"/>
                    <a:pt x="196" y="615"/>
                  </a:cubicBezTo>
                  <a:cubicBezTo>
                    <a:pt x="203" y="627"/>
                    <a:pt x="203" y="627"/>
                    <a:pt x="203" y="627"/>
                  </a:cubicBezTo>
                  <a:cubicBezTo>
                    <a:pt x="203" y="627"/>
                    <a:pt x="227" y="601"/>
                    <a:pt x="226" y="605"/>
                  </a:cubicBezTo>
                  <a:cubicBezTo>
                    <a:pt x="223" y="608"/>
                    <a:pt x="234" y="613"/>
                    <a:pt x="230" y="613"/>
                  </a:cubicBezTo>
                  <a:cubicBezTo>
                    <a:pt x="226" y="616"/>
                    <a:pt x="210" y="631"/>
                    <a:pt x="210" y="631"/>
                  </a:cubicBezTo>
                  <a:cubicBezTo>
                    <a:pt x="210" y="631"/>
                    <a:pt x="210" y="646"/>
                    <a:pt x="217" y="646"/>
                  </a:cubicBezTo>
                  <a:cubicBezTo>
                    <a:pt x="228" y="647"/>
                    <a:pt x="243" y="651"/>
                    <a:pt x="243" y="651"/>
                  </a:cubicBezTo>
                  <a:cubicBezTo>
                    <a:pt x="247" y="636"/>
                    <a:pt x="247" y="636"/>
                    <a:pt x="247" y="636"/>
                  </a:cubicBezTo>
                  <a:cubicBezTo>
                    <a:pt x="251" y="652"/>
                    <a:pt x="251" y="652"/>
                    <a:pt x="251" y="652"/>
                  </a:cubicBezTo>
                  <a:cubicBezTo>
                    <a:pt x="251" y="652"/>
                    <a:pt x="266" y="637"/>
                    <a:pt x="277" y="649"/>
                  </a:cubicBezTo>
                  <a:cubicBezTo>
                    <a:pt x="284" y="657"/>
                    <a:pt x="254" y="663"/>
                    <a:pt x="254" y="663"/>
                  </a:cubicBezTo>
                  <a:cubicBezTo>
                    <a:pt x="253" y="675"/>
                    <a:pt x="253" y="675"/>
                    <a:pt x="253" y="675"/>
                  </a:cubicBezTo>
                  <a:cubicBezTo>
                    <a:pt x="313" y="682"/>
                    <a:pt x="313" y="682"/>
                    <a:pt x="313" y="682"/>
                  </a:cubicBezTo>
                  <a:cubicBezTo>
                    <a:pt x="313" y="682"/>
                    <a:pt x="281" y="722"/>
                    <a:pt x="292" y="734"/>
                  </a:cubicBezTo>
                  <a:cubicBezTo>
                    <a:pt x="299" y="746"/>
                    <a:pt x="328" y="751"/>
                    <a:pt x="328" y="751"/>
                  </a:cubicBezTo>
                  <a:cubicBezTo>
                    <a:pt x="328" y="751"/>
                    <a:pt x="355" y="737"/>
                    <a:pt x="373" y="746"/>
                  </a:cubicBezTo>
                  <a:cubicBezTo>
                    <a:pt x="388" y="750"/>
                    <a:pt x="402" y="770"/>
                    <a:pt x="402" y="770"/>
                  </a:cubicBezTo>
                  <a:cubicBezTo>
                    <a:pt x="402" y="770"/>
                    <a:pt x="377" y="753"/>
                    <a:pt x="362" y="753"/>
                  </a:cubicBezTo>
                  <a:cubicBezTo>
                    <a:pt x="351" y="756"/>
                    <a:pt x="339" y="759"/>
                    <a:pt x="339" y="759"/>
                  </a:cubicBezTo>
                  <a:cubicBezTo>
                    <a:pt x="346" y="767"/>
                    <a:pt x="346" y="767"/>
                    <a:pt x="346" y="767"/>
                  </a:cubicBezTo>
                  <a:cubicBezTo>
                    <a:pt x="327" y="770"/>
                    <a:pt x="327" y="770"/>
                    <a:pt x="327" y="770"/>
                  </a:cubicBezTo>
                  <a:cubicBezTo>
                    <a:pt x="330" y="786"/>
                    <a:pt x="330" y="786"/>
                    <a:pt x="330" y="786"/>
                  </a:cubicBezTo>
                  <a:cubicBezTo>
                    <a:pt x="330" y="786"/>
                    <a:pt x="371" y="803"/>
                    <a:pt x="359" y="814"/>
                  </a:cubicBezTo>
                  <a:cubicBezTo>
                    <a:pt x="344" y="825"/>
                    <a:pt x="324" y="843"/>
                    <a:pt x="324" y="843"/>
                  </a:cubicBezTo>
                  <a:cubicBezTo>
                    <a:pt x="323" y="862"/>
                    <a:pt x="323" y="862"/>
                    <a:pt x="323" y="862"/>
                  </a:cubicBezTo>
                  <a:cubicBezTo>
                    <a:pt x="323" y="862"/>
                    <a:pt x="359" y="898"/>
                    <a:pt x="358" y="917"/>
                  </a:cubicBezTo>
                  <a:cubicBezTo>
                    <a:pt x="361" y="932"/>
                    <a:pt x="361" y="940"/>
                    <a:pt x="361" y="940"/>
                  </a:cubicBezTo>
                  <a:cubicBezTo>
                    <a:pt x="407" y="984"/>
                    <a:pt x="407" y="984"/>
                    <a:pt x="407" y="984"/>
                  </a:cubicBezTo>
                  <a:cubicBezTo>
                    <a:pt x="447" y="1009"/>
                    <a:pt x="447" y="1009"/>
                    <a:pt x="447" y="1009"/>
                  </a:cubicBezTo>
                  <a:cubicBezTo>
                    <a:pt x="463" y="998"/>
                    <a:pt x="463" y="998"/>
                    <a:pt x="463" y="998"/>
                  </a:cubicBezTo>
                  <a:cubicBezTo>
                    <a:pt x="463" y="998"/>
                    <a:pt x="474" y="1007"/>
                    <a:pt x="470" y="1007"/>
                  </a:cubicBezTo>
                  <a:cubicBezTo>
                    <a:pt x="466" y="1006"/>
                    <a:pt x="451" y="1013"/>
                    <a:pt x="447" y="1025"/>
                  </a:cubicBezTo>
                  <a:cubicBezTo>
                    <a:pt x="443" y="1032"/>
                    <a:pt x="460" y="1063"/>
                    <a:pt x="460" y="1063"/>
                  </a:cubicBezTo>
                  <a:cubicBezTo>
                    <a:pt x="460" y="1063"/>
                    <a:pt x="466" y="1094"/>
                    <a:pt x="447" y="1105"/>
                  </a:cubicBezTo>
                  <a:cubicBezTo>
                    <a:pt x="431" y="1112"/>
                    <a:pt x="412" y="1122"/>
                    <a:pt x="412" y="1122"/>
                  </a:cubicBezTo>
                  <a:cubicBezTo>
                    <a:pt x="411" y="1141"/>
                    <a:pt x="411" y="1141"/>
                    <a:pt x="411" y="1141"/>
                  </a:cubicBezTo>
                  <a:cubicBezTo>
                    <a:pt x="411" y="1141"/>
                    <a:pt x="444" y="1154"/>
                    <a:pt x="458" y="1182"/>
                  </a:cubicBezTo>
                  <a:cubicBezTo>
                    <a:pt x="472" y="1209"/>
                    <a:pt x="485" y="1244"/>
                    <a:pt x="485" y="1244"/>
                  </a:cubicBezTo>
                  <a:cubicBezTo>
                    <a:pt x="493" y="1314"/>
                    <a:pt x="493" y="1314"/>
                    <a:pt x="493" y="1314"/>
                  </a:cubicBezTo>
                  <a:cubicBezTo>
                    <a:pt x="489" y="1317"/>
                    <a:pt x="489" y="1317"/>
                    <a:pt x="489" y="1317"/>
                  </a:cubicBezTo>
                  <a:cubicBezTo>
                    <a:pt x="479" y="1301"/>
                    <a:pt x="479" y="1301"/>
                    <a:pt x="479" y="1301"/>
                  </a:cubicBezTo>
                  <a:cubicBezTo>
                    <a:pt x="474" y="1248"/>
                    <a:pt x="474" y="1248"/>
                    <a:pt x="474" y="1248"/>
                  </a:cubicBezTo>
                  <a:cubicBezTo>
                    <a:pt x="442" y="1200"/>
                    <a:pt x="442" y="1200"/>
                    <a:pt x="442" y="1200"/>
                  </a:cubicBezTo>
                  <a:cubicBezTo>
                    <a:pt x="440" y="1177"/>
                    <a:pt x="440" y="1177"/>
                    <a:pt x="440" y="1177"/>
                  </a:cubicBezTo>
                  <a:cubicBezTo>
                    <a:pt x="421" y="1176"/>
                    <a:pt x="421" y="1176"/>
                    <a:pt x="421" y="1176"/>
                  </a:cubicBezTo>
                  <a:cubicBezTo>
                    <a:pt x="421" y="1176"/>
                    <a:pt x="412" y="1218"/>
                    <a:pt x="411" y="1226"/>
                  </a:cubicBezTo>
                  <a:cubicBezTo>
                    <a:pt x="411" y="1233"/>
                    <a:pt x="367" y="1380"/>
                    <a:pt x="367" y="1380"/>
                  </a:cubicBezTo>
                  <a:cubicBezTo>
                    <a:pt x="367" y="1380"/>
                    <a:pt x="387" y="1351"/>
                    <a:pt x="394" y="1355"/>
                  </a:cubicBezTo>
                  <a:cubicBezTo>
                    <a:pt x="401" y="1359"/>
                    <a:pt x="408" y="1378"/>
                    <a:pt x="408" y="1378"/>
                  </a:cubicBezTo>
                  <a:cubicBezTo>
                    <a:pt x="389" y="1378"/>
                    <a:pt x="389" y="1378"/>
                    <a:pt x="389" y="1378"/>
                  </a:cubicBezTo>
                  <a:cubicBezTo>
                    <a:pt x="389" y="1378"/>
                    <a:pt x="362" y="1395"/>
                    <a:pt x="354" y="1418"/>
                  </a:cubicBezTo>
                  <a:cubicBezTo>
                    <a:pt x="349" y="1437"/>
                    <a:pt x="323" y="1527"/>
                    <a:pt x="315" y="1531"/>
                  </a:cubicBezTo>
                  <a:cubicBezTo>
                    <a:pt x="311" y="1534"/>
                    <a:pt x="285" y="1610"/>
                    <a:pt x="285" y="1610"/>
                  </a:cubicBezTo>
                  <a:cubicBezTo>
                    <a:pt x="246" y="1650"/>
                    <a:pt x="246" y="1650"/>
                    <a:pt x="246" y="1650"/>
                  </a:cubicBezTo>
                  <a:cubicBezTo>
                    <a:pt x="246" y="1650"/>
                    <a:pt x="220" y="1652"/>
                    <a:pt x="216" y="1656"/>
                  </a:cubicBezTo>
                  <a:cubicBezTo>
                    <a:pt x="212" y="1656"/>
                    <a:pt x="222" y="1672"/>
                    <a:pt x="222" y="1672"/>
                  </a:cubicBezTo>
                  <a:cubicBezTo>
                    <a:pt x="237" y="1672"/>
                    <a:pt x="237" y="1672"/>
                    <a:pt x="237" y="1672"/>
                  </a:cubicBezTo>
                  <a:cubicBezTo>
                    <a:pt x="237" y="1672"/>
                    <a:pt x="233" y="1684"/>
                    <a:pt x="240" y="1688"/>
                  </a:cubicBezTo>
                  <a:cubicBezTo>
                    <a:pt x="248" y="1692"/>
                    <a:pt x="259" y="1685"/>
                    <a:pt x="259" y="1685"/>
                  </a:cubicBezTo>
                  <a:cubicBezTo>
                    <a:pt x="278" y="1693"/>
                    <a:pt x="278" y="1693"/>
                    <a:pt x="278" y="1693"/>
                  </a:cubicBezTo>
                  <a:cubicBezTo>
                    <a:pt x="278" y="1693"/>
                    <a:pt x="280" y="1724"/>
                    <a:pt x="269" y="1724"/>
                  </a:cubicBezTo>
                  <a:cubicBezTo>
                    <a:pt x="257" y="1727"/>
                    <a:pt x="246" y="1730"/>
                    <a:pt x="253" y="1738"/>
                  </a:cubicBezTo>
                  <a:cubicBezTo>
                    <a:pt x="260" y="1750"/>
                    <a:pt x="271" y="1754"/>
                    <a:pt x="271" y="1754"/>
                  </a:cubicBezTo>
                  <a:cubicBezTo>
                    <a:pt x="291" y="1732"/>
                    <a:pt x="291" y="1732"/>
                    <a:pt x="291" y="1732"/>
                  </a:cubicBezTo>
                  <a:cubicBezTo>
                    <a:pt x="290" y="1748"/>
                    <a:pt x="290" y="1748"/>
                    <a:pt x="290" y="1748"/>
                  </a:cubicBezTo>
                  <a:cubicBezTo>
                    <a:pt x="348" y="1789"/>
                    <a:pt x="348" y="1789"/>
                    <a:pt x="348" y="1789"/>
                  </a:cubicBezTo>
                  <a:cubicBezTo>
                    <a:pt x="378" y="1782"/>
                    <a:pt x="378" y="1782"/>
                    <a:pt x="378" y="1782"/>
                  </a:cubicBezTo>
                  <a:cubicBezTo>
                    <a:pt x="386" y="1787"/>
                    <a:pt x="386" y="1787"/>
                    <a:pt x="386" y="1787"/>
                  </a:cubicBezTo>
                  <a:cubicBezTo>
                    <a:pt x="377" y="1809"/>
                    <a:pt x="377" y="1809"/>
                    <a:pt x="377" y="1809"/>
                  </a:cubicBezTo>
                  <a:cubicBezTo>
                    <a:pt x="398" y="1841"/>
                    <a:pt x="398" y="1841"/>
                    <a:pt x="398" y="1841"/>
                  </a:cubicBezTo>
                  <a:cubicBezTo>
                    <a:pt x="414" y="1830"/>
                    <a:pt x="414" y="1830"/>
                    <a:pt x="414" y="1830"/>
                  </a:cubicBezTo>
                  <a:cubicBezTo>
                    <a:pt x="417" y="1834"/>
                    <a:pt x="417" y="1834"/>
                    <a:pt x="417" y="1834"/>
                  </a:cubicBezTo>
                  <a:cubicBezTo>
                    <a:pt x="443" y="1831"/>
                    <a:pt x="443" y="1831"/>
                    <a:pt x="443" y="1831"/>
                  </a:cubicBezTo>
                  <a:cubicBezTo>
                    <a:pt x="479" y="1875"/>
                    <a:pt x="479" y="1875"/>
                    <a:pt x="479" y="1875"/>
                  </a:cubicBezTo>
                  <a:cubicBezTo>
                    <a:pt x="479" y="1875"/>
                    <a:pt x="517" y="1862"/>
                    <a:pt x="524" y="1870"/>
                  </a:cubicBezTo>
                  <a:cubicBezTo>
                    <a:pt x="535" y="1878"/>
                    <a:pt x="534" y="1889"/>
                    <a:pt x="538" y="1889"/>
                  </a:cubicBezTo>
                  <a:cubicBezTo>
                    <a:pt x="546" y="1890"/>
                    <a:pt x="550" y="1875"/>
                    <a:pt x="550" y="1875"/>
                  </a:cubicBezTo>
                  <a:cubicBezTo>
                    <a:pt x="550" y="1875"/>
                    <a:pt x="571" y="1906"/>
                    <a:pt x="590" y="1896"/>
                  </a:cubicBezTo>
                  <a:cubicBezTo>
                    <a:pt x="605" y="1889"/>
                    <a:pt x="588" y="1861"/>
                    <a:pt x="607" y="1862"/>
                  </a:cubicBezTo>
                  <a:cubicBezTo>
                    <a:pt x="625" y="1863"/>
                    <a:pt x="640" y="1879"/>
                    <a:pt x="640" y="1879"/>
                  </a:cubicBezTo>
                  <a:cubicBezTo>
                    <a:pt x="640" y="1879"/>
                    <a:pt x="658" y="1876"/>
                    <a:pt x="662" y="1884"/>
                  </a:cubicBezTo>
                  <a:cubicBezTo>
                    <a:pt x="665" y="1888"/>
                    <a:pt x="683" y="1912"/>
                    <a:pt x="683" y="1912"/>
                  </a:cubicBezTo>
                  <a:cubicBezTo>
                    <a:pt x="683" y="1912"/>
                    <a:pt x="709" y="1905"/>
                    <a:pt x="717" y="1909"/>
                  </a:cubicBezTo>
                  <a:cubicBezTo>
                    <a:pt x="728" y="1918"/>
                    <a:pt x="731" y="1933"/>
                    <a:pt x="731" y="1933"/>
                  </a:cubicBezTo>
                  <a:cubicBezTo>
                    <a:pt x="746" y="1926"/>
                    <a:pt x="746" y="1926"/>
                    <a:pt x="746" y="1926"/>
                  </a:cubicBezTo>
                  <a:cubicBezTo>
                    <a:pt x="760" y="1938"/>
                    <a:pt x="760" y="1938"/>
                    <a:pt x="760" y="1938"/>
                  </a:cubicBezTo>
                  <a:cubicBezTo>
                    <a:pt x="768" y="1935"/>
                    <a:pt x="768" y="1935"/>
                    <a:pt x="768" y="1935"/>
                  </a:cubicBezTo>
                  <a:cubicBezTo>
                    <a:pt x="782" y="1947"/>
                    <a:pt x="782" y="1947"/>
                    <a:pt x="782" y="1947"/>
                  </a:cubicBezTo>
                  <a:cubicBezTo>
                    <a:pt x="770" y="1969"/>
                    <a:pt x="770" y="1969"/>
                    <a:pt x="770" y="1969"/>
                  </a:cubicBezTo>
                  <a:cubicBezTo>
                    <a:pt x="792" y="1986"/>
                    <a:pt x="792" y="1986"/>
                    <a:pt x="792" y="1986"/>
                  </a:cubicBezTo>
                  <a:cubicBezTo>
                    <a:pt x="792" y="1986"/>
                    <a:pt x="815" y="1971"/>
                    <a:pt x="815" y="1975"/>
                  </a:cubicBezTo>
                  <a:cubicBezTo>
                    <a:pt x="815" y="1979"/>
                    <a:pt x="806" y="2002"/>
                    <a:pt x="806" y="2002"/>
                  </a:cubicBezTo>
                  <a:cubicBezTo>
                    <a:pt x="806" y="2002"/>
                    <a:pt x="809" y="2017"/>
                    <a:pt x="824" y="2018"/>
                  </a:cubicBezTo>
                  <a:cubicBezTo>
                    <a:pt x="839" y="2018"/>
                    <a:pt x="866" y="1993"/>
                    <a:pt x="881" y="2009"/>
                  </a:cubicBezTo>
                  <a:cubicBezTo>
                    <a:pt x="891" y="2025"/>
                    <a:pt x="902" y="2033"/>
                    <a:pt x="902" y="2033"/>
                  </a:cubicBezTo>
                  <a:cubicBezTo>
                    <a:pt x="921" y="2034"/>
                    <a:pt x="921" y="2034"/>
                    <a:pt x="921" y="2034"/>
                  </a:cubicBezTo>
                  <a:cubicBezTo>
                    <a:pt x="928" y="2034"/>
                    <a:pt x="941" y="2000"/>
                    <a:pt x="967" y="2005"/>
                  </a:cubicBezTo>
                  <a:cubicBezTo>
                    <a:pt x="989" y="2014"/>
                    <a:pt x="992" y="2026"/>
                    <a:pt x="992" y="2026"/>
                  </a:cubicBezTo>
                  <a:cubicBezTo>
                    <a:pt x="1014" y="2027"/>
                    <a:pt x="1014" y="2027"/>
                    <a:pt x="1014" y="2027"/>
                  </a:cubicBezTo>
                  <a:cubicBezTo>
                    <a:pt x="1014" y="2027"/>
                    <a:pt x="1012" y="2008"/>
                    <a:pt x="1008" y="2004"/>
                  </a:cubicBezTo>
                  <a:cubicBezTo>
                    <a:pt x="1001" y="1999"/>
                    <a:pt x="1002" y="1973"/>
                    <a:pt x="1006" y="1961"/>
                  </a:cubicBezTo>
                  <a:cubicBezTo>
                    <a:pt x="1010" y="1950"/>
                    <a:pt x="1008" y="1931"/>
                    <a:pt x="1008" y="1931"/>
                  </a:cubicBezTo>
                  <a:cubicBezTo>
                    <a:pt x="993" y="1934"/>
                    <a:pt x="993" y="1934"/>
                    <a:pt x="993" y="1934"/>
                  </a:cubicBezTo>
                  <a:cubicBezTo>
                    <a:pt x="993" y="1934"/>
                    <a:pt x="993" y="1919"/>
                    <a:pt x="1001" y="1915"/>
                  </a:cubicBezTo>
                  <a:cubicBezTo>
                    <a:pt x="1008" y="1916"/>
                    <a:pt x="1013" y="1897"/>
                    <a:pt x="1013" y="1893"/>
                  </a:cubicBezTo>
                  <a:cubicBezTo>
                    <a:pt x="1013" y="1889"/>
                    <a:pt x="995" y="1877"/>
                    <a:pt x="1003" y="1873"/>
                  </a:cubicBezTo>
                  <a:cubicBezTo>
                    <a:pt x="1011" y="1866"/>
                    <a:pt x="1014" y="1874"/>
                    <a:pt x="1014" y="1874"/>
                  </a:cubicBezTo>
                  <a:cubicBezTo>
                    <a:pt x="1029" y="1875"/>
                    <a:pt x="1029" y="1875"/>
                    <a:pt x="1029" y="1875"/>
                  </a:cubicBezTo>
                  <a:cubicBezTo>
                    <a:pt x="1029" y="1875"/>
                    <a:pt x="1034" y="1852"/>
                    <a:pt x="1057" y="1841"/>
                  </a:cubicBezTo>
                  <a:cubicBezTo>
                    <a:pt x="1080" y="1831"/>
                    <a:pt x="1083" y="1847"/>
                    <a:pt x="1098" y="1840"/>
                  </a:cubicBezTo>
                  <a:cubicBezTo>
                    <a:pt x="1113" y="1833"/>
                    <a:pt x="1107" y="1813"/>
                    <a:pt x="1107" y="1813"/>
                  </a:cubicBezTo>
                  <a:cubicBezTo>
                    <a:pt x="1107" y="1813"/>
                    <a:pt x="1130" y="1788"/>
                    <a:pt x="1130" y="1799"/>
                  </a:cubicBezTo>
                  <a:cubicBezTo>
                    <a:pt x="1133" y="1807"/>
                    <a:pt x="1118" y="1818"/>
                    <a:pt x="1118" y="1818"/>
                  </a:cubicBezTo>
                  <a:cubicBezTo>
                    <a:pt x="1132" y="1822"/>
                    <a:pt x="1132" y="1822"/>
                    <a:pt x="1132" y="1822"/>
                  </a:cubicBezTo>
                  <a:cubicBezTo>
                    <a:pt x="1144" y="1811"/>
                    <a:pt x="1144" y="1811"/>
                    <a:pt x="1144" y="1811"/>
                  </a:cubicBezTo>
                  <a:cubicBezTo>
                    <a:pt x="1145" y="1800"/>
                    <a:pt x="1145" y="1800"/>
                    <a:pt x="1145" y="1800"/>
                  </a:cubicBezTo>
                  <a:cubicBezTo>
                    <a:pt x="1145" y="1800"/>
                    <a:pt x="1168" y="1786"/>
                    <a:pt x="1186" y="1786"/>
                  </a:cubicBezTo>
                  <a:cubicBezTo>
                    <a:pt x="1205" y="1787"/>
                    <a:pt x="1215" y="1807"/>
                    <a:pt x="1215" y="1807"/>
                  </a:cubicBezTo>
                  <a:cubicBezTo>
                    <a:pt x="1215" y="1807"/>
                    <a:pt x="1282" y="1825"/>
                    <a:pt x="1282" y="1829"/>
                  </a:cubicBezTo>
                  <a:cubicBezTo>
                    <a:pt x="1282" y="1833"/>
                    <a:pt x="1284" y="1852"/>
                    <a:pt x="1284" y="1852"/>
                  </a:cubicBezTo>
                  <a:cubicBezTo>
                    <a:pt x="1329" y="1858"/>
                    <a:pt x="1329" y="1858"/>
                    <a:pt x="1329" y="1858"/>
                  </a:cubicBezTo>
                  <a:cubicBezTo>
                    <a:pt x="1329" y="1858"/>
                    <a:pt x="1331" y="1824"/>
                    <a:pt x="1334" y="1828"/>
                  </a:cubicBezTo>
                  <a:cubicBezTo>
                    <a:pt x="1338" y="1832"/>
                    <a:pt x="1362" y="1864"/>
                    <a:pt x="1362" y="1864"/>
                  </a:cubicBezTo>
                  <a:cubicBezTo>
                    <a:pt x="1407" y="1862"/>
                    <a:pt x="1407" y="1862"/>
                    <a:pt x="1407" y="1862"/>
                  </a:cubicBezTo>
                  <a:cubicBezTo>
                    <a:pt x="1407" y="1862"/>
                    <a:pt x="1418" y="1870"/>
                    <a:pt x="1418" y="1874"/>
                  </a:cubicBezTo>
                  <a:cubicBezTo>
                    <a:pt x="1418" y="1878"/>
                    <a:pt x="1406" y="1896"/>
                    <a:pt x="1413" y="1901"/>
                  </a:cubicBezTo>
                  <a:cubicBezTo>
                    <a:pt x="1420" y="1905"/>
                    <a:pt x="1447" y="1906"/>
                    <a:pt x="1454" y="1910"/>
                  </a:cubicBezTo>
                  <a:cubicBezTo>
                    <a:pt x="1457" y="1914"/>
                    <a:pt x="1471" y="1945"/>
                    <a:pt x="1482" y="1946"/>
                  </a:cubicBezTo>
                  <a:cubicBezTo>
                    <a:pt x="1497" y="1943"/>
                    <a:pt x="1509" y="1932"/>
                    <a:pt x="1509" y="1932"/>
                  </a:cubicBezTo>
                  <a:cubicBezTo>
                    <a:pt x="1527" y="1940"/>
                    <a:pt x="1527" y="1940"/>
                    <a:pt x="1527" y="1940"/>
                  </a:cubicBezTo>
                  <a:cubicBezTo>
                    <a:pt x="1534" y="1960"/>
                    <a:pt x="1534" y="1960"/>
                    <a:pt x="1534" y="1960"/>
                  </a:cubicBezTo>
                  <a:cubicBezTo>
                    <a:pt x="1545" y="1953"/>
                    <a:pt x="1545" y="1953"/>
                    <a:pt x="1545" y="1953"/>
                  </a:cubicBezTo>
                  <a:cubicBezTo>
                    <a:pt x="1554" y="1934"/>
                    <a:pt x="1554" y="1934"/>
                    <a:pt x="1554" y="1934"/>
                  </a:cubicBezTo>
                  <a:cubicBezTo>
                    <a:pt x="1576" y="1943"/>
                    <a:pt x="1576" y="1943"/>
                    <a:pt x="1576" y="1943"/>
                  </a:cubicBezTo>
                  <a:cubicBezTo>
                    <a:pt x="1580" y="1931"/>
                    <a:pt x="1580" y="1931"/>
                    <a:pt x="1580" y="1931"/>
                  </a:cubicBezTo>
                  <a:cubicBezTo>
                    <a:pt x="1610" y="1929"/>
                    <a:pt x="1610" y="1929"/>
                    <a:pt x="1610" y="1929"/>
                  </a:cubicBezTo>
                  <a:cubicBezTo>
                    <a:pt x="1629" y="1934"/>
                    <a:pt x="1629" y="1934"/>
                    <a:pt x="1629" y="1934"/>
                  </a:cubicBezTo>
                  <a:cubicBezTo>
                    <a:pt x="1629" y="1918"/>
                    <a:pt x="1629" y="1918"/>
                    <a:pt x="1629" y="1918"/>
                  </a:cubicBezTo>
                  <a:cubicBezTo>
                    <a:pt x="1629" y="1918"/>
                    <a:pt x="1620" y="1887"/>
                    <a:pt x="1635" y="1884"/>
                  </a:cubicBezTo>
                  <a:cubicBezTo>
                    <a:pt x="1650" y="1877"/>
                    <a:pt x="1661" y="1886"/>
                    <a:pt x="1668" y="1882"/>
                  </a:cubicBezTo>
                  <a:cubicBezTo>
                    <a:pt x="1676" y="1879"/>
                    <a:pt x="1670" y="1844"/>
                    <a:pt x="1685" y="1848"/>
                  </a:cubicBezTo>
                  <a:cubicBezTo>
                    <a:pt x="1696" y="1849"/>
                    <a:pt x="1710" y="1865"/>
                    <a:pt x="1719" y="1850"/>
                  </a:cubicBezTo>
                  <a:cubicBezTo>
                    <a:pt x="1727" y="1835"/>
                    <a:pt x="1705" y="1823"/>
                    <a:pt x="1738" y="1824"/>
                  </a:cubicBezTo>
                  <a:cubicBezTo>
                    <a:pt x="1768" y="1826"/>
                    <a:pt x="1765" y="1818"/>
                    <a:pt x="1765" y="1818"/>
                  </a:cubicBezTo>
                  <a:cubicBezTo>
                    <a:pt x="1765" y="1818"/>
                    <a:pt x="1754" y="1802"/>
                    <a:pt x="1766" y="1803"/>
                  </a:cubicBezTo>
                  <a:cubicBezTo>
                    <a:pt x="1773" y="1799"/>
                    <a:pt x="1784" y="1811"/>
                    <a:pt x="1784" y="1811"/>
                  </a:cubicBezTo>
                  <a:cubicBezTo>
                    <a:pt x="1795" y="1808"/>
                    <a:pt x="1795" y="1808"/>
                    <a:pt x="1795" y="1808"/>
                  </a:cubicBezTo>
                  <a:cubicBezTo>
                    <a:pt x="1782" y="1777"/>
                    <a:pt x="1782" y="1777"/>
                    <a:pt x="1782" y="1777"/>
                  </a:cubicBezTo>
                  <a:cubicBezTo>
                    <a:pt x="1782" y="1777"/>
                    <a:pt x="1808" y="1774"/>
                    <a:pt x="1821" y="174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5" name="Freeform 278">
              <a:extLst>
                <a:ext uri="{FF2B5EF4-FFF2-40B4-BE49-F238E27FC236}">
                  <a16:creationId xmlns:a16="http://schemas.microsoft.com/office/drawing/2014/main" id="{F9F6F414-3198-DB88-2EF2-F3C7CE71D993}"/>
                </a:ext>
              </a:extLst>
            </p:cNvPr>
            <p:cNvSpPr>
              <a:spLocks/>
            </p:cNvSpPr>
            <p:nvPr/>
          </p:nvSpPr>
          <p:spPr bwMode="gray">
            <a:xfrm>
              <a:off x="8680876" y="3696985"/>
              <a:ext cx="14383" cy="23374"/>
            </a:xfrm>
            <a:custGeom>
              <a:avLst/>
              <a:gdLst>
                <a:gd name="T0" fmla="*/ 26 w 26"/>
                <a:gd name="T1" fmla="*/ 32 h 39"/>
                <a:gd name="T2" fmla="*/ 5 w 26"/>
                <a:gd name="T3" fmla="*/ 0 h 39"/>
                <a:gd name="T4" fmla="*/ 1 w 26"/>
                <a:gd name="T5" fmla="*/ 12 h 39"/>
                <a:gd name="T6" fmla="*/ 0 w 26"/>
                <a:gd name="T7" fmla="*/ 27 h 39"/>
                <a:gd name="T8" fmla="*/ 26 w 26"/>
                <a:gd name="T9" fmla="*/ 32 h 39"/>
              </a:gdLst>
              <a:ahLst/>
              <a:cxnLst>
                <a:cxn ang="0">
                  <a:pos x="T0" y="T1"/>
                </a:cxn>
                <a:cxn ang="0">
                  <a:pos x="T2" y="T3"/>
                </a:cxn>
                <a:cxn ang="0">
                  <a:pos x="T4" y="T5"/>
                </a:cxn>
                <a:cxn ang="0">
                  <a:pos x="T6" y="T7"/>
                </a:cxn>
                <a:cxn ang="0">
                  <a:pos x="T8" y="T9"/>
                </a:cxn>
              </a:cxnLst>
              <a:rect l="0" t="0" r="r" b="b"/>
              <a:pathLst>
                <a:path w="26" h="39">
                  <a:moveTo>
                    <a:pt x="26" y="32"/>
                  </a:moveTo>
                  <a:cubicBezTo>
                    <a:pt x="5" y="0"/>
                    <a:pt x="5" y="0"/>
                    <a:pt x="5" y="0"/>
                  </a:cubicBezTo>
                  <a:cubicBezTo>
                    <a:pt x="1" y="12"/>
                    <a:pt x="1" y="12"/>
                    <a:pt x="1" y="12"/>
                  </a:cubicBezTo>
                  <a:cubicBezTo>
                    <a:pt x="0" y="27"/>
                    <a:pt x="0" y="27"/>
                    <a:pt x="0" y="27"/>
                  </a:cubicBezTo>
                  <a:cubicBezTo>
                    <a:pt x="14" y="39"/>
                    <a:pt x="26" y="32"/>
                    <a:pt x="26" y="3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6" name="Freeform 279">
              <a:extLst>
                <a:ext uri="{FF2B5EF4-FFF2-40B4-BE49-F238E27FC236}">
                  <a16:creationId xmlns:a16="http://schemas.microsoft.com/office/drawing/2014/main" id="{48262C90-CFF9-1BC3-4576-BA3377BEEC5C}"/>
                </a:ext>
              </a:extLst>
            </p:cNvPr>
            <p:cNvSpPr>
              <a:spLocks/>
            </p:cNvSpPr>
            <p:nvPr/>
          </p:nvSpPr>
          <p:spPr bwMode="gray">
            <a:xfrm>
              <a:off x="8794148" y="3425490"/>
              <a:ext cx="35959" cy="12586"/>
            </a:xfrm>
            <a:custGeom>
              <a:avLst/>
              <a:gdLst>
                <a:gd name="T0" fmla="*/ 30 w 60"/>
                <a:gd name="T1" fmla="*/ 3 h 19"/>
                <a:gd name="T2" fmla="*/ 26 w 60"/>
                <a:gd name="T3" fmla="*/ 18 h 19"/>
                <a:gd name="T4" fmla="*/ 30 w 60"/>
                <a:gd name="T5" fmla="*/ 3 h 19"/>
              </a:gdLst>
              <a:ahLst/>
              <a:cxnLst>
                <a:cxn ang="0">
                  <a:pos x="T0" y="T1"/>
                </a:cxn>
                <a:cxn ang="0">
                  <a:pos x="T2" y="T3"/>
                </a:cxn>
                <a:cxn ang="0">
                  <a:pos x="T4" y="T5"/>
                </a:cxn>
              </a:cxnLst>
              <a:rect l="0" t="0" r="r" b="b"/>
              <a:pathLst>
                <a:path w="60" h="19">
                  <a:moveTo>
                    <a:pt x="30" y="3"/>
                  </a:moveTo>
                  <a:cubicBezTo>
                    <a:pt x="0" y="5"/>
                    <a:pt x="26" y="18"/>
                    <a:pt x="26" y="18"/>
                  </a:cubicBezTo>
                  <a:cubicBezTo>
                    <a:pt x="41" y="19"/>
                    <a:pt x="60" y="0"/>
                    <a:pt x="30"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7" name="Freeform 280">
              <a:extLst>
                <a:ext uri="{FF2B5EF4-FFF2-40B4-BE49-F238E27FC236}">
                  <a16:creationId xmlns:a16="http://schemas.microsoft.com/office/drawing/2014/main" id="{D8A03427-3345-E7E5-12B9-B09AE6CDE385}"/>
                </a:ext>
              </a:extLst>
            </p:cNvPr>
            <p:cNvSpPr>
              <a:spLocks/>
            </p:cNvSpPr>
            <p:nvPr/>
          </p:nvSpPr>
          <p:spPr bwMode="gray">
            <a:xfrm>
              <a:off x="9554693" y="3547753"/>
              <a:ext cx="3596" cy="0"/>
            </a:xfrm>
            <a:custGeom>
              <a:avLst/>
              <a:gdLst>
                <a:gd name="T0" fmla="*/ 0 w 2"/>
                <a:gd name="T1" fmla="*/ 1 w 2"/>
                <a:gd name="T2" fmla="*/ 2 w 2"/>
                <a:gd name="T3" fmla="*/ 0 w 2"/>
              </a:gdLst>
              <a:ahLst/>
              <a:cxnLst>
                <a:cxn ang="0">
                  <a:pos x="T0" y="0"/>
                </a:cxn>
                <a:cxn ang="0">
                  <a:pos x="T1" y="0"/>
                </a:cxn>
                <a:cxn ang="0">
                  <a:pos x="T2" y="0"/>
                </a:cxn>
                <a:cxn ang="0">
                  <a:pos x="T3" y="0"/>
                </a:cxn>
              </a:cxnLst>
              <a:rect l="0" t="0" r="r" b="b"/>
              <a:pathLst>
                <a:path w="2">
                  <a:moveTo>
                    <a:pt x="0" y="0"/>
                  </a:moveTo>
                  <a:lnTo>
                    <a:pt x="1" y="0"/>
                  </a:lnTo>
                  <a:lnTo>
                    <a:pt x="2"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8" name="Freeform 281">
              <a:extLst>
                <a:ext uri="{FF2B5EF4-FFF2-40B4-BE49-F238E27FC236}">
                  <a16:creationId xmlns:a16="http://schemas.microsoft.com/office/drawing/2014/main" id="{7F5FC260-8D8B-0346-EB52-F9062D94F563}"/>
                </a:ext>
              </a:extLst>
            </p:cNvPr>
            <p:cNvSpPr>
              <a:spLocks/>
            </p:cNvSpPr>
            <p:nvPr/>
          </p:nvSpPr>
          <p:spPr bwMode="gray">
            <a:xfrm>
              <a:off x="9693137" y="3828238"/>
              <a:ext cx="1798" cy="1798"/>
            </a:xfrm>
            <a:custGeom>
              <a:avLst/>
              <a:gdLst>
                <a:gd name="T0" fmla="*/ 0 w 1"/>
                <a:gd name="T1" fmla="*/ 0 h 4"/>
                <a:gd name="T2" fmla="*/ 1 w 1"/>
                <a:gd name="T3" fmla="*/ 4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cubicBezTo>
                    <a:pt x="0" y="2"/>
                    <a:pt x="0" y="3"/>
                    <a:pt x="1" y="4"/>
                  </a:cubicBezTo>
                  <a:cubicBezTo>
                    <a:pt x="1" y="4"/>
                    <a:pt x="1" y="4"/>
                    <a:pt x="1" y="4"/>
                  </a:cubicBezTo>
                  <a:cubicBezTo>
                    <a:pt x="0" y="3"/>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9" name="Freeform 282">
              <a:extLst>
                <a:ext uri="{FF2B5EF4-FFF2-40B4-BE49-F238E27FC236}">
                  <a16:creationId xmlns:a16="http://schemas.microsoft.com/office/drawing/2014/main" id="{22F39372-5974-350F-21DC-43B9BE589466}"/>
                </a:ext>
              </a:extLst>
            </p:cNvPr>
            <p:cNvSpPr>
              <a:spLocks/>
            </p:cNvSpPr>
            <p:nvPr/>
          </p:nvSpPr>
          <p:spPr bwMode="gray">
            <a:xfrm>
              <a:off x="9612229" y="3560339"/>
              <a:ext cx="3596" cy="0"/>
            </a:xfrm>
            <a:custGeom>
              <a:avLst/>
              <a:gdLst>
                <a:gd name="T0" fmla="*/ 0 w 5"/>
                <a:gd name="T1" fmla="*/ 0 h 2"/>
                <a:gd name="T2" fmla="*/ 5 w 5"/>
                <a:gd name="T3" fmla="*/ 2 h 2"/>
                <a:gd name="T4" fmla="*/ 1 w 5"/>
                <a:gd name="T5" fmla="*/ 0 h 2"/>
                <a:gd name="T6" fmla="*/ 0 w 5"/>
                <a:gd name="T7" fmla="*/ 0 h 2"/>
              </a:gdLst>
              <a:ahLst/>
              <a:cxnLst>
                <a:cxn ang="0">
                  <a:pos x="T0" y="T1"/>
                </a:cxn>
                <a:cxn ang="0">
                  <a:pos x="T2" y="T3"/>
                </a:cxn>
                <a:cxn ang="0">
                  <a:pos x="T4" y="T5"/>
                </a:cxn>
                <a:cxn ang="0">
                  <a:pos x="T6" y="T7"/>
                </a:cxn>
              </a:cxnLst>
              <a:rect l="0" t="0" r="r" b="b"/>
              <a:pathLst>
                <a:path w="5" h="2">
                  <a:moveTo>
                    <a:pt x="0" y="0"/>
                  </a:moveTo>
                  <a:cubicBezTo>
                    <a:pt x="1" y="1"/>
                    <a:pt x="3" y="1"/>
                    <a:pt x="5" y="2"/>
                  </a:cubicBezTo>
                  <a:cubicBezTo>
                    <a:pt x="4" y="1"/>
                    <a:pt x="2" y="1"/>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0" name="Freeform 283">
              <a:extLst>
                <a:ext uri="{FF2B5EF4-FFF2-40B4-BE49-F238E27FC236}">
                  <a16:creationId xmlns:a16="http://schemas.microsoft.com/office/drawing/2014/main" id="{276A1AF3-2C0B-F068-31BB-4BF5660C747F}"/>
                </a:ext>
              </a:extLst>
            </p:cNvPr>
            <p:cNvSpPr>
              <a:spLocks/>
            </p:cNvSpPr>
            <p:nvPr/>
          </p:nvSpPr>
          <p:spPr bwMode="gray">
            <a:xfrm>
              <a:off x="7751322" y="4277732"/>
              <a:ext cx="451292" cy="708404"/>
            </a:xfrm>
            <a:custGeom>
              <a:avLst/>
              <a:gdLst>
                <a:gd name="T0" fmla="*/ 318 w 757"/>
                <a:gd name="T1" fmla="*/ 1049 h 1188"/>
                <a:gd name="T2" fmla="*/ 365 w 757"/>
                <a:gd name="T3" fmla="*/ 994 h 1188"/>
                <a:gd name="T4" fmla="*/ 430 w 757"/>
                <a:gd name="T5" fmla="*/ 966 h 1188"/>
                <a:gd name="T6" fmla="*/ 404 w 757"/>
                <a:gd name="T7" fmla="*/ 953 h 1188"/>
                <a:gd name="T8" fmla="*/ 410 w 757"/>
                <a:gd name="T9" fmla="*/ 824 h 1188"/>
                <a:gd name="T10" fmla="*/ 484 w 757"/>
                <a:gd name="T11" fmla="*/ 762 h 1188"/>
                <a:gd name="T12" fmla="*/ 436 w 757"/>
                <a:gd name="T13" fmla="*/ 679 h 1188"/>
                <a:gd name="T14" fmla="*/ 433 w 757"/>
                <a:gd name="T15" fmla="*/ 653 h 1188"/>
                <a:gd name="T16" fmla="*/ 509 w 757"/>
                <a:gd name="T17" fmla="*/ 622 h 1188"/>
                <a:gd name="T18" fmla="*/ 533 w 757"/>
                <a:gd name="T19" fmla="*/ 592 h 1188"/>
                <a:gd name="T20" fmla="*/ 540 w 757"/>
                <a:gd name="T21" fmla="*/ 512 h 1188"/>
                <a:gd name="T22" fmla="*/ 587 w 757"/>
                <a:gd name="T23" fmla="*/ 480 h 1188"/>
                <a:gd name="T24" fmla="*/ 615 w 757"/>
                <a:gd name="T25" fmla="*/ 363 h 1188"/>
                <a:gd name="T26" fmla="*/ 632 w 757"/>
                <a:gd name="T27" fmla="*/ 322 h 1188"/>
                <a:gd name="T28" fmla="*/ 682 w 757"/>
                <a:gd name="T29" fmla="*/ 290 h 1188"/>
                <a:gd name="T30" fmla="*/ 756 w 757"/>
                <a:gd name="T31" fmla="*/ 217 h 1188"/>
                <a:gd name="T32" fmla="*/ 710 w 757"/>
                <a:gd name="T33" fmla="*/ 169 h 1188"/>
                <a:gd name="T34" fmla="*/ 690 w 757"/>
                <a:gd name="T35" fmla="*/ 118 h 1188"/>
                <a:gd name="T36" fmla="*/ 674 w 757"/>
                <a:gd name="T37" fmla="*/ 121 h 1188"/>
                <a:gd name="T38" fmla="*/ 623 w 757"/>
                <a:gd name="T39" fmla="*/ 92 h 1188"/>
                <a:gd name="T40" fmla="*/ 563 w 757"/>
                <a:gd name="T41" fmla="*/ 100 h 1188"/>
                <a:gd name="T42" fmla="*/ 523 w 757"/>
                <a:gd name="T43" fmla="*/ 83 h 1188"/>
                <a:gd name="T44" fmla="*/ 486 w 757"/>
                <a:gd name="T45" fmla="*/ 74 h 1188"/>
                <a:gd name="T46" fmla="*/ 473 w 757"/>
                <a:gd name="T47" fmla="*/ 35 h 1188"/>
                <a:gd name="T48" fmla="*/ 458 w 757"/>
                <a:gd name="T49" fmla="*/ 19 h 1188"/>
                <a:gd name="T50" fmla="*/ 433 w 757"/>
                <a:gd name="T51" fmla="*/ 10 h 1188"/>
                <a:gd name="T52" fmla="*/ 369 w 757"/>
                <a:gd name="T53" fmla="*/ 15 h 1188"/>
                <a:gd name="T54" fmla="*/ 323 w 757"/>
                <a:gd name="T55" fmla="*/ 43 h 1188"/>
                <a:gd name="T56" fmla="*/ 336 w 757"/>
                <a:gd name="T57" fmla="*/ 67 h 1188"/>
                <a:gd name="T58" fmla="*/ 324 w 757"/>
                <a:gd name="T59" fmla="*/ 100 h 1188"/>
                <a:gd name="T60" fmla="*/ 318 w 757"/>
                <a:gd name="T61" fmla="*/ 230 h 1188"/>
                <a:gd name="T62" fmla="*/ 284 w 757"/>
                <a:gd name="T63" fmla="*/ 309 h 1188"/>
                <a:gd name="T64" fmla="*/ 308 w 757"/>
                <a:gd name="T65" fmla="*/ 279 h 1188"/>
                <a:gd name="T66" fmla="*/ 306 w 757"/>
                <a:gd name="T67" fmla="*/ 314 h 1188"/>
                <a:gd name="T68" fmla="*/ 220 w 757"/>
                <a:gd name="T69" fmla="*/ 398 h 1188"/>
                <a:gd name="T70" fmla="*/ 166 w 757"/>
                <a:gd name="T71" fmla="*/ 510 h 1188"/>
                <a:gd name="T72" fmla="*/ 150 w 757"/>
                <a:gd name="T73" fmla="*/ 540 h 1188"/>
                <a:gd name="T74" fmla="*/ 123 w 757"/>
                <a:gd name="T75" fmla="*/ 569 h 1188"/>
                <a:gd name="T76" fmla="*/ 85 w 757"/>
                <a:gd name="T77" fmla="*/ 571 h 1188"/>
                <a:gd name="T78" fmla="*/ 56 w 757"/>
                <a:gd name="T79" fmla="*/ 627 h 1188"/>
                <a:gd name="T80" fmla="*/ 28 w 757"/>
                <a:gd name="T81" fmla="*/ 683 h 1188"/>
                <a:gd name="T82" fmla="*/ 78 w 757"/>
                <a:gd name="T83" fmla="*/ 727 h 1188"/>
                <a:gd name="T84" fmla="*/ 123 w 757"/>
                <a:gd name="T85" fmla="*/ 722 h 1188"/>
                <a:gd name="T86" fmla="*/ 88 w 757"/>
                <a:gd name="T87" fmla="*/ 755 h 1188"/>
                <a:gd name="T88" fmla="*/ 58 w 757"/>
                <a:gd name="T89" fmla="*/ 742 h 1188"/>
                <a:gd name="T90" fmla="*/ 53 w 757"/>
                <a:gd name="T91" fmla="*/ 787 h 1188"/>
                <a:gd name="T92" fmla="*/ 116 w 757"/>
                <a:gd name="T93" fmla="*/ 787 h 1188"/>
                <a:gd name="T94" fmla="*/ 143 w 757"/>
                <a:gd name="T95" fmla="*/ 784 h 1188"/>
                <a:gd name="T96" fmla="*/ 156 w 757"/>
                <a:gd name="T97" fmla="*/ 819 h 1188"/>
                <a:gd name="T98" fmla="*/ 120 w 757"/>
                <a:gd name="T99" fmla="*/ 798 h 1188"/>
                <a:gd name="T100" fmla="*/ 77 w 757"/>
                <a:gd name="T101" fmla="*/ 911 h 1188"/>
                <a:gd name="T102" fmla="*/ 82 w 757"/>
                <a:gd name="T103" fmla="*/ 965 h 1188"/>
                <a:gd name="T104" fmla="*/ 60 w 757"/>
                <a:gd name="T105" fmla="*/ 1044 h 1188"/>
                <a:gd name="T106" fmla="*/ 35 w 757"/>
                <a:gd name="T107" fmla="*/ 1081 h 1188"/>
                <a:gd name="T108" fmla="*/ 0 w 757"/>
                <a:gd name="T109" fmla="*/ 1129 h 1188"/>
                <a:gd name="T110" fmla="*/ 177 w 757"/>
                <a:gd name="T111" fmla="*/ 1180 h 1188"/>
                <a:gd name="T112" fmla="*/ 256 w 757"/>
                <a:gd name="T113" fmla="*/ 1164 h 1188"/>
                <a:gd name="T114" fmla="*/ 300 w 757"/>
                <a:gd name="T115" fmla="*/ 1105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7" h="1188">
                  <a:moveTo>
                    <a:pt x="294" y="1078"/>
                  </a:moveTo>
                  <a:cubicBezTo>
                    <a:pt x="294" y="1078"/>
                    <a:pt x="302" y="1067"/>
                    <a:pt x="318" y="1049"/>
                  </a:cubicBezTo>
                  <a:cubicBezTo>
                    <a:pt x="330" y="1026"/>
                    <a:pt x="356" y="1020"/>
                    <a:pt x="356" y="1020"/>
                  </a:cubicBezTo>
                  <a:cubicBezTo>
                    <a:pt x="365" y="994"/>
                    <a:pt x="365" y="994"/>
                    <a:pt x="365" y="994"/>
                  </a:cubicBezTo>
                  <a:cubicBezTo>
                    <a:pt x="417" y="992"/>
                    <a:pt x="417" y="992"/>
                    <a:pt x="417" y="992"/>
                  </a:cubicBezTo>
                  <a:cubicBezTo>
                    <a:pt x="430" y="966"/>
                    <a:pt x="430" y="966"/>
                    <a:pt x="430" y="966"/>
                  </a:cubicBezTo>
                  <a:cubicBezTo>
                    <a:pt x="438" y="955"/>
                    <a:pt x="438" y="955"/>
                    <a:pt x="438" y="955"/>
                  </a:cubicBezTo>
                  <a:cubicBezTo>
                    <a:pt x="404" y="953"/>
                    <a:pt x="404" y="953"/>
                    <a:pt x="404" y="953"/>
                  </a:cubicBezTo>
                  <a:cubicBezTo>
                    <a:pt x="378" y="883"/>
                    <a:pt x="378" y="883"/>
                    <a:pt x="378" y="883"/>
                  </a:cubicBezTo>
                  <a:cubicBezTo>
                    <a:pt x="410" y="824"/>
                    <a:pt x="410" y="824"/>
                    <a:pt x="410" y="824"/>
                  </a:cubicBezTo>
                  <a:cubicBezTo>
                    <a:pt x="448" y="814"/>
                    <a:pt x="448" y="814"/>
                    <a:pt x="448" y="814"/>
                  </a:cubicBezTo>
                  <a:cubicBezTo>
                    <a:pt x="448" y="814"/>
                    <a:pt x="476" y="785"/>
                    <a:pt x="484" y="762"/>
                  </a:cubicBezTo>
                  <a:cubicBezTo>
                    <a:pt x="493" y="740"/>
                    <a:pt x="455" y="745"/>
                    <a:pt x="455" y="745"/>
                  </a:cubicBezTo>
                  <a:cubicBezTo>
                    <a:pt x="436" y="679"/>
                    <a:pt x="436" y="679"/>
                    <a:pt x="436" y="679"/>
                  </a:cubicBezTo>
                  <a:cubicBezTo>
                    <a:pt x="436" y="679"/>
                    <a:pt x="447" y="665"/>
                    <a:pt x="448" y="653"/>
                  </a:cubicBezTo>
                  <a:cubicBezTo>
                    <a:pt x="448" y="646"/>
                    <a:pt x="433" y="653"/>
                    <a:pt x="433" y="653"/>
                  </a:cubicBezTo>
                  <a:cubicBezTo>
                    <a:pt x="413" y="598"/>
                    <a:pt x="413" y="598"/>
                    <a:pt x="413" y="598"/>
                  </a:cubicBezTo>
                  <a:cubicBezTo>
                    <a:pt x="509" y="622"/>
                    <a:pt x="509" y="622"/>
                    <a:pt x="509" y="622"/>
                  </a:cubicBezTo>
                  <a:cubicBezTo>
                    <a:pt x="522" y="592"/>
                    <a:pt x="522" y="592"/>
                    <a:pt x="522" y="592"/>
                  </a:cubicBezTo>
                  <a:cubicBezTo>
                    <a:pt x="533" y="592"/>
                    <a:pt x="533" y="592"/>
                    <a:pt x="533" y="592"/>
                  </a:cubicBezTo>
                  <a:cubicBezTo>
                    <a:pt x="554" y="555"/>
                    <a:pt x="554" y="555"/>
                    <a:pt x="554" y="555"/>
                  </a:cubicBezTo>
                  <a:cubicBezTo>
                    <a:pt x="554" y="555"/>
                    <a:pt x="540" y="528"/>
                    <a:pt x="540" y="512"/>
                  </a:cubicBezTo>
                  <a:cubicBezTo>
                    <a:pt x="541" y="493"/>
                    <a:pt x="567" y="498"/>
                    <a:pt x="567" y="498"/>
                  </a:cubicBezTo>
                  <a:cubicBezTo>
                    <a:pt x="587" y="480"/>
                    <a:pt x="587" y="480"/>
                    <a:pt x="587" y="480"/>
                  </a:cubicBezTo>
                  <a:cubicBezTo>
                    <a:pt x="581" y="453"/>
                    <a:pt x="581" y="453"/>
                    <a:pt x="581" y="453"/>
                  </a:cubicBezTo>
                  <a:cubicBezTo>
                    <a:pt x="615" y="363"/>
                    <a:pt x="615" y="363"/>
                    <a:pt x="615" y="363"/>
                  </a:cubicBezTo>
                  <a:cubicBezTo>
                    <a:pt x="605" y="320"/>
                    <a:pt x="605" y="320"/>
                    <a:pt x="605" y="320"/>
                  </a:cubicBezTo>
                  <a:cubicBezTo>
                    <a:pt x="632" y="322"/>
                    <a:pt x="632" y="322"/>
                    <a:pt x="632" y="322"/>
                  </a:cubicBezTo>
                  <a:cubicBezTo>
                    <a:pt x="659" y="289"/>
                    <a:pt x="659" y="289"/>
                    <a:pt x="659" y="289"/>
                  </a:cubicBezTo>
                  <a:cubicBezTo>
                    <a:pt x="682" y="290"/>
                    <a:pt x="682" y="290"/>
                    <a:pt x="682" y="290"/>
                  </a:cubicBezTo>
                  <a:cubicBezTo>
                    <a:pt x="689" y="290"/>
                    <a:pt x="724" y="265"/>
                    <a:pt x="724" y="265"/>
                  </a:cubicBezTo>
                  <a:cubicBezTo>
                    <a:pt x="724" y="265"/>
                    <a:pt x="751" y="236"/>
                    <a:pt x="756" y="217"/>
                  </a:cubicBezTo>
                  <a:cubicBezTo>
                    <a:pt x="757" y="201"/>
                    <a:pt x="727" y="200"/>
                    <a:pt x="712" y="199"/>
                  </a:cubicBezTo>
                  <a:cubicBezTo>
                    <a:pt x="701" y="199"/>
                    <a:pt x="710" y="169"/>
                    <a:pt x="710" y="169"/>
                  </a:cubicBezTo>
                  <a:cubicBezTo>
                    <a:pt x="719" y="127"/>
                    <a:pt x="719" y="127"/>
                    <a:pt x="719" y="127"/>
                  </a:cubicBezTo>
                  <a:cubicBezTo>
                    <a:pt x="690" y="118"/>
                    <a:pt x="690" y="118"/>
                    <a:pt x="690" y="118"/>
                  </a:cubicBezTo>
                  <a:cubicBezTo>
                    <a:pt x="690" y="110"/>
                    <a:pt x="690" y="110"/>
                    <a:pt x="690" y="110"/>
                  </a:cubicBezTo>
                  <a:cubicBezTo>
                    <a:pt x="674" y="121"/>
                    <a:pt x="674" y="121"/>
                    <a:pt x="674" y="121"/>
                  </a:cubicBezTo>
                  <a:cubicBezTo>
                    <a:pt x="641" y="108"/>
                    <a:pt x="641" y="108"/>
                    <a:pt x="641" y="108"/>
                  </a:cubicBezTo>
                  <a:cubicBezTo>
                    <a:pt x="641" y="108"/>
                    <a:pt x="638" y="92"/>
                    <a:pt x="623" y="92"/>
                  </a:cubicBezTo>
                  <a:cubicBezTo>
                    <a:pt x="612" y="91"/>
                    <a:pt x="619" y="114"/>
                    <a:pt x="596" y="117"/>
                  </a:cubicBezTo>
                  <a:cubicBezTo>
                    <a:pt x="577" y="124"/>
                    <a:pt x="563" y="100"/>
                    <a:pt x="563" y="100"/>
                  </a:cubicBezTo>
                  <a:cubicBezTo>
                    <a:pt x="544" y="107"/>
                    <a:pt x="544" y="107"/>
                    <a:pt x="544" y="107"/>
                  </a:cubicBezTo>
                  <a:cubicBezTo>
                    <a:pt x="523" y="83"/>
                    <a:pt x="523" y="83"/>
                    <a:pt x="523" y="83"/>
                  </a:cubicBezTo>
                  <a:cubicBezTo>
                    <a:pt x="496" y="90"/>
                    <a:pt x="496" y="90"/>
                    <a:pt x="496" y="90"/>
                  </a:cubicBezTo>
                  <a:cubicBezTo>
                    <a:pt x="486" y="74"/>
                    <a:pt x="486" y="74"/>
                    <a:pt x="486" y="74"/>
                  </a:cubicBezTo>
                  <a:cubicBezTo>
                    <a:pt x="486" y="74"/>
                    <a:pt x="473" y="108"/>
                    <a:pt x="444" y="79"/>
                  </a:cubicBezTo>
                  <a:cubicBezTo>
                    <a:pt x="419" y="55"/>
                    <a:pt x="473" y="35"/>
                    <a:pt x="473" y="35"/>
                  </a:cubicBezTo>
                  <a:cubicBezTo>
                    <a:pt x="473" y="23"/>
                    <a:pt x="473" y="23"/>
                    <a:pt x="473" y="23"/>
                  </a:cubicBezTo>
                  <a:cubicBezTo>
                    <a:pt x="458" y="19"/>
                    <a:pt x="458" y="19"/>
                    <a:pt x="458" y="19"/>
                  </a:cubicBezTo>
                  <a:cubicBezTo>
                    <a:pt x="467" y="0"/>
                    <a:pt x="467" y="0"/>
                    <a:pt x="467" y="0"/>
                  </a:cubicBezTo>
                  <a:cubicBezTo>
                    <a:pt x="433" y="10"/>
                    <a:pt x="433" y="10"/>
                    <a:pt x="433" y="10"/>
                  </a:cubicBezTo>
                  <a:cubicBezTo>
                    <a:pt x="384" y="0"/>
                    <a:pt x="384" y="0"/>
                    <a:pt x="384" y="0"/>
                  </a:cubicBezTo>
                  <a:cubicBezTo>
                    <a:pt x="369" y="15"/>
                    <a:pt x="369" y="15"/>
                    <a:pt x="369" y="15"/>
                  </a:cubicBezTo>
                  <a:cubicBezTo>
                    <a:pt x="342" y="29"/>
                    <a:pt x="342" y="29"/>
                    <a:pt x="342" y="29"/>
                  </a:cubicBezTo>
                  <a:cubicBezTo>
                    <a:pt x="323" y="43"/>
                    <a:pt x="323" y="43"/>
                    <a:pt x="323" y="43"/>
                  </a:cubicBezTo>
                  <a:cubicBezTo>
                    <a:pt x="318" y="66"/>
                    <a:pt x="318" y="66"/>
                    <a:pt x="318" y="66"/>
                  </a:cubicBezTo>
                  <a:cubicBezTo>
                    <a:pt x="336" y="67"/>
                    <a:pt x="336" y="67"/>
                    <a:pt x="336" y="67"/>
                  </a:cubicBezTo>
                  <a:cubicBezTo>
                    <a:pt x="325" y="78"/>
                    <a:pt x="325" y="78"/>
                    <a:pt x="325" y="78"/>
                  </a:cubicBezTo>
                  <a:cubicBezTo>
                    <a:pt x="324" y="100"/>
                    <a:pt x="324" y="100"/>
                    <a:pt x="324" y="100"/>
                  </a:cubicBezTo>
                  <a:cubicBezTo>
                    <a:pt x="319" y="131"/>
                    <a:pt x="319" y="131"/>
                    <a:pt x="319" y="131"/>
                  </a:cubicBezTo>
                  <a:cubicBezTo>
                    <a:pt x="318" y="230"/>
                    <a:pt x="318" y="230"/>
                    <a:pt x="318" y="230"/>
                  </a:cubicBezTo>
                  <a:cubicBezTo>
                    <a:pt x="281" y="297"/>
                    <a:pt x="281" y="297"/>
                    <a:pt x="281" y="297"/>
                  </a:cubicBezTo>
                  <a:cubicBezTo>
                    <a:pt x="284" y="309"/>
                    <a:pt x="284" y="309"/>
                    <a:pt x="284" y="309"/>
                  </a:cubicBezTo>
                  <a:cubicBezTo>
                    <a:pt x="300" y="279"/>
                    <a:pt x="300" y="279"/>
                    <a:pt x="300" y="279"/>
                  </a:cubicBezTo>
                  <a:cubicBezTo>
                    <a:pt x="308" y="279"/>
                    <a:pt x="308" y="279"/>
                    <a:pt x="308" y="279"/>
                  </a:cubicBezTo>
                  <a:cubicBezTo>
                    <a:pt x="300" y="298"/>
                    <a:pt x="300" y="298"/>
                    <a:pt x="300" y="298"/>
                  </a:cubicBezTo>
                  <a:cubicBezTo>
                    <a:pt x="306" y="314"/>
                    <a:pt x="306" y="314"/>
                    <a:pt x="306" y="314"/>
                  </a:cubicBezTo>
                  <a:cubicBezTo>
                    <a:pt x="276" y="316"/>
                    <a:pt x="276" y="316"/>
                    <a:pt x="276" y="316"/>
                  </a:cubicBezTo>
                  <a:cubicBezTo>
                    <a:pt x="220" y="398"/>
                    <a:pt x="220" y="398"/>
                    <a:pt x="220" y="398"/>
                  </a:cubicBezTo>
                  <a:cubicBezTo>
                    <a:pt x="223" y="413"/>
                    <a:pt x="223" y="413"/>
                    <a:pt x="223" y="413"/>
                  </a:cubicBezTo>
                  <a:cubicBezTo>
                    <a:pt x="166" y="510"/>
                    <a:pt x="166" y="510"/>
                    <a:pt x="166" y="510"/>
                  </a:cubicBezTo>
                  <a:cubicBezTo>
                    <a:pt x="147" y="528"/>
                    <a:pt x="147" y="528"/>
                    <a:pt x="147" y="528"/>
                  </a:cubicBezTo>
                  <a:cubicBezTo>
                    <a:pt x="150" y="540"/>
                    <a:pt x="150" y="540"/>
                    <a:pt x="150" y="540"/>
                  </a:cubicBezTo>
                  <a:cubicBezTo>
                    <a:pt x="123" y="554"/>
                    <a:pt x="123" y="554"/>
                    <a:pt x="123" y="554"/>
                  </a:cubicBezTo>
                  <a:cubicBezTo>
                    <a:pt x="123" y="569"/>
                    <a:pt x="123" y="569"/>
                    <a:pt x="123" y="569"/>
                  </a:cubicBezTo>
                  <a:cubicBezTo>
                    <a:pt x="115" y="565"/>
                    <a:pt x="115" y="565"/>
                    <a:pt x="115" y="565"/>
                  </a:cubicBezTo>
                  <a:cubicBezTo>
                    <a:pt x="85" y="571"/>
                    <a:pt x="85" y="571"/>
                    <a:pt x="85" y="571"/>
                  </a:cubicBezTo>
                  <a:cubicBezTo>
                    <a:pt x="84" y="598"/>
                    <a:pt x="84" y="598"/>
                    <a:pt x="84" y="598"/>
                  </a:cubicBezTo>
                  <a:cubicBezTo>
                    <a:pt x="56" y="627"/>
                    <a:pt x="56" y="627"/>
                    <a:pt x="56" y="627"/>
                  </a:cubicBezTo>
                  <a:cubicBezTo>
                    <a:pt x="55" y="658"/>
                    <a:pt x="55" y="658"/>
                    <a:pt x="55" y="658"/>
                  </a:cubicBezTo>
                  <a:cubicBezTo>
                    <a:pt x="28" y="683"/>
                    <a:pt x="28" y="683"/>
                    <a:pt x="28" y="683"/>
                  </a:cubicBezTo>
                  <a:cubicBezTo>
                    <a:pt x="26" y="710"/>
                    <a:pt x="26" y="710"/>
                    <a:pt x="26" y="710"/>
                  </a:cubicBezTo>
                  <a:cubicBezTo>
                    <a:pt x="78" y="727"/>
                    <a:pt x="78" y="727"/>
                    <a:pt x="78" y="727"/>
                  </a:cubicBezTo>
                  <a:cubicBezTo>
                    <a:pt x="121" y="687"/>
                    <a:pt x="121" y="687"/>
                    <a:pt x="121" y="687"/>
                  </a:cubicBezTo>
                  <a:cubicBezTo>
                    <a:pt x="123" y="722"/>
                    <a:pt x="123" y="722"/>
                    <a:pt x="123" y="722"/>
                  </a:cubicBezTo>
                  <a:cubicBezTo>
                    <a:pt x="100" y="736"/>
                    <a:pt x="100" y="736"/>
                    <a:pt x="100" y="736"/>
                  </a:cubicBezTo>
                  <a:cubicBezTo>
                    <a:pt x="88" y="755"/>
                    <a:pt x="88" y="755"/>
                    <a:pt x="88" y="755"/>
                  </a:cubicBezTo>
                  <a:cubicBezTo>
                    <a:pt x="85" y="739"/>
                    <a:pt x="85" y="739"/>
                    <a:pt x="85" y="739"/>
                  </a:cubicBezTo>
                  <a:cubicBezTo>
                    <a:pt x="58" y="742"/>
                    <a:pt x="58" y="742"/>
                    <a:pt x="58" y="742"/>
                  </a:cubicBezTo>
                  <a:cubicBezTo>
                    <a:pt x="58" y="761"/>
                    <a:pt x="58" y="761"/>
                    <a:pt x="58" y="761"/>
                  </a:cubicBezTo>
                  <a:cubicBezTo>
                    <a:pt x="54" y="768"/>
                    <a:pt x="53" y="787"/>
                    <a:pt x="53" y="787"/>
                  </a:cubicBezTo>
                  <a:cubicBezTo>
                    <a:pt x="53" y="787"/>
                    <a:pt x="78" y="800"/>
                    <a:pt x="86" y="797"/>
                  </a:cubicBezTo>
                  <a:cubicBezTo>
                    <a:pt x="94" y="793"/>
                    <a:pt x="116" y="787"/>
                    <a:pt x="116" y="787"/>
                  </a:cubicBezTo>
                  <a:cubicBezTo>
                    <a:pt x="131" y="795"/>
                    <a:pt x="131" y="795"/>
                    <a:pt x="131" y="795"/>
                  </a:cubicBezTo>
                  <a:cubicBezTo>
                    <a:pt x="143" y="784"/>
                    <a:pt x="143" y="784"/>
                    <a:pt x="143" y="784"/>
                  </a:cubicBezTo>
                  <a:cubicBezTo>
                    <a:pt x="138" y="803"/>
                    <a:pt x="138" y="803"/>
                    <a:pt x="138" y="803"/>
                  </a:cubicBezTo>
                  <a:cubicBezTo>
                    <a:pt x="156" y="819"/>
                    <a:pt x="156" y="819"/>
                    <a:pt x="156" y="819"/>
                  </a:cubicBezTo>
                  <a:cubicBezTo>
                    <a:pt x="141" y="818"/>
                    <a:pt x="141" y="818"/>
                    <a:pt x="141" y="818"/>
                  </a:cubicBezTo>
                  <a:cubicBezTo>
                    <a:pt x="120" y="798"/>
                    <a:pt x="120" y="798"/>
                    <a:pt x="120" y="798"/>
                  </a:cubicBezTo>
                  <a:cubicBezTo>
                    <a:pt x="120" y="798"/>
                    <a:pt x="125" y="837"/>
                    <a:pt x="117" y="856"/>
                  </a:cubicBezTo>
                  <a:cubicBezTo>
                    <a:pt x="105" y="878"/>
                    <a:pt x="77" y="911"/>
                    <a:pt x="77" y="911"/>
                  </a:cubicBezTo>
                  <a:cubicBezTo>
                    <a:pt x="91" y="927"/>
                    <a:pt x="91" y="927"/>
                    <a:pt x="91" y="927"/>
                  </a:cubicBezTo>
                  <a:cubicBezTo>
                    <a:pt x="82" y="965"/>
                    <a:pt x="82" y="965"/>
                    <a:pt x="82" y="965"/>
                  </a:cubicBezTo>
                  <a:cubicBezTo>
                    <a:pt x="82" y="965"/>
                    <a:pt x="66" y="991"/>
                    <a:pt x="65" y="1002"/>
                  </a:cubicBezTo>
                  <a:cubicBezTo>
                    <a:pt x="65" y="1014"/>
                    <a:pt x="67" y="1037"/>
                    <a:pt x="60" y="1044"/>
                  </a:cubicBezTo>
                  <a:cubicBezTo>
                    <a:pt x="48" y="1055"/>
                    <a:pt x="36" y="1066"/>
                    <a:pt x="36" y="1066"/>
                  </a:cubicBezTo>
                  <a:cubicBezTo>
                    <a:pt x="35" y="1081"/>
                    <a:pt x="35" y="1081"/>
                    <a:pt x="35" y="1081"/>
                  </a:cubicBezTo>
                  <a:cubicBezTo>
                    <a:pt x="0" y="1114"/>
                    <a:pt x="0" y="1114"/>
                    <a:pt x="0" y="1114"/>
                  </a:cubicBezTo>
                  <a:cubicBezTo>
                    <a:pt x="0" y="1129"/>
                    <a:pt x="0" y="1129"/>
                    <a:pt x="0" y="1129"/>
                  </a:cubicBezTo>
                  <a:cubicBezTo>
                    <a:pt x="0" y="1129"/>
                    <a:pt x="41" y="1120"/>
                    <a:pt x="67" y="1117"/>
                  </a:cubicBezTo>
                  <a:cubicBezTo>
                    <a:pt x="94" y="1118"/>
                    <a:pt x="177" y="1180"/>
                    <a:pt x="177" y="1180"/>
                  </a:cubicBezTo>
                  <a:cubicBezTo>
                    <a:pt x="177" y="1180"/>
                    <a:pt x="199" y="1188"/>
                    <a:pt x="218" y="1182"/>
                  </a:cubicBezTo>
                  <a:cubicBezTo>
                    <a:pt x="237" y="1179"/>
                    <a:pt x="256" y="1164"/>
                    <a:pt x="256" y="1164"/>
                  </a:cubicBezTo>
                  <a:cubicBezTo>
                    <a:pt x="297" y="1166"/>
                    <a:pt x="297" y="1166"/>
                    <a:pt x="297" y="1166"/>
                  </a:cubicBezTo>
                  <a:cubicBezTo>
                    <a:pt x="300" y="1105"/>
                    <a:pt x="300" y="1105"/>
                    <a:pt x="300" y="1105"/>
                  </a:cubicBezTo>
                  <a:lnTo>
                    <a:pt x="294" y="107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2" name="Freeform 285">
              <a:extLst>
                <a:ext uri="{FF2B5EF4-FFF2-40B4-BE49-F238E27FC236}">
                  <a16:creationId xmlns:a16="http://schemas.microsoft.com/office/drawing/2014/main" id="{65F4A7B3-0067-1237-9EC2-5B2491BE5DCD}"/>
                </a:ext>
              </a:extLst>
            </p:cNvPr>
            <p:cNvSpPr>
              <a:spLocks/>
            </p:cNvSpPr>
            <p:nvPr/>
          </p:nvSpPr>
          <p:spPr bwMode="gray">
            <a:xfrm>
              <a:off x="10446490" y="4182438"/>
              <a:ext cx="406343" cy="370384"/>
            </a:xfrm>
            <a:custGeom>
              <a:avLst/>
              <a:gdLst>
                <a:gd name="T0" fmla="*/ 638 w 681"/>
                <a:gd name="T1" fmla="*/ 321 h 620"/>
                <a:gd name="T2" fmla="*/ 659 w 681"/>
                <a:gd name="T3" fmla="*/ 284 h 620"/>
                <a:gd name="T4" fmla="*/ 624 w 681"/>
                <a:gd name="T5" fmla="*/ 214 h 620"/>
                <a:gd name="T6" fmla="*/ 589 w 681"/>
                <a:gd name="T7" fmla="*/ 178 h 620"/>
                <a:gd name="T8" fmla="*/ 610 w 681"/>
                <a:gd name="T9" fmla="*/ 129 h 620"/>
                <a:gd name="T10" fmla="*/ 631 w 681"/>
                <a:gd name="T11" fmla="*/ 73 h 620"/>
                <a:gd name="T12" fmla="*/ 541 w 681"/>
                <a:gd name="T13" fmla="*/ 80 h 620"/>
                <a:gd name="T14" fmla="*/ 483 w 681"/>
                <a:gd name="T15" fmla="*/ 43 h 620"/>
                <a:gd name="T16" fmla="*/ 435 w 681"/>
                <a:gd name="T17" fmla="*/ 21 h 620"/>
                <a:gd name="T18" fmla="*/ 398 w 681"/>
                <a:gd name="T19" fmla="*/ 19 h 620"/>
                <a:gd name="T20" fmla="*/ 341 w 681"/>
                <a:gd name="T21" fmla="*/ 32 h 620"/>
                <a:gd name="T22" fmla="*/ 223 w 681"/>
                <a:gd name="T23" fmla="*/ 0 h 620"/>
                <a:gd name="T24" fmla="*/ 151 w 681"/>
                <a:gd name="T25" fmla="*/ 11 h 620"/>
                <a:gd name="T26" fmla="*/ 75 w 681"/>
                <a:gd name="T27" fmla="*/ 35 h 620"/>
                <a:gd name="T28" fmla="*/ 26 w 681"/>
                <a:gd name="T29" fmla="*/ 120 h 620"/>
                <a:gd name="T30" fmla="*/ 77 w 681"/>
                <a:gd name="T31" fmla="*/ 149 h 620"/>
                <a:gd name="T32" fmla="*/ 97 w 681"/>
                <a:gd name="T33" fmla="*/ 200 h 620"/>
                <a:gd name="T34" fmla="*/ 189 w 681"/>
                <a:gd name="T35" fmla="*/ 327 h 620"/>
                <a:gd name="T36" fmla="*/ 253 w 681"/>
                <a:gd name="T37" fmla="*/ 395 h 620"/>
                <a:gd name="T38" fmla="*/ 292 w 681"/>
                <a:gd name="T39" fmla="*/ 450 h 620"/>
                <a:gd name="T40" fmla="*/ 366 w 681"/>
                <a:gd name="T41" fmla="*/ 546 h 620"/>
                <a:gd name="T42" fmla="*/ 468 w 681"/>
                <a:gd name="T43" fmla="*/ 612 h 620"/>
                <a:gd name="T44" fmla="*/ 492 w 681"/>
                <a:gd name="T45" fmla="*/ 609 h 620"/>
                <a:gd name="T46" fmla="*/ 516 w 681"/>
                <a:gd name="T47" fmla="*/ 610 h 620"/>
                <a:gd name="T48" fmla="*/ 507 w 681"/>
                <a:gd name="T49" fmla="*/ 575 h 620"/>
                <a:gd name="T50" fmla="*/ 532 w 681"/>
                <a:gd name="T51" fmla="*/ 504 h 620"/>
                <a:gd name="T52" fmla="*/ 562 w 681"/>
                <a:gd name="T53" fmla="*/ 436 h 620"/>
                <a:gd name="T54" fmla="*/ 564 w 681"/>
                <a:gd name="T55" fmla="*/ 437 h 620"/>
                <a:gd name="T56" fmla="*/ 567 w 681"/>
                <a:gd name="T57" fmla="*/ 437 h 620"/>
                <a:gd name="T58" fmla="*/ 580 w 681"/>
                <a:gd name="T59" fmla="*/ 443 h 620"/>
                <a:gd name="T60" fmla="*/ 582 w 681"/>
                <a:gd name="T61" fmla="*/ 444 h 620"/>
                <a:gd name="T62" fmla="*/ 585 w 681"/>
                <a:gd name="T63" fmla="*/ 445 h 620"/>
                <a:gd name="T64" fmla="*/ 587 w 681"/>
                <a:gd name="T65" fmla="*/ 446 h 620"/>
                <a:gd name="T66" fmla="*/ 589 w 681"/>
                <a:gd name="T67" fmla="*/ 446 h 620"/>
                <a:gd name="T68" fmla="*/ 592 w 681"/>
                <a:gd name="T69" fmla="*/ 446 h 620"/>
                <a:gd name="T70" fmla="*/ 594 w 681"/>
                <a:gd name="T71" fmla="*/ 445 h 620"/>
                <a:gd name="T72" fmla="*/ 596 w 681"/>
                <a:gd name="T73" fmla="*/ 444 h 620"/>
                <a:gd name="T74" fmla="*/ 599 w 681"/>
                <a:gd name="T75" fmla="*/ 442 h 620"/>
                <a:gd name="T76" fmla="*/ 600 w 681"/>
                <a:gd name="T77" fmla="*/ 440 h 620"/>
                <a:gd name="T78" fmla="*/ 600 w 681"/>
                <a:gd name="T79" fmla="*/ 438 h 620"/>
                <a:gd name="T80" fmla="*/ 599 w 681"/>
                <a:gd name="T81" fmla="*/ 436 h 620"/>
                <a:gd name="T82" fmla="*/ 594 w 681"/>
                <a:gd name="T83" fmla="*/ 427 h 620"/>
                <a:gd name="T84" fmla="*/ 591 w 681"/>
                <a:gd name="T85" fmla="*/ 424 h 620"/>
                <a:gd name="T86" fmla="*/ 588 w 681"/>
                <a:gd name="T87" fmla="*/ 420 h 620"/>
                <a:gd name="T88" fmla="*/ 586 w 681"/>
                <a:gd name="T89" fmla="*/ 418 h 620"/>
                <a:gd name="T90" fmla="*/ 585 w 681"/>
                <a:gd name="T91" fmla="*/ 416 h 620"/>
                <a:gd name="T92" fmla="*/ 583 w 681"/>
                <a:gd name="T93" fmla="*/ 414 h 620"/>
                <a:gd name="T94" fmla="*/ 581 w 681"/>
                <a:gd name="T95" fmla="*/ 412 h 620"/>
                <a:gd name="T96" fmla="*/ 579 w 681"/>
                <a:gd name="T97" fmla="*/ 410 h 620"/>
                <a:gd name="T98" fmla="*/ 574 w 681"/>
                <a:gd name="T99" fmla="*/ 405 h 620"/>
                <a:gd name="T100" fmla="*/ 573 w 681"/>
                <a:gd name="T101" fmla="*/ 404 h 620"/>
                <a:gd name="T102" fmla="*/ 571 w 681"/>
                <a:gd name="T103" fmla="*/ 402 h 620"/>
                <a:gd name="T104" fmla="*/ 570 w 681"/>
                <a:gd name="T105" fmla="*/ 401 h 620"/>
                <a:gd name="T106" fmla="*/ 569 w 681"/>
                <a:gd name="T107" fmla="*/ 400 h 620"/>
                <a:gd name="T108" fmla="*/ 568 w 681"/>
                <a:gd name="T109" fmla="*/ 399 h 620"/>
                <a:gd name="T110" fmla="*/ 568 w 681"/>
                <a:gd name="T111" fmla="*/ 399 h 620"/>
                <a:gd name="T112" fmla="*/ 567 w 681"/>
                <a:gd name="T113" fmla="*/ 398 h 620"/>
                <a:gd name="T114" fmla="*/ 590 w 681"/>
                <a:gd name="T115" fmla="*/ 392 h 620"/>
                <a:gd name="T116" fmla="*/ 619 w 681"/>
                <a:gd name="T117" fmla="*/ 381 h 620"/>
                <a:gd name="T118" fmla="*/ 628 w 681"/>
                <a:gd name="T119" fmla="*/ 379 h 620"/>
                <a:gd name="T120" fmla="*/ 635 w 681"/>
                <a:gd name="T121" fmla="*/ 381 h 620"/>
                <a:gd name="T122" fmla="*/ 639 w 681"/>
                <a:gd name="T123" fmla="*/ 382 h 620"/>
                <a:gd name="T124" fmla="*/ 644 w 681"/>
                <a:gd name="T125" fmla="*/ 38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1" h="620">
                  <a:moveTo>
                    <a:pt x="658" y="376"/>
                  </a:moveTo>
                  <a:cubicBezTo>
                    <a:pt x="681" y="366"/>
                    <a:pt x="638" y="321"/>
                    <a:pt x="638" y="321"/>
                  </a:cubicBezTo>
                  <a:cubicBezTo>
                    <a:pt x="614" y="278"/>
                    <a:pt x="614" y="278"/>
                    <a:pt x="614" y="278"/>
                  </a:cubicBezTo>
                  <a:cubicBezTo>
                    <a:pt x="614" y="278"/>
                    <a:pt x="640" y="283"/>
                    <a:pt x="659" y="284"/>
                  </a:cubicBezTo>
                  <a:cubicBezTo>
                    <a:pt x="677" y="285"/>
                    <a:pt x="678" y="258"/>
                    <a:pt x="678" y="258"/>
                  </a:cubicBezTo>
                  <a:cubicBezTo>
                    <a:pt x="624" y="214"/>
                    <a:pt x="624" y="214"/>
                    <a:pt x="624" y="214"/>
                  </a:cubicBezTo>
                  <a:cubicBezTo>
                    <a:pt x="624" y="214"/>
                    <a:pt x="598" y="212"/>
                    <a:pt x="583" y="208"/>
                  </a:cubicBezTo>
                  <a:cubicBezTo>
                    <a:pt x="572" y="204"/>
                    <a:pt x="589" y="178"/>
                    <a:pt x="589" y="178"/>
                  </a:cubicBezTo>
                  <a:cubicBezTo>
                    <a:pt x="586" y="162"/>
                    <a:pt x="586" y="162"/>
                    <a:pt x="586" y="162"/>
                  </a:cubicBezTo>
                  <a:cubicBezTo>
                    <a:pt x="586" y="162"/>
                    <a:pt x="601" y="144"/>
                    <a:pt x="610" y="129"/>
                  </a:cubicBezTo>
                  <a:cubicBezTo>
                    <a:pt x="618" y="114"/>
                    <a:pt x="623" y="84"/>
                    <a:pt x="623" y="84"/>
                  </a:cubicBezTo>
                  <a:cubicBezTo>
                    <a:pt x="631" y="73"/>
                    <a:pt x="631" y="73"/>
                    <a:pt x="631" y="73"/>
                  </a:cubicBezTo>
                  <a:cubicBezTo>
                    <a:pt x="579" y="62"/>
                    <a:pt x="579" y="62"/>
                    <a:pt x="579" y="62"/>
                  </a:cubicBezTo>
                  <a:cubicBezTo>
                    <a:pt x="579" y="62"/>
                    <a:pt x="563" y="81"/>
                    <a:pt x="541" y="80"/>
                  </a:cubicBezTo>
                  <a:cubicBezTo>
                    <a:pt x="522" y="79"/>
                    <a:pt x="531" y="45"/>
                    <a:pt x="513" y="36"/>
                  </a:cubicBezTo>
                  <a:cubicBezTo>
                    <a:pt x="491" y="31"/>
                    <a:pt x="483" y="43"/>
                    <a:pt x="483" y="43"/>
                  </a:cubicBezTo>
                  <a:cubicBezTo>
                    <a:pt x="461" y="26"/>
                    <a:pt x="461" y="26"/>
                    <a:pt x="461" y="26"/>
                  </a:cubicBezTo>
                  <a:cubicBezTo>
                    <a:pt x="435" y="21"/>
                    <a:pt x="435" y="21"/>
                    <a:pt x="435" y="21"/>
                  </a:cubicBezTo>
                  <a:cubicBezTo>
                    <a:pt x="435" y="21"/>
                    <a:pt x="434" y="40"/>
                    <a:pt x="423" y="40"/>
                  </a:cubicBezTo>
                  <a:cubicBezTo>
                    <a:pt x="412" y="39"/>
                    <a:pt x="398" y="19"/>
                    <a:pt x="398" y="19"/>
                  </a:cubicBezTo>
                  <a:cubicBezTo>
                    <a:pt x="398" y="19"/>
                    <a:pt x="381" y="45"/>
                    <a:pt x="366" y="45"/>
                  </a:cubicBezTo>
                  <a:cubicBezTo>
                    <a:pt x="355" y="44"/>
                    <a:pt x="341" y="32"/>
                    <a:pt x="341" y="32"/>
                  </a:cubicBezTo>
                  <a:cubicBezTo>
                    <a:pt x="262" y="28"/>
                    <a:pt x="262" y="28"/>
                    <a:pt x="262" y="28"/>
                  </a:cubicBezTo>
                  <a:cubicBezTo>
                    <a:pt x="247" y="28"/>
                    <a:pt x="223" y="0"/>
                    <a:pt x="223" y="0"/>
                  </a:cubicBezTo>
                  <a:cubicBezTo>
                    <a:pt x="203" y="22"/>
                    <a:pt x="203" y="22"/>
                    <a:pt x="203" y="22"/>
                  </a:cubicBezTo>
                  <a:cubicBezTo>
                    <a:pt x="203" y="22"/>
                    <a:pt x="166" y="12"/>
                    <a:pt x="151" y="11"/>
                  </a:cubicBezTo>
                  <a:cubicBezTo>
                    <a:pt x="136" y="15"/>
                    <a:pt x="134" y="60"/>
                    <a:pt x="119" y="63"/>
                  </a:cubicBezTo>
                  <a:cubicBezTo>
                    <a:pt x="107" y="71"/>
                    <a:pt x="86" y="47"/>
                    <a:pt x="75" y="35"/>
                  </a:cubicBezTo>
                  <a:cubicBezTo>
                    <a:pt x="64" y="23"/>
                    <a:pt x="54" y="7"/>
                    <a:pt x="27" y="21"/>
                  </a:cubicBezTo>
                  <a:cubicBezTo>
                    <a:pt x="0" y="31"/>
                    <a:pt x="26" y="120"/>
                    <a:pt x="26" y="120"/>
                  </a:cubicBezTo>
                  <a:cubicBezTo>
                    <a:pt x="60" y="126"/>
                    <a:pt x="60" y="126"/>
                    <a:pt x="60" y="126"/>
                  </a:cubicBezTo>
                  <a:cubicBezTo>
                    <a:pt x="77" y="149"/>
                    <a:pt x="77" y="149"/>
                    <a:pt x="77" y="149"/>
                  </a:cubicBezTo>
                  <a:cubicBezTo>
                    <a:pt x="69" y="164"/>
                    <a:pt x="69" y="164"/>
                    <a:pt x="69" y="164"/>
                  </a:cubicBezTo>
                  <a:cubicBezTo>
                    <a:pt x="69" y="164"/>
                    <a:pt x="87" y="177"/>
                    <a:pt x="97" y="200"/>
                  </a:cubicBezTo>
                  <a:cubicBezTo>
                    <a:pt x="104" y="220"/>
                    <a:pt x="99" y="238"/>
                    <a:pt x="124" y="266"/>
                  </a:cubicBezTo>
                  <a:cubicBezTo>
                    <a:pt x="145" y="294"/>
                    <a:pt x="189" y="327"/>
                    <a:pt x="189" y="327"/>
                  </a:cubicBezTo>
                  <a:cubicBezTo>
                    <a:pt x="196" y="339"/>
                    <a:pt x="196" y="339"/>
                    <a:pt x="196" y="339"/>
                  </a:cubicBezTo>
                  <a:cubicBezTo>
                    <a:pt x="253" y="395"/>
                    <a:pt x="253" y="395"/>
                    <a:pt x="253" y="395"/>
                  </a:cubicBezTo>
                  <a:cubicBezTo>
                    <a:pt x="293" y="420"/>
                    <a:pt x="293" y="420"/>
                    <a:pt x="293" y="420"/>
                  </a:cubicBezTo>
                  <a:cubicBezTo>
                    <a:pt x="293" y="420"/>
                    <a:pt x="289" y="431"/>
                    <a:pt x="292" y="450"/>
                  </a:cubicBezTo>
                  <a:cubicBezTo>
                    <a:pt x="295" y="466"/>
                    <a:pt x="339" y="487"/>
                    <a:pt x="360" y="507"/>
                  </a:cubicBezTo>
                  <a:cubicBezTo>
                    <a:pt x="378" y="527"/>
                    <a:pt x="366" y="546"/>
                    <a:pt x="366" y="546"/>
                  </a:cubicBezTo>
                  <a:cubicBezTo>
                    <a:pt x="392" y="543"/>
                    <a:pt x="392" y="543"/>
                    <a:pt x="392" y="543"/>
                  </a:cubicBezTo>
                  <a:cubicBezTo>
                    <a:pt x="468" y="612"/>
                    <a:pt x="468" y="612"/>
                    <a:pt x="468" y="612"/>
                  </a:cubicBezTo>
                  <a:cubicBezTo>
                    <a:pt x="468" y="612"/>
                    <a:pt x="475" y="604"/>
                    <a:pt x="490" y="609"/>
                  </a:cubicBezTo>
                  <a:cubicBezTo>
                    <a:pt x="491" y="609"/>
                    <a:pt x="491" y="609"/>
                    <a:pt x="492" y="609"/>
                  </a:cubicBezTo>
                  <a:cubicBezTo>
                    <a:pt x="496" y="610"/>
                    <a:pt x="498" y="615"/>
                    <a:pt x="499" y="620"/>
                  </a:cubicBezTo>
                  <a:cubicBezTo>
                    <a:pt x="516" y="610"/>
                    <a:pt x="516" y="610"/>
                    <a:pt x="516" y="610"/>
                  </a:cubicBezTo>
                  <a:cubicBezTo>
                    <a:pt x="518" y="576"/>
                    <a:pt x="518" y="576"/>
                    <a:pt x="518" y="576"/>
                  </a:cubicBezTo>
                  <a:cubicBezTo>
                    <a:pt x="507" y="575"/>
                    <a:pt x="507" y="575"/>
                    <a:pt x="507" y="575"/>
                  </a:cubicBezTo>
                  <a:cubicBezTo>
                    <a:pt x="507" y="575"/>
                    <a:pt x="501" y="529"/>
                    <a:pt x="506" y="518"/>
                  </a:cubicBezTo>
                  <a:cubicBezTo>
                    <a:pt x="514" y="507"/>
                    <a:pt x="525" y="507"/>
                    <a:pt x="532" y="504"/>
                  </a:cubicBezTo>
                  <a:cubicBezTo>
                    <a:pt x="540" y="497"/>
                    <a:pt x="523" y="465"/>
                    <a:pt x="531" y="454"/>
                  </a:cubicBezTo>
                  <a:cubicBezTo>
                    <a:pt x="535" y="447"/>
                    <a:pt x="547" y="436"/>
                    <a:pt x="562" y="436"/>
                  </a:cubicBezTo>
                  <a:cubicBezTo>
                    <a:pt x="563" y="436"/>
                    <a:pt x="563" y="437"/>
                    <a:pt x="564" y="437"/>
                  </a:cubicBezTo>
                  <a:cubicBezTo>
                    <a:pt x="564" y="437"/>
                    <a:pt x="564" y="437"/>
                    <a:pt x="564" y="437"/>
                  </a:cubicBezTo>
                  <a:cubicBezTo>
                    <a:pt x="565" y="437"/>
                    <a:pt x="566" y="437"/>
                    <a:pt x="566" y="437"/>
                  </a:cubicBezTo>
                  <a:cubicBezTo>
                    <a:pt x="566" y="437"/>
                    <a:pt x="566" y="437"/>
                    <a:pt x="567" y="437"/>
                  </a:cubicBezTo>
                  <a:cubicBezTo>
                    <a:pt x="567" y="437"/>
                    <a:pt x="567" y="437"/>
                    <a:pt x="567" y="437"/>
                  </a:cubicBezTo>
                  <a:cubicBezTo>
                    <a:pt x="571" y="439"/>
                    <a:pt x="575" y="442"/>
                    <a:pt x="580" y="443"/>
                  </a:cubicBezTo>
                  <a:cubicBezTo>
                    <a:pt x="580" y="443"/>
                    <a:pt x="580" y="443"/>
                    <a:pt x="580" y="444"/>
                  </a:cubicBezTo>
                  <a:cubicBezTo>
                    <a:pt x="581" y="444"/>
                    <a:pt x="582" y="444"/>
                    <a:pt x="582" y="444"/>
                  </a:cubicBezTo>
                  <a:cubicBezTo>
                    <a:pt x="582" y="444"/>
                    <a:pt x="583" y="444"/>
                    <a:pt x="583" y="444"/>
                  </a:cubicBezTo>
                  <a:cubicBezTo>
                    <a:pt x="583" y="445"/>
                    <a:pt x="584" y="445"/>
                    <a:pt x="585" y="445"/>
                  </a:cubicBezTo>
                  <a:cubicBezTo>
                    <a:pt x="585" y="445"/>
                    <a:pt x="585" y="445"/>
                    <a:pt x="585" y="445"/>
                  </a:cubicBezTo>
                  <a:cubicBezTo>
                    <a:pt x="586" y="445"/>
                    <a:pt x="586" y="446"/>
                    <a:pt x="587" y="446"/>
                  </a:cubicBezTo>
                  <a:cubicBezTo>
                    <a:pt x="587" y="446"/>
                    <a:pt x="588" y="446"/>
                    <a:pt x="588" y="446"/>
                  </a:cubicBezTo>
                  <a:cubicBezTo>
                    <a:pt x="588" y="446"/>
                    <a:pt x="589" y="446"/>
                    <a:pt x="589" y="446"/>
                  </a:cubicBezTo>
                  <a:cubicBezTo>
                    <a:pt x="590" y="446"/>
                    <a:pt x="590" y="446"/>
                    <a:pt x="590" y="446"/>
                  </a:cubicBezTo>
                  <a:cubicBezTo>
                    <a:pt x="591" y="446"/>
                    <a:pt x="591" y="446"/>
                    <a:pt x="592" y="446"/>
                  </a:cubicBezTo>
                  <a:cubicBezTo>
                    <a:pt x="592" y="446"/>
                    <a:pt x="592" y="446"/>
                    <a:pt x="593" y="445"/>
                  </a:cubicBezTo>
                  <a:cubicBezTo>
                    <a:pt x="593" y="445"/>
                    <a:pt x="593" y="445"/>
                    <a:pt x="594" y="445"/>
                  </a:cubicBezTo>
                  <a:cubicBezTo>
                    <a:pt x="594" y="445"/>
                    <a:pt x="594" y="445"/>
                    <a:pt x="595" y="445"/>
                  </a:cubicBezTo>
                  <a:cubicBezTo>
                    <a:pt x="595" y="445"/>
                    <a:pt x="596" y="444"/>
                    <a:pt x="596" y="444"/>
                  </a:cubicBezTo>
                  <a:cubicBezTo>
                    <a:pt x="596" y="444"/>
                    <a:pt x="597" y="444"/>
                    <a:pt x="597" y="444"/>
                  </a:cubicBezTo>
                  <a:cubicBezTo>
                    <a:pt x="598" y="443"/>
                    <a:pt x="598" y="443"/>
                    <a:pt x="599" y="442"/>
                  </a:cubicBezTo>
                  <a:cubicBezTo>
                    <a:pt x="599" y="442"/>
                    <a:pt x="600" y="441"/>
                    <a:pt x="600" y="441"/>
                  </a:cubicBezTo>
                  <a:cubicBezTo>
                    <a:pt x="600" y="441"/>
                    <a:pt x="600" y="441"/>
                    <a:pt x="600" y="440"/>
                  </a:cubicBezTo>
                  <a:cubicBezTo>
                    <a:pt x="600" y="440"/>
                    <a:pt x="600" y="439"/>
                    <a:pt x="600" y="439"/>
                  </a:cubicBezTo>
                  <a:cubicBezTo>
                    <a:pt x="600" y="439"/>
                    <a:pt x="600" y="439"/>
                    <a:pt x="600" y="438"/>
                  </a:cubicBezTo>
                  <a:cubicBezTo>
                    <a:pt x="600" y="438"/>
                    <a:pt x="600" y="437"/>
                    <a:pt x="599" y="436"/>
                  </a:cubicBezTo>
                  <a:cubicBezTo>
                    <a:pt x="599" y="436"/>
                    <a:pt x="599" y="436"/>
                    <a:pt x="599" y="436"/>
                  </a:cubicBezTo>
                  <a:cubicBezTo>
                    <a:pt x="598" y="434"/>
                    <a:pt x="596" y="431"/>
                    <a:pt x="594" y="427"/>
                  </a:cubicBezTo>
                  <a:cubicBezTo>
                    <a:pt x="594" y="427"/>
                    <a:pt x="594" y="427"/>
                    <a:pt x="594" y="427"/>
                  </a:cubicBezTo>
                  <a:cubicBezTo>
                    <a:pt x="593" y="426"/>
                    <a:pt x="592" y="425"/>
                    <a:pt x="592" y="424"/>
                  </a:cubicBezTo>
                  <a:cubicBezTo>
                    <a:pt x="592" y="424"/>
                    <a:pt x="591" y="424"/>
                    <a:pt x="591" y="424"/>
                  </a:cubicBezTo>
                  <a:cubicBezTo>
                    <a:pt x="591" y="423"/>
                    <a:pt x="590" y="422"/>
                    <a:pt x="589" y="421"/>
                  </a:cubicBezTo>
                  <a:cubicBezTo>
                    <a:pt x="589" y="420"/>
                    <a:pt x="588" y="420"/>
                    <a:pt x="588" y="420"/>
                  </a:cubicBezTo>
                  <a:cubicBezTo>
                    <a:pt x="588" y="420"/>
                    <a:pt x="588" y="419"/>
                    <a:pt x="587" y="419"/>
                  </a:cubicBezTo>
                  <a:cubicBezTo>
                    <a:pt x="587" y="419"/>
                    <a:pt x="587" y="418"/>
                    <a:pt x="586" y="418"/>
                  </a:cubicBezTo>
                  <a:cubicBezTo>
                    <a:pt x="586" y="418"/>
                    <a:pt x="586" y="417"/>
                    <a:pt x="585" y="417"/>
                  </a:cubicBezTo>
                  <a:cubicBezTo>
                    <a:pt x="585" y="417"/>
                    <a:pt x="585" y="416"/>
                    <a:pt x="585" y="416"/>
                  </a:cubicBezTo>
                  <a:cubicBezTo>
                    <a:pt x="584" y="416"/>
                    <a:pt x="584" y="415"/>
                    <a:pt x="584" y="415"/>
                  </a:cubicBezTo>
                  <a:cubicBezTo>
                    <a:pt x="583" y="415"/>
                    <a:pt x="583" y="414"/>
                    <a:pt x="583" y="414"/>
                  </a:cubicBezTo>
                  <a:cubicBezTo>
                    <a:pt x="583" y="414"/>
                    <a:pt x="582" y="413"/>
                    <a:pt x="582" y="413"/>
                  </a:cubicBezTo>
                  <a:cubicBezTo>
                    <a:pt x="582" y="413"/>
                    <a:pt x="581" y="412"/>
                    <a:pt x="581" y="412"/>
                  </a:cubicBezTo>
                  <a:cubicBezTo>
                    <a:pt x="581" y="412"/>
                    <a:pt x="580" y="411"/>
                    <a:pt x="580" y="411"/>
                  </a:cubicBezTo>
                  <a:cubicBezTo>
                    <a:pt x="580" y="411"/>
                    <a:pt x="580" y="411"/>
                    <a:pt x="579" y="410"/>
                  </a:cubicBezTo>
                  <a:cubicBezTo>
                    <a:pt x="578" y="409"/>
                    <a:pt x="576" y="407"/>
                    <a:pt x="574" y="405"/>
                  </a:cubicBezTo>
                  <a:cubicBezTo>
                    <a:pt x="574" y="405"/>
                    <a:pt x="574" y="405"/>
                    <a:pt x="574" y="405"/>
                  </a:cubicBezTo>
                  <a:cubicBezTo>
                    <a:pt x="574" y="405"/>
                    <a:pt x="573" y="404"/>
                    <a:pt x="573" y="404"/>
                  </a:cubicBezTo>
                  <a:cubicBezTo>
                    <a:pt x="573" y="404"/>
                    <a:pt x="573" y="404"/>
                    <a:pt x="573" y="404"/>
                  </a:cubicBezTo>
                  <a:cubicBezTo>
                    <a:pt x="572" y="403"/>
                    <a:pt x="572" y="403"/>
                    <a:pt x="572" y="403"/>
                  </a:cubicBezTo>
                  <a:cubicBezTo>
                    <a:pt x="572" y="402"/>
                    <a:pt x="571" y="402"/>
                    <a:pt x="571" y="402"/>
                  </a:cubicBezTo>
                  <a:cubicBezTo>
                    <a:pt x="571" y="402"/>
                    <a:pt x="571" y="402"/>
                    <a:pt x="570" y="401"/>
                  </a:cubicBezTo>
                  <a:cubicBezTo>
                    <a:pt x="570" y="401"/>
                    <a:pt x="570" y="401"/>
                    <a:pt x="570" y="401"/>
                  </a:cubicBezTo>
                  <a:cubicBezTo>
                    <a:pt x="570" y="401"/>
                    <a:pt x="570" y="401"/>
                    <a:pt x="569" y="400"/>
                  </a:cubicBezTo>
                  <a:cubicBezTo>
                    <a:pt x="569" y="400"/>
                    <a:pt x="569" y="400"/>
                    <a:pt x="569" y="400"/>
                  </a:cubicBezTo>
                  <a:cubicBezTo>
                    <a:pt x="569" y="400"/>
                    <a:pt x="569" y="400"/>
                    <a:pt x="568" y="400"/>
                  </a:cubicBezTo>
                  <a:cubicBezTo>
                    <a:pt x="568" y="400"/>
                    <a:pt x="568" y="399"/>
                    <a:pt x="568" y="399"/>
                  </a:cubicBezTo>
                  <a:cubicBezTo>
                    <a:pt x="568" y="399"/>
                    <a:pt x="568" y="399"/>
                    <a:pt x="568" y="399"/>
                  </a:cubicBezTo>
                  <a:cubicBezTo>
                    <a:pt x="568" y="399"/>
                    <a:pt x="568" y="399"/>
                    <a:pt x="568" y="399"/>
                  </a:cubicBezTo>
                  <a:cubicBezTo>
                    <a:pt x="568" y="399"/>
                    <a:pt x="568" y="399"/>
                    <a:pt x="567" y="399"/>
                  </a:cubicBezTo>
                  <a:cubicBezTo>
                    <a:pt x="567" y="399"/>
                    <a:pt x="567" y="398"/>
                    <a:pt x="567" y="398"/>
                  </a:cubicBezTo>
                  <a:cubicBezTo>
                    <a:pt x="572" y="380"/>
                    <a:pt x="572" y="380"/>
                    <a:pt x="572" y="380"/>
                  </a:cubicBezTo>
                  <a:cubicBezTo>
                    <a:pt x="590" y="392"/>
                    <a:pt x="590" y="392"/>
                    <a:pt x="590" y="392"/>
                  </a:cubicBezTo>
                  <a:cubicBezTo>
                    <a:pt x="616" y="393"/>
                    <a:pt x="616" y="393"/>
                    <a:pt x="616" y="393"/>
                  </a:cubicBezTo>
                  <a:cubicBezTo>
                    <a:pt x="619" y="381"/>
                    <a:pt x="619" y="381"/>
                    <a:pt x="619" y="381"/>
                  </a:cubicBezTo>
                  <a:cubicBezTo>
                    <a:pt x="621" y="374"/>
                    <a:pt x="621" y="374"/>
                    <a:pt x="621" y="374"/>
                  </a:cubicBezTo>
                  <a:cubicBezTo>
                    <a:pt x="621" y="374"/>
                    <a:pt x="624" y="377"/>
                    <a:pt x="628" y="379"/>
                  </a:cubicBezTo>
                  <a:cubicBezTo>
                    <a:pt x="629" y="379"/>
                    <a:pt x="629" y="379"/>
                    <a:pt x="629" y="379"/>
                  </a:cubicBezTo>
                  <a:cubicBezTo>
                    <a:pt x="631" y="380"/>
                    <a:pt x="633" y="381"/>
                    <a:pt x="635" y="381"/>
                  </a:cubicBezTo>
                  <a:cubicBezTo>
                    <a:pt x="635" y="381"/>
                    <a:pt x="636" y="381"/>
                    <a:pt x="636" y="381"/>
                  </a:cubicBezTo>
                  <a:cubicBezTo>
                    <a:pt x="637" y="382"/>
                    <a:pt x="638" y="382"/>
                    <a:pt x="639" y="382"/>
                  </a:cubicBezTo>
                  <a:cubicBezTo>
                    <a:pt x="639" y="382"/>
                    <a:pt x="640" y="382"/>
                    <a:pt x="640" y="382"/>
                  </a:cubicBezTo>
                  <a:cubicBezTo>
                    <a:pt x="641" y="382"/>
                    <a:pt x="642" y="382"/>
                    <a:pt x="644" y="382"/>
                  </a:cubicBezTo>
                  <a:cubicBezTo>
                    <a:pt x="648" y="381"/>
                    <a:pt x="653" y="380"/>
                    <a:pt x="658" y="3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3" name="Freeform 286">
              <a:extLst>
                <a:ext uri="{FF2B5EF4-FFF2-40B4-BE49-F238E27FC236}">
                  <a16:creationId xmlns:a16="http://schemas.microsoft.com/office/drawing/2014/main" id="{22F1E1B5-3FFB-CFEF-C9AE-4EE13674BC21}"/>
                </a:ext>
              </a:extLst>
            </p:cNvPr>
            <p:cNvSpPr>
              <a:spLocks/>
            </p:cNvSpPr>
            <p:nvPr/>
          </p:nvSpPr>
          <p:spPr bwMode="gray">
            <a:xfrm>
              <a:off x="10552570" y="4498883"/>
              <a:ext cx="55738" cy="16183"/>
            </a:xfrm>
            <a:custGeom>
              <a:avLst/>
              <a:gdLst>
                <a:gd name="T0" fmla="*/ 12 w 31"/>
                <a:gd name="T1" fmla="*/ 4 h 9"/>
                <a:gd name="T2" fmla="*/ 2 w 31"/>
                <a:gd name="T3" fmla="*/ 0 h 9"/>
                <a:gd name="T4" fmla="*/ 0 w 31"/>
                <a:gd name="T5" fmla="*/ 2 h 9"/>
                <a:gd name="T6" fmla="*/ 4 w 31"/>
                <a:gd name="T7" fmla="*/ 4 h 9"/>
                <a:gd name="T8" fmla="*/ 1 w 31"/>
                <a:gd name="T9" fmla="*/ 6 h 9"/>
                <a:gd name="T10" fmla="*/ 11 w 31"/>
                <a:gd name="T11" fmla="*/ 9 h 9"/>
                <a:gd name="T12" fmla="*/ 18 w 31"/>
                <a:gd name="T13" fmla="*/ 7 h 9"/>
                <a:gd name="T14" fmla="*/ 29 w 31"/>
                <a:gd name="T15" fmla="*/ 9 h 9"/>
                <a:gd name="T16" fmla="*/ 31 w 31"/>
                <a:gd name="T17" fmla="*/ 8 h 9"/>
                <a:gd name="T18" fmla="*/ 20 w 31"/>
                <a:gd name="T19" fmla="*/ 2 h 9"/>
                <a:gd name="T20" fmla="*/ 12 w 31"/>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
                  <a:moveTo>
                    <a:pt x="12" y="4"/>
                  </a:moveTo>
                  <a:lnTo>
                    <a:pt x="2" y="0"/>
                  </a:lnTo>
                  <a:lnTo>
                    <a:pt x="0" y="2"/>
                  </a:lnTo>
                  <a:lnTo>
                    <a:pt x="4" y="4"/>
                  </a:lnTo>
                  <a:lnTo>
                    <a:pt x="1" y="6"/>
                  </a:lnTo>
                  <a:lnTo>
                    <a:pt x="11" y="9"/>
                  </a:lnTo>
                  <a:lnTo>
                    <a:pt x="18" y="7"/>
                  </a:lnTo>
                  <a:lnTo>
                    <a:pt x="29" y="9"/>
                  </a:lnTo>
                  <a:lnTo>
                    <a:pt x="31" y="8"/>
                  </a:lnTo>
                  <a:lnTo>
                    <a:pt x="20" y="2"/>
                  </a:lnTo>
                  <a:lnTo>
                    <a:pt x="1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4" name="Freeform 287">
              <a:extLst>
                <a:ext uri="{FF2B5EF4-FFF2-40B4-BE49-F238E27FC236}">
                  <a16:creationId xmlns:a16="http://schemas.microsoft.com/office/drawing/2014/main" id="{CB862373-929E-0135-2F89-A0D18A1CBB35}"/>
                </a:ext>
              </a:extLst>
            </p:cNvPr>
            <p:cNvSpPr>
              <a:spLocks/>
            </p:cNvSpPr>
            <p:nvPr/>
          </p:nvSpPr>
          <p:spPr bwMode="gray">
            <a:xfrm>
              <a:off x="10559761" y="4529449"/>
              <a:ext cx="34162" cy="8991"/>
            </a:xfrm>
            <a:custGeom>
              <a:avLst/>
              <a:gdLst>
                <a:gd name="T0" fmla="*/ 24 w 57"/>
                <a:gd name="T1" fmla="*/ 0 h 14"/>
                <a:gd name="T2" fmla="*/ 27 w 57"/>
                <a:gd name="T3" fmla="*/ 11 h 14"/>
                <a:gd name="T4" fmla="*/ 24 w 57"/>
                <a:gd name="T5" fmla="*/ 0 h 14"/>
              </a:gdLst>
              <a:ahLst/>
              <a:cxnLst>
                <a:cxn ang="0">
                  <a:pos x="T0" y="T1"/>
                </a:cxn>
                <a:cxn ang="0">
                  <a:pos x="T2" y="T3"/>
                </a:cxn>
                <a:cxn ang="0">
                  <a:pos x="T4" y="T5"/>
                </a:cxn>
              </a:cxnLst>
              <a:rect l="0" t="0" r="r" b="b"/>
              <a:pathLst>
                <a:path w="57" h="14">
                  <a:moveTo>
                    <a:pt x="24" y="0"/>
                  </a:moveTo>
                  <a:cubicBezTo>
                    <a:pt x="24" y="0"/>
                    <a:pt x="0" y="14"/>
                    <a:pt x="27" y="11"/>
                  </a:cubicBezTo>
                  <a:cubicBezTo>
                    <a:pt x="49" y="12"/>
                    <a:pt x="57" y="1"/>
                    <a:pt x="2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5" name="Freeform 288">
              <a:extLst>
                <a:ext uri="{FF2B5EF4-FFF2-40B4-BE49-F238E27FC236}">
                  <a16:creationId xmlns:a16="http://schemas.microsoft.com/office/drawing/2014/main" id="{E4B48545-E421-7E66-CCA6-A12E5F91E08E}"/>
                </a:ext>
              </a:extLst>
            </p:cNvPr>
            <p:cNvSpPr>
              <a:spLocks/>
            </p:cNvSpPr>
            <p:nvPr/>
          </p:nvSpPr>
          <p:spPr bwMode="gray">
            <a:xfrm>
              <a:off x="10626288" y="4524054"/>
              <a:ext cx="39556" cy="16183"/>
            </a:xfrm>
            <a:custGeom>
              <a:avLst/>
              <a:gdLst>
                <a:gd name="T0" fmla="*/ 0 w 22"/>
                <a:gd name="T1" fmla="*/ 4 h 9"/>
                <a:gd name="T2" fmla="*/ 22 w 22"/>
                <a:gd name="T3" fmla="*/ 9 h 9"/>
                <a:gd name="T4" fmla="*/ 22 w 22"/>
                <a:gd name="T5" fmla="*/ 7 h 9"/>
                <a:gd name="T6" fmla="*/ 1 w 22"/>
                <a:gd name="T7" fmla="*/ 0 h 9"/>
                <a:gd name="T8" fmla="*/ 0 w 22"/>
                <a:gd name="T9" fmla="*/ 4 h 9"/>
              </a:gdLst>
              <a:ahLst/>
              <a:cxnLst>
                <a:cxn ang="0">
                  <a:pos x="T0" y="T1"/>
                </a:cxn>
                <a:cxn ang="0">
                  <a:pos x="T2" y="T3"/>
                </a:cxn>
                <a:cxn ang="0">
                  <a:pos x="T4" y="T5"/>
                </a:cxn>
                <a:cxn ang="0">
                  <a:pos x="T6" y="T7"/>
                </a:cxn>
                <a:cxn ang="0">
                  <a:pos x="T8" y="T9"/>
                </a:cxn>
              </a:cxnLst>
              <a:rect l="0" t="0" r="r" b="b"/>
              <a:pathLst>
                <a:path w="22" h="9">
                  <a:moveTo>
                    <a:pt x="0" y="4"/>
                  </a:moveTo>
                  <a:lnTo>
                    <a:pt x="22" y="9"/>
                  </a:lnTo>
                  <a:lnTo>
                    <a:pt x="22" y="7"/>
                  </a:lnTo>
                  <a:lnTo>
                    <a:pt x="1"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6" name="Freeform 289">
              <a:extLst>
                <a:ext uri="{FF2B5EF4-FFF2-40B4-BE49-F238E27FC236}">
                  <a16:creationId xmlns:a16="http://schemas.microsoft.com/office/drawing/2014/main" id="{CD46D688-72C4-E378-7D80-804B316C95DE}"/>
                </a:ext>
              </a:extLst>
            </p:cNvPr>
            <p:cNvSpPr>
              <a:spLocks/>
            </p:cNvSpPr>
            <p:nvPr/>
          </p:nvSpPr>
          <p:spPr bwMode="gray">
            <a:xfrm>
              <a:off x="10525600" y="4444943"/>
              <a:ext cx="50344" cy="21576"/>
            </a:xfrm>
            <a:custGeom>
              <a:avLst/>
              <a:gdLst>
                <a:gd name="T0" fmla="*/ 20 w 28"/>
                <a:gd name="T1" fmla="*/ 10 h 12"/>
                <a:gd name="T2" fmla="*/ 27 w 28"/>
                <a:gd name="T3" fmla="*/ 7 h 12"/>
                <a:gd name="T4" fmla="*/ 28 w 28"/>
                <a:gd name="T5" fmla="*/ 5 h 12"/>
                <a:gd name="T6" fmla="*/ 22 w 28"/>
                <a:gd name="T7" fmla="*/ 3 h 12"/>
                <a:gd name="T8" fmla="*/ 5 w 28"/>
                <a:gd name="T9" fmla="*/ 0 h 12"/>
                <a:gd name="T10" fmla="*/ 5 w 28"/>
                <a:gd name="T11" fmla="*/ 4 h 12"/>
                <a:gd name="T12" fmla="*/ 0 w 28"/>
                <a:gd name="T13" fmla="*/ 5 h 12"/>
                <a:gd name="T14" fmla="*/ 16 w 28"/>
                <a:gd name="T15" fmla="*/ 12 h 12"/>
                <a:gd name="T16" fmla="*/ 20 w 28"/>
                <a:gd name="T1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2">
                  <a:moveTo>
                    <a:pt x="20" y="10"/>
                  </a:moveTo>
                  <a:lnTo>
                    <a:pt x="27" y="7"/>
                  </a:lnTo>
                  <a:lnTo>
                    <a:pt x="28" y="5"/>
                  </a:lnTo>
                  <a:lnTo>
                    <a:pt x="22" y="3"/>
                  </a:lnTo>
                  <a:lnTo>
                    <a:pt x="5" y="0"/>
                  </a:lnTo>
                  <a:lnTo>
                    <a:pt x="5" y="4"/>
                  </a:lnTo>
                  <a:lnTo>
                    <a:pt x="0" y="5"/>
                  </a:lnTo>
                  <a:lnTo>
                    <a:pt x="16" y="12"/>
                  </a:lnTo>
                  <a:lnTo>
                    <a:pt x="20"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7" name="Freeform 290">
              <a:extLst>
                <a:ext uri="{FF2B5EF4-FFF2-40B4-BE49-F238E27FC236}">
                  <a16:creationId xmlns:a16="http://schemas.microsoft.com/office/drawing/2014/main" id="{82558DF7-2049-80EC-E6EC-85C0A4D0483D}"/>
                </a:ext>
              </a:extLst>
            </p:cNvPr>
            <p:cNvSpPr>
              <a:spLocks/>
            </p:cNvSpPr>
            <p:nvPr/>
          </p:nvSpPr>
          <p:spPr bwMode="gray">
            <a:xfrm>
              <a:off x="10527398" y="4466519"/>
              <a:ext cx="75515" cy="17980"/>
            </a:xfrm>
            <a:custGeom>
              <a:avLst/>
              <a:gdLst>
                <a:gd name="T0" fmla="*/ 42 w 42"/>
                <a:gd name="T1" fmla="*/ 10 h 10"/>
                <a:gd name="T2" fmla="*/ 40 w 42"/>
                <a:gd name="T3" fmla="*/ 7 h 10"/>
                <a:gd name="T4" fmla="*/ 20 w 42"/>
                <a:gd name="T5" fmla="*/ 5 h 10"/>
                <a:gd name="T6" fmla="*/ 18 w 42"/>
                <a:gd name="T7" fmla="*/ 3 h 10"/>
                <a:gd name="T8" fmla="*/ 9 w 42"/>
                <a:gd name="T9" fmla="*/ 0 h 10"/>
                <a:gd name="T10" fmla="*/ 7 w 42"/>
                <a:gd name="T11" fmla="*/ 1 h 10"/>
                <a:gd name="T12" fmla="*/ 8 w 42"/>
                <a:gd name="T13" fmla="*/ 3 h 10"/>
                <a:gd name="T14" fmla="*/ 4 w 42"/>
                <a:gd name="T15" fmla="*/ 3 h 10"/>
                <a:gd name="T16" fmla="*/ 0 w 42"/>
                <a:gd name="T17" fmla="*/ 7 h 10"/>
                <a:gd name="T18" fmla="*/ 15 w 42"/>
                <a:gd name="T19" fmla="*/ 10 h 10"/>
                <a:gd name="T20" fmla="*/ 42 w 42"/>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0">
                  <a:moveTo>
                    <a:pt x="42" y="10"/>
                  </a:moveTo>
                  <a:lnTo>
                    <a:pt x="40" y="7"/>
                  </a:lnTo>
                  <a:lnTo>
                    <a:pt x="20" y="5"/>
                  </a:lnTo>
                  <a:lnTo>
                    <a:pt x="18" y="3"/>
                  </a:lnTo>
                  <a:lnTo>
                    <a:pt x="9" y="0"/>
                  </a:lnTo>
                  <a:lnTo>
                    <a:pt x="7" y="1"/>
                  </a:lnTo>
                  <a:lnTo>
                    <a:pt x="8" y="3"/>
                  </a:lnTo>
                  <a:lnTo>
                    <a:pt x="4" y="3"/>
                  </a:lnTo>
                  <a:lnTo>
                    <a:pt x="0" y="7"/>
                  </a:lnTo>
                  <a:lnTo>
                    <a:pt x="15" y="10"/>
                  </a:lnTo>
                  <a:lnTo>
                    <a:pt x="42"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8" name="Freeform 291">
              <a:extLst>
                <a:ext uri="{FF2B5EF4-FFF2-40B4-BE49-F238E27FC236}">
                  <a16:creationId xmlns:a16="http://schemas.microsoft.com/office/drawing/2014/main" id="{DF4E743D-43E0-16A5-8940-9F0CE0E175FC}"/>
                </a:ext>
              </a:extLst>
            </p:cNvPr>
            <p:cNvSpPr>
              <a:spLocks/>
            </p:cNvSpPr>
            <p:nvPr/>
          </p:nvSpPr>
          <p:spPr bwMode="gray">
            <a:xfrm>
              <a:off x="10410531" y="4382015"/>
              <a:ext cx="16183" cy="14383"/>
            </a:xfrm>
            <a:custGeom>
              <a:avLst/>
              <a:gdLst>
                <a:gd name="T0" fmla="*/ 11 w 29"/>
                <a:gd name="T1" fmla="*/ 4 h 24"/>
                <a:gd name="T2" fmla="*/ 10 w 29"/>
                <a:gd name="T3" fmla="*/ 16 h 24"/>
                <a:gd name="T4" fmla="*/ 11 w 29"/>
                <a:gd name="T5" fmla="*/ 4 h 24"/>
              </a:gdLst>
              <a:ahLst/>
              <a:cxnLst>
                <a:cxn ang="0">
                  <a:pos x="T0" y="T1"/>
                </a:cxn>
                <a:cxn ang="0">
                  <a:pos x="T2" y="T3"/>
                </a:cxn>
                <a:cxn ang="0">
                  <a:pos x="T4" y="T5"/>
                </a:cxn>
              </a:cxnLst>
              <a:rect l="0" t="0" r="r" b="b"/>
              <a:pathLst>
                <a:path w="29" h="24">
                  <a:moveTo>
                    <a:pt x="11" y="4"/>
                  </a:moveTo>
                  <a:cubicBezTo>
                    <a:pt x="0" y="0"/>
                    <a:pt x="10" y="16"/>
                    <a:pt x="10" y="16"/>
                  </a:cubicBezTo>
                  <a:cubicBezTo>
                    <a:pt x="29" y="24"/>
                    <a:pt x="25" y="13"/>
                    <a:pt x="11"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9" name="Freeform 292">
              <a:extLst>
                <a:ext uri="{FF2B5EF4-FFF2-40B4-BE49-F238E27FC236}">
                  <a16:creationId xmlns:a16="http://schemas.microsoft.com/office/drawing/2014/main" id="{DA438E05-A09D-BB2E-1FA1-0544D7B8D83F}"/>
                </a:ext>
              </a:extLst>
            </p:cNvPr>
            <p:cNvSpPr>
              <a:spLocks/>
            </p:cNvSpPr>
            <p:nvPr/>
          </p:nvSpPr>
          <p:spPr bwMode="gray">
            <a:xfrm>
              <a:off x="10385358" y="4317288"/>
              <a:ext cx="19778" cy="8991"/>
            </a:xfrm>
            <a:custGeom>
              <a:avLst/>
              <a:gdLst>
                <a:gd name="T0" fmla="*/ 7 w 33"/>
                <a:gd name="T1" fmla="*/ 16 h 16"/>
                <a:gd name="T2" fmla="*/ 15 w 33"/>
                <a:gd name="T3" fmla="*/ 5 h 16"/>
                <a:gd name="T4" fmla="*/ 7 w 33"/>
                <a:gd name="T5" fmla="*/ 16 h 16"/>
              </a:gdLst>
              <a:ahLst/>
              <a:cxnLst>
                <a:cxn ang="0">
                  <a:pos x="T0" y="T1"/>
                </a:cxn>
                <a:cxn ang="0">
                  <a:pos x="T2" y="T3"/>
                </a:cxn>
                <a:cxn ang="0">
                  <a:pos x="T4" y="T5"/>
                </a:cxn>
              </a:cxnLst>
              <a:rect l="0" t="0" r="r" b="b"/>
              <a:pathLst>
                <a:path w="33" h="16">
                  <a:moveTo>
                    <a:pt x="7" y="16"/>
                  </a:moveTo>
                  <a:cubicBezTo>
                    <a:pt x="18" y="16"/>
                    <a:pt x="33" y="5"/>
                    <a:pt x="15" y="5"/>
                  </a:cubicBezTo>
                  <a:cubicBezTo>
                    <a:pt x="0" y="0"/>
                    <a:pt x="7" y="16"/>
                    <a:pt x="7"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0" name="Freeform 293">
              <a:extLst>
                <a:ext uri="{FF2B5EF4-FFF2-40B4-BE49-F238E27FC236}">
                  <a16:creationId xmlns:a16="http://schemas.microsoft.com/office/drawing/2014/main" id="{7813059B-76EB-55ED-3158-ACD7795215F3}"/>
                </a:ext>
              </a:extLst>
            </p:cNvPr>
            <p:cNvSpPr>
              <a:spLocks/>
            </p:cNvSpPr>
            <p:nvPr/>
          </p:nvSpPr>
          <p:spPr bwMode="gray">
            <a:xfrm>
              <a:off x="10361984" y="4270540"/>
              <a:ext cx="46747" cy="50344"/>
            </a:xfrm>
            <a:custGeom>
              <a:avLst/>
              <a:gdLst>
                <a:gd name="T0" fmla="*/ 10 w 26"/>
                <a:gd name="T1" fmla="*/ 16 h 28"/>
                <a:gd name="T2" fmla="*/ 15 w 26"/>
                <a:gd name="T3" fmla="*/ 20 h 28"/>
                <a:gd name="T4" fmla="*/ 22 w 26"/>
                <a:gd name="T5" fmla="*/ 28 h 28"/>
                <a:gd name="T6" fmla="*/ 26 w 26"/>
                <a:gd name="T7" fmla="*/ 25 h 28"/>
                <a:gd name="T8" fmla="*/ 17 w 26"/>
                <a:gd name="T9" fmla="*/ 16 h 28"/>
                <a:gd name="T10" fmla="*/ 13 w 26"/>
                <a:gd name="T11" fmla="*/ 15 h 28"/>
                <a:gd name="T12" fmla="*/ 8 w 26"/>
                <a:gd name="T13" fmla="*/ 5 h 28"/>
                <a:gd name="T14" fmla="*/ 6 w 26"/>
                <a:gd name="T15" fmla="*/ 4 h 28"/>
                <a:gd name="T16" fmla="*/ 0 w 26"/>
                <a:gd name="T17" fmla="*/ 0 h 28"/>
                <a:gd name="T18" fmla="*/ 10 w 26"/>
                <a:gd name="T1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8">
                  <a:moveTo>
                    <a:pt x="10" y="16"/>
                  </a:moveTo>
                  <a:lnTo>
                    <a:pt x="15" y="20"/>
                  </a:lnTo>
                  <a:lnTo>
                    <a:pt x="22" y="28"/>
                  </a:lnTo>
                  <a:lnTo>
                    <a:pt x="26" y="25"/>
                  </a:lnTo>
                  <a:lnTo>
                    <a:pt x="17" y="16"/>
                  </a:lnTo>
                  <a:lnTo>
                    <a:pt x="13" y="15"/>
                  </a:lnTo>
                  <a:lnTo>
                    <a:pt x="8" y="5"/>
                  </a:lnTo>
                  <a:lnTo>
                    <a:pt x="6" y="4"/>
                  </a:lnTo>
                  <a:lnTo>
                    <a:pt x="0" y="0"/>
                  </a:lnTo>
                  <a:lnTo>
                    <a:pt x="10" y="1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1" name="Freeform 294">
              <a:extLst>
                <a:ext uri="{FF2B5EF4-FFF2-40B4-BE49-F238E27FC236}">
                  <a16:creationId xmlns:a16="http://schemas.microsoft.com/office/drawing/2014/main" id="{31626589-902E-C392-609D-EFCEC974CBDC}"/>
                </a:ext>
              </a:extLst>
            </p:cNvPr>
            <p:cNvSpPr>
              <a:spLocks/>
            </p:cNvSpPr>
            <p:nvPr/>
          </p:nvSpPr>
          <p:spPr bwMode="gray">
            <a:xfrm>
              <a:off x="10329621" y="4193226"/>
              <a:ext cx="37758" cy="37758"/>
            </a:xfrm>
            <a:custGeom>
              <a:avLst/>
              <a:gdLst>
                <a:gd name="T0" fmla="*/ 16 w 21"/>
                <a:gd name="T1" fmla="*/ 21 h 21"/>
                <a:gd name="T2" fmla="*/ 21 w 21"/>
                <a:gd name="T3" fmla="*/ 18 h 21"/>
                <a:gd name="T4" fmla="*/ 16 w 21"/>
                <a:gd name="T5" fmla="*/ 13 h 21"/>
                <a:gd name="T6" fmla="*/ 14 w 21"/>
                <a:gd name="T7" fmla="*/ 9 h 21"/>
                <a:gd name="T8" fmla="*/ 8 w 21"/>
                <a:gd name="T9" fmla="*/ 3 h 21"/>
                <a:gd name="T10" fmla="*/ 5 w 21"/>
                <a:gd name="T11" fmla="*/ 0 h 21"/>
                <a:gd name="T12" fmla="*/ 5 w 21"/>
                <a:gd name="T13" fmla="*/ 7 h 21"/>
                <a:gd name="T14" fmla="*/ 0 w 21"/>
                <a:gd name="T15" fmla="*/ 11 h 21"/>
                <a:gd name="T16" fmla="*/ 6 w 21"/>
                <a:gd name="T17" fmla="*/ 18 h 21"/>
                <a:gd name="T18" fmla="*/ 11 w 21"/>
                <a:gd name="T19" fmla="*/ 16 h 21"/>
                <a:gd name="T20" fmla="*/ 11 w 21"/>
                <a:gd name="T21" fmla="*/ 18 h 21"/>
                <a:gd name="T22" fmla="*/ 16 w 21"/>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6" y="21"/>
                  </a:moveTo>
                  <a:lnTo>
                    <a:pt x="21" y="18"/>
                  </a:lnTo>
                  <a:lnTo>
                    <a:pt x="16" y="13"/>
                  </a:lnTo>
                  <a:lnTo>
                    <a:pt x="14" y="9"/>
                  </a:lnTo>
                  <a:lnTo>
                    <a:pt x="8" y="3"/>
                  </a:lnTo>
                  <a:lnTo>
                    <a:pt x="5" y="0"/>
                  </a:lnTo>
                  <a:lnTo>
                    <a:pt x="5" y="7"/>
                  </a:lnTo>
                  <a:lnTo>
                    <a:pt x="0" y="11"/>
                  </a:lnTo>
                  <a:lnTo>
                    <a:pt x="6" y="18"/>
                  </a:lnTo>
                  <a:lnTo>
                    <a:pt x="11" y="16"/>
                  </a:lnTo>
                  <a:lnTo>
                    <a:pt x="11" y="18"/>
                  </a:lnTo>
                  <a:lnTo>
                    <a:pt x="16"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2" name="Freeform 295">
              <a:extLst>
                <a:ext uri="{FF2B5EF4-FFF2-40B4-BE49-F238E27FC236}">
                  <a16:creationId xmlns:a16="http://schemas.microsoft.com/office/drawing/2014/main" id="{10F2632D-B680-A8D8-98F4-564B94A7CEF0}"/>
                </a:ext>
              </a:extLst>
            </p:cNvPr>
            <p:cNvSpPr>
              <a:spLocks/>
            </p:cNvSpPr>
            <p:nvPr/>
          </p:nvSpPr>
          <p:spPr bwMode="gray">
            <a:xfrm>
              <a:off x="10311641" y="4200418"/>
              <a:ext cx="28768" cy="97091"/>
            </a:xfrm>
            <a:custGeom>
              <a:avLst/>
              <a:gdLst>
                <a:gd name="T0" fmla="*/ 48 w 48"/>
                <a:gd name="T1" fmla="*/ 125 h 163"/>
                <a:gd name="T2" fmla="*/ 37 w 48"/>
                <a:gd name="T3" fmla="*/ 113 h 163"/>
                <a:gd name="T4" fmla="*/ 31 w 48"/>
                <a:gd name="T5" fmla="*/ 74 h 163"/>
                <a:gd name="T6" fmla="*/ 36 w 48"/>
                <a:gd name="T7" fmla="*/ 55 h 163"/>
                <a:gd name="T8" fmla="*/ 22 w 48"/>
                <a:gd name="T9" fmla="*/ 28 h 163"/>
                <a:gd name="T10" fmla="*/ 20 w 48"/>
                <a:gd name="T11" fmla="*/ 1 h 163"/>
                <a:gd name="T12" fmla="*/ 8 w 48"/>
                <a:gd name="T13" fmla="*/ 0 h 163"/>
                <a:gd name="T14" fmla="*/ 0 w 48"/>
                <a:gd name="T15" fmla="*/ 19 h 163"/>
                <a:gd name="T16" fmla="*/ 21 w 48"/>
                <a:gd name="T17" fmla="*/ 43 h 163"/>
                <a:gd name="T18" fmla="*/ 21 w 48"/>
                <a:gd name="T19" fmla="*/ 62 h 163"/>
                <a:gd name="T20" fmla="*/ 10 w 48"/>
                <a:gd name="T21" fmla="*/ 58 h 163"/>
                <a:gd name="T22" fmla="*/ 26 w 48"/>
                <a:gd name="T23" fmla="*/ 104 h 163"/>
                <a:gd name="T24" fmla="*/ 11 w 48"/>
                <a:gd name="T25" fmla="*/ 104 h 163"/>
                <a:gd name="T26" fmla="*/ 20 w 48"/>
                <a:gd name="T27" fmla="*/ 146 h 163"/>
                <a:gd name="T28" fmla="*/ 42 w 48"/>
                <a:gd name="T29" fmla="*/ 163 h 163"/>
                <a:gd name="T30" fmla="*/ 46 w 48"/>
                <a:gd name="T31" fmla="*/ 155 h 163"/>
                <a:gd name="T32" fmla="*/ 28 w 48"/>
                <a:gd name="T33" fmla="*/ 135 h 163"/>
                <a:gd name="T34" fmla="*/ 25 w 48"/>
                <a:gd name="T35" fmla="*/ 124 h 163"/>
                <a:gd name="T36" fmla="*/ 36 w 48"/>
                <a:gd name="T37" fmla="*/ 128 h 163"/>
                <a:gd name="T38" fmla="*/ 48 w 48"/>
                <a:gd name="T39" fmla="*/ 12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163">
                  <a:moveTo>
                    <a:pt x="48" y="125"/>
                  </a:moveTo>
                  <a:cubicBezTo>
                    <a:pt x="37" y="113"/>
                    <a:pt x="37" y="113"/>
                    <a:pt x="37" y="113"/>
                  </a:cubicBezTo>
                  <a:cubicBezTo>
                    <a:pt x="31" y="74"/>
                    <a:pt x="31" y="74"/>
                    <a:pt x="31" y="74"/>
                  </a:cubicBezTo>
                  <a:cubicBezTo>
                    <a:pt x="31" y="74"/>
                    <a:pt x="43" y="63"/>
                    <a:pt x="36" y="55"/>
                  </a:cubicBezTo>
                  <a:cubicBezTo>
                    <a:pt x="32" y="47"/>
                    <a:pt x="25" y="39"/>
                    <a:pt x="22" y="28"/>
                  </a:cubicBezTo>
                  <a:cubicBezTo>
                    <a:pt x="22" y="20"/>
                    <a:pt x="20" y="1"/>
                    <a:pt x="20" y="1"/>
                  </a:cubicBezTo>
                  <a:cubicBezTo>
                    <a:pt x="8" y="0"/>
                    <a:pt x="8" y="0"/>
                    <a:pt x="8" y="0"/>
                  </a:cubicBezTo>
                  <a:cubicBezTo>
                    <a:pt x="0" y="19"/>
                    <a:pt x="0" y="19"/>
                    <a:pt x="0" y="19"/>
                  </a:cubicBezTo>
                  <a:cubicBezTo>
                    <a:pt x="0" y="19"/>
                    <a:pt x="14" y="39"/>
                    <a:pt x="21" y="43"/>
                  </a:cubicBezTo>
                  <a:cubicBezTo>
                    <a:pt x="25" y="51"/>
                    <a:pt x="21" y="62"/>
                    <a:pt x="21" y="62"/>
                  </a:cubicBezTo>
                  <a:cubicBezTo>
                    <a:pt x="10" y="58"/>
                    <a:pt x="10" y="58"/>
                    <a:pt x="10" y="58"/>
                  </a:cubicBezTo>
                  <a:cubicBezTo>
                    <a:pt x="26" y="104"/>
                    <a:pt x="26" y="104"/>
                    <a:pt x="26" y="104"/>
                  </a:cubicBezTo>
                  <a:cubicBezTo>
                    <a:pt x="11" y="104"/>
                    <a:pt x="11" y="104"/>
                    <a:pt x="11" y="104"/>
                  </a:cubicBezTo>
                  <a:cubicBezTo>
                    <a:pt x="20" y="146"/>
                    <a:pt x="20" y="146"/>
                    <a:pt x="20" y="146"/>
                  </a:cubicBezTo>
                  <a:cubicBezTo>
                    <a:pt x="42" y="163"/>
                    <a:pt x="42" y="163"/>
                    <a:pt x="42" y="163"/>
                  </a:cubicBezTo>
                  <a:cubicBezTo>
                    <a:pt x="46" y="155"/>
                    <a:pt x="46" y="155"/>
                    <a:pt x="46" y="155"/>
                  </a:cubicBezTo>
                  <a:cubicBezTo>
                    <a:pt x="28" y="135"/>
                    <a:pt x="28" y="135"/>
                    <a:pt x="28" y="135"/>
                  </a:cubicBezTo>
                  <a:cubicBezTo>
                    <a:pt x="25" y="124"/>
                    <a:pt x="25" y="124"/>
                    <a:pt x="25" y="124"/>
                  </a:cubicBezTo>
                  <a:cubicBezTo>
                    <a:pt x="36" y="128"/>
                    <a:pt x="36" y="128"/>
                    <a:pt x="36" y="128"/>
                  </a:cubicBezTo>
                  <a:lnTo>
                    <a:pt x="48" y="12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3" name="Freeform 296">
              <a:extLst>
                <a:ext uri="{FF2B5EF4-FFF2-40B4-BE49-F238E27FC236}">
                  <a16:creationId xmlns:a16="http://schemas.microsoft.com/office/drawing/2014/main" id="{E555BC7B-7A17-8A81-8670-04BEF6210742}"/>
                </a:ext>
              </a:extLst>
            </p:cNvPr>
            <p:cNvSpPr>
              <a:spLocks/>
            </p:cNvSpPr>
            <p:nvPr/>
          </p:nvSpPr>
          <p:spPr bwMode="gray">
            <a:xfrm>
              <a:off x="10352995" y="4243570"/>
              <a:ext cx="10788" cy="12586"/>
            </a:xfrm>
            <a:custGeom>
              <a:avLst/>
              <a:gdLst>
                <a:gd name="T0" fmla="*/ 6 w 6"/>
                <a:gd name="T1" fmla="*/ 7 h 7"/>
                <a:gd name="T2" fmla="*/ 4 w 6"/>
                <a:gd name="T3" fmla="*/ 0 h 7"/>
                <a:gd name="T4" fmla="*/ 0 w 6"/>
                <a:gd name="T5" fmla="*/ 1 h 7"/>
                <a:gd name="T6" fmla="*/ 3 w 6"/>
                <a:gd name="T7" fmla="*/ 3 h 7"/>
                <a:gd name="T8" fmla="*/ 1 w 6"/>
                <a:gd name="T9" fmla="*/ 7 h 7"/>
                <a:gd name="T10" fmla="*/ 6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6" y="7"/>
                  </a:moveTo>
                  <a:lnTo>
                    <a:pt x="4" y="0"/>
                  </a:lnTo>
                  <a:lnTo>
                    <a:pt x="0" y="1"/>
                  </a:lnTo>
                  <a:lnTo>
                    <a:pt x="3" y="3"/>
                  </a:lnTo>
                  <a:lnTo>
                    <a:pt x="1" y="7"/>
                  </a:lnTo>
                  <a:lnTo>
                    <a:pt x="6"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4" name="Freeform 297">
              <a:extLst>
                <a:ext uri="{FF2B5EF4-FFF2-40B4-BE49-F238E27FC236}">
                  <a16:creationId xmlns:a16="http://schemas.microsoft.com/office/drawing/2014/main" id="{0ABD25ED-E480-949D-9E68-EEB19E22FADC}"/>
                </a:ext>
              </a:extLst>
            </p:cNvPr>
            <p:cNvSpPr>
              <a:spLocks/>
            </p:cNvSpPr>
            <p:nvPr/>
          </p:nvSpPr>
          <p:spPr bwMode="gray">
            <a:xfrm>
              <a:off x="10390752" y="4337065"/>
              <a:ext cx="19778" cy="28768"/>
            </a:xfrm>
            <a:custGeom>
              <a:avLst/>
              <a:gdLst>
                <a:gd name="T0" fmla="*/ 11 w 33"/>
                <a:gd name="T1" fmla="*/ 23 h 47"/>
                <a:gd name="T2" fmla="*/ 18 w 33"/>
                <a:gd name="T3" fmla="*/ 20 h 47"/>
                <a:gd name="T4" fmla="*/ 11 w 33"/>
                <a:gd name="T5" fmla="*/ 23 h 47"/>
              </a:gdLst>
              <a:ahLst/>
              <a:cxnLst>
                <a:cxn ang="0">
                  <a:pos x="T0" y="T1"/>
                </a:cxn>
                <a:cxn ang="0">
                  <a:pos x="T2" y="T3"/>
                </a:cxn>
                <a:cxn ang="0">
                  <a:pos x="T4" y="T5"/>
                </a:cxn>
              </a:cxnLst>
              <a:rect l="0" t="0" r="r" b="b"/>
              <a:pathLst>
                <a:path w="33" h="47">
                  <a:moveTo>
                    <a:pt x="11" y="23"/>
                  </a:moveTo>
                  <a:cubicBezTo>
                    <a:pt x="32" y="47"/>
                    <a:pt x="33" y="36"/>
                    <a:pt x="18" y="20"/>
                  </a:cubicBezTo>
                  <a:cubicBezTo>
                    <a:pt x="0" y="0"/>
                    <a:pt x="11" y="23"/>
                    <a:pt x="11" y="2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5" name="Freeform 298">
              <a:extLst>
                <a:ext uri="{FF2B5EF4-FFF2-40B4-BE49-F238E27FC236}">
                  <a16:creationId xmlns:a16="http://schemas.microsoft.com/office/drawing/2014/main" id="{0BE17AB6-53E9-C998-EAB6-375320663C45}"/>
                </a:ext>
              </a:extLst>
            </p:cNvPr>
            <p:cNvSpPr>
              <a:spLocks/>
            </p:cNvSpPr>
            <p:nvPr/>
          </p:nvSpPr>
          <p:spPr bwMode="gray">
            <a:xfrm>
              <a:off x="10365580" y="4304701"/>
              <a:ext cx="10788" cy="8991"/>
            </a:xfrm>
            <a:custGeom>
              <a:avLst/>
              <a:gdLst>
                <a:gd name="T0" fmla="*/ 0 w 18"/>
                <a:gd name="T1" fmla="*/ 12 h 16"/>
                <a:gd name="T2" fmla="*/ 7 w 18"/>
                <a:gd name="T3" fmla="*/ 5 h 16"/>
                <a:gd name="T4" fmla="*/ 0 w 18"/>
                <a:gd name="T5" fmla="*/ 12 h 16"/>
              </a:gdLst>
              <a:ahLst/>
              <a:cxnLst>
                <a:cxn ang="0">
                  <a:pos x="T0" y="T1"/>
                </a:cxn>
                <a:cxn ang="0">
                  <a:pos x="T2" y="T3"/>
                </a:cxn>
                <a:cxn ang="0">
                  <a:pos x="T4" y="T5"/>
                </a:cxn>
              </a:cxnLst>
              <a:rect l="0" t="0" r="r" b="b"/>
              <a:pathLst>
                <a:path w="18" h="16">
                  <a:moveTo>
                    <a:pt x="0" y="12"/>
                  </a:moveTo>
                  <a:cubicBezTo>
                    <a:pt x="11" y="16"/>
                    <a:pt x="18" y="9"/>
                    <a:pt x="7" y="5"/>
                  </a:cubicBezTo>
                  <a:cubicBezTo>
                    <a:pt x="0" y="0"/>
                    <a:pt x="0" y="12"/>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6" name="Freeform 299">
              <a:extLst>
                <a:ext uri="{FF2B5EF4-FFF2-40B4-BE49-F238E27FC236}">
                  <a16:creationId xmlns:a16="http://schemas.microsoft.com/office/drawing/2014/main" id="{F464CDF3-0F94-55C9-3459-1C73A80913AD}"/>
                </a:ext>
              </a:extLst>
            </p:cNvPr>
            <p:cNvSpPr>
              <a:spLocks/>
            </p:cNvSpPr>
            <p:nvPr/>
          </p:nvSpPr>
          <p:spPr bwMode="gray">
            <a:xfrm>
              <a:off x="10491438" y="4488095"/>
              <a:ext cx="30566" cy="12586"/>
            </a:xfrm>
            <a:custGeom>
              <a:avLst/>
              <a:gdLst>
                <a:gd name="T0" fmla="*/ 19 w 52"/>
                <a:gd name="T1" fmla="*/ 6 h 21"/>
                <a:gd name="T2" fmla="*/ 0 w 52"/>
                <a:gd name="T3" fmla="*/ 13 h 21"/>
                <a:gd name="T4" fmla="*/ 30 w 52"/>
                <a:gd name="T5" fmla="*/ 18 h 21"/>
                <a:gd name="T6" fmla="*/ 19 w 52"/>
                <a:gd name="T7" fmla="*/ 6 h 21"/>
              </a:gdLst>
              <a:ahLst/>
              <a:cxnLst>
                <a:cxn ang="0">
                  <a:pos x="T0" y="T1"/>
                </a:cxn>
                <a:cxn ang="0">
                  <a:pos x="T2" y="T3"/>
                </a:cxn>
                <a:cxn ang="0">
                  <a:pos x="T4" y="T5"/>
                </a:cxn>
                <a:cxn ang="0">
                  <a:pos x="T6" y="T7"/>
                </a:cxn>
              </a:cxnLst>
              <a:rect l="0" t="0" r="r" b="b"/>
              <a:pathLst>
                <a:path w="52" h="21">
                  <a:moveTo>
                    <a:pt x="19" y="6"/>
                  </a:moveTo>
                  <a:cubicBezTo>
                    <a:pt x="0" y="13"/>
                    <a:pt x="0" y="13"/>
                    <a:pt x="0" y="13"/>
                  </a:cubicBezTo>
                  <a:cubicBezTo>
                    <a:pt x="0" y="13"/>
                    <a:pt x="7" y="21"/>
                    <a:pt x="30" y="18"/>
                  </a:cubicBezTo>
                  <a:cubicBezTo>
                    <a:pt x="52" y="12"/>
                    <a:pt x="49" y="0"/>
                    <a:pt x="19"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7" name="Freeform 300">
              <a:extLst>
                <a:ext uri="{FF2B5EF4-FFF2-40B4-BE49-F238E27FC236}">
                  <a16:creationId xmlns:a16="http://schemas.microsoft.com/office/drawing/2014/main" id="{9EA12E9B-0DAA-2E1B-51BB-720A615870ED}"/>
                </a:ext>
              </a:extLst>
            </p:cNvPr>
            <p:cNvSpPr>
              <a:spLocks/>
            </p:cNvSpPr>
            <p:nvPr/>
          </p:nvSpPr>
          <p:spPr bwMode="gray">
            <a:xfrm>
              <a:off x="10306248" y="4263348"/>
              <a:ext cx="8991" cy="17980"/>
            </a:xfrm>
            <a:custGeom>
              <a:avLst/>
              <a:gdLst>
                <a:gd name="T0" fmla="*/ 0 w 13"/>
                <a:gd name="T1" fmla="*/ 19 h 30"/>
                <a:gd name="T2" fmla="*/ 12 w 13"/>
                <a:gd name="T3" fmla="*/ 15 h 30"/>
                <a:gd name="T4" fmla="*/ 0 w 13"/>
                <a:gd name="T5" fmla="*/ 19 h 30"/>
              </a:gdLst>
              <a:ahLst/>
              <a:cxnLst>
                <a:cxn ang="0">
                  <a:pos x="T0" y="T1"/>
                </a:cxn>
                <a:cxn ang="0">
                  <a:pos x="T2" y="T3"/>
                </a:cxn>
                <a:cxn ang="0">
                  <a:pos x="T4" y="T5"/>
                </a:cxn>
              </a:cxnLst>
              <a:rect l="0" t="0" r="r" b="b"/>
              <a:pathLst>
                <a:path w="13" h="30">
                  <a:moveTo>
                    <a:pt x="0" y="19"/>
                  </a:moveTo>
                  <a:cubicBezTo>
                    <a:pt x="0" y="30"/>
                    <a:pt x="12" y="15"/>
                    <a:pt x="12" y="15"/>
                  </a:cubicBezTo>
                  <a:cubicBezTo>
                    <a:pt x="13" y="0"/>
                    <a:pt x="1" y="7"/>
                    <a:pt x="0"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8" name="Freeform 301">
              <a:extLst>
                <a:ext uri="{FF2B5EF4-FFF2-40B4-BE49-F238E27FC236}">
                  <a16:creationId xmlns:a16="http://schemas.microsoft.com/office/drawing/2014/main" id="{7CA1BF00-549D-839C-53A6-9A2DFBC3E7F9}"/>
                </a:ext>
              </a:extLst>
            </p:cNvPr>
            <p:cNvSpPr>
              <a:spLocks/>
            </p:cNvSpPr>
            <p:nvPr/>
          </p:nvSpPr>
          <p:spPr bwMode="gray">
            <a:xfrm>
              <a:off x="10365580" y="4324480"/>
              <a:ext cx="17980" cy="12586"/>
            </a:xfrm>
            <a:custGeom>
              <a:avLst/>
              <a:gdLst>
                <a:gd name="T0" fmla="*/ 19 w 30"/>
                <a:gd name="T1" fmla="*/ 8 h 20"/>
                <a:gd name="T2" fmla="*/ 0 w 30"/>
                <a:gd name="T3" fmla="*/ 11 h 20"/>
                <a:gd name="T4" fmla="*/ 19 w 30"/>
                <a:gd name="T5" fmla="*/ 8 h 20"/>
              </a:gdLst>
              <a:ahLst/>
              <a:cxnLst>
                <a:cxn ang="0">
                  <a:pos x="T0" y="T1"/>
                </a:cxn>
                <a:cxn ang="0">
                  <a:pos x="T2" y="T3"/>
                </a:cxn>
                <a:cxn ang="0">
                  <a:pos x="T4" y="T5"/>
                </a:cxn>
              </a:cxnLst>
              <a:rect l="0" t="0" r="r" b="b"/>
              <a:pathLst>
                <a:path w="30" h="20">
                  <a:moveTo>
                    <a:pt x="19" y="8"/>
                  </a:moveTo>
                  <a:cubicBezTo>
                    <a:pt x="8" y="0"/>
                    <a:pt x="0" y="11"/>
                    <a:pt x="0" y="11"/>
                  </a:cubicBezTo>
                  <a:cubicBezTo>
                    <a:pt x="18" y="20"/>
                    <a:pt x="30" y="16"/>
                    <a:pt x="19"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9" name="Freeform 302">
              <a:extLst>
                <a:ext uri="{FF2B5EF4-FFF2-40B4-BE49-F238E27FC236}">
                  <a16:creationId xmlns:a16="http://schemas.microsoft.com/office/drawing/2014/main" id="{D0066469-6E35-FEB4-07F0-C9286E66D552}"/>
                </a:ext>
              </a:extLst>
            </p:cNvPr>
            <p:cNvSpPr>
              <a:spLocks/>
            </p:cNvSpPr>
            <p:nvPr/>
          </p:nvSpPr>
          <p:spPr bwMode="gray">
            <a:xfrm>
              <a:off x="10347601" y="4302904"/>
              <a:ext cx="14383" cy="8991"/>
            </a:xfrm>
            <a:custGeom>
              <a:avLst/>
              <a:gdLst>
                <a:gd name="T0" fmla="*/ 15 w 23"/>
                <a:gd name="T1" fmla="*/ 4 h 15"/>
                <a:gd name="T2" fmla="*/ 7 w 23"/>
                <a:gd name="T3" fmla="*/ 15 h 15"/>
                <a:gd name="T4" fmla="*/ 15 w 23"/>
                <a:gd name="T5" fmla="*/ 4 h 15"/>
              </a:gdLst>
              <a:ahLst/>
              <a:cxnLst>
                <a:cxn ang="0">
                  <a:pos x="T0" y="T1"/>
                </a:cxn>
                <a:cxn ang="0">
                  <a:pos x="T2" y="T3"/>
                </a:cxn>
                <a:cxn ang="0">
                  <a:pos x="T4" y="T5"/>
                </a:cxn>
              </a:cxnLst>
              <a:rect l="0" t="0" r="r" b="b"/>
              <a:pathLst>
                <a:path w="23" h="15">
                  <a:moveTo>
                    <a:pt x="15" y="4"/>
                  </a:moveTo>
                  <a:cubicBezTo>
                    <a:pt x="12" y="0"/>
                    <a:pt x="0" y="11"/>
                    <a:pt x="7" y="15"/>
                  </a:cubicBezTo>
                  <a:cubicBezTo>
                    <a:pt x="7" y="15"/>
                    <a:pt x="23" y="8"/>
                    <a:pt x="15"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0" name="Freeform 303">
              <a:extLst>
                <a:ext uri="{FF2B5EF4-FFF2-40B4-BE49-F238E27FC236}">
                  <a16:creationId xmlns:a16="http://schemas.microsoft.com/office/drawing/2014/main" id="{B3B6F24E-59BB-52D4-C3B4-F67703D5CC95}"/>
                </a:ext>
              </a:extLst>
            </p:cNvPr>
            <p:cNvSpPr>
              <a:spLocks/>
            </p:cNvSpPr>
            <p:nvPr/>
          </p:nvSpPr>
          <p:spPr bwMode="gray">
            <a:xfrm>
              <a:off x="10354792" y="4320883"/>
              <a:ext cx="14383" cy="3596"/>
            </a:xfrm>
            <a:custGeom>
              <a:avLst/>
              <a:gdLst>
                <a:gd name="T0" fmla="*/ 19 w 26"/>
                <a:gd name="T1" fmla="*/ 0 h 7"/>
                <a:gd name="T2" fmla="*/ 11 w 26"/>
                <a:gd name="T3" fmla="*/ 7 h 7"/>
                <a:gd name="T4" fmla="*/ 19 w 26"/>
                <a:gd name="T5" fmla="*/ 0 h 7"/>
              </a:gdLst>
              <a:ahLst/>
              <a:cxnLst>
                <a:cxn ang="0">
                  <a:pos x="T0" y="T1"/>
                </a:cxn>
                <a:cxn ang="0">
                  <a:pos x="T2" y="T3"/>
                </a:cxn>
                <a:cxn ang="0">
                  <a:pos x="T4" y="T5"/>
                </a:cxn>
              </a:cxnLst>
              <a:rect l="0" t="0" r="r" b="b"/>
              <a:pathLst>
                <a:path w="26" h="7">
                  <a:moveTo>
                    <a:pt x="19" y="0"/>
                  </a:moveTo>
                  <a:cubicBezTo>
                    <a:pt x="8" y="0"/>
                    <a:pt x="0" y="3"/>
                    <a:pt x="11" y="7"/>
                  </a:cubicBezTo>
                  <a:cubicBezTo>
                    <a:pt x="11" y="7"/>
                    <a:pt x="26" y="4"/>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1" name="Freeform 304">
              <a:extLst>
                <a:ext uri="{FF2B5EF4-FFF2-40B4-BE49-F238E27FC236}">
                  <a16:creationId xmlns:a16="http://schemas.microsoft.com/office/drawing/2014/main" id="{E05E6A60-DA23-9414-2609-586323000452}"/>
                </a:ext>
              </a:extLst>
            </p:cNvPr>
            <p:cNvSpPr>
              <a:spLocks/>
            </p:cNvSpPr>
            <p:nvPr/>
          </p:nvSpPr>
          <p:spPr bwMode="gray">
            <a:xfrm>
              <a:off x="10504025" y="4437751"/>
              <a:ext cx="26971" cy="12586"/>
            </a:xfrm>
            <a:custGeom>
              <a:avLst/>
              <a:gdLst>
                <a:gd name="T0" fmla="*/ 25 w 47"/>
                <a:gd name="T1" fmla="*/ 8 h 24"/>
                <a:gd name="T2" fmla="*/ 6 w 47"/>
                <a:gd name="T3" fmla="*/ 15 h 24"/>
                <a:gd name="T4" fmla="*/ 25 w 47"/>
                <a:gd name="T5" fmla="*/ 8 h 24"/>
              </a:gdLst>
              <a:ahLst/>
              <a:cxnLst>
                <a:cxn ang="0">
                  <a:pos x="T0" y="T1"/>
                </a:cxn>
                <a:cxn ang="0">
                  <a:pos x="T2" y="T3"/>
                </a:cxn>
                <a:cxn ang="0">
                  <a:pos x="T4" y="T5"/>
                </a:cxn>
              </a:cxnLst>
              <a:rect l="0" t="0" r="r" b="b"/>
              <a:pathLst>
                <a:path w="47" h="24">
                  <a:moveTo>
                    <a:pt x="25" y="8"/>
                  </a:moveTo>
                  <a:cubicBezTo>
                    <a:pt x="0" y="0"/>
                    <a:pt x="6" y="15"/>
                    <a:pt x="6" y="15"/>
                  </a:cubicBezTo>
                  <a:cubicBezTo>
                    <a:pt x="21" y="24"/>
                    <a:pt x="47" y="17"/>
                    <a:pt x="25"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2" name="Freeform 305">
              <a:extLst>
                <a:ext uri="{FF2B5EF4-FFF2-40B4-BE49-F238E27FC236}">
                  <a16:creationId xmlns:a16="http://schemas.microsoft.com/office/drawing/2014/main" id="{6C0305A3-27CE-89CD-3AFA-10F4DF4D4957}"/>
                </a:ext>
              </a:extLst>
            </p:cNvPr>
            <p:cNvSpPr>
              <a:spLocks/>
            </p:cNvSpPr>
            <p:nvPr/>
          </p:nvSpPr>
          <p:spPr bwMode="gray">
            <a:xfrm>
              <a:off x="10370975" y="4340661"/>
              <a:ext cx="34162" cy="39556"/>
            </a:xfrm>
            <a:custGeom>
              <a:avLst/>
              <a:gdLst>
                <a:gd name="T0" fmla="*/ 10 w 19"/>
                <a:gd name="T1" fmla="*/ 7 h 22"/>
                <a:gd name="T2" fmla="*/ 4 w 19"/>
                <a:gd name="T3" fmla="*/ 0 h 22"/>
                <a:gd name="T4" fmla="*/ 0 w 19"/>
                <a:gd name="T5" fmla="*/ 0 h 22"/>
                <a:gd name="T6" fmla="*/ 7 w 19"/>
                <a:gd name="T7" fmla="*/ 7 h 22"/>
                <a:gd name="T8" fmla="*/ 11 w 19"/>
                <a:gd name="T9" fmla="*/ 12 h 22"/>
                <a:gd name="T10" fmla="*/ 18 w 19"/>
                <a:gd name="T11" fmla="*/ 22 h 22"/>
                <a:gd name="T12" fmla="*/ 19 w 19"/>
                <a:gd name="T13" fmla="*/ 18 h 22"/>
                <a:gd name="T14" fmla="*/ 12 w 19"/>
                <a:gd name="T15" fmla="*/ 11 h 22"/>
                <a:gd name="T16" fmla="*/ 10 w 19"/>
                <a:gd name="T1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2">
                  <a:moveTo>
                    <a:pt x="10" y="7"/>
                  </a:moveTo>
                  <a:lnTo>
                    <a:pt x="4" y="0"/>
                  </a:lnTo>
                  <a:lnTo>
                    <a:pt x="0" y="0"/>
                  </a:lnTo>
                  <a:lnTo>
                    <a:pt x="7" y="7"/>
                  </a:lnTo>
                  <a:lnTo>
                    <a:pt x="11" y="12"/>
                  </a:lnTo>
                  <a:lnTo>
                    <a:pt x="18" y="22"/>
                  </a:lnTo>
                  <a:lnTo>
                    <a:pt x="19" y="18"/>
                  </a:lnTo>
                  <a:lnTo>
                    <a:pt x="12" y="11"/>
                  </a:lnTo>
                  <a:lnTo>
                    <a:pt x="1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3" name="Freeform 306">
              <a:extLst>
                <a:ext uri="{FF2B5EF4-FFF2-40B4-BE49-F238E27FC236}">
                  <a16:creationId xmlns:a16="http://schemas.microsoft.com/office/drawing/2014/main" id="{232AFCE1-5EA7-10B5-43C3-DF6D5D006BAC}"/>
                </a:ext>
              </a:extLst>
            </p:cNvPr>
            <p:cNvSpPr>
              <a:spLocks/>
            </p:cNvSpPr>
            <p:nvPr/>
          </p:nvSpPr>
          <p:spPr bwMode="gray">
            <a:xfrm>
              <a:off x="10236126" y="4006237"/>
              <a:ext cx="586141" cy="560969"/>
            </a:xfrm>
            <a:custGeom>
              <a:avLst/>
              <a:gdLst>
                <a:gd name="T0" fmla="*/ 842 w 983"/>
                <a:gd name="T1" fmla="*/ 905 h 940"/>
                <a:gd name="T2" fmla="*/ 744 w 983"/>
                <a:gd name="T3" fmla="*/ 839 h 940"/>
                <a:gd name="T4" fmla="*/ 712 w 983"/>
                <a:gd name="T5" fmla="*/ 803 h 940"/>
                <a:gd name="T6" fmla="*/ 645 w 983"/>
                <a:gd name="T7" fmla="*/ 716 h 940"/>
                <a:gd name="T8" fmla="*/ 548 w 983"/>
                <a:gd name="T9" fmla="*/ 635 h 940"/>
                <a:gd name="T10" fmla="*/ 476 w 983"/>
                <a:gd name="T11" fmla="*/ 562 h 940"/>
                <a:gd name="T12" fmla="*/ 421 w 983"/>
                <a:gd name="T13" fmla="*/ 460 h 940"/>
                <a:gd name="T14" fmla="*/ 412 w 983"/>
                <a:gd name="T15" fmla="*/ 422 h 940"/>
                <a:gd name="T16" fmla="*/ 379 w 983"/>
                <a:gd name="T17" fmla="*/ 317 h 940"/>
                <a:gd name="T18" fmla="*/ 471 w 983"/>
                <a:gd name="T19" fmla="*/ 359 h 940"/>
                <a:gd name="T20" fmla="*/ 555 w 983"/>
                <a:gd name="T21" fmla="*/ 318 h 940"/>
                <a:gd name="T22" fmla="*/ 614 w 983"/>
                <a:gd name="T23" fmla="*/ 324 h 940"/>
                <a:gd name="T24" fmla="*/ 718 w 983"/>
                <a:gd name="T25" fmla="*/ 341 h 940"/>
                <a:gd name="T26" fmla="*/ 775 w 983"/>
                <a:gd name="T27" fmla="*/ 336 h 940"/>
                <a:gd name="T28" fmla="*/ 813 w 983"/>
                <a:gd name="T29" fmla="*/ 322 h 940"/>
                <a:gd name="T30" fmla="*/ 865 w 983"/>
                <a:gd name="T31" fmla="*/ 332 h 940"/>
                <a:gd name="T32" fmla="*/ 931 w 983"/>
                <a:gd name="T33" fmla="*/ 358 h 940"/>
                <a:gd name="T34" fmla="*/ 941 w 983"/>
                <a:gd name="T35" fmla="*/ 298 h 940"/>
                <a:gd name="T36" fmla="*/ 983 w 983"/>
                <a:gd name="T37" fmla="*/ 288 h 940"/>
                <a:gd name="T38" fmla="*/ 905 w 983"/>
                <a:gd name="T39" fmla="*/ 262 h 940"/>
                <a:gd name="T40" fmla="*/ 915 w 983"/>
                <a:gd name="T41" fmla="*/ 212 h 940"/>
                <a:gd name="T42" fmla="*/ 898 w 983"/>
                <a:gd name="T43" fmla="*/ 169 h 940"/>
                <a:gd name="T44" fmla="*/ 877 w 983"/>
                <a:gd name="T45" fmla="*/ 142 h 940"/>
                <a:gd name="T46" fmla="*/ 823 w 983"/>
                <a:gd name="T47" fmla="*/ 177 h 940"/>
                <a:gd name="T48" fmla="*/ 689 w 983"/>
                <a:gd name="T49" fmla="*/ 167 h 940"/>
                <a:gd name="T50" fmla="*/ 634 w 983"/>
                <a:gd name="T51" fmla="*/ 134 h 940"/>
                <a:gd name="T52" fmla="*/ 560 w 983"/>
                <a:gd name="T53" fmla="*/ 46 h 940"/>
                <a:gd name="T54" fmla="*/ 523 w 983"/>
                <a:gd name="T55" fmla="*/ 25 h 940"/>
                <a:gd name="T56" fmla="*/ 457 w 983"/>
                <a:gd name="T57" fmla="*/ 3 h 940"/>
                <a:gd name="T58" fmla="*/ 426 w 983"/>
                <a:gd name="T59" fmla="*/ 32 h 940"/>
                <a:gd name="T60" fmla="*/ 348 w 983"/>
                <a:gd name="T61" fmla="*/ 93 h 940"/>
                <a:gd name="T62" fmla="*/ 359 w 983"/>
                <a:gd name="T63" fmla="*/ 171 h 940"/>
                <a:gd name="T64" fmla="*/ 283 w 983"/>
                <a:gd name="T65" fmla="*/ 198 h 940"/>
                <a:gd name="T66" fmla="*/ 316 w 983"/>
                <a:gd name="T67" fmla="*/ 211 h 940"/>
                <a:gd name="T68" fmla="*/ 311 w 983"/>
                <a:gd name="T69" fmla="*/ 252 h 940"/>
                <a:gd name="T70" fmla="*/ 262 w 983"/>
                <a:gd name="T71" fmla="*/ 254 h 940"/>
                <a:gd name="T72" fmla="*/ 236 w 983"/>
                <a:gd name="T73" fmla="*/ 256 h 940"/>
                <a:gd name="T74" fmla="*/ 185 w 983"/>
                <a:gd name="T75" fmla="*/ 223 h 940"/>
                <a:gd name="T76" fmla="*/ 177 w 983"/>
                <a:gd name="T77" fmla="*/ 223 h 940"/>
                <a:gd name="T78" fmla="*/ 165 w 983"/>
                <a:gd name="T79" fmla="*/ 242 h 940"/>
                <a:gd name="T80" fmla="*/ 94 w 983"/>
                <a:gd name="T81" fmla="*/ 250 h 940"/>
                <a:gd name="T82" fmla="*/ 49 w 983"/>
                <a:gd name="T83" fmla="*/ 251 h 940"/>
                <a:gd name="T84" fmla="*/ 8 w 983"/>
                <a:gd name="T85" fmla="*/ 253 h 940"/>
                <a:gd name="T86" fmla="*/ 10 w 983"/>
                <a:gd name="T87" fmla="*/ 276 h 940"/>
                <a:gd name="T88" fmla="*/ 34 w 983"/>
                <a:gd name="T89" fmla="*/ 331 h 940"/>
                <a:gd name="T90" fmla="*/ 44 w 983"/>
                <a:gd name="T91" fmla="*/ 366 h 940"/>
                <a:gd name="T92" fmla="*/ 83 w 983"/>
                <a:gd name="T93" fmla="*/ 410 h 940"/>
                <a:gd name="T94" fmla="*/ 111 w 983"/>
                <a:gd name="T95" fmla="*/ 377 h 940"/>
                <a:gd name="T96" fmla="*/ 214 w 983"/>
                <a:gd name="T97" fmla="*/ 328 h 940"/>
                <a:gd name="T98" fmla="*/ 235 w 983"/>
                <a:gd name="T99" fmla="*/ 440 h 940"/>
                <a:gd name="T100" fmla="*/ 343 w 983"/>
                <a:gd name="T101" fmla="*/ 537 h 940"/>
                <a:gd name="T102" fmla="*/ 305 w 983"/>
                <a:gd name="T103" fmla="*/ 535 h 940"/>
                <a:gd name="T104" fmla="*/ 331 w 983"/>
                <a:gd name="T105" fmla="*/ 624 h 940"/>
                <a:gd name="T106" fmla="*/ 410 w 983"/>
                <a:gd name="T107" fmla="*/ 708 h 940"/>
                <a:gd name="T108" fmla="*/ 485 w 983"/>
                <a:gd name="T109" fmla="*/ 708 h 940"/>
                <a:gd name="T110" fmla="*/ 608 w 983"/>
                <a:gd name="T111" fmla="*/ 783 h 940"/>
                <a:gd name="T112" fmla="*/ 710 w 983"/>
                <a:gd name="T113" fmla="*/ 853 h 940"/>
                <a:gd name="T114" fmla="*/ 647 w 983"/>
                <a:gd name="T115" fmla="*/ 827 h 940"/>
                <a:gd name="T116" fmla="*/ 614 w 983"/>
                <a:gd name="T117" fmla="*/ 829 h 940"/>
                <a:gd name="T118" fmla="*/ 716 w 983"/>
                <a:gd name="T119" fmla="*/ 876 h 940"/>
                <a:gd name="T120" fmla="*/ 782 w 983"/>
                <a:gd name="T121" fmla="*/ 906 h 940"/>
                <a:gd name="T122" fmla="*/ 808 w 983"/>
                <a:gd name="T123" fmla="*/ 915 h 940"/>
                <a:gd name="T124" fmla="*/ 849 w 983"/>
                <a:gd name="T125" fmla="*/ 917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3" h="940">
                  <a:moveTo>
                    <a:pt x="844" y="905"/>
                  </a:moveTo>
                  <a:cubicBezTo>
                    <a:pt x="843" y="905"/>
                    <a:pt x="843" y="905"/>
                    <a:pt x="842" y="905"/>
                  </a:cubicBezTo>
                  <a:cubicBezTo>
                    <a:pt x="827" y="900"/>
                    <a:pt x="820" y="908"/>
                    <a:pt x="820" y="908"/>
                  </a:cubicBezTo>
                  <a:cubicBezTo>
                    <a:pt x="744" y="839"/>
                    <a:pt x="744" y="839"/>
                    <a:pt x="744" y="839"/>
                  </a:cubicBezTo>
                  <a:cubicBezTo>
                    <a:pt x="718" y="842"/>
                    <a:pt x="718" y="842"/>
                    <a:pt x="718" y="842"/>
                  </a:cubicBezTo>
                  <a:cubicBezTo>
                    <a:pt x="718" y="842"/>
                    <a:pt x="730" y="823"/>
                    <a:pt x="712" y="803"/>
                  </a:cubicBezTo>
                  <a:cubicBezTo>
                    <a:pt x="691" y="783"/>
                    <a:pt x="647" y="762"/>
                    <a:pt x="644" y="746"/>
                  </a:cubicBezTo>
                  <a:cubicBezTo>
                    <a:pt x="641" y="727"/>
                    <a:pt x="645" y="716"/>
                    <a:pt x="645" y="716"/>
                  </a:cubicBezTo>
                  <a:cubicBezTo>
                    <a:pt x="605" y="691"/>
                    <a:pt x="605" y="691"/>
                    <a:pt x="605" y="691"/>
                  </a:cubicBezTo>
                  <a:cubicBezTo>
                    <a:pt x="548" y="635"/>
                    <a:pt x="548" y="635"/>
                    <a:pt x="548" y="635"/>
                  </a:cubicBezTo>
                  <a:cubicBezTo>
                    <a:pt x="541" y="623"/>
                    <a:pt x="541" y="623"/>
                    <a:pt x="541" y="623"/>
                  </a:cubicBezTo>
                  <a:cubicBezTo>
                    <a:pt x="541" y="623"/>
                    <a:pt x="497" y="590"/>
                    <a:pt x="476" y="562"/>
                  </a:cubicBezTo>
                  <a:cubicBezTo>
                    <a:pt x="451" y="534"/>
                    <a:pt x="456" y="516"/>
                    <a:pt x="449" y="496"/>
                  </a:cubicBezTo>
                  <a:cubicBezTo>
                    <a:pt x="439" y="473"/>
                    <a:pt x="421" y="460"/>
                    <a:pt x="421" y="460"/>
                  </a:cubicBezTo>
                  <a:cubicBezTo>
                    <a:pt x="429" y="445"/>
                    <a:pt x="429" y="445"/>
                    <a:pt x="429" y="445"/>
                  </a:cubicBezTo>
                  <a:cubicBezTo>
                    <a:pt x="412" y="422"/>
                    <a:pt x="412" y="422"/>
                    <a:pt x="412" y="422"/>
                  </a:cubicBezTo>
                  <a:cubicBezTo>
                    <a:pt x="378" y="416"/>
                    <a:pt x="378" y="416"/>
                    <a:pt x="378" y="416"/>
                  </a:cubicBezTo>
                  <a:cubicBezTo>
                    <a:pt x="378" y="416"/>
                    <a:pt x="352" y="327"/>
                    <a:pt x="379" y="317"/>
                  </a:cubicBezTo>
                  <a:cubicBezTo>
                    <a:pt x="406" y="303"/>
                    <a:pt x="416" y="319"/>
                    <a:pt x="427" y="331"/>
                  </a:cubicBezTo>
                  <a:cubicBezTo>
                    <a:pt x="438" y="343"/>
                    <a:pt x="459" y="367"/>
                    <a:pt x="471" y="359"/>
                  </a:cubicBezTo>
                  <a:cubicBezTo>
                    <a:pt x="486" y="356"/>
                    <a:pt x="488" y="311"/>
                    <a:pt x="503" y="307"/>
                  </a:cubicBezTo>
                  <a:cubicBezTo>
                    <a:pt x="518" y="308"/>
                    <a:pt x="555" y="318"/>
                    <a:pt x="555" y="318"/>
                  </a:cubicBezTo>
                  <a:cubicBezTo>
                    <a:pt x="575" y="296"/>
                    <a:pt x="575" y="296"/>
                    <a:pt x="575" y="296"/>
                  </a:cubicBezTo>
                  <a:cubicBezTo>
                    <a:pt x="575" y="296"/>
                    <a:pt x="599" y="324"/>
                    <a:pt x="614" y="324"/>
                  </a:cubicBezTo>
                  <a:cubicBezTo>
                    <a:pt x="693" y="328"/>
                    <a:pt x="693" y="328"/>
                    <a:pt x="693" y="328"/>
                  </a:cubicBezTo>
                  <a:cubicBezTo>
                    <a:pt x="693" y="328"/>
                    <a:pt x="707" y="340"/>
                    <a:pt x="718" y="341"/>
                  </a:cubicBezTo>
                  <a:cubicBezTo>
                    <a:pt x="733" y="341"/>
                    <a:pt x="750" y="315"/>
                    <a:pt x="750" y="315"/>
                  </a:cubicBezTo>
                  <a:cubicBezTo>
                    <a:pt x="750" y="315"/>
                    <a:pt x="764" y="335"/>
                    <a:pt x="775" y="336"/>
                  </a:cubicBezTo>
                  <a:cubicBezTo>
                    <a:pt x="786" y="336"/>
                    <a:pt x="787" y="317"/>
                    <a:pt x="787" y="317"/>
                  </a:cubicBezTo>
                  <a:cubicBezTo>
                    <a:pt x="813" y="322"/>
                    <a:pt x="813" y="322"/>
                    <a:pt x="813" y="322"/>
                  </a:cubicBezTo>
                  <a:cubicBezTo>
                    <a:pt x="835" y="339"/>
                    <a:pt x="835" y="339"/>
                    <a:pt x="835" y="339"/>
                  </a:cubicBezTo>
                  <a:cubicBezTo>
                    <a:pt x="835" y="339"/>
                    <a:pt x="843" y="327"/>
                    <a:pt x="865" y="332"/>
                  </a:cubicBezTo>
                  <a:cubicBezTo>
                    <a:pt x="883" y="341"/>
                    <a:pt x="874" y="375"/>
                    <a:pt x="893" y="376"/>
                  </a:cubicBezTo>
                  <a:cubicBezTo>
                    <a:pt x="915" y="377"/>
                    <a:pt x="931" y="358"/>
                    <a:pt x="931" y="358"/>
                  </a:cubicBezTo>
                  <a:cubicBezTo>
                    <a:pt x="925" y="316"/>
                    <a:pt x="925" y="316"/>
                    <a:pt x="925" y="316"/>
                  </a:cubicBezTo>
                  <a:cubicBezTo>
                    <a:pt x="941" y="298"/>
                    <a:pt x="941" y="298"/>
                    <a:pt x="941" y="298"/>
                  </a:cubicBezTo>
                  <a:cubicBezTo>
                    <a:pt x="982" y="300"/>
                    <a:pt x="982" y="300"/>
                    <a:pt x="982" y="300"/>
                  </a:cubicBezTo>
                  <a:cubicBezTo>
                    <a:pt x="983" y="288"/>
                    <a:pt x="983" y="288"/>
                    <a:pt x="983" y="288"/>
                  </a:cubicBezTo>
                  <a:cubicBezTo>
                    <a:pt x="942" y="286"/>
                    <a:pt x="942" y="286"/>
                    <a:pt x="942" y="286"/>
                  </a:cubicBezTo>
                  <a:cubicBezTo>
                    <a:pt x="905" y="262"/>
                    <a:pt x="905" y="262"/>
                    <a:pt x="905" y="262"/>
                  </a:cubicBezTo>
                  <a:cubicBezTo>
                    <a:pt x="905" y="262"/>
                    <a:pt x="887" y="245"/>
                    <a:pt x="906" y="239"/>
                  </a:cubicBezTo>
                  <a:cubicBezTo>
                    <a:pt x="929" y="232"/>
                    <a:pt x="934" y="213"/>
                    <a:pt x="915" y="212"/>
                  </a:cubicBezTo>
                  <a:cubicBezTo>
                    <a:pt x="900" y="215"/>
                    <a:pt x="899" y="231"/>
                    <a:pt x="889" y="215"/>
                  </a:cubicBezTo>
                  <a:cubicBezTo>
                    <a:pt x="878" y="203"/>
                    <a:pt x="898" y="185"/>
                    <a:pt x="898" y="169"/>
                  </a:cubicBezTo>
                  <a:cubicBezTo>
                    <a:pt x="899" y="166"/>
                    <a:pt x="892" y="154"/>
                    <a:pt x="881" y="142"/>
                  </a:cubicBezTo>
                  <a:cubicBezTo>
                    <a:pt x="877" y="142"/>
                    <a:pt x="877" y="142"/>
                    <a:pt x="877" y="142"/>
                  </a:cubicBezTo>
                  <a:cubicBezTo>
                    <a:pt x="851" y="144"/>
                    <a:pt x="851" y="144"/>
                    <a:pt x="851" y="144"/>
                  </a:cubicBezTo>
                  <a:cubicBezTo>
                    <a:pt x="823" y="177"/>
                    <a:pt x="823" y="177"/>
                    <a:pt x="823" y="177"/>
                  </a:cubicBezTo>
                  <a:cubicBezTo>
                    <a:pt x="823" y="177"/>
                    <a:pt x="786" y="179"/>
                    <a:pt x="767" y="178"/>
                  </a:cubicBezTo>
                  <a:cubicBezTo>
                    <a:pt x="752" y="178"/>
                    <a:pt x="689" y="167"/>
                    <a:pt x="689" y="167"/>
                  </a:cubicBezTo>
                  <a:cubicBezTo>
                    <a:pt x="689" y="167"/>
                    <a:pt x="686" y="148"/>
                    <a:pt x="671" y="139"/>
                  </a:cubicBezTo>
                  <a:cubicBezTo>
                    <a:pt x="657" y="131"/>
                    <a:pt x="634" y="134"/>
                    <a:pt x="634" y="134"/>
                  </a:cubicBezTo>
                  <a:cubicBezTo>
                    <a:pt x="573" y="77"/>
                    <a:pt x="573" y="77"/>
                    <a:pt x="573" y="77"/>
                  </a:cubicBezTo>
                  <a:cubicBezTo>
                    <a:pt x="573" y="77"/>
                    <a:pt x="567" y="58"/>
                    <a:pt x="560" y="46"/>
                  </a:cubicBezTo>
                  <a:cubicBezTo>
                    <a:pt x="553" y="38"/>
                    <a:pt x="530" y="41"/>
                    <a:pt x="530" y="41"/>
                  </a:cubicBezTo>
                  <a:cubicBezTo>
                    <a:pt x="523" y="25"/>
                    <a:pt x="523" y="25"/>
                    <a:pt x="523" y="25"/>
                  </a:cubicBezTo>
                  <a:cubicBezTo>
                    <a:pt x="501" y="13"/>
                    <a:pt x="501" y="13"/>
                    <a:pt x="501" y="13"/>
                  </a:cubicBezTo>
                  <a:cubicBezTo>
                    <a:pt x="501" y="13"/>
                    <a:pt x="472" y="0"/>
                    <a:pt x="457" y="3"/>
                  </a:cubicBezTo>
                  <a:cubicBezTo>
                    <a:pt x="446" y="3"/>
                    <a:pt x="455" y="41"/>
                    <a:pt x="455" y="41"/>
                  </a:cubicBezTo>
                  <a:cubicBezTo>
                    <a:pt x="455" y="41"/>
                    <a:pt x="433" y="33"/>
                    <a:pt x="426" y="32"/>
                  </a:cubicBezTo>
                  <a:cubicBezTo>
                    <a:pt x="418" y="32"/>
                    <a:pt x="425" y="55"/>
                    <a:pt x="425" y="55"/>
                  </a:cubicBezTo>
                  <a:cubicBezTo>
                    <a:pt x="425" y="55"/>
                    <a:pt x="360" y="83"/>
                    <a:pt x="348" y="93"/>
                  </a:cubicBezTo>
                  <a:cubicBezTo>
                    <a:pt x="336" y="108"/>
                    <a:pt x="369" y="125"/>
                    <a:pt x="369" y="125"/>
                  </a:cubicBezTo>
                  <a:cubicBezTo>
                    <a:pt x="359" y="171"/>
                    <a:pt x="359" y="171"/>
                    <a:pt x="359" y="171"/>
                  </a:cubicBezTo>
                  <a:cubicBezTo>
                    <a:pt x="341" y="162"/>
                    <a:pt x="341" y="162"/>
                    <a:pt x="341" y="162"/>
                  </a:cubicBezTo>
                  <a:cubicBezTo>
                    <a:pt x="341" y="162"/>
                    <a:pt x="291" y="186"/>
                    <a:pt x="283" y="198"/>
                  </a:cubicBezTo>
                  <a:cubicBezTo>
                    <a:pt x="275" y="212"/>
                    <a:pt x="310" y="199"/>
                    <a:pt x="310" y="199"/>
                  </a:cubicBezTo>
                  <a:cubicBezTo>
                    <a:pt x="316" y="211"/>
                    <a:pt x="316" y="211"/>
                    <a:pt x="316" y="211"/>
                  </a:cubicBezTo>
                  <a:cubicBezTo>
                    <a:pt x="316" y="211"/>
                    <a:pt x="309" y="222"/>
                    <a:pt x="301" y="229"/>
                  </a:cubicBezTo>
                  <a:cubicBezTo>
                    <a:pt x="293" y="236"/>
                    <a:pt x="311" y="252"/>
                    <a:pt x="311" y="252"/>
                  </a:cubicBezTo>
                  <a:cubicBezTo>
                    <a:pt x="311" y="252"/>
                    <a:pt x="299" y="267"/>
                    <a:pt x="277" y="266"/>
                  </a:cubicBezTo>
                  <a:cubicBezTo>
                    <a:pt x="254" y="265"/>
                    <a:pt x="262" y="254"/>
                    <a:pt x="262" y="254"/>
                  </a:cubicBezTo>
                  <a:cubicBezTo>
                    <a:pt x="262" y="254"/>
                    <a:pt x="244" y="242"/>
                    <a:pt x="237" y="241"/>
                  </a:cubicBezTo>
                  <a:cubicBezTo>
                    <a:pt x="233" y="241"/>
                    <a:pt x="236" y="256"/>
                    <a:pt x="236" y="256"/>
                  </a:cubicBezTo>
                  <a:cubicBezTo>
                    <a:pt x="199" y="243"/>
                    <a:pt x="199" y="243"/>
                    <a:pt x="199" y="243"/>
                  </a:cubicBezTo>
                  <a:cubicBezTo>
                    <a:pt x="185" y="223"/>
                    <a:pt x="185" y="223"/>
                    <a:pt x="185" y="223"/>
                  </a:cubicBezTo>
                  <a:cubicBezTo>
                    <a:pt x="185" y="223"/>
                    <a:pt x="186" y="208"/>
                    <a:pt x="178" y="208"/>
                  </a:cubicBezTo>
                  <a:cubicBezTo>
                    <a:pt x="174" y="211"/>
                    <a:pt x="177" y="223"/>
                    <a:pt x="177" y="223"/>
                  </a:cubicBezTo>
                  <a:cubicBezTo>
                    <a:pt x="170" y="227"/>
                    <a:pt x="170" y="227"/>
                    <a:pt x="170" y="227"/>
                  </a:cubicBezTo>
                  <a:cubicBezTo>
                    <a:pt x="165" y="242"/>
                    <a:pt x="165" y="242"/>
                    <a:pt x="165" y="242"/>
                  </a:cubicBezTo>
                  <a:cubicBezTo>
                    <a:pt x="105" y="258"/>
                    <a:pt x="105" y="258"/>
                    <a:pt x="105" y="258"/>
                  </a:cubicBezTo>
                  <a:cubicBezTo>
                    <a:pt x="94" y="250"/>
                    <a:pt x="94" y="250"/>
                    <a:pt x="94" y="250"/>
                  </a:cubicBezTo>
                  <a:cubicBezTo>
                    <a:pt x="67" y="268"/>
                    <a:pt x="67" y="268"/>
                    <a:pt x="67" y="268"/>
                  </a:cubicBezTo>
                  <a:cubicBezTo>
                    <a:pt x="49" y="251"/>
                    <a:pt x="49" y="251"/>
                    <a:pt x="49" y="251"/>
                  </a:cubicBezTo>
                  <a:cubicBezTo>
                    <a:pt x="49" y="251"/>
                    <a:pt x="33" y="266"/>
                    <a:pt x="30" y="266"/>
                  </a:cubicBezTo>
                  <a:cubicBezTo>
                    <a:pt x="22" y="265"/>
                    <a:pt x="8" y="253"/>
                    <a:pt x="8" y="253"/>
                  </a:cubicBezTo>
                  <a:cubicBezTo>
                    <a:pt x="0" y="264"/>
                    <a:pt x="0" y="264"/>
                    <a:pt x="0" y="264"/>
                  </a:cubicBezTo>
                  <a:cubicBezTo>
                    <a:pt x="10" y="276"/>
                    <a:pt x="10" y="276"/>
                    <a:pt x="10" y="276"/>
                  </a:cubicBezTo>
                  <a:cubicBezTo>
                    <a:pt x="19" y="326"/>
                    <a:pt x="19" y="326"/>
                    <a:pt x="19" y="326"/>
                  </a:cubicBezTo>
                  <a:cubicBezTo>
                    <a:pt x="34" y="331"/>
                    <a:pt x="34" y="331"/>
                    <a:pt x="34" y="331"/>
                  </a:cubicBezTo>
                  <a:cubicBezTo>
                    <a:pt x="19" y="338"/>
                    <a:pt x="19" y="338"/>
                    <a:pt x="19" y="338"/>
                  </a:cubicBezTo>
                  <a:cubicBezTo>
                    <a:pt x="44" y="366"/>
                    <a:pt x="44" y="366"/>
                    <a:pt x="44" y="366"/>
                  </a:cubicBezTo>
                  <a:cubicBezTo>
                    <a:pt x="71" y="425"/>
                    <a:pt x="71" y="425"/>
                    <a:pt x="71" y="425"/>
                  </a:cubicBezTo>
                  <a:cubicBezTo>
                    <a:pt x="83" y="410"/>
                    <a:pt x="83" y="410"/>
                    <a:pt x="83" y="410"/>
                  </a:cubicBezTo>
                  <a:cubicBezTo>
                    <a:pt x="89" y="364"/>
                    <a:pt x="89" y="364"/>
                    <a:pt x="89" y="364"/>
                  </a:cubicBezTo>
                  <a:cubicBezTo>
                    <a:pt x="89" y="364"/>
                    <a:pt x="99" y="380"/>
                    <a:pt x="111" y="377"/>
                  </a:cubicBezTo>
                  <a:cubicBezTo>
                    <a:pt x="122" y="370"/>
                    <a:pt x="118" y="301"/>
                    <a:pt x="133" y="290"/>
                  </a:cubicBezTo>
                  <a:cubicBezTo>
                    <a:pt x="149" y="279"/>
                    <a:pt x="214" y="328"/>
                    <a:pt x="214" y="328"/>
                  </a:cubicBezTo>
                  <a:cubicBezTo>
                    <a:pt x="238" y="375"/>
                    <a:pt x="238" y="375"/>
                    <a:pt x="238" y="375"/>
                  </a:cubicBezTo>
                  <a:cubicBezTo>
                    <a:pt x="238" y="375"/>
                    <a:pt x="217" y="420"/>
                    <a:pt x="235" y="440"/>
                  </a:cubicBezTo>
                  <a:cubicBezTo>
                    <a:pt x="249" y="460"/>
                    <a:pt x="295" y="516"/>
                    <a:pt x="295" y="516"/>
                  </a:cubicBezTo>
                  <a:cubicBezTo>
                    <a:pt x="295" y="516"/>
                    <a:pt x="332" y="533"/>
                    <a:pt x="343" y="537"/>
                  </a:cubicBezTo>
                  <a:cubicBezTo>
                    <a:pt x="350" y="541"/>
                    <a:pt x="364" y="561"/>
                    <a:pt x="364" y="561"/>
                  </a:cubicBezTo>
                  <a:cubicBezTo>
                    <a:pt x="364" y="561"/>
                    <a:pt x="313" y="539"/>
                    <a:pt x="305" y="535"/>
                  </a:cubicBezTo>
                  <a:cubicBezTo>
                    <a:pt x="298" y="535"/>
                    <a:pt x="275" y="541"/>
                    <a:pt x="275" y="541"/>
                  </a:cubicBezTo>
                  <a:cubicBezTo>
                    <a:pt x="275" y="541"/>
                    <a:pt x="298" y="611"/>
                    <a:pt x="331" y="624"/>
                  </a:cubicBezTo>
                  <a:cubicBezTo>
                    <a:pt x="361" y="637"/>
                    <a:pt x="411" y="678"/>
                    <a:pt x="411" y="678"/>
                  </a:cubicBezTo>
                  <a:cubicBezTo>
                    <a:pt x="411" y="678"/>
                    <a:pt x="399" y="696"/>
                    <a:pt x="410" y="708"/>
                  </a:cubicBezTo>
                  <a:cubicBezTo>
                    <a:pt x="424" y="721"/>
                    <a:pt x="439" y="717"/>
                    <a:pt x="439" y="717"/>
                  </a:cubicBezTo>
                  <a:cubicBezTo>
                    <a:pt x="485" y="708"/>
                    <a:pt x="485" y="708"/>
                    <a:pt x="485" y="708"/>
                  </a:cubicBezTo>
                  <a:cubicBezTo>
                    <a:pt x="569" y="735"/>
                    <a:pt x="569" y="735"/>
                    <a:pt x="569" y="735"/>
                  </a:cubicBezTo>
                  <a:cubicBezTo>
                    <a:pt x="569" y="735"/>
                    <a:pt x="583" y="770"/>
                    <a:pt x="608" y="783"/>
                  </a:cubicBezTo>
                  <a:cubicBezTo>
                    <a:pt x="630" y="792"/>
                    <a:pt x="659" y="816"/>
                    <a:pt x="674" y="828"/>
                  </a:cubicBezTo>
                  <a:cubicBezTo>
                    <a:pt x="684" y="840"/>
                    <a:pt x="710" y="853"/>
                    <a:pt x="710" y="853"/>
                  </a:cubicBezTo>
                  <a:cubicBezTo>
                    <a:pt x="710" y="853"/>
                    <a:pt x="680" y="844"/>
                    <a:pt x="673" y="839"/>
                  </a:cubicBezTo>
                  <a:cubicBezTo>
                    <a:pt x="666" y="835"/>
                    <a:pt x="655" y="827"/>
                    <a:pt x="647" y="827"/>
                  </a:cubicBezTo>
                  <a:cubicBezTo>
                    <a:pt x="636" y="822"/>
                    <a:pt x="592" y="813"/>
                    <a:pt x="592" y="813"/>
                  </a:cubicBezTo>
                  <a:cubicBezTo>
                    <a:pt x="592" y="813"/>
                    <a:pt x="606" y="829"/>
                    <a:pt x="614" y="829"/>
                  </a:cubicBezTo>
                  <a:cubicBezTo>
                    <a:pt x="621" y="833"/>
                    <a:pt x="665" y="851"/>
                    <a:pt x="665" y="851"/>
                  </a:cubicBezTo>
                  <a:cubicBezTo>
                    <a:pt x="716" y="876"/>
                    <a:pt x="716" y="876"/>
                    <a:pt x="716" y="876"/>
                  </a:cubicBezTo>
                  <a:cubicBezTo>
                    <a:pt x="724" y="869"/>
                    <a:pt x="724" y="869"/>
                    <a:pt x="724" y="869"/>
                  </a:cubicBezTo>
                  <a:cubicBezTo>
                    <a:pt x="782" y="906"/>
                    <a:pt x="782" y="906"/>
                    <a:pt x="782" y="906"/>
                  </a:cubicBezTo>
                  <a:cubicBezTo>
                    <a:pt x="797" y="907"/>
                    <a:pt x="797" y="907"/>
                    <a:pt x="797" y="907"/>
                  </a:cubicBezTo>
                  <a:cubicBezTo>
                    <a:pt x="808" y="915"/>
                    <a:pt x="808" y="915"/>
                    <a:pt x="808" y="915"/>
                  </a:cubicBezTo>
                  <a:cubicBezTo>
                    <a:pt x="848" y="940"/>
                    <a:pt x="848" y="940"/>
                    <a:pt x="848" y="940"/>
                  </a:cubicBezTo>
                  <a:cubicBezTo>
                    <a:pt x="849" y="917"/>
                    <a:pt x="849" y="917"/>
                    <a:pt x="849" y="917"/>
                  </a:cubicBezTo>
                  <a:cubicBezTo>
                    <a:pt x="849" y="910"/>
                    <a:pt x="847" y="906"/>
                    <a:pt x="844" y="90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4" name="Freeform 307">
              <a:extLst>
                <a:ext uri="{FF2B5EF4-FFF2-40B4-BE49-F238E27FC236}">
                  <a16:creationId xmlns:a16="http://schemas.microsoft.com/office/drawing/2014/main" id="{4F917FD0-8160-8F52-0D2A-31D7A328CAC9}"/>
                </a:ext>
              </a:extLst>
            </p:cNvPr>
            <p:cNvSpPr>
              <a:spLocks/>
            </p:cNvSpPr>
            <p:nvPr/>
          </p:nvSpPr>
          <p:spPr bwMode="gray">
            <a:xfrm>
              <a:off x="10739559" y="4545630"/>
              <a:ext cx="5395" cy="7192"/>
            </a:xfrm>
            <a:custGeom>
              <a:avLst/>
              <a:gdLst>
                <a:gd name="T0" fmla="*/ 0 w 7"/>
                <a:gd name="T1" fmla="*/ 0 h 12"/>
                <a:gd name="T2" fmla="*/ 5 w 7"/>
                <a:gd name="T3" fmla="*/ 12 h 12"/>
                <a:gd name="T4" fmla="*/ 7 w 7"/>
                <a:gd name="T5" fmla="*/ 11 h 12"/>
                <a:gd name="T6" fmla="*/ 0 w 7"/>
                <a:gd name="T7" fmla="*/ 0 h 12"/>
              </a:gdLst>
              <a:ahLst/>
              <a:cxnLst>
                <a:cxn ang="0">
                  <a:pos x="T0" y="T1"/>
                </a:cxn>
                <a:cxn ang="0">
                  <a:pos x="T2" y="T3"/>
                </a:cxn>
                <a:cxn ang="0">
                  <a:pos x="T4" y="T5"/>
                </a:cxn>
                <a:cxn ang="0">
                  <a:pos x="T6" y="T7"/>
                </a:cxn>
              </a:cxnLst>
              <a:rect l="0" t="0" r="r" b="b"/>
              <a:pathLst>
                <a:path w="7" h="12">
                  <a:moveTo>
                    <a:pt x="0" y="0"/>
                  </a:moveTo>
                  <a:cubicBezTo>
                    <a:pt x="3" y="1"/>
                    <a:pt x="5" y="5"/>
                    <a:pt x="5" y="12"/>
                  </a:cubicBezTo>
                  <a:cubicBezTo>
                    <a:pt x="7" y="11"/>
                    <a:pt x="7" y="11"/>
                    <a:pt x="7" y="11"/>
                  </a:cubicBezTo>
                  <a:cubicBezTo>
                    <a:pt x="6" y="6"/>
                    <a:pt x="4"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5" name="Freeform 308">
              <a:extLst>
                <a:ext uri="{FF2B5EF4-FFF2-40B4-BE49-F238E27FC236}">
                  <a16:creationId xmlns:a16="http://schemas.microsoft.com/office/drawing/2014/main" id="{3FA94319-B678-4A9A-6A4D-D35A5D2692D5}"/>
                </a:ext>
              </a:extLst>
            </p:cNvPr>
            <p:cNvSpPr>
              <a:spLocks/>
            </p:cNvSpPr>
            <p:nvPr/>
          </p:nvSpPr>
          <p:spPr bwMode="gray">
            <a:xfrm>
              <a:off x="10833054" y="4529449"/>
              <a:ext cx="199576" cy="413535"/>
            </a:xfrm>
            <a:custGeom>
              <a:avLst/>
              <a:gdLst>
                <a:gd name="T0" fmla="*/ 226 w 336"/>
                <a:gd name="T1" fmla="*/ 658 h 695"/>
                <a:gd name="T2" fmla="*/ 209 w 336"/>
                <a:gd name="T3" fmla="*/ 619 h 695"/>
                <a:gd name="T4" fmla="*/ 233 w 336"/>
                <a:gd name="T5" fmla="*/ 593 h 695"/>
                <a:gd name="T6" fmla="*/ 280 w 336"/>
                <a:gd name="T7" fmla="*/ 546 h 695"/>
                <a:gd name="T8" fmla="*/ 297 w 336"/>
                <a:gd name="T9" fmla="*/ 497 h 695"/>
                <a:gd name="T10" fmla="*/ 336 w 336"/>
                <a:gd name="T11" fmla="*/ 461 h 695"/>
                <a:gd name="T12" fmla="*/ 320 w 336"/>
                <a:gd name="T13" fmla="*/ 406 h 695"/>
                <a:gd name="T14" fmla="*/ 298 w 336"/>
                <a:gd name="T15" fmla="*/ 390 h 695"/>
                <a:gd name="T16" fmla="*/ 262 w 336"/>
                <a:gd name="T17" fmla="*/ 362 h 695"/>
                <a:gd name="T18" fmla="*/ 223 w 336"/>
                <a:gd name="T19" fmla="*/ 306 h 695"/>
                <a:gd name="T20" fmla="*/ 214 w 336"/>
                <a:gd name="T21" fmla="*/ 256 h 695"/>
                <a:gd name="T22" fmla="*/ 228 w 336"/>
                <a:gd name="T23" fmla="*/ 199 h 695"/>
                <a:gd name="T24" fmla="*/ 214 w 336"/>
                <a:gd name="T25" fmla="*/ 95 h 695"/>
                <a:gd name="T26" fmla="*/ 153 w 336"/>
                <a:gd name="T27" fmla="*/ 39 h 695"/>
                <a:gd name="T28" fmla="*/ 150 w 336"/>
                <a:gd name="T29" fmla="*/ 35 h 695"/>
                <a:gd name="T30" fmla="*/ 146 w 336"/>
                <a:gd name="T31" fmla="*/ 31 h 695"/>
                <a:gd name="T32" fmla="*/ 143 w 336"/>
                <a:gd name="T33" fmla="*/ 29 h 695"/>
                <a:gd name="T34" fmla="*/ 136 w 336"/>
                <a:gd name="T35" fmla="*/ 23 h 695"/>
                <a:gd name="T36" fmla="*/ 135 w 336"/>
                <a:gd name="T37" fmla="*/ 23 h 695"/>
                <a:gd name="T38" fmla="*/ 101 w 336"/>
                <a:gd name="T39" fmla="*/ 44 h 695"/>
                <a:gd name="T40" fmla="*/ 76 w 336"/>
                <a:gd name="T41" fmla="*/ 5 h 695"/>
                <a:gd name="T42" fmla="*/ 0 w 336"/>
                <a:gd name="T43" fmla="*/ 123 h 695"/>
                <a:gd name="T44" fmla="*/ 13 w 336"/>
                <a:gd name="T45" fmla="*/ 162 h 695"/>
                <a:gd name="T46" fmla="*/ 45 w 336"/>
                <a:gd name="T47" fmla="*/ 198 h 695"/>
                <a:gd name="T48" fmla="*/ 65 w 336"/>
                <a:gd name="T49" fmla="*/ 249 h 695"/>
                <a:gd name="T50" fmla="*/ 39 w 336"/>
                <a:gd name="T51" fmla="*/ 255 h 695"/>
                <a:gd name="T52" fmla="*/ 29 w 336"/>
                <a:gd name="T53" fmla="*/ 305 h 695"/>
                <a:gd name="T54" fmla="*/ 54 w 336"/>
                <a:gd name="T55" fmla="*/ 329 h 695"/>
                <a:gd name="T56" fmla="*/ 44 w 336"/>
                <a:gd name="T57" fmla="*/ 386 h 695"/>
                <a:gd name="T58" fmla="*/ 36 w 336"/>
                <a:gd name="T59" fmla="*/ 404 h 695"/>
                <a:gd name="T60" fmla="*/ 38 w 336"/>
                <a:gd name="T61" fmla="*/ 427 h 695"/>
                <a:gd name="T62" fmla="*/ 25 w 336"/>
                <a:gd name="T63" fmla="*/ 465 h 695"/>
                <a:gd name="T64" fmla="*/ 50 w 336"/>
                <a:gd name="T65" fmla="*/ 493 h 695"/>
                <a:gd name="T66" fmla="*/ 38 w 336"/>
                <a:gd name="T67" fmla="*/ 504 h 695"/>
                <a:gd name="T68" fmla="*/ 48 w 336"/>
                <a:gd name="T69" fmla="*/ 546 h 695"/>
                <a:gd name="T70" fmla="*/ 38 w 336"/>
                <a:gd name="T71" fmla="*/ 523 h 695"/>
                <a:gd name="T72" fmla="*/ 22 w 336"/>
                <a:gd name="T73" fmla="*/ 526 h 695"/>
                <a:gd name="T74" fmla="*/ 94 w 336"/>
                <a:gd name="T75" fmla="*/ 591 h 695"/>
                <a:gd name="T76" fmla="*/ 120 w 336"/>
                <a:gd name="T77" fmla="*/ 607 h 695"/>
                <a:gd name="T78" fmla="*/ 140 w 336"/>
                <a:gd name="T79" fmla="*/ 646 h 695"/>
                <a:gd name="T80" fmla="*/ 157 w 336"/>
                <a:gd name="T81" fmla="*/ 685 h 695"/>
                <a:gd name="T82" fmla="*/ 210 w 336"/>
                <a:gd name="T83" fmla="*/ 676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6" h="695">
                  <a:moveTo>
                    <a:pt x="211" y="657"/>
                  </a:moveTo>
                  <a:cubicBezTo>
                    <a:pt x="211" y="654"/>
                    <a:pt x="226" y="658"/>
                    <a:pt x="226" y="658"/>
                  </a:cubicBezTo>
                  <a:cubicBezTo>
                    <a:pt x="223" y="643"/>
                    <a:pt x="223" y="643"/>
                    <a:pt x="223" y="643"/>
                  </a:cubicBezTo>
                  <a:cubicBezTo>
                    <a:pt x="223" y="643"/>
                    <a:pt x="205" y="630"/>
                    <a:pt x="209" y="619"/>
                  </a:cubicBezTo>
                  <a:cubicBezTo>
                    <a:pt x="213" y="604"/>
                    <a:pt x="224" y="608"/>
                    <a:pt x="224" y="608"/>
                  </a:cubicBezTo>
                  <a:cubicBezTo>
                    <a:pt x="224" y="608"/>
                    <a:pt x="221" y="597"/>
                    <a:pt x="233" y="593"/>
                  </a:cubicBezTo>
                  <a:cubicBezTo>
                    <a:pt x="244" y="590"/>
                    <a:pt x="251" y="602"/>
                    <a:pt x="270" y="588"/>
                  </a:cubicBezTo>
                  <a:cubicBezTo>
                    <a:pt x="286" y="569"/>
                    <a:pt x="280" y="546"/>
                    <a:pt x="280" y="546"/>
                  </a:cubicBezTo>
                  <a:cubicBezTo>
                    <a:pt x="292" y="527"/>
                    <a:pt x="292" y="527"/>
                    <a:pt x="292" y="527"/>
                  </a:cubicBezTo>
                  <a:cubicBezTo>
                    <a:pt x="292" y="527"/>
                    <a:pt x="285" y="504"/>
                    <a:pt x="297" y="497"/>
                  </a:cubicBezTo>
                  <a:cubicBezTo>
                    <a:pt x="305" y="494"/>
                    <a:pt x="316" y="494"/>
                    <a:pt x="316" y="494"/>
                  </a:cubicBezTo>
                  <a:cubicBezTo>
                    <a:pt x="316" y="494"/>
                    <a:pt x="335" y="476"/>
                    <a:pt x="336" y="461"/>
                  </a:cubicBezTo>
                  <a:cubicBezTo>
                    <a:pt x="333" y="445"/>
                    <a:pt x="319" y="433"/>
                    <a:pt x="319" y="433"/>
                  </a:cubicBezTo>
                  <a:cubicBezTo>
                    <a:pt x="320" y="406"/>
                    <a:pt x="320" y="406"/>
                    <a:pt x="320" y="406"/>
                  </a:cubicBezTo>
                  <a:cubicBezTo>
                    <a:pt x="317" y="395"/>
                    <a:pt x="317" y="395"/>
                    <a:pt x="317" y="395"/>
                  </a:cubicBezTo>
                  <a:cubicBezTo>
                    <a:pt x="298" y="390"/>
                    <a:pt x="298" y="390"/>
                    <a:pt x="298" y="390"/>
                  </a:cubicBezTo>
                  <a:cubicBezTo>
                    <a:pt x="275" y="404"/>
                    <a:pt x="275" y="404"/>
                    <a:pt x="275" y="404"/>
                  </a:cubicBezTo>
                  <a:cubicBezTo>
                    <a:pt x="262" y="362"/>
                    <a:pt x="262" y="362"/>
                    <a:pt x="262" y="362"/>
                  </a:cubicBezTo>
                  <a:cubicBezTo>
                    <a:pt x="243" y="357"/>
                    <a:pt x="243" y="357"/>
                    <a:pt x="243" y="357"/>
                  </a:cubicBezTo>
                  <a:cubicBezTo>
                    <a:pt x="223" y="306"/>
                    <a:pt x="223" y="306"/>
                    <a:pt x="223" y="306"/>
                  </a:cubicBezTo>
                  <a:cubicBezTo>
                    <a:pt x="235" y="288"/>
                    <a:pt x="235" y="288"/>
                    <a:pt x="235" y="288"/>
                  </a:cubicBezTo>
                  <a:cubicBezTo>
                    <a:pt x="214" y="256"/>
                    <a:pt x="214" y="256"/>
                    <a:pt x="214" y="256"/>
                  </a:cubicBezTo>
                  <a:cubicBezTo>
                    <a:pt x="234" y="242"/>
                    <a:pt x="234" y="242"/>
                    <a:pt x="234" y="242"/>
                  </a:cubicBezTo>
                  <a:cubicBezTo>
                    <a:pt x="228" y="199"/>
                    <a:pt x="228" y="199"/>
                    <a:pt x="228" y="199"/>
                  </a:cubicBezTo>
                  <a:cubicBezTo>
                    <a:pt x="238" y="150"/>
                    <a:pt x="238" y="150"/>
                    <a:pt x="238" y="150"/>
                  </a:cubicBezTo>
                  <a:cubicBezTo>
                    <a:pt x="238" y="150"/>
                    <a:pt x="229" y="111"/>
                    <a:pt x="214" y="95"/>
                  </a:cubicBezTo>
                  <a:cubicBezTo>
                    <a:pt x="200" y="79"/>
                    <a:pt x="163" y="74"/>
                    <a:pt x="163" y="74"/>
                  </a:cubicBezTo>
                  <a:cubicBezTo>
                    <a:pt x="163" y="74"/>
                    <a:pt x="160" y="47"/>
                    <a:pt x="153" y="39"/>
                  </a:cubicBezTo>
                  <a:cubicBezTo>
                    <a:pt x="152" y="38"/>
                    <a:pt x="151" y="37"/>
                    <a:pt x="150" y="35"/>
                  </a:cubicBezTo>
                  <a:cubicBezTo>
                    <a:pt x="150" y="35"/>
                    <a:pt x="150" y="35"/>
                    <a:pt x="150" y="35"/>
                  </a:cubicBezTo>
                  <a:cubicBezTo>
                    <a:pt x="149" y="34"/>
                    <a:pt x="147" y="33"/>
                    <a:pt x="146" y="32"/>
                  </a:cubicBezTo>
                  <a:cubicBezTo>
                    <a:pt x="146" y="32"/>
                    <a:pt x="146" y="31"/>
                    <a:pt x="146" y="31"/>
                  </a:cubicBezTo>
                  <a:cubicBezTo>
                    <a:pt x="145" y="31"/>
                    <a:pt x="145" y="31"/>
                    <a:pt x="144" y="30"/>
                  </a:cubicBezTo>
                  <a:cubicBezTo>
                    <a:pt x="144" y="30"/>
                    <a:pt x="144" y="30"/>
                    <a:pt x="143" y="29"/>
                  </a:cubicBezTo>
                  <a:cubicBezTo>
                    <a:pt x="143" y="29"/>
                    <a:pt x="143" y="29"/>
                    <a:pt x="143" y="29"/>
                  </a:cubicBezTo>
                  <a:cubicBezTo>
                    <a:pt x="140" y="26"/>
                    <a:pt x="137" y="24"/>
                    <a:pt x="136" y="23"/>
                  </a:cubicBezTo>
                  <a:cubicBezTo>
                    <a:pt x="136" y="23"/>
                    <a:pt x="136" y="23"/>
                    <a:pt x="136" y="23"/>
                  </a:cubicBezTo>
                  <a:cubicBezTo>
                    <a:pt x="136" y="23"/>
                    <a:pt x="136" y="23"/>
                    <a:pt x="135" y="23"/>
                  </a:cubicBezTo>
                  <a:cubicBezTo>
                    <a:pt x="135" y="23"/>
                    <a:pt x="135" y="23"/>
                    <a:pt x="135" y="23"/>
                  </a:cubicBezTo>
                  <a:cubicBezTo>
                    <a:pt x="101" y="44"/>
                    <a:pt x="101" y="44"/>
                    <a:pt x="101" y="44"/>
                  </a:cubicBezTo>
                  <a:cubicBezTo>
                    <a:pt x="75" y="31"/>
                    <a:pt x="75" y="31"/>
                    <a:pt x="75" y="31"/>
                  </a:cubicBezTo>
                  <a:cubicBezTo>
                    <a:pt x="76" y="5"/>
                    <a:pt x="76" y="5"/>
                    <a:pt x="76" y="5"/>
                  </a:cubicBezTo>
                  <a:cubicBezTo>
                    <a:pt x="69" y="0"/>
                    <a:pt x="69" y="0"/>
                    <a:pt x="69" y="0"/>
                  </a:cubicBezTo>
                  <a:cubicBezTo>
                    <a:pt x="0" y="123"/>
                    <a:pt x="0" y="123"/>
                    <a:pt x="0" y="123"/>
                  </a:cubicBezTo>
                  <a:cubicBezTo>
                    <a:pt x="11" y="128"/>
                    <a:pt x="11" y="128"/>
                    <a:pt x="11" y="128"/>
                  </a:cubicBezTo>
                  <a:cubicBezTo>
                    <a:pt x="13" y="162"/>
                    <a:pt x="13" y="162"/>
                    <a:pt x="13" y="162"/>
                  </a:cubicBezTo>
                  <a:cubicBezTo>
                    <a:pt x="15" y="193"/>
                    <a:pt x="15" y="193"/>
                    <a:pt x="15" y="193"/>
                  </a:cubicBezTo>
                  <a:cubicBezTo>
                    <a:pt x="15" y="193"/>
                    <a:pt x="26" y="194"/>
                    <a:pt x="45" y="198"/>
                  </a:cubicBezTo>
                  <a:cubicBezTo>
                    <a:pt x="63" y="203"/>
                    <a:pt x="55" y="214"/>
                    <a:pt x="55" y="214"/>
                  </a:cubicBezTo>
                  <a:cubicBezTo>
                    <a:pt x="65" y="249"/>
                    <a:pt x="65" y="249"/>
                    <a:pt x="65" y="249"/>
                  </a:cubicBezTo>
                  <a:cubicBezTo>
                    <a:pt x="57" y="256"/>
                    <a:pt x="57" y="256"/>
                    <a:pt x="57" y="256"/>
                  </a:cubicBezTo>
                  <a:cubicBezTo>
                    <a:pt x="39" y="255"/>
                    <a:pt x="39" y="255"/>
                    <a:pt x="39" y="255"/>
                  </a:cubicBezTo>
                  <a:cubicBezTo>
                    <a:pt x="48" y="286"/>
                    <a:pt x="48" y="286"/>
                    <a:pt x="48" y="286"/>
                  </a:cubicBezTo>
                  <a:cubicBezTo>
                    <a:pt x="48" y="286"/>
                    <a:pt x="30" y="285"/>
                    <a:pt x="29" y="305"/>
                  </a:cubicBezTo>
                  <a:cubicBezTo>
                    <a:pt x="32" y="324"/>
                    <a:pt x="35" y="324"/>
                    <a:pt x="35" y="324"/>
                  </a:cubicBezTo>
                  <a:cubicBezTo>
                    <a:pt x="35" y="324"/>
                    <a:pt x="54" y="321"/>
                    <a:pt x="54" y="329"/>
                  </a:cubicBezTo>
                  <a:cubicBezTo>
                    <a:pt x="54" y="336"/>
                    <a:pt x="38" y="358"/>
                    <a:pt x="38" y="358"/>
                  </a:cubicBezTo>
                  <a:cubicBezTo>
                    <a:pt x="44" y="386"/>
                    <a:pt x="44" y="386"/>
                    <a:pt x="44" y="386"/>
                  </a:cubicBezTo>
                  <a:cubicBezTo>
                    <a:pt x="44" y="386"/>
                    <a:pt x="66" y="398"/>
                    <a:pt x="58" y="405"/>
                  </a:cubicBezTo>
                  <a:cubicBezTo>
                    <a:pt x="50" y="413"/>
                    <a:pt x="36" y="404"/>
                    <a:pt x="36" y="404"/>
                  </a:cubicBezTo>
                  <a:cubicBezTo>
                    <a:pt x="28" y="415"/>
                    <a:pt x="28" y="415"/>
                    <a:pt x="28" y="415"/>
                  </a:cubicBezTo>
                  <a:cubicBezTo>
                    <a:pt x="38" y="427"/>
                    <a:pt x="38" y="427"/>
                    <a:pt x="38" y="427"/>
                  </a:cubicBezTo>
                  <a:cubicBezTo>
                    <a:pt x="33" y="454"/>
                    <a:pt x="33" y="454"/>
                    <a:pt x="33" y="454"/>
                  </a:cubicBezTo>
                  <a:cubicBezTo>
                    <a:pt x="25" y="465"/>
                    <a:pt x="25" y="465"/>
                    <a:pt x="25" y="465"/>
                  </a:cubicBezTo>
                  <a:cubicBezTo>
                    <a:pt x="32" y="488"/>
                    <a:pt x="32" y="488"/>
                    <a:pt x="32" y="488"/>
                  </a:cubicBezTo>
                  <a:cubicBezTo>
                    <a:pt x="32" y="488"/>
                    <a:pt x="51" y="482"/>
                    <a:pt x="50" y="493"/>
                  </a:cubicBezTo>
                  <a:cubicBezTo>
                    <a:pt x="50" y="501"/>
                    <a:pt x="39" y="500"/>
                    <a:pt x="39" y="500"/>
                  </a:cubicBezTo>
                  <a:cubicBezTo>
                    <a:pt x="38" y="504"/>
                    <a:pt x="38" y="504"/>
                    <a:pt x="38" y="504"/>
                  </a:cubicBezTo>
                  <a:cubicBezTo>
                    <a:pt x="38" y="504"/>
                    <a:pt x="61" y="509"/>
                    <a:pt x="56" y="528"/>
                  </a:cubicBezTo>
                  <a:cubicBezTo>
                    <a:pt x="51" y="550"/>
                    <a:pt x="48" y="546"/>
                    <a:pt x="48" y="546"/>
                  </a:cubicBezTo>
                  <a:cubicBezTo>
                    <a:pt x="48" y="546"/>
                    <a:pt x="40" y="542"/>
                    <a:pt x="41" y="538"/>
                  </a:cubicBezTo>
                  <a:cubicBezTo>
                    <a:pt x="37" y="531"/>
                    <a:pt x="38" y="523"/>
                    <a:pt x="38" y="523"/>
                  </a:cubicBezTo>
                  <a:cubicBezTo>
                    <a:pt x="23" y="518"/>
                    <a:pt x="23" y="518"/>
                    <a:pt x="23" y="518"/>
                  </a:cubicBezTo>
                  <a:cubicBezTo>
                    <a:pt x="22" y="526"/>
                    <a:pt x="22" y="526"/>
                    <a:pt x="22" y="526"/>
                  </a:cubicBezTo>
                  <a:cubicBezTo>
                    <a:pt x="22" y="526"/>
                    <a:pt x="36" y="557"/>
                    <a:pt x="50" y="569"/>
                  </a:cubicBezTo>
                  <a:cubicBezTo>
                    <a:pt x="65" y="582"/>
                    <a:pt x="83" y="590"/>
                    <a:pt x="94" y="591"/>
                  </a:cubicBezTo>
                  <a:cubicBezTo>
                    <a:pt x="109" y="591"/>
                    <a:pt x="109" y="591"/>
                    <a:pt x="109" y="591"/>
                  </a:cubicBezTo>
                  <a:cubicBezTo>
                    <a:pt x="120" y="607"/>
                    <a:pt x="120" y="607"/>
                    <a:pt x="120" y="607"/>
                  </a:cubicBezTo>
                  <a:cubicBezTo>
                    <a:pt x="138" y="608"/>
                    <a:pt x="138" y="608"/>
                    <a:pt x="138" y="608"/>
                  </a:cubicBezTo>
                  <a:cubicBezTo>
                    <a:pt x="140" y="646"/>
                    <a:pt x="140" y="646"/>
                    <a:pt x="140" y="646"/>
                  </a:cubicBezTo>
                  <a:cubicBezTo>
                    <a:pt x="159" y="651"/>
                    <a:pt x="159" y="651"/>
                    <a:pt x="159" y="651"/>
                  </a:cubicBezTo>
                  <a:cubicBezTo>
                    <a:pt x="157" y="685"/>
                    <a:pt x="157" y="685"/>
                    <a:pt x="157" y="685"/>
                  </a:cubicBezTo>
                  <a:cubicBezTo>
                    <a:pt x="157" y="685"/>
                    <a:pt x="179" y="694"/>
                    <a:pt x="183" y="694"/>
                  </a:cubicBezTo>
                  <a:cubicBezTo>
                    <a:pt x="191" y="695"/>
                    <a:pt x="210" y="676"/>
                    <a:pt x="210" y="676"/>
                  </a:cubicBezTo>
                  <a:cubicBezTo>
                    <a:pt x="210" y="676"/>
                    <a:pt x="207" y="665"/>
                    <a:pt x="211" y="65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6" name="Freeform 309">
              <a:extLst>
                <a:ext uri="{FF2B5EF4-FFF2-40B4-BE49-F238E27FC236}">
                  <a16:creationId xmlns:a16="http://schemas.microsoft.com/office/drawing/2014/main" id="{C060134F-9CDD-6C35-8352-438AC41F6583}"/>
                </a:ext>
              </a:extLst>
            </p:cNvPr>
            <p:cNvSpPr>
              <a:spLocks/>
            </p:cNvSpPr>
            <p:nvPr/>
          </p:nvSpPr>
          <p:spPr bwMode="gray">
            <a:xfrm>
              <a:off x="10960711" y="4551025"/>
              <a:ext cx="262505" cy="221152"/>
            </a:xfrm>
            <a:custGeom>
              <a:avLst/>
              <a:gdLst>
                <a:gd name="T0" fmla="*/ 238 w 443"/>
                <a:gd name="T1" fmla="*/ 16 h 369"/>
                <a:gd name="T2" fmla="*/ 192 w 443"/>
                <a:gd name="T3" fmla="*/ 38 h 369"/>
                <a:gd name="T4" fmla="*/ 188 w 443"/>
                <a:gd name="T5" fmla="*/ 38 h 369"/>
                <a:gd name="T6" fmla="*/ 188 w 443"/>
                <a:gd name="T7" fmla="*/ 38 h 369"/>
                <a:gd name="T8" fmla="*/ 185 w 443"/>
                <a:gd name="T9" fmla="*/ 38 h 369"/>
                <a:gd name="T10" fmla="*/ 182 w 443"/>
                <a:gd name="T11" fmla="*/ 38 h 369"/>
                <a:gd name="T12" fmla="*/ 172 w 443"/>
                <a:gd name="T13" fmla="*/ 37 h 369"/>
                <a:gd name="T14" fmla="*/ 170 w 443"/>
                <a:gd name="T15" fmla="*/ 37 h 369"/>
                <a:gd name="T16" fmla="*/ 168 w 443"/>
                <a:gd name="T17" fmla="*/ 37 h 369"/>
                <a:gd name="T18" fmla="*/ 163 w 443"/>
                <a:gd name="T19" fmla="*/ 36 h 369"/>
                <a:gd name="T20" fmla="*/ 161 w 443"/>
                <a:gd name="T21" fmla="*/ 36 h 369"/>
                <a:gd name="T22" fmla="*/ 160 w 443"/>
                <a:gd name="T23" fmla="*/ 36 h 369"/>
                <a:gd name="T24" fmla="*/ 159 w 443"/>
                <a:gd name="T25" fmla="*/ 35 h 369"/>
                <a:gd name="T26" fmla="*/ 159 w 443"/>
                <a:gd name="T27" fmla="*/ 35 h 369"/>
                <a:gd name="T28" fmla="*/ 98 w 443"/>
                <a:gd name="T29" fmla="*/ 55 h 369"/>
                <a:gd name="T30" fmla="*/ 44 w 443"/>
                <a:gd name="T31" fmla="*/ 91 h 369"/>
                <a:gd name="T32" fmla="*/ 14 w 443"/>
                <a:gd name="T33" fmla="*/ 162 h 369"/>
                <a:gd name="T34" fmla="*/ 0 w 443"/>
                <a:gd name="T35" fmla="*/ 219 h 369"/>
                <a:gd name="T36" fmla="*/ 9 w 443"/>
                <a:gd name="T37" fmla="*/ 269 h 369"/>
                <a:gd name="T38" fmla="*/ 48 w 443"/>
                <a:gd name="T39" fmla="*/ 325 h 369"/>
                <a:gd name="T40" fmla="*/ 84 w 443"/>
                <a:gd name="T41" fmla="*/ 353 h 369"/>
                <a:gd name="T42" fmla="*/ 106 w 443"/>
                <a:gd name="T43" fmla="*/ 369 h 369"/>
                <a:gd name="T44" fmla="*/ 193 w 443"/>
                <a:gd name="T45" fmla="*/ 351 h 369"/>
                <a:gd name="T46" fmla="*/ 249 w 443"/>
                <a:gd name="T47" fmla="*/ 338 h 369"/>
                <a:gd name="T48" fmla="*/ 286 w 443"/>
                <a:gd name="T49" fmla="*/ 282 h 369"/>
                <a:gd name="T50" fmla="*/ 323 w 443"/>
                <a:gd name="T51" fmla="*/ 276 h 369"/>
                <a:gd name="T52" fmla="*/ 395 w 443"/>
                <a:gd name="T53" fmla="*/ 268 h 369"/>
                <a:gd name="T54" fmla="*/ 412 w 443"/>
                <a:gd name="T55" fmla="*/ 231 h 369"/>
                <a:gd name="T56" fmla="*/ 430 w 443"/>
                <a:gd name="T57" fmla="*/ 155 h 369"/>
                <a:gd name="T58" fmla="*/ 413 w 443"/>
                <a:gd name="T59" fmla="*/ 109 h 369"/>
                <a:gd name="T60" fmla="*/ 374 w 443"/>
                <a:gd name="T61" fmla="*/ 61 h 369"/>
                <a:gd name="T62" fmla="*/ 313 w 443"/>
                <a:gd name="T63" fmla="*/ 12 h 369"/>
                <a:gd name="T64" fmla="*/ 271 w 443"/>
                <a:gd name="T65" fmla="*/ 2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3" h="369">
                  <a:moveTo>
                    <a:pt x="271" y="22"/>
                  </a:moveTo>
                  <a:cubicBezTo>
                    <a:pt x="238" y="16"/>
                    <a:pt x="238" y="16"/>
                    <a:pt x="238" y="16"/>
                  </a:cubicBezTo>
                  <a:cubicBezTo>
                    <a:pt x="238" y="16"/>
                    <a:pt x="211" y="38"/>
                    <a:pt x="196" y="37"/>
                  </a:cubicBezTo>
                  <a:cubicBezTo>
                    <a:pt x="195" y="37"/>
                    <a:pt x="194" y="37"/>
                    <a:pt x="192" y="38"/>
                  </a:cubicBezTo>
                  <a:cubicBezTo>
                    <a:pt x="192" y="38"/>
                    <a:pt x="192" y="38"/>
                    <a:pt x="191" y="38"/>
                  </a:cubicBezTo>
                  <a:cubicBezTo>
                    <a:pt x="190" y="38"/>
                    <a:pt x="189" y="38"/>
                    <a:pt x="188" y="38"/>
                  </a:cubicBezTo>
                  <a:cubicBezTo>
                    <a:pt x="188" y="38"/>
                    <a:pt x="188" y="38"/>
                    <a:pt x="188" y="38"/>
                  </a:cubicBezTo>
                  <a:cubicBezTo>
                    <a:pt x="188" y="38"/>
                    <a:pt x="188" y="38"/>
                    <a:pt x="188" y="38"/>
                  </a:cubicBezTo>
                  <a:cubicBezTo>
                    <a:pt x="187" y="38"/>
                    <a:pt x="186" y="38"/>
                    <a:pt x="186" y="38"/>
                  </a:cubicBezTo>
                  <a:cubicBezTo>
                    <a:pt x="185" y="38"/>
                    <a:pt x="185" y="38"/>
                    <a:pt x="185" y="38"/>
                  </a:cubicBezTo>
                  <a:cubicBezTo>
                    <a:pt x="184" y="38"/>
                    <a:pt x="183" y="38"/>
                    <a:pt x="183" y="38"/>
                  </a:cubicBezTo>
                  <a:cubicBezTo>
                    <a:pt x="183" y="38"/>
                    <a:pt x="182" y="38"/>
                    <a:pt x="182" y="38"/>
                  </a:cubicBezTo>
                  <a:cubicBezTo>
                    <a:pt x="179" y="38"/>
                    <a:pt x="176" y="38"/>
                    <a:pt x="173" y="37"/>
                  </a:cubicBezTo>
                  <a:cubicBezTo>
                    <a:pt x="173" y="37"/>
                    <a:pt x="172" y="37"/>
                    <a:pt x="172" y="37"/>
                  </a:cubicBezTo>
                  <a:cubicBezTo>
                    <a:pt x="172" y="37"/>
                    <a:pt x="171" y="37"/>
                    <a:pt x="170" y="37"/>
                  </a:cubicBezTo>
                  <a:cubicBezTo>
                    <a:pt x="170" y="37"/>
                    <a:pt x="170" y="37"/>
                    <a:pt x="170" y="37"/>
                  </a:cubicBezTo>
                  <a:cubicBezTo>
                    <a:pt x="169" y="37"/>
                    <a:pt x="169" y="37"/>
                    <a:pt x="168" y="37"/>
                  </a:cubicBezTo>
                  <a:cubicBezTo>
                    <a:pt x="168" y="37"/>
                    <a:pt x="168" y="37"/>
                    <a:pt x="168" y="37"/>
                  </a:cubicBezTo>
                  <a:cubicBezTo>
                    <a:pt x="166" y="37"/>
                    <a:pt x="164" y="36"/>
                    <a:pt x="163" y="36"/>
                  </a:cubicBezTo>
                  <a:cubicBezTo>
                    <a:pt x="163" y="36"/>
                    <a:pt x="163" y="36"/>
                    <a:pt x="163" y="36"/>
                  </a:cubicBezTo>
                  <a:cubicBezTo>
                    <a:pt x="162" y="36"/>
                    <a:pt x="162" y="36"/>
                    <a:pt x="162" y="36"/>
                  </a:cubicBezTo>
                  <a:cubicBezTo>
                    <a:pt x="161" y="36"/>
                    <a:pt x="161" y="36"/>
                    <a:pt x="161" y="36"/>
                  </a:cubicBezTo>
                  <a:cubicBezTo>
                    <a:pt x="161" y="36"/>
                    <a:pt x="161" y="36"/>
                    <a:pt x="160" y="36"/>
                  </a:cubicBezTo>
                  <a:cubicBezTo>
                    <a:pt x="160" y="36"/>
                    <a:pt x="160" y="36"/>
                    <a:pt x="160" y="36"/>
                  </a:cubicBezTo>
                  <a:cubicBezTo>
                    <a:pt x="160" y="35"/>
                    <a:pt x="159" y="35"/>
                    <a:pt x="159" y="35"/>
                  </a:cubicBezTo>
                  <a:cubicBezTo>
                    <a:pt x="159" y="35"/>
                    <a:pt x="159" y="35"/>
                    <a:pt x="159" y="35"/>
                  </a:cubicBezTo>
                  <a:cubicBezTo>
                    <a:pt x="159" y="35"/>
                    <a:pt x="159" y="35"/>
                    <a:pt x="159" y="35"/>
                  </a:cubicBezTo>
                  <a:cubicBezTo>
                    <a:pt x="159" y="35"/>
                    <a:pt x="159" y="35"/>
                    <a:pt x="159" y="35"/>
                  </a:cubicBezTo>
                  <a:cubicBezTo>
                    <a:pt x="130" y="87"/>
                    <a:pt x="130" y="87"/>
                    <a:pt x="130" y="87"/>
                  </a:cubicBezTo>
                  <a:cubicBezTo>
                    <a:pt x="98" y="55"/>
                    <a:pt x="98" y="55"/>
                    <a:pt x="98" y="55"/>
                  </a:cubicBezTo>
                  <a:cubicBezTo>
                    <a:pt x="82" y="74"/>
                    <a:pt x="82" y="74"/>
                    <a:pt x="82" y="74"/>
                  </a:cubicBezTo>
                  <a:cubicBezTo>
                    <a:pt x="82" y="74"/>
                    <a:pt x="56" y="72"/>
                    <a:pt x="44" y="91"/>
                  </a:cubicBezTo>
                  <a:cubicBezTo>
                    <a:pt x="36" y="106"/>
                    <a:pt x="49" y="141"/>
                    <a:pt x="49" y="141"/>
                  </a:cubicBezTo>
                  <a:cubicBezTo>
                    <a:pt x="14" y="162"/>
                    <a:pt x="14" y="162"/>
                    <a:pt x="14" y="162"/>
                  </a:cubicBezTo>
                  <a:cubicBezTo>
                    <a:pt x="20" y="205"/>
                    <a:pt x="20" y="205"/>
                    <a:pt x="20" y="205"/>
                  </a:cubicBezTo>
                  <a:cubicBezTo>
                    <a:pt x="0" y="219"/>
                    <a:pt x="0" y="219"/>
                    <a:pt x="0" y="219"/>
                  </a:cubicBezTo>
                  <a:cubicBezTo>
                    <a:pt x="21" y="251"/>
                    <a:pt x="21" y="251"/>
                    <a:pt x="21" y="251"/>
                  </a:cubicBezTo>
                  <a:cubicBezTo>
                    <a:pt x="9" y="269"/>
                    <a:pt x="9" y="269"/>
                    <a:pt x="9" y="269"/>
                  </a:cubicBezTo>
                  <a:cubicBezTo>
                    <a:pt x="29" y="320"/>
                    <a:pt x="29" y="320"/>
                    <a:pt x="29" y="320"/>
                  </a:cubicBezTo>
                  <a:cubicBezTo>
                    <a:pt x="48" y="325"/>
                    <a:pt x="48" y="325"/>
                    <a:pt x="48" y="325"/>
                  </a:cubicBezTo>
                  <a:cubicBezTo>
                    <a:pt x="61" y="367"/>
                    <a:pt x="61" y="367"/>
                    <a:pt x="61" y="367"/>
                  </a:cubicBezTo>
                  <a:cubicBezTo>
                    <a:pt x="84" y="353"/>
                    <a:pt x="84" y="353"/>
                    <a:pt x="84" y="353"/>
                  </a:cubicBezTo>
                  <a:cubicBezTo>
                    <a:pt x="103" y="358"/>
                    <a:pt x="103" y="358"/>
                    <a:pt x="103" y="358"/>
                  </a:cubicBezTo>
                  <a:cubicBezTo>
                    <a:pt x="106" y="369"/>
                    <a:pt x="106" y="369"/>
                    <a:pt x="106" y="369"/>
                  </a:cubicBezTo>
                  <a:cubicBezTo>
                    <a:pt x="162" y="368"/>
                    <a:pt x="162" y="368"/>
                    <a:pt x="162" y="368"/>
                  </a:cubicBezTo>
                  <a:cubicBezTo>
                    <a:pt x="162" y="368"/>
                    <a:pt x="182" y="350"/>
                    <a:pt x="193" y="351"/>
                  </a:cubicBezTo>
                  <a:cubicBezTo>
                    <a:pt x="200" y="351"/>
                    <a:pt x="215" y="355"/>
                    <a:pt x="215" y="355"/>
                  </a:cubicBezTo>
                  <a:cubicBezTo>
                    <a:pt x="215" y="355"/>
                    <a:pt x="238" y="345"/>
                    <a:pt x="249" y="338"/>
                  </a:cubicBezTo>
                  <a:cubicBezTo>
                    <a:pt x="261" y="327"/>
                    <a:pt x="254" y="311"/>
                    <a:pt x="263" y="297"/>
                  </a:cubicBezTo>
                  <a:cubicBezTo>
                    <a:pt x="271" y="285"/>
                    <a:pt x="286" y="282"/>
                    <a:pt x="286" y="282"/>
                  </a:cubicBezTo>
                  <a:cubicBezTo>
                    <a:pt x="308" y="287"/>
                    <a:pt x="308" y="287"/>
                    <a:pt x="308" y="287"/>
                  </a:cubicBezTo>
                  <a:cubicBezTo>
                    <a:pt x="323" y="276"/>
                    <a:pt x="323" y="276"/>
                    <a:pt x="323" y="276"/>
                  </a:cubicBezTo>
                  <a:cubicBezTo>
                    <a:pt x="390" y="283"/>
                    <a:pt x="390" y="283"/>
                    <a:pt x="390" y="283"/>
                  </a:cubicBezTo>
                  <a:cubicBezTo>
                    <a:pt x="395" y="268"/>
                    <a:pt x="395" y="268"/>
                    <a:pt x="395" y="268"/>
                  </a:cubicBezTo>
                  <a:cubicBezTo>
                    <a:pt x="409" y="281"/>
                    <a:pt x="409" y="281"/>
                    <a:pt x="409" y="281"/>
                  </a:cubicBezTo>
                  <a:cubicBezTo>
                    <a:pt x="409" y="281"/>
                    <a:pt x="407" y="246"/>
                    <a:pt x="412" y="231"/>
                  </a:cubicBezTo>
                  <a:cubicBezTo>
                    <a:pt x="412" y="219"/>
                    <a:pt x="442" y="229"/>
                    <a:pt x="442" y="229"/>
                  </a:cubicBezTo>
                  <a:cubicBezTo>
                    <a:pt x="430" y="155"/>
                    <a:pt x="430" y="155"/>
                    <a:pt x="430" y="155"/>
                  </a:cubicBezTo>
                  <a:cubicBezTo>
                    <a:pt x="443" y="125"/>
                    <a:pt x="443" y="125"/>
                    <a:pt x="443" y="125"/>
                  </a:cubicBezTo>
                  <a:cubicBezTo>
                    <a:pt x="413" y="109"/>
                    <a:pt x="413" y="109"/>
                    <a:pt x="413" y="109"/>
                  </a:cubicBezTo>
                  <a:cubicBezTo>
                    <a:pt x="412" y="63"/>
                    <a:pt x="412" y="63"/>
                    <a:pt x="412" y="63"/>
                  </a:cubicBezTo>
                  <a:cubicBezTo>
                    <a:pt x="374" y="61"/>
                    <a:pt x="374" y="61"/>
                    <a:pt x="374" y="61"/>
                  </a:cubicBezTo>
                  <a:cubicBezTo>
                    <a:pt x="359" y="64"/>
                    <a:pt x="349" y="44"/>
                    <a:pt x="342" y="33"/>
                  </a:cubicBezTo>
                  <a:cubicBezTo>
                    <a:pt x="335" y="25"/>
                    <a:pt x="313" y="12"/>
                    <a:pt x="313" y="12"/>
                  </a:cubicBezTo>
                  <a:cubicBezTo>
                    <a:pt x="299" y="0"/>
                    <a:pt x="299" y="0"/>
                    <a:pt x="299" y="0"/>
                  </a:cubicBezTo>
                  <a:lnTo>
                    <a:pt x="271" y="2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7" name="Freeform 310">
              <a:extLst>
                <a:ext uri="{FF2B5EF4-FFF2-40B4-BE49-F238E27FC236}">
                  <a16:creationId xmlns:a16="http://schemas.microsoft.com/office/drawing/2014/main" id="{D7A0016B-8573-E0B5-3155-616511BE973A}"/>
                </a:ext>
              </a:extLst>
            </p:cNvPr>
            <p:cNvSpPr>
              <a:spLocks/>
            </p:cNvSpPr>
            <p:nvPr/>
          </p:nvSpPr>
          <p:spPr bwMode="gray">
            <a:xfrm>
              <a:off x="10619095" y="2222643"/>
              <a:ext cx="26971" cy="14383"/>
            </a:xfrm>
            <a:custGeom>
              <a:avLst/>
              <a:gdLst>
                <a:gd name="T0" fmla="*/ 15 w 15"/>
                <a:gd name="T1" fmla="*/ 6 h 8"/>
                <a:gd name="T2" fmla="*/ 13 w 15"/>
                <a:gd name="T3" fmla="*/ 1 h 8"/>
                <a:gd name="T4" fmla="*/ 11 w 15"/>
                <a:gd name="T5" fmla="*/ 0 h 8"/>
                <a:gd name="T6" fmla="*/ 7 w 15"/>
                <a:gd name="T7" fmla="*/ 1 h 8"/>
                <a:gd name="T8" fmla="*/ 8 w 15"/>
                <a:gd name="T9" fmla="*/ 3 h 8"/>
                <a:gd name="T10" fmla="*/ 0 w 15"/>
                <a:gd name="T11" fmla="*/ 3 h 8"/>
                <a:gd name="T12" fmla="*/ 0 w 15"/>
                <a:gd name="T13" fmla="*/ 6 h 8"/>
                <a:gd name="T14" fmla="*/ 14 w 15"/>
                <a:gd name="T15" fmla="*/ 8 h 8"/>
                <a:gd name="T16" fmla="*/ 15 w 15"/>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15" y="6"/>
                  </a:moveTo>
                  <a:lnTo>
                    <a:pt x="13" y="1"/>
                  </a:lnTo>
                  <a:lnTo>
                    <a:pt x="11" y="0"/>
                  </a:lnTo>
                  <a:lnTo>
                    <a:pt x="7" y="1"/>
                  </a:lnTo>
                  <a:lnTo>
                    <a:pt x="8" y="3"/>
                  </a:lnTo>
                  <a:lnTo>
                    <a:pt x="0" y="3"/>
                  </a:lnTo>
                  <a:lnTo>
                    <a:pt x="0" y="6"/>
                  </a:lnTo>
                  <a:lnTo>
                    <a:pt x="14" y="8"/>
                  </a:lnTo>
                  <a:lnTo>
                    <a:pt x="1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8" name="Freeform 311">
              <a:extLst>
                <a:ext uri="{FF2B5EF4-FFF2-40B4-BE49-F238E27FC236}">
                  <a16:creationId xmlns:a16="http://schemas.microsoft.com/office/drawing/2014/main" id="{6E0AE796-E675-332F-C715-0897BC942460}"/>
                </a:ext>
              </a:extLst>
            </p:cNvPr>
            <p:cNvSpPr>
              <a:spLocks/>
            </p:cNvSpPr>
            <p:nvPr/>
          </p:nvSpPr>
          <p:spPr bwMode="gray">
            <a:xfrm>
              <a:off x="10626288" y="2238826"/>
              <a:ext cx="10788" cy="8991"/>
            </a:xfrm>
            <a:custGeom>
              <a:avLst/>
              <a:gdLst>
                <a:gd name="T0" fmla="*/ 6 w 6"/>
                <a:gd name="T1" fmla="*/ 0 h 5"/>
                <a:gd name="T2" fmla="*/ 4 w 6"/>
                <a:gd name="T3" fmla="*/ 1 h 5"/>
                <a:gd name="T4" fmla="*/ 0 w 6"/>
                <a:gd name="T5" fmla="*/ 3 h 5"/>
                <a:gd name="T6" fmla="*/ 6 w 6"/>
                <a:gd name="T7" fmla="*/ 5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lnTo>
                    <a:pt x="4" y="1"/>
                  </a:lnTo>
                  <a:lnTo>
                    <a:pt x="0" y="3"/>
                  </a:lnTo>
                  <a:lnTo>
                    <a:pt x="6" y="5"/>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9" name="Freeform 312">
              <a:extLst>
                <a:ext uri="{FF2B5EF4-FFF2-40B4-BE49-F238E27FC236}">
                  <a16:creationId xmlns:a16="http://schemas.microsoft.com/office/drawing/2014/main" id="{F0158E9C-46F4-D2D6-25EB-0455FD90D85E}"/>
                </a:ext>
              </a:extLst>
            </p:cNvPr>
            <p:cNvSpPr>
              <a:spLocks/>
            </p:cNvSpPr>
            <p:nvPr/>
          </p:nvSpPr>
          <p:spPr bwMode="gray">
            <a:xfrm>
              <a:off x="10624489" y="2260401"/>
              <a:ext cx="14383" cy="17980"/>
            </a:xfrm>
            <a:custGeom>
              <a:avLst/>
              <a:gdLst>
                <a:gd name="T0" fmla="*/ 8 w 8"/>
                <a:gd name="T1" fmla="*/ 2 h 10"/>
                <a:gd name="T2" fmla="*/ 5 w 8"/>
                <a:gd name="T3" fmla="*/ 0 h 10"/>
                <a:gd name="T4" fmla="*/ 0 w 8"/>
                <a:gd name="T5" fmla="*/ 8 h 10"/>
                <a:gd name="T6" fmla="*/ 4 w 8"/>
                <a:gd name="T7" fmla="*/ 10 h 10"/>
                <a:gd name="T8" fmla="*/ 8 w 8"/>
                <a:gd name="T9" fmla="*/ 2 h 10"/>
              </a:gdLst>
              <a:ahLst/>
              <a:cxnLst>
                <a:cxn ang="0">
                  <a:pos x="T0" y="T1"/>
                </a:cxn>
                <a:cxn ang="0">
                  <a:pos x="T2" y="T3"/>
                </a:cxn>
                <a:cxn ang="0">
                  <a:pos x="T4" y="T5"/>
                </a:cxn>
                <a:cxn ang="0">
                  <a:pos x="T6" y="T7"/>
                </a:cxn>
                <a:cxn ang="0">
                  <a:pos x="T8" y="T9"/>
                </a:cxn>
              </a:cxnLst>
              <a:rect l="0" t="0" r="r" b="b"/>
              <a:pathLst>
                <a:path w="8" h="10">
                  <a:moveTo>
                    <a:pt x="8" y="2"/>
                  </a:moveTo>
                  <a:lnTo>
                    <a:pt x="5" y="0"/>
                  </a:lnTo>
                  <a:lnTo>
                    <a:pt x="0" y="8"/>
                  </a:lnTo>
                  <a:lnTo>
                    <a:pt x="4" y="10"/>
                  </a:lnTo>
                  <a:lnTo>
                    <a:pt x="8"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0" name="Freeform 313">
              <a:extLst>
                <a:ext uri="{FF2B5EF4-FFF2-40B4-BE49-F238E27FC236}">
                  <a16:creationId xmlns:a16="http://schemas.microsoft.com/office/drawing/2014/main" id="{06478C71-BDB0-BE17-076A-381EFF465D4E}"/>
                </a:ext>
              </a:extLst>
            </p:cNvPr>
            <p:cNvSpPr>
              <a:spLocks/>
            </p:cNvSpPr>
            <p:nvPr/>
          </p:nvSpPr>
          <p:spPr bwMode="gray">
            <a:xfrm>
              <a:off x="10619095" y="2278380"/>
              <a:ext cx="12586" cy="12586"/>
            </a:xfrm>
            <a:custGeom>
              <a:avLst/>
              <a:gdLst>
                <a:gd name="T0" fmla="*/ 11 w 19"/>
                <a:gd name="T1" fmla="*/ 15 h 22"/>
                <a:gd name="T2" fmla="*/ 4 w 19"/>
                <a:gd name="T3" fmla="*/ 7 h 22"/>
                <a:gd name="T4" fmla="*/ 11 w 19"/>
                <a:gd name="T5" fmla="*/ 15 h 22"/>
              </a:gdLst>
              <a:ahLst/>
              <a:cxnLst>
                <a:cxn ang="0">
                  <a:pos x="T0" y="T1"/>
                </a:cxn>
                <a:cxn ang="0">
                  <a:pos x="T2" y="T3"/>
                </a:cxn>
                <a:cxn ang="0">
                  <a:pos x="T4" y="T5"/>
                </a:cxn>
              </a:cxnLst>
              <a:rect l="0" t="0" r="r" b="b"/>
              <a:pathLst>
                <a:path w="19" h="22">
                  <a:moveTo>
                    <a:pt x="11" y="15"/>
                  </a:moveTo>
                  <a:cubicBezTo>
                    <a:pt x="19" y="8"/>
                    <a:pt x="8" y="0"/>
                    <a:pt x="4" y="7"/>
                  </a:cubicBezTo>
                  <a:cubicBezTo>
                    <a:pt x="0" y="15"/>
                    <a:pt x="3" y="22"/>
                    <a:pt x="11"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1" name="Freeform 314">
              <a:extLst>
                <a:ext uri="{FF2B5EF4-FFF2-40B4-BE49-F238E27FC236}">
                  <a16:creationId xmlns:a16="http://schemas.microsoft.com/office/drawing/2014/main" id="{10242FD4-F90A-04A8-A2EA-B87EB4217910}"/>
                </a:ext>
              </a:extLst>
            </p:cNvPr>
            <p:cNvSpPr>
              <a:spLocks/>
            </p:cNvSpPr>
            <p:nvPr/>
          </p:nvSpPr>
          <p:spPr bwMode="gray">
            <a:xfrm>
              <a:off x="10649661" y="2224441"/>
              <a:ext cx="7192" cy="8991"/>
            </a:xfrm>
            <a:custGeom>
              <a:avLst/>
              <a:gdLst>
                <a:gd name="T0" fmla="*/ 0 w 4"/>
                <a:gd name="T1" fmla="*/ 5 h 5"/>
                <a:gd name="T2" fmla="*/ 4 w 4"/>
                <a:gd name="T3" fmla="*/ 4 h 5"/>
                <a:gd name="T4" fmla="*/ 1 w 4"/>
                <a:gd name="T5" fmla="*/ 0 h 5"/>
                <a:gd name="T6" fmla="*/ 0 w 4"/>
                <a:gd name="T7" fmla="*/ 5 h 5"/>
              </a:gdLst>
              <a:ahLst/>
              <a:cxnLst>
                <a:cxn ang="0">
                  <a:pos x="T0" y="T1"/>
                </a:cxn>
                <a:cxn ang="0">
                  <a:pos x="T2" y="T3"/>
                </a:cxn>
                <a:cxn ang="0">
                  <a:pos x="T4" y="T5"/>
                </a:cxn>
                <a:cxn ang="0">
                  <a:pos x="T6" y="T7"/>
                </a:cxn>
              </a:cxnLst>
              <a:rect l="0" t="0" r="r" b="b"/>
              <a:pathLst>
                <a:path w="4" h="5">
                  <a:moveTo>
                    <a:pt x="0" y="5"/>
                  </a:moveTo>
                  <a:lnTo>
                    <a:pt x="4" y="4"/>
                  </a:lnTo>
                  <a:lnTo>
                    <a:pt x="1"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2" name="Freeform 315">
              <a:extLst>
                <a:ext uri="{FF2B5EF4-FFF2-40B4-BE49-F238E27FC236}">
                  <a16:creationId xmlns:a16="http://schemas.microsoft.com/office/drawing/2014/main" id="{D6202902-49EB-50DE-957D-4202938646B8}"/>
                </a:ext>
              </a:extLst>
            </p:cNvPr>
            <p:cNvSpPr>
              <a:spLocks/>
            </p:cNvSpPr>
            <p:nvPr/>
          </p:nvSpPr>
          <p:spPr bwMode="gray">
            <a:xfrm>
              <a:off x="10689216" y="2409633"/>
              <a:ext cx="10788" cy="19778"/>
            </a:xfrm>
            <a:custGeom>
              <a:avLst/>
              <a:gdLst>
                <a:gd name="T0" fmla="*/ 6 w 6"/>
                <a:gd name="T1" fmla="*/ 0 h 11"/>
                <a:gd name="T2" fmla="*/ 1 w 6"/>
                <a:gd name="T3" fmla="*/ 1 h 11"/>
                <a:gd name="T4" fmla="*/ 0 w 6"/>
                <a:gd name="T5" fmla="*/ 9 h 11"/>
                <a:gd name="T6" fmla="*/ 2 w 6"/>
                <a:gd name="T7" fmla="*/ 11 h 11"/>
                <a:gd name="T8" fmla="*/ 6 w 6"/>
                <a:gd name="T9" fmla="*/ 0 h 11"/>
              </a:gdLst>
              <a:ahLst/>
              <a:cxnLst>
                <a:cxn ang="0">
                  <a:pos x="T0" y="T1"/>
                </a:cxn>
                <a:cxn ang="0">
                  <a:pos x="T2" y="T3"/>
                </a:cxn>
                <a:cxn ang="0">
                  <a:pos x="T4" y="T5"/>
                </a:cxn>
                <a:cxn ang="0">
                  <a:pos x="T6" y="T7"/>
                </a:cxn>
                <a:cxn ang="0">
                  <a:pos x="T8" y="T9"/>
                </a:cxn>
              </a:cxnLst>
              <a:rect l="0" t="0" r="r" b="b"/>
              <a:pathLst>
                <a:path w="6" h="11">
                  <a:moveTo>
                    <a:pt x="6" y="0"/>
                  </a:moveTo>
                  <a:lnTo>
                    <a:pt x="1" y="1"/>
                  </a:lnTo>
                  <a:lnTo>
                    <a:pt x="0" y="9"/>
                  </a:lnTo>
                  <a:lnTo>
                    <a:pt x="2" y="11"/>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3" name="Freeform 316">
              <a:extLst>
                <a:ext uri="{FF2B5EF4-FFF2-40B4-BE49-F238E27FC236}">
                  <a16:creationId xmlns:a16="http://schemas.microsoft.com/office/drawing/2014/main" id="{74CC3DC3-9CBB-56FF-15DF-B3A4DB8AE04D}"/>
                </a:ext>
              </a:extLst>
            </p:cNvPr>
            <p:cNvSpPr>
              <a:spLocks/>
            </p:cNvSpPr>
            <p:nvPr/>
          </p:nvSpPr>
          <p:spPr bwMode="gray">
            <a:xfrm>
              <a:off x="10640671" y="2201067"/>
              <a:ext cx="10788" cy="12586"/>
            </a:xfrm>
            <a:custGeom>
              <a:avLst/>
              <a:gdLst>
                <a:gd name="T0" fmla="*/ 2 w 6"/>
                <a:gd name="T1" fmla="*/ 0 h 7"/>
                <a:gd name="T2" fmla="*/ 0 w 6"/>
                <a:gd name="T3" fmla="*/ 7 h 7"/>
                <a:gd name="T4" fmla="*/ 6 w 6"/>
                <a:gd name="T5" fmla="*/ 3 h 7"/>
                <a:gd name="T6" fmla="*/ 2 w 6"/>
                <a:gd name="T7" fmla="*/ 0 h 7"/>
              </a:gdLst>
              <a:ahLst/>
              <a:cxnLst>
                <a:cxn ang="0">
                  <a:pos x="T0" y="T1"/>
                </a:cxn>
                <a:cxn ang="0">
                  <a:pos x="T2" y="T3"/>
                </a:cxn>
                <a:cxn ang="0">
                  <a:pos x="T4" y="T5"/>
                </a:cxn>
                <a:cxn ang="0">
                  <a:pos x="T6" y="T7"/>
                </a:cxn>
              </a:cxnLst>
              <a:rect l="0" t="0" r="r" b="b"/>
              <a:pathLst>
                <a:path w="6" h="7">
                  <a:moveTo>
                    <a:pt x="2" y="0"/>
                  </a:moveTo>
                  <a:lnTo>
                    <a:pt x="0" y="7"/>
                  </a:lnTo>
                  <a:lnTo>
                    <a:pt x="6" y="3"/>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4" name="Freeform 317">
              <a:extLst>
                <a:ext uri="{FF2B5EF4-FFF2-40B4-BE49-F238E27FC236}">
                  <a16:creationId xmlns:a16="http://schemas.microsoft.com/office/drawing/2014/main" id="{B944C0F5-2E18-FBEF-1160-90F168B0CB83}"/>
                </a:ext>
              </a:extLst>
            </p:cNvPr>
            <p:cNvSpPr>
              <a:spLocks/>
            </p:cNvSpPr>
            <p:nvPr/>
          </p:nvSpPr>
          <p:spPr bwMode="gray">
            <a:xfrm>
              <a:off x="10655056" y="2184886"/>
              <a:ext cx="16183" cy="10788"/>
            </a:xfrm>
            <a:custGeom>
              <a:avLst/>
              <a:gdLst>
                <a:gd name="T0" fmla="*/ 9 w 9"/>
                <a:gd name="T1" fmla="*/ 4 h 6"/>
                <a:gd name="T2" fmla="*/ 7 w 9"/>
                <a:gd name="T3" fmla="*/ 0 h 6"/>
                <a:gd name="T4" fmla="*/ 0 w 9"/>
                <a:gd name="T5" fmla="*/ 3 h 6"/>
                <a:gd name="T6" fmla="*/ 3 w 9"/>
                <a:gd name="T7" fmla="*/ 6 h 6"/>
                <a:gd name="T8" fmla="*/ 9 w 9"/>
                <a:gd name="T9" fmla="*/ 4 h 6"/>
              </a:gdLst>
              <a:ahLst/>
              <a:cxnLst>
                <a:cxn ang="0">
                  <a:pos x="T0" y="T1"/>
                </a:cxn>
                <a:cxn ang="0">
                  <a:pos x="T2" y="T3"/>
                </a:cxn>
                <a:cxn ang="0">
                  <a:pos x="T4" y="T5"/>
                </a:cxn>
                <a:cxn ang="0">
                  <a:pos x="T6" y="T7"/>
                </a:cxn>
                <a:cxn ang="0">
                  <a:pos x="T8" y="T9"/>
                </a:cxn>
              </a:cxnLst>
              <a:rect l="0" t="0" r="r" b="b"/>
              <a:pathLst>
                <a:path w="9" h="6">
                  <a:moveTo>
                    <a:pt x="9" y="4"/>
                  </a:moveTo>
                  <a:lnTo>
                    <a:pt x="7" y="0"/>
                  </a:lnTo>
                  <a:lnTo>
                    <a:pt x="0" y="3"/>
                  </a:lnTo>
                  <a:lnTo>
                    <a:pt x="3" y="6"/>
                  </a:lnTo>
                  <a:lnTo>
                    <a:pt x="9"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5" name="Freeform 318">
              <a:extLst>
                <a:ext uri="{FF2B5EF4-FFF2-40B4-BE49-F238E27FC236}">
                  <a16:creationId xmlns:a16="http://schemas.microsoft.com/office/drawing/2014/main" id="{75CD7B0F-D744-8A96-726C-E960EF786D80}"/>
                </a:ext>
              </a:extLst>
            </p:cNvPr>
            <p:cNvSpPr>
              <a:spLocks/>
            </p:cNvSpPr>
            <p:nvPr/>
          </p:nvSpPr>
          <p:spPr bwMode="gray">
            <a:xfrm>
              <a:off x="10586732" y="2298158"/>
              <a:ext cx="7192" cy="10788"/>
            </a:xfrm>
            <a:custGeom>
              <a:avLst/>
              <a:gdLst>
                <a:gd name="T0" fmla="*/ 3 w 4"/>
                <a:gd name="T1" fmla="*/ 0 h 6"/>
                <a:gd name="T2" fmla="*/ 0 w 4"/>
                <a:gd name="T3" fmla="*/ 1 h 6"/>
                <a:gd name="T4" fmla="*/ 0 w 4"/>
                <a:gd name="T5" fmla="*/ 3 h 6"/>
                <a:gd name="T6" fmla="*/ 4 w 4"/>
                <a:gd name="T7" fmla="*/ 6 h 6"/>
                <a:gd name="T8" fmla="*/ 3 w 4"/>
                <a:gd name="T9" fmla="*/ 0 h 6"/>
              </a:gdLst>
              <a:ahLst/>
              <a:cxnLst>
                <a:cxn ang="0">
                  <a:pos x="T0" y="T1"/>
                </a:cxn>
                <a:cxn ang="0">
                  <a:pos x="T2" y="T3"/>
                </a:cxn>
                <a:cxn ang="0">
                  <a:pos x="T4" y="T5"/>
                </a:cxn>
                <a:cxn ang="0">
                  <a:pos x="T6" y="T7"/>
                </a:cxn>
                <a:cxn ang="0">
                  <a:pos x="T8" y="T9"/>
                </a:cxn>
              </a:cxnLst>
              <a:rect l="0" t="0" r="r" b="b"/>
              <a:pathLst>
                <a:path w="4" h="6">
                  <a:moveTo>
                    <a:pt x="3" y="0"/>
                  </a:moveTo>
                  <a:lnTo>
                    <a:pt x="0" y="1"/>
                  </a:lnTo>
                  <a:lnTo>
                    <a:pt x="0" y="3"/>
                  </a:lnTo>
                  <a:lnTo>
                    <a:pt x="4"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6" name="Freeform 319">
              <a:extLst>
                <a:ext uri="{FF2B5EF4-FFF2-40B4-BE49-F238E27FC236}">
                  <a16:creationId xmlns:a16="http://schemas.microsoft.com/office/drawing/2014/main" id="{2D308845-3C47-D893-99DF-19050F8F0018}"/>
                </a:ext>
              </a:extLst>
            </p:cNvPr>
            <p:cNvSpPr>
              <a:spLocks/>
            </p:cNvSpPr>
            <p:nvPr/>
          </p:nvSpPr>
          <p:spPr bwMode="gray">
            <a:xfrm>
              <a:off x="10124652" y="2407836"/>
              <a:ext cx="19778" cy="16183"/>
            </a:xfrm>
            <a:custGeom>
              <a:avLst/>
              <a:gdLst>
                <a:gd name="T0" fmla="*/ 0 w 11"/>
                <a:gd name="T1" fmla="*/ 2 h 9"/>
                <a:gd name="T2" fmla="*/ 3 w 11"/>
                <a:gd name="T3" fmla="*/ 6 h 9"/>
                <a:gd name="T4" fmla="*/ 2 w 11"/>
                <a:gd name="T5" fmla="*/ 9 h 9"/>
                <a:gd name="T6" fmla="*/ 6 w 11"/>
                <a:gd name="T7" fmla="*/ 9 h 9"/>
                <a:gd name="T8" fmla="*/ 8 w 11"/>
                <a:gd name="T9" fmla="*/ 5 h 9"/>
                <a:gd name="T10" fmla="*/ 11 w 11"/>
                <a:gd name="T11" fmla="*/ 5 h 9"/>
                <a:gd name="T12" fmla="*/ 10 w 11"/>
                <a:gd name="T13" fmla="*/ 0 h 9"/>
                <a:gd name="T14" fmla="*/ 0 w 11"/>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0" y="2"/>
                  </a:moveTo>
                  <a:lnTo>
                    <a:pt x="3" y="6"/>
                  </a:lnTo>
                  <a:lnTo>
                    <a:pt x="2" y="9"/>
                  </a:lnTo>
                  <a:lnTo>
                    <a:pt x="6" y="9"/>
                  </a:lnTo>
                  <a:lnTo>
                    <a:pt x="8" y="5"/>
                  </a:lnTo>
                  <a:lnTo>
                    <a:pt x="11" y="5"/>
                  </a:lnTo>
                  <a:lnTo>
                    <a:pt x="10"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7" name="Freeform 320">
              <a:extLst>
                <a:ext uri="{FF2B5EF4-FFF2-40B4-BE49-F238E27FC236}">
                  <a16:creationId xmlns:a16="http://schemas.microsoft.com/office/drawing/2014/main" id="{E9030361-022C-AAA0-BC73-15ACFA51FDC0}"/>
                </a:ext>
              </a:extLst>
            </p:cNvPr>
            <p:cNvSpPr>
              <a:spLocks/>
            </p:cNvSpPr>
            <p:nvPr/>
          </p:nvSpPr>
          <p:spPr bwMode="gray">
            <a:xfrm>
              <a:off x="10106671" y="890342"/>
              <a:ext cx="810888" cy="1900463"/>
            </a:xfrm>
            <a:custGeom>
              <a:avLst/>
              <a:gdLst>
                <a:gd name="T0" fmla="*/ 1320 w 1360"/>
                <a:gd name="T1" fmla="*/ 533 h 3187"/>
                <a:gd name="T2" fmla="*/ 1283 w 1360"/>
                <a:gd name="T3" fmla="*/ 356 h 3187"/>
                <a:gd name="T4" fmla="*/ 1207 w 1360"/>
                <a:gd name="T5" fmla="*/ 203 h 3187"/>
                <a:gd name="T6" fmla="*/ 1045 w 1360"/>
                <a:gd name="T7" fmla="*/ 84 h 3187"/>
                <a:gd name="T8" fmla="*/ 958 w 1360"/>
                <a:gd name="T9" fmla="*/ 8 h 3187"/>
                <a:gd name="T10" fmla="*/ 917 w 1360"/>
                <a:gd name="T11" fmla="*/ 170 h 3187"/>
                <a:gd name="T12" fmla="*/ 741 w 1360"/>
                <a:gd name="T13" fmla="*/ 265 h 3187"/>
                <a:gd name="T14" fmla="*/ 608 w 1360"/>
                <a:gd name="T15" fmla="*/ 465 h 3187"/>
                <a:gd name="T16" fmla="*/ 429 w 1360"/>
                <a:gd name="T17" fmla="*/ 694 h 3187"/>
                <a:gd name="T18" fmla="*/ 338 w 1360"/>
                <a:gd name="T19" fmla="*/ 1045 h 3187"/>
                <a:gd name="T20" fmla="*/ 184 w 1360"/>
                <a:gd name="T21" fmla="*/ 1302 h 3187"/>
                <a:gd name="T22" fmla="*/ 179 w 1360"/>
                <a:gd name="T23" fmla="*/ 1581 h 3187"/>
                <a:gd name="T24" fmla="*/ 151 w 1360"/>
                <a:gd name="T25" fmla="*/ 1866 h 3187"/>
                <a:gd name="T26" fmla="*/ 101 w 1360"/>
                <a:gd name="T27" fmla="*/ 2132 h 3187"/>
                <a:gd name="T28" fmla="*/ 37 w 1360"/>
                <a:gd name="T29" fmla="*/ 2308 h 3187"/>
                <a:gd name="T30" fmla="*/ 0 w 1360"/>
                <a:gd name="T31" fmla="*/ 2459 h 3187"/>
                <a:gd name="T32" fmla="*/ 56 w 1360"/>
                <a:gd name="T33" fmla="*/ 2466 h 3187"/>
                <a:gd name="T34" fmla="*/ 66 w 1360"/>
                <a:gd name="T35" fmla="*/ 2574 h 3187"/>
                <a:gd name="T36" fmla="*/ 86 w 1360"/>
                <a:gd name="T37" fmla="*/ 2708 h 3187"/>
                <a:gd name="T38" fmla="*/ 113 w 1360"/>
                <a:gd name="T39" fmla="*/ 2775 h 3187"/>
                <a:gd name="T40" fmla="*/ 191 w 1360"/>
                <a:gd name="T41" fmla="*/ 2878 h 3187"/>
                <a:gd name="T42" fmla="*/ 146 w 1360"/>
                <a:gd name="T43" fmla="*/ 2960 h 3187"/>
                <a:gd name="T44" fmla="*/ 197 w 1360"/>
                <a:gd name="T45" fmla="*/ 3066 h 3187"/>
                <a:gd name="T46" fmla="*/ 181 w 1360"/>
                <a:gd name="T47" fmla="*/ 3160 h 3187"/>
                <a:gd name="T48" fmla="*/ 357 w 1360"/>
                <a:gd name="T49" fmla="*/ 3173 h 3187"/>
                <a:gd name="T50" fmla="*/ 488 w 1360"/>
                <a:gd name="T51" fmla="*/ 2995 h 3187"/>
                <a:gd name="T52" fmla="*/ 624 w 1360"/>
                <a:gd name="T53" fmla="*/ 2887 h 3187"/>
                <a:gd name="T54" fmla="*/ 658 w 1360"/>
                <a:gd name="T55" fmla="*/ 2713 h 3187"/>
                <a:gd name="T56" fmla="*/ 649 w 1360"/>
                <a:gd name="T57" fmla="*/ 2594 h 3187"/>
                <a:gd name="T58" fmla="*/ 690 w 1360"/>
                <a:gd name="T59" fmla="*/ 2519 h 3187"/>
                <a:gd name="T60" fmla="*/ 638 w 1360"/>
                <a:gd name="T61" fmla="*/ 2429 h 3187"/>
                <a:gd name="T62" fmla="*/ 711 w 1360"/>
                <a:gd name="T63" fmla="*/ 2382 h 3187"/>
                <a:gd name="T64" fmla="*/ 785 w 1360"/>
                <a:gd name="T65" fmla="*/ 2309 h 3187"/>
                <a:gd name="T66" fmla="*/ 853 w 1360"/>
                <a:gd name="T67" fmla="*/ 2297 h 3187"/>
                <a:gd name="T68" fmla="*/ 845 w 1360"/>
                <a:gd name="T69" fmla="*/ 2232 h 3187"/>
                <a:gd name="T70" fmla="*/ 920 w 1360"/>
                <a:gd name="T71" fmla="*/ 2148 h 3187"/>
                <a:gd name="T72" fmla="*/ 883 w 1360"/>
                <a:gd name="T73" fmla="*/ 2065 h 3187"/>
                <a:gd name="T74" fmla="*/ 809 w 1360"/>
                <a:gd name="T75" fmla="*/ 1959 h 3187"/>
                <a:gd name="T76" fmla="*/ 726 w 1360"/>
                <a:gd name="T77" fmla="*/ 1901 h 3187"/>
                <a:gd name="T78" fmla="*/ 714 w 1360"/>
                <a:gd name="T79" fmla="*/ 1748 h 3187"/>
                <a:gd name="T80" fmla="*/ 728 w 1360"/>
                <a:gd name="T81" fmla="*/ 1683 h 3187"/>
                <a:gd name="T82" fmla="*/ 740 w 1360"/>
                <a:gd name="T83" fmla="*/ 1584 h 3187"/>
                <a:gd name="T84" fmla="*/ 749 w 1360"/>
                <a:gd name="T85" fmla="*/ 1543 h 3187"/>
                <a:gd name="T86" fmla="*/ 790 w 1360"/>
                <a:gd name="T87" fmla="*/ 1476 h 3187"/>
                <a:gd name="T88" fmla="*/ 848 w 1360"/>
                <a:gd name="T89" fmla="*/ 1425 h 3187"/>
                <a:gd name="T90" fmla="*/ 859 w 1360"/>
                <a:gd name="T91" fmla="*/ 1357 h 3187"/>
                <a:gd name="T92" fmla="*/ 913 w 1360"/>
                <a:gd name="T93" fmla="*/ 1325 h 3187"/>
                <a:gd name="T94" fmla="*/ 974 w 1360"/>
                <a:gd name="T95" fmla="*/ 1293 h 3187"/>
                <a:gd name="T96" fmla="*/ 1029 w 1360"/>
                <a:gd name="T97" fmla="*/ 1235 h 3187"/>
                <a:gd name="T98" fmla="*/ 1089 w 1360"/>
                <a:gd name="T99" fmla="*/ 1157 h 3187"/>
                <a:gd name="T100" fmla="*/ 1135 w 1360"/>
                <a:gd name="T101" fmla="*/ 1041 h 3187"/>
                <a:gd name="T102" fmla="*/ 1112 w 1360"/>
                <a:gd name="T103" fmla="*/ 971 h 3187"/>
                <a:gd name="T104" fmla="*/ 1156 w 1360"/>
                <a:gd name="T105" fmla="*/ 828 h 3187"/>
                <a:gd name="T106" fmla="*/ 1195 w 1360"/>
                <a:gd name="T107" fmla="*/ 715 h 3187"/>
                <a:gd name="T108" fmla="*/ 1254 w 1360"/>
                <a:gd name="T109" fmla="*/ 733 h 3187"/>
                <a:gd name="T110" fmla="*/ 1330 w 1360"/>
                <a:gd name="T111" fmla="*/ 72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0" h="3187">
                  <a:moveTo>
                    <a:pt x="1336" y="668"/>
                  </a:moveTo>
                  <a:cubicBezTo>
                    <a:pt x="1333" y="656"/>
                    <a:pt x="1337" y="645"/>
                    <a:pt x="1330" y="637"/>
                  </a:cubicBezTo>
                  <a:cubicBezTo>
                    <a:pt x="1322" y="633"/>
                    <a:pt x="1300" y="628"/>
                    <a:pt x="1301" y="613"/>
                  </a:cubicBezTo>
                  <a:cubicBezTo>
                    <a:pt x="1306" y="594"/>
                    <a:pt x="1306" y="590"/>
                    <a:pt x="1306" y="590"/>
                  </a:cubicBezTo>
                  <a:cubicBezTo>
                    <a:pt x="1306" y="590"/>
                    <a:pt x="1287" y="585"/>
                    <a:pt x="1295" y="571"/>
                  </a:cubicBezTo>
                  <a:cubicBezTo>
                    <a:pt x="1307" y="552"/>
                    <a:pt x="1323" y="545"/>
                    <a:pt x="1320" y="533"/>
                  </a:cubicBezTo>
                  <a:cubicBezTo>
                    <a:pt x="1317" y="518"/>
                    <a:pt x="1310" y="502"/>
                    <a:pt x="1310" y="502"/>
                  </a:cubicBezTo>
                  <a:cubicBezTo>
                    <a:pt x="1310" y="502"/>
                    <a:pt x="1315" y="480"/>
                    <a:pt x="1308" y="464"/>
                  </a:cubicBezTo>
                  <a:cubicBezTo>
                    <a:pt x="1301" y="452"/>
                    <a:pt x="1268" y="435"/>
                    <a:pt x="1269" y="412"/>
                  </a:cubicBezTo>
                  <a:cubicBezTo>
                    <a:pt x="1270" y="393"/>
                    <a:pt x="1274" y="386"/>
                    <a:pt x="1274" y="386"/>
                  </a:cubicBezTo>
                  <a:cubicBezTo>
                    <a:pt x="1286" y="379"/>
                    <a:pt x="1286" y="379"/>
                    <a:pt x="1286" y="379"/>
                  </a:cubicBezTo>
                  <a:cubicBezTo>
                    <a:pt x="1283" y="356"/>
                    <a:pt x="1283" y="356"/>
                    <a:pt x="1283" y="356"/>
                  </a:cubicBezTo>
                  <a:cubicBezTo>
                    <a:pt x="1246" y="346"/>
                    <a:pt x="1246" y="346"/>
                    <a:pt x="1246" y="346"/>
                  </a:cubicBezTo>
                  <a:cubicBezTo>
                    <a:pt x="1246" y="346"/>
                    <a:pt x="1254" y="324"/>
                    <a:pt x="1248" y="304"/>
                  </a:cubicBezTo>
                  <a:cubicBezTo>
                    <a:pt x="1245" y="289"/>
                    <a:pt x="1238" y="277"/>
                    <a:pt x="1242" y="262"/>
                  </a:cubicBezTo>
                  <a:cubicBezTo>
                    <a:pt x="1247" y="247"/>
                    <a:pt x="1265" y="248"/>
                    <a:pt x="1258" y="236"/>
                  </a:cubicBezTo>
                  <a:cubicBezTo>
                    <a:pt x="1251" y="224"/>
                    <a:pt x="1219" y="192"/>
                    <a:pt x="1219" y="192"/>
                  </a:cubicBezTo>
                  <a:cubicBezTo>
                    <a:pt x="1207" y="203"/>
                    <a:pt x="1207" y="203"/>
                    <a:pt x="1207" y="203"/>
                  </a:cubicBezTo>
                  <a:cubicBezTo>
                    <a:pt x="1207" y="203"/>
                    <a:pt x="1205" y="165"/>
                    <a:pt x="1173" y="148"/>
                  </a:cubicBezTo>
                  <a:cubicBezTo>
                    <a:pt x="1140" y="127"/>
                    <a:pt x="1095" y="117"/>
                    <a:pt x="1095" y="117"/>
                  </a:cubicBezTo>
                  <a:cubicBezTo>
                    <a:pt x="1081" y="101"/>
                    <a:pt x="1081" y="101"/>
                    <a:pt x="1081" y="101"/>
                  </a:cubicBezTo>
                  <a:cubicBezTo>
                    <a:pt x="1066" y="101"/>
                    <a:pt x="1066" y="101"/>
                    <a:pt x="1066" y="101"/>
                  </a:cubicBezTo>
                  <a:cubicBezTo>
                    <a:pt x="1059" y="89"/>
                    <a:pt x="1059" y="89"/>
                    <a:pt x="1059" y="89"/>
                  </a:cubicBezTo>
                  <a:cubicBezTo>
                    <a:pt x="1045" y="84"/>
                    <a:pt x="1045" y="84"/>
                    <a:pt x="1045" y="84"/>
                  </a:cubicBezTo>
                  <a:cubicBezTo>
                    <a:pt x="1038" y="57"/>
                    <a:pt x="1038" y="57"/>
                    <a:pt x="1038" y="57"/>
                  </a:cubicBezTo>
                  <a:cubicBezTo>
                    <a:pt x="1023" y="57"/>
                    <a:pt x="1023" y="57"/>
                    <a:pt x="1023" y="57"/>
                  </a:cubicBezTo>
                  <a:cubicBezTo>
                    <a:pt x="990" y="40"/>
                    <a:pt x="990" y="40"/>
                    <a:pt x="990" y="40"/>
                  </a:cubicBezTo>
                  <a:cubicBezTo>
                    <a:pt x="988" y="20"/>
                    <a:pt x="988" y="20"/>
                    <a:pt x="988" y="20"/>
                  </a:cubicBezTo>
                  <a:cubicBezTo>
                    <a:pt x="977" y="8"/>
                    <a:pt x="977" y="8"/>
                    <a:pt x="977" y="8"/>
                  </a:cubicBezTo>
                  <a:cubicBezTo>
                    <a:pt x="958" y="8"/>
                    <a:pt x="958" y="8"/>
                    <a:pt x="958" y="8"/>
                  </a:cubicBezTo>
                  <a:cubicBezTo>
                    <a:pt x="959" y="0"/>
                    <a:pt x="959" y="0"/>
                    <a:pt x="959" y="0"/>
                  </a:cubicBezTo>
                  <a:cubicBezTo>
                    <a:pt x="917" y="6"/>
                    <a:pt x="917" y="6"/>
                    <a:pt x="917" y="6"/>
                  </a:cubicBezTo>
                  <a:cubicBezTo>
                    <a:pt x="917" y="6"/>
                    <a:pt x="938" y="37"/>
                    <a:pt x="941" y="60"/>
                  </a:cubicBezTo>
                  <a:cubicBezTo>
                    <a:pt x="943" y="87"/>
                    <a:pt x="916" y="120"/>
                    <a:pt x="916" y="120"/>
                  </a:cubicBezTo>
                  <a:cubicBezTo>
                    <a:pt x="941" y="137"/>
                    <a:pt x="941" y="137"/>
                    <a:pt x="941" y="137"/>
                  </a:cubicBezTo>
                  <a:cubicBezTo>
                    <a:pt x="917" y="170"/>
                    <a:pt x="917" y="170"/>
                    <a:pt x="917" y="170"/>
                  </a:cubicBezTo>
                  <a:cubicBezTo>
                    <a:pt x="840" y="132"/>
                    <a:pt x="840" y="132"/>
                    <a:pt x="840" y="132"/>
                  </a:cubicBezTo>
                  <a:cubicBezTo>
                    <a:pt x="799" y="138"/>
                    <a:pt x="799" y="138"/>
                    <a:pt x="799" y="138"/>
                  </a:cubicBezTo>
                  <a:cubicBezTo>
                    <a:pt x="785" y="122"/>
                    <a:pt x="785" y="122"/>
                    <a:pt x="785" y="122"/>
                  </a:cubicBezTo>
                  <a:cubicBezTo>
                    <a:pt x="758" y="136"/>
                    <a:pt x="758" y="136"/>
                    <a:pt x="758" y="136"/>
                  </a:cubicBezTo>
                  <a:cubicBezTo>
                    <a:pt x="758" y="136"/>
                    <a:pt x="763" y="189"/>
                    <a:pt x="758" y="208"/>
                  </a:cubicBezTo>
                  <a:cubicBezTo>
                    <a:pt x="754" y="227"/>
                    <a:pt x="741" y="265"/>
                    <a:pt x="741" y="265"/>
                  </a:cubicBezTo>
                  <a:cubicBezTo>
                    <a:pt x="686" y="236"/>
                    <a:pt x="686" y="236"/>
                    <a:pt x="686" y="236"/>
                  </a:cubicBezTo>
                  <a:cubicBezTo>
                    <a:pt x="635" y="287"/>
                    <a:pt x="635" y="287"/>
                    <a:pt x="635" y="287"/>
                  </a:cubicBezTo>
                  <a:cubicBezTo>
                    <a:pt x="635" y="287"/>
                    <a:pt x="617" y="347"/>
                    <a:pt x="616" y="362"/>
                  </a:cubicBezTo>
                  <a:cubicBezTo>
                    <a:pt x="612" y="381"/>
                    <a:pt x="582" y="372"/>
                    <a:pt x="582" y="372"/>
                  </a:cubicBezTo>
                  <a:cubicBezTo>
                    <a:pt x="581" y="399"/>
                    <a:pt x="581" y="399"/>
                    <a:pt x="581" y="399"/>
                  </a:cubicBezTo>
                  <a:cubicBezTo>
                    <a:pt x="581" y="399"/>
                    <a:pt x="605" y="438"/>
                    <a:pt x="608" y="465"/>
                  </a:cubicBezTo>
                  <a:cubicBezTo>
                    <a:pt x="614" y="488"/>
                    <a:pt x="592" y="495"/>
                    <a:pt x="564" y="520"/>
                  </a:cubicBezTo>
                  <a:cubicBezTo>
                    <a:pt x="541" y="542"/>
                    <a:pt x="547" y="562"/>
                    <a:pt x="539" y="584"/>
                  </a:cubicBezTo>
                  <a:cubicBezTo>
                    <a:pt x="530" y="607"/>
                    <a:pt x="512" y="610"/>
                    <a:pt x="512" y="610"/>
                  </a:cubicBezTo>
                  <a:cubicBezTo>
                    <a:pt x="521" y="656"/>
                    <a:pt x="521" y="656"/>
                    <a:pt x="521" y="656"/>
                  </a:cubicBezTo>
                  <a:cubicBezTo>
                    <a:pt x="474" y="688"/>
                    <a:pt x="474" y="688"/>
                    <a:pt x="474" y="688"/>
                  </a:cubicBezTo>
                  <a:cubicBezTo>
                    <a:pt x="429" y="694"/>
                    <a:pt x="429" y="694"/>
                    <a:pt x="429" y="694"/>
                  </a:cubicBezTo>
                  <a:cubicBezTo>
                    <a:pt x="441" y="767"/>
                    <a:pt x="441" y="767"/>
                    <a:pt x="441" y="767"/>
                  </a:cubicBezTo>
                  <a:cubicBezTo>
                    <a:pt x="431" y="809"/>
                    <a:pt x="431" y="809"/>
                    <a:pt x="431" y="809"/>
                  </a:cubicBezTo>
                  <a:cubicBezTo>
                    <a:pt x="432" y="881"/>
                    <a:pt x="432" y="881"/>
                    <a:pt x="432" y="881"/>
                  </a:cubicBezTo>
                  <a:cubicBezTo>
                    <a:pt x="416" y="900"/>
                    <a:pt x="416" y="900"/>
                    <a:pt x="416" y="900"/>
                  </a:cubicBezTo>
                  <a:cubicBezTo>
                    <a:pt x="411" y="934"/>
                    <a:pt x="411" y="934"/>
                    <a:pt x="411" y="934"/>
                  </a:cubicBezTo>
                  <a:cubicBezTo>
                    <a:pt x="338" y="1045"/>
                    <a:pt x="338" y="1045"/>
                    <a:pt x="338" y="1045"/>
                  </a:cubicBezTo>
                  <a:cubicBezTo>
                    <a:pt x="385" y="1082"/>
                    <a:pt x="385" y="1082"/>
                    <a:pt x="385" y="1082"/>
                  </a:cubicBezTo>
                  <a:cubicBezTo>
                    <a:pt x="386" y="1135"/>
                    <a:pt x="386" y="1135"/>
                    <a:pt x="386" y="1135"/>
                  </a:cubicBezTo>
                  <a:cubicBezTo>
                    <a:pt x="366" y="1180"/>
                    <a:pt x="366" y="1180"/>
                    <a:pt x="366" y="1180"/>
                  </a:cubicBezTo>
                  <a:cubicBezTo>
                    <a:pt x="366" y="1180"/>
                    <a:pt x="300" y="1154"/>
                    <a:pt x="262" y="1164"/>
                  </a:cubicBezTo>
                  <a:cubicBezTo>
                    <a:pt x="220" y="1173"/>
                    <a:pt x="174" y="1271"/>
                    <a:pt x="174" y="1271"/>
                  </a:cubicBezTo>
                  <a:cubicBezTo>
                    <a:pt x="184" y="1302"/>
                    <a:pt x="184" y="1302"/>
                    <a:pt x="184" y="1302"/>
                  </a:cubicBezTo>
                  <a:cubicBezTo>
                    <a:pt x="152" y="1342"/>
                    <a:pt x="152" y="1342"/>
                    <a:pt x="152" y="1342"/>
                  </a:cubicBezTo>
                  <a:cubicBezTo>
                    <a:pt x="176" y="1408"/>
                    <a:pt x="176" y="1408"/>
                    <a:pt x="176" y="1408"/>
                  </a:cubicBezTo>
                  <a:cubicBezTo>
                    <a:pt x="160" y="1431"/>
                    <a:pt x="160" y="1431"/>
                    <a:pt x="160" y="1431"/>
                  </a:cubicBezTo>
                  <a:cubicBezTo>
                    <a:pt x="169" y="1469"/>
                    <a:pt x="169" y="1469"/>
                    <a:pt x="169" y="1469"/>
                  </a:cubicBezTo>
                  <a:cubicBezTo>
                    <a:pt x="156" y="1499"/>
                    <a:pt x="156" y="1499"/>
                    <a:pt x="156" y="1499"/>
                  </a:cubicBezTo>
                  <a:cubicBezTo>
                    <a:pt x="179" y="1581"/>
                    <a:pt x="179" y="1581"/>
                    <a:pt x="179" y="1581"/>
                  </a:cubicBezTo>
                  <a:cubicBezTo>
                    <a:pt x="154" y="1706"/>
                    <a:pt x="154" y="1706"/>
                    <a:pt x="154" y="1706"/>
                  </a:cubicBezTo>
                  <a:cubicBezTo>
                    <a:pt x="187" y="1742"/>
                    <a:pt x="187" y="1742"/>
                    <a:pt x="187" y="1742"/>
                  </a:cubicBezTo>
                  <a:cubicBezTo>
                    <a:pt x="187" y="1742"/>
                    <a:pt x="205" y="1754"/>
                    <a:pt x="219" y="1766"/>
                  </a:cubicBezTo>
                  <a:cubicBezTo>
                    <a:pt x="230" y="1782"/>
                    <a:pt x="233" y="1797"/>
                    <a:pt x="219" y="1839"/>
                  </a:cubicBezTo>
                  <a:cubicBezTo>
                    <a:pt x="210" y="1880"/>
                    <a:pt x="181" y="1856"/>
                    <a:pt x="181" y="1856"/>
                  </a:cubicBezTo>
                  <a:cubicBezTo>
                    <a:pt x="151" y="1866"/>
                    <a:pt x="151" y="1866"/>
                    <a:pt x="151" y="1866"/>
                  </a:cubicBezTo>
                  <a:cubicBezTo>
                    <a:pt x="165" y="1890"/>
                    <a:pt x="165" y="1890"/>
                    <a:pt x="165" y="1890"/>
                  </a:cubicBezTo>
                  <a:cubicBezTo>
                    <a:pt x="171" y="1921"/>
                    <a:pt x="171" y="1921"/>
                    <a:pt x="171" y="1921"/>
                  </a:cubicBezTo>
                  <a:cubicBezTo>
                    <a:pt x="171" y="1921"/>
                    <a:pt x="191" y="1971"/>
                    <a:pt x="197" y="1998"/>
                  </a:cubicBezTo>
                  <a:cubicBezTo>
                    <a:pt x="207" y="2026"/>
                    <a:pt x="178" y="2013"/>
                    <a:pt x="173" y="2028"/>
                  </a:cubicBezTo>
                  <a:cubicBezTo>
                    <a:pt x="169" y="2043"/>
                    <a:pt x="183" y="2055"/>
                    <a:pt x="170" y="2100"/>
                  </a:cubicBezTo>
                  <a:cubicBezTo>
                    <a:pt x="153" y="2142"/>
                    <a:pt x="117" y="2121"/>
                    <a:pt x="101" y="2132"/>
                  </a:cubicBezTo>
                  <a:cubicBezTo>
                    <a:pt x="86" y="2142"/>
                    <a:pt x="108" y="2147"/>
                    <a:pt x="103" y="2166"/>
                  </a:cubicBezTo>
                  <a:cubicBezTo>
                    <a:pt x="103" y="2181"/>
                    <a:pt x="84" y="2177"/>
                    <a:pt x="76" y="2188"/>
                  </a:cubicBezTo>
                  <a:cubicBezTo>
                    <a:pt x="65" y="2195"/>
                    <a:pt x="92" y="2261"/>
                    <a:pt x="92" y="2261"/>
                  </a:cubicBezTo>
                  <a:cubicBezTo>
                    <a:pt x="92" y="2261"/>
                    <a:pt x="79" y="2291"/>
                    <a:pt x="70" y="2314"/>
                  </a:cubicBezTo>
                  <a:cubicBezTo>
                    <a:pt x="62" y="2340"/>
                    <a:pt x="57" y="2359"/>
                    <a:pt x="42" y="2358"/>
                  </a:cubicBezTo>
                  <a:cubicBezTo>
                    <a:pt x="27" y="2357"/>
                    <a:pt x="40" y="2327"/>
                    <a:pt x="37" y="2308"/>
                  </a:cubicBezTo>
                  <a:cubicBezTo>
                    <a:pt x="34" y="2293"/>
                    <a:pt x="7" y="2307"/>
                    <a:pt x="7" y="2307"/>
                  </a:cubicBezTo>
                  <a:cubicBezTo>
                    <a:pt x="2" y="2333"/>
                    <a:pt x="2" y="2333"/>
                    <a:pt x="2" y="2333"/>
                  </a:cubicBezTo>
                  <a:cubicBezTo>
                    <a:pt x="2" y="2333"/>
                    <a:pt x="13" y="2349"/>
                    <a:pt x="12" y="2364"/>
                  </a:cubicBezTo>
                  <a:cubicBezTo>
                    <a:pt x="12" y="2376"/>
                    <a:pt x="0" y="2387"/>
                    <a:pt x="0" y="2387"/>
                  </a:cubicBezTo>
                  <a:cubicBezTo>
                    <a:pt x="0" y="2387"/>
                    <a:pt x="16" y="2437"/>
                    <a:pt x="16" y="2449"/>
                  </a:cubicBezTo>
                  <a:cubicBezTo>
                    <a:pt x="15" y="2460"/>
                    <a:pt x="0" y="2459"/>
                    <a:pt x="0" y="2459"/>
                  </a:cubicBezTo>
                  <a:cubicBezTo>
                    <a:pt x="3" y="2471"/>
                    <a:pt x="3" y="2471"/>
                    <a:pt x="3" y="2471"/>
                  </a:cubicBezTo>
                  <a:cubicBezTo>
                    <a:pt x="3" y="2471"/>
                    <a:pt x="19" y="2464"/>
                    <a:pt x="26" y="2468"/>
                  </a:cubicBezTo>
                  <a:cubicBezTo>
                    <a:pt x="30" y="2472"/>
                    <a:pt x="25" y="2487"/>
                    <a:pt x="25" y="2487"/>
                  </a:cubicBezTo>
                  <a:cubicBezTo>
                    <a:pt x="33" y="2488"/>
                    <a:pt x="33" y="2488"/>
                    <a:pt x="33" y="2488"/>
                  </a:cubicBezTo>
                  <a:cubicBezTo>
                    <a:pt x="45" y="2454"/>
                    <a:pt x="45" y="2454"/>
                    <a:pt x="45" y="2454"/>
                  </a:cubicBezTo>
                  <a:cubicBezTo>
                    <a:pt x="56" y="2466"/>
                    <a:pt x="56" y="2466"/>
                    <a:pt x="56" y="2466"/>
                  </a:cubicBezTo>
                  <a:cubicBezTo>
                    <a:pt x="28" y="2499"/>
                    <a:pt x="28" y="2499"/>
                    <a:pt x="28" y="2499"/>
                  </a:cubicBezTo>
                  <a:cubicBezTo>
                    <a:pt x="28" y="2507"/>
                    <a:pt x="28" y="2507"/>
                    <a:pt x="28" y="2507"/>
                  </a:cubicBezTo>
                  <a:cubicBezTo>
                    <a:pt x="82" y="2479"/>
                    <a:pt x="82" y="2479"/>
                    <a:pt x="82" y="2479"/>
                  </a:cubicBezTo>
                  <a:cubicBezTo>
                    <a:pt x="73" y="2497"/>
                    <a:pt x="73" y="2497"/>
                    <a:pt x="73" y="2497"/>
                  </a:cubicBezTo>
                  <a:cubicBezTo>
                    <a:pt x="80" y="2513"/>
                    <a:pt x="80" y="2513"/>
                    <a:pt x="80" y="2513"/>
                  </a:cubicBezTo>
                  <a:cubicBezTo>
                    <a:pt x="66" y="2574"/>
                    <a:pt x="66" y="2574"/>
                    <a:pt x="66" y="2574"/>
                  </a:cubicBezTo>
                  <a:cubicBezTo>
                    <a:pt x="54" y="2596"/>
                    <a:pt x="54" y="2596"/>
                    <a:pt x="54" y="2596"/>
                  </a:cubicBezTo>
                  <a:cubicBezTo>
                    <a:pt x="68" y="2612"/>
                    <a:pt x="68" y="2612"/>
                    <a:pt x="68" y="2612"/>
                  </a:cubicBezTo>
                  <a:cubicBezTo>
                    <a:pt x="49" y="2630"/>
                    <a:pt x="49" y="2630"/>
                    <a:pt x="49" y="2630"/>
                  </a:cubicBezTo>
                  <a:cubicBezTo>
                    <a:pt x="67" y="2631"/>
                    <a:pt x="67" y="2631"/>
                    <a:pt x="67" y="2631"/>
                  </a:cubicBezTo>
                  <a:cubicBezTo>
                    <a:pt x="71" y="2631"/>
                    <a:pt x="77" y="2658"/>
                    <a:pt x="77" y="2670"/>
                  </a:cubicBezTo>
                  <a:cubicBezTo>
                    <a:pt x="76" y="2685"/>
                    <a:pt x="79" y="2708"/>
                    <a:pt x="86" y="2708"/>
                  </a:cubicBezTo>
                  <a:cubicBezTo>
                    <a:pt x="94" y="2709"/>
                    <a:pt x="98" y="2686"/>
                    <a:pt x="98" y="2686"/>
                  </a:cubicBezTo>
                  <a:cubicBezTo>
                    <a:pt x="97" y="2717"/>
                    <a:pt x="97" y="2717"/>
                    <a:pt x="97" y="2717"/>
                  </a:cubicBezTo>
                  <a:cubicBezTo>
                    <a:pt x="104" y="2721"/>
                    <a:pt x="104" y="2721"/>
                    <a:pt x="104" y="2721"/>
                  </a:cubicBezTo>
                  <a:cubicBezTo>
                    <a:pt x="96" y="2743"/>
                    <a:pt x="96" y="2743"/>
                    <a:pt x="96" y="2743"/>
                  </a:cubicBezTo>
                  <a:cubicBezTo>
                    <a:pt x="114" y="2752"/>
                    <a:pt x="114" y="2752"/>
                    <a:pt x="114" y="2752"/>
                  </a:cubicBezTo>
                  <a:cubicBezTo>
                    <a:pt x="113" y="2775"/>
                    <a:pt x="113" y="2775"/>
                    <a:pt x="113" y="2775"/>
                  </a:cubicBezTo>
                  <a:cubicBezTo>
                    <a:pt x="127" y="2794"/>
                    <a:pt x="127" y="2794"/>
                    <a:pt x="127" y="2794"/>
                  </a:cubicBezTo>
                  <a:cubicBezTo>
                    <a:pt x="126" y="2810"/>
                    <a:pt x="126" y="2810"/>
                    <a:pt x="126" y="2810"/>
                  </a:cubicBezTo>
                  <a:cubicBezTo>
                    <a:pt x="147" y="2841"/>
                    <a:pt x="147" y="2841"/>
                    <a:pt x="147" y="2841"/>
                  </a:cubicBezTo>
                  <a:cubicBezTo>
                    <a:pt x="155" y="2838"/>
                    <a:pt x="155" y="2838"/>
                    <a:pt x="155" y="2838"/>
                  </a:cubicBezTo>
                  <a:cubicBezTo>
                    <a:pt x="155" y="2838"/>
                    <a:pt x="161" y="2880"/>
                    <a:pt x="172" y="2885"/>
                  </a:cubicBezTo>
                  <a:cubicBezTo>
                    <a:pt x="186" y="2893"/>
                    <a:pt x="191" y="2878"/>
                    <a:pt x="191" y="2878"/>
                  </a:cubicBezTo>
                  <a:cubicBezTo>
                    <a:pt x="191" y="2878"/>
                    <a:pt x="200" y="2909"/>
                    <a:pt x="200" y="2920"/>
                  </a:cubicBezTo>
                  <a:cubicBezTo>
                    <a:pt x="199" y="2932"/>
                    <a:pt x="177" y="2927"/>
                    <a:pt x="177" y="2927"/>
                  </a:cubicBezTo>
                  <a:cubicBezTo>
                    <a:pt x="177" y="2927"/>
                    <a:pt x="174" y="2911"/>
                    <a:pt x="159" y="2922"/>
                  </a:cubicBezTo>
                  <a:cubicBezTo>
                    <a:pt x="143" y="2933"/>
                    <a:pt x="176" y="2950"/>
                    <a:pt x="176" y="2950"/>
                  </a:cubicBezTo>
                  <a:cubicBezTo>
                    <a:pt x="176" y="2950"/>
                    <a:pt x="186" y="2969"/>
                    <a:pt x="179" y="2977"/>
                  </a:cubicBezTo>
                  <a:cubicBezTo>
                    <a:pt x="167" y="2984"/>
                    <a:pt x="153" y="2964"/>
                    <a:pt x="146" y="2960"/>
                  </a:cubicBezTo>
                  <a:cubicBezTo>
                    <a:pt x="139" y="2952"/>
                    <a:pt x="127" y="2951"/>
                    <a:pt x="123" y="2955"/>
                  </a:cubicBezTo>
                  <a:cubicBezTo>
                    <a:pt x="120" y="2959"/>
                    <a:pt x="138" y="2967"/>
                    <a:pt x="138" y="2967"/>
                  </a:cubicBezTo>
                  <a:cubicBezTo>
                    <a:pt x="141" y="2983"/>
                    <a:pt x="141" y="2983"/>
                    <a:pt x="141" y="2983"/>
                  </a:cubicBezTo>
                  <a:cubicBezTo>
                    <a:pt x="141" y="2983"/>
                    <a:pt x="162" y="3014"/>
                    <a:pt x="172" y="3030"/>
                  </a:cubicBezTo>
                  <a:cubicBezTo>
                    <a:pt x="183" y="3046"/>
                    <a:pt x="182" y="3061"/>
                    <a:pt x="182" y="3061"/>
                  </a:cubicBezTo>
                  <a:cubicBezTo>
                    <a:pt x="197" y="3066"/>
                    <a:pt x="197" y="3066"/>
                    <a:pt x="197" y="3066"/>
                  </a:cubicBezTo>
                  <a:cubicBezTo>
                    <a:pt x="192" y="3084"/>
                    <a:pt x="192" y="3084"/>
                    <a:pt x="192" y="3084"/>
                  </a:cubicBezTo>
                  <a:cubicBezTo>
                    <a:pt x="192" y="3084"/>
                    <a:pt x="204" y="3085"/>
                    <a:pt x="210" y="3104"/>
                  </a:cubicBezTo>
                  <a:cubicBezTo>
                    <a:pt x="217" y="3120"/>
                    <a:pt x="191" y="3123"/>
                    <a:pt x="191" y="3123"/>
                  </a:cubicBezTo>
                  <a:cubicBezTo>
                    <a:pt x="190" y="3145"/>
                    <a:pt x="190" y="3145"/>
                    <a:pt x="190" y="3145"/>
                  </a:cubicBezTo>
                  <a:cubicBezTo>
                    <a:pt x="190" y="3145"/>
                    <a:pt x="200" y="3154"/>
                    <a:pt x="196" y="3165"/>
                  </a:cubicBezTo>
                  <a:cubicBezTo>
                    <a:pt x="192" y="3172"/>
                    <a:pt x="181" y="3160"/>
                    <a:pt x="181" y="3160"/>
                  </a:cubicBezTo>
                  <a:cubicBezTo>
                    <a:pt x="177" y="3175"/>
                    <a:pt x="177" y="3175"/>
                    <a:pt x="177" y="3175"/>
                  </a:cubicBezTo>
                  <a:cubicBezTo>
                    <a:pt x="192" y="3172"/>
                    <a:pt x="192" y="3172"/>
                    <a:pt x="192" y="3172"/>
                  </a:cubicBezTo>
                  <a:cubicBezTo>
                    <a:pt x="192" y="3172"/>
                    <a:pt x="236" y="3186"/>
                    <a:pt x="251" y="3187"/>
                  </a:cubicBezTo>
                  <a:cubicBezTo>
                    <a:pt x="262" y="3187"/>
                    <a:pt x="282" y="3173"/>
                    <a:pt x="305" y="3166"/>
                  </a:cubicBezTo>
                  <a:cubicBezTo>
                    <a:pt x="327" y="3160"/>
                    <a:pt x="334" y="3175"/>
                    <a:pt x="334" y="3175"/>
                  </a:cubicBezTo>
                  <a:cubicBezTo>
                    <a:pt x="357" y="3173"/>
                    <a:pt x="357" y="3173"/>
                    <a:pt x="357" y="3173"/>
                  </a:cubicBezTo>
                  <a:cubicBezTo>
                    <a:pt x="357" y="3173"/>
                    <a:pt x="377" y="3143"/>
                    <a:pt x="381" y="3124"/>
                  </a:cubicBezTo>
                  <a:cubicBezTo>
                    <a:pt x="386" y="3109"/>
                    <a:pt x="356" y="3104"/>
                    <a:pt x="357" y="3085"/>
                  </a:cubicBezTo>
                  <a:cubicBezTo>
                    <a:pt x="358" y="3069"/>
                    <a:pt x="386" y="3032"/>
                    <a:pt x="393" y="3025"/>
                  </a:cubicBezTo>
                  <a:cubicBezTo>
                    <a:pt x="401" y="3022"/>
                    <a:pt x="423" y="3038"/>
                    <a:pt x="430" y="3035"/>
                  </a:cubicBezTo>
                  <a:cubicBezTo>
                    <a:pt x="438" y="3027"/>
                    <a:pt x="425" y="2996"/>
                    <a:pt x="425" y="2996"/>
                  </a:cubicBezTo>
                  <a:cubicBezTo>
                    <a:pt x="488" y="2995"/>
                    <a:pt x="488" y="2995"/>
                    <a:pt x="488" y="2995"/>
                  </a:cubicBezTo>
                  <a:cubicBezTo>
                    <a:pt x="514" y="3000"/>
                    <a:pt x="514" y="3000"/>
                    <a:pt x="514" y="3000"/>
                  </a:cubicBezTo>
                  <a:cubicBezTo>
                    <a:pt x="537" y="2986"/>
                    <a:pt x="537" y="2986"/>
                    <a:pt x="537" y="2986"/>
                  </a:cubicBezTo>
                  <a:cubicBezTo>
                    <a:pt x="573" y="3015"/>
                    <a:pt x="573" y="3015"/>
                    <a:pt x="573" y="3015"/>
                  </a:cubicBezTo>
                  <a:cubicBezTo>
                    <a:pt x="573" y="3015"/>
                    <a:pt x="590" y="2985"/>
                    <a:pt x="597" y="2981"/>
                  </a:cubicBezTo>
                  <a:cubicBezTo>
                    <a:pt x="602" y="2974"/>
                    <a:pt x="611" y="2921"/>
                    <a:pt x="611" y="2921"/>
                  </a:cubicBezTo>
                  <a:cubicBezTo>
                    <a:pt x="624" y="2887"/>
                    <a:pt x="624" y="2887"/>
                    <a:pt x="624" y="2887"/>
                  </a:cubicBezTo>
                  <a:cubicBezTo>
                    <a:pt x="636" y="2876"/>
                    <a:pt x="636" y="2876"/>
                    <a:pt x="636" y="2876"/>
                  </a:cubicBezTo>
                  <a:cubicBezTo>
                    <a:pt x="653" y="2820"/>
                    <a:pt x="653" y="2820"/>
                    <a:pt x="653" y="2820"/>
                  </a:cubicBezTo>
                  <a:cubicBezTo>
                    <a:pt x="647" y="2796"/>
                    <a:pt x="647" y="2796"/>
                    <a:pt x="647" y="2796"/>
                  </a:cubicBezTo>
                  <a:cubicBezTo>
                    <a:pt x="647" y="2796"/>
                    <a:pt x="658" y="2793"/>
                    <a:pt x="663" y="2782"/>
                  </a:cubicBezTo>
                  <a:cubicBezTo>
                    <a:pt x="667" y="2770"/>
                    <a:pt x="652" y="2762"/>
                    <a:pt x="652" y="2762"/>
                  </a:cubicBezTo>
                  <a:cubicBezTo>
                    <a:pt x="658" y="2713"/>
                    <a:pt x="658" y="2713"/>
                    <a:pt x="658" y="2713"/>
                  </a:cubicBezTo>
                  <a:cubicBezTo>
                    <a:pt x="658" y="2713"/>
                    <a:pt x="669" y="2717"/>
                    <a:pt x="678" y="2694"/>
                  </a:cubicBezTo>
                  <a:cubicBezTo>
                    <a:pt x="690" y="2676"/>
                    <a:pt x="657" y="2659"/>
                    <a:pt x="657" y="2659"/>
                  </a:cubicBezTo>
                  <a:cubicBezTo>
                    <a:pt x="665" y="2652"/>
                    <a:pt x="665" y="2652"/>
                    <a:pt x="665" y="2652"/>
                  </a:cubicBezTo>
                  <a:cubicBezTo>
                    <a:pt x="670" y="2618"/>
                    <a:pt x="670" y="2618"/>
                    <a:pt x="670" y="2618"/>
                  </a:cubicBezTo>
                  <a:cubicBezTo>
                    <a:pt x="664" y="2594"/>
                    <a:pt x="664" y="2594"/>
                    <a:pt x="664" y="2594"/>
                  </a:cubicBezTo>
                  <a:cubicBezTo>
                    <a:pt x="649" y="2594"/>
                    <a:pt x="649" y="2594"/>
                    <a:pt x="649" y="2594"/>
                  </a:cubicBezTo>
                  <a:cubicBezTo>
                    <a:pt x="649" y="2594"/>
                    <a:pt x="649" y="2586"/>
                    <a:pt x="661" y="2583"/>
                  </a:cubicBezTo>
                  <a:cubicBezTo>
                    <a:pt x="676" y="2583"/>
                    <a:pt x="686" y="2595"/>
                    <a:pt x="686" y="2595"/>
                  </a:cubicBezTo>
                  <a:cubicBezTo>
                    <a:pt x="684" y="2572"/>
                    <a:pt x="684" y="2572"/>
                    <a:pt x="684" y="2572"/>
                  </a:cubicBezTo>
                  <a:cubicBezTo>
                    <a:pt x="669" y="2564"/>
                    <a:pt x="669" y="2564"/>
                    <a:pt x="669" y="2564"/>
                  </a:cubicBezTo>
                  <a:cubicBezTo>
                    <a:pt x="680" y="2561"/>
                    <a:pt x="680" y="2561"/>
                    <a:pt x="680" y="2561"/>
                  </a:cubicBezTo>
                  <a:cubicBezTo>
                    <a:pt x="680" y="2561"/>
                    <a:pt x="682" y="2534"/>
                    <a:pt x="690" y="2519"/>
                  </a:cubicBezTo>
                  <a:cubicBezTo>
                    <a:pt x="702" y="2504"/>
                    <a:pt x="669" y="2488"/>
                    <a:pt x="669" y="2488"/>
                  </a:cubicBezTo>
                  <a:cubicBezTo>
                    <a:pt x="680" y="2484"/>
                    <a:pt x="680" y="2484"/>
                    <a:pt x="680" y="2484"/>
                  </a:cubicBezTo>
                  <a:cubicBezTo>
                    <a:pt x="670" y="2465"/>
                    <a:pt x="670" y="2465"/>
                    <a:pt x="670" y="2465"/>
                  </a:cubicBezTo>
                  <a:cubicBezTo>
                    <a:pt x="670" y="2465"/>
                    <a:pt x="692" y="2473"/>
                    <a:pt x="704" y="2447"/>
                  </a:cubicBezTo>
                  <a:cubicBezTo>
                    <a:pt x="713" y="2421"/>
                    <a:pt x="642" y="2417"/>
                    <a:pt x="642" y="2417"/>
                  </a:cubicBezTo>
                  <a:cubicBezTo>
                    <a:pt x="638" y="2429"/>
                    <a:pt x="638" y="2429"/>
                    <a:pt x="638" y="2429"/>
                  </a:cubicBezTo>
                  <a:cubicBezTo>
                    <a:pt x="616" y="2424"/>
                    <a:pt x="616" y="2424"/>
                    <a:pt x="616" y="2424"/>
                  </a:cubicBezTo>
                  <a:cubicBezTo>
                    <a:pt x="616" y="2408"/>
                    <a:pt x="616" y="2408"/>
                    <a:pt x="616" y="2408"/>
                  </a:cubicBezTo>
                  <a:cubicBezTo>
                    <a:pt x="672" y="2411"/>
                    <a:pt x="672" y="2411"/>
                    <a:pt x="672" y="2411"/>
                  </a:cubicBezTo>
                  <a:cubicBezTo>
                    <a:pt x="683" y="2412"/>
                    <a:pt x="705" y="2424"/>
                    <a:pt x="705" y="2424"/>
                  </a:cubicBezTo>
                  <a:cubicBezTo>
                    <a:pt x="714" y="2405"/>
                    <a:pt x="714" y="2405"/>
                    <a:pt x="714" y="2405"/>
                  </a:cubicBezTo>
                  <a:cubicBezTo>
                    <a:pt x="711" y="2382"/>
                    <a:pt x="711" y="2382"/>
                    <a:pt x="711" y="2382"/>
                  </a:cubicBezTo>
                  <a:cubicBezTo>
                    <a:pt x="729" y="2395"/>
                    <a:pt x="729" y="2395"/>
                    <a:pt x="729" y="2395"/>
                  </a:cubicBezTo>
                  <a:cubicBezTo>
                    <a:pt x="729" y="2395"/>
                    <a:pt x="744" y="2392"/>
                    <a:pt x="748" y="2392"/>
                  </a:cubicBezTo>
                  <a:cubicBezTo>
                    <a:pt x="752" y="2392"/>
                    <a:pt x="767" y="2377"/>
                    <a:pt x="767" y="2377"/>
                  </a:cubicBezTo>
                  <a:cubicBezTo>
                    <a:pt x="768" y="2358"/>
                    <a:pt x="768" y="2358"/>
                    <a:pt x="768" y="2358"/>
                  </a:cubicBezTo>
                  <a:cubicBezTo>
                    <a:pt x="779" y="2363"/>
                    <a:pt x="779" y="2363"/>
                    <a:pt x="779" y="2363"/>
                  </a:cubicBezTo>
                  <a:cubicBezTo>
                    <a:pt x="785" y="2309"/>
                    <a:pt x="785" y="2309"/>
                    <a:pt x="785" y="2309"/>
                  </a:cubicBezTo>
                  <a:cubicBezTo>
                    <a:pt x="796" y="2314"/>
                    <a:pt x="796" y="2314"/>
                    <a:pt x="796" y="2314"/>
                  </a:cubicBezTo>
                  <a:cubicBezTo>
                    <a:pt x="802" y="2349"/>
                    <a:pt x="802" y="2349"/>
                    <a:pt x="802" y="2349"/>
                  </a:cubicBezTo>
                  <a:cubicBezTo>
                    <a:pt x="828" y="2354"/>
                    <a:pt x="828" y="2354"/>
                    <a:pt x="828" y="2354"/>
                  </a:cubicBezTo>
                  <a:cubicBezTo>
                    <a:pt x="834" y="2319"/>
                    <a:pt x="834" y="2319"/>
                    <a:pt x="834" y="2319"/>
                  </a:cubicBezTo>
                  <a:cubicBezTo>
                    <a:pt x="834" y="2319"/>
                    <a:pt x="841" y="2320"/>
                    <a:pt x="849" y="2316"/>
                  </a:cubicBezTo>
                  <a:cubicBezTo>
                    <a:pt x="853" y="2313"/>
                    <a:pt x="853" y="2297"/>
                    <a:pt x="853" y="2297"/>
                  </a:cubicBezTo>
                  <a:cubicBezTo>
                    <a:pt x="868" y="2294"/>
                    <a:pt x="868" y="2294"/>
                    <a:pt x="868" y="2294"/>
                  </a:cubicBezTo>
                  <a:cubicBezTo>
                    <a:pt x="876" y="2287"/>
                    <a:pt x="876" y="2287"/>
                    <a:pt x="876" y="2287"/>
                  </a:cubicBezTo>
                  <a:cubicBezTo>
                    <a:pt x="865" y="2283"/>
                    <a:pt x="865" y="2283"/>
                    <a:pt x="865" y="2283"/>
                  </a:cubicBezTo>
                  <a:cubicBezTo>
                    <a:pt x="859" y="2263"/>
                    <a:pt x="859" y="2263"/>
                    <a:pt x="859" y="2263"/>
                  </a:cubicBezTo>
                  <a:cubicBezTo>
                    <a:pt x="837" y="2243"/>
                    <a:pt x="837" y="2243"/>
                    <a:pt x="837" y="2243"/>
                  </a:cubicBezTo>
                  <a:cubicBezTo>
                    <a:pt x="845" y="2232"/>
                    <a:pt x="845" y="2232"/>
                    <a:pt x="845" y="2232"/>
                  </a:cubicBezTo>
                  <a:cubicBezTo>
                    <a:pt x="864" y="2233"/>
                    <a:pt x="864" y="2233"/>
                    <a:pt x="864" y="2233"/>
                  </a:cubicBezTo>
                  <a:cubicBezTo>
                    <a:pt x="915" y="2182"/>
                    <a:pt x="915" y="2182"/>
                    <a:pt x="915" y="2182"/>
                  </a:cubicBezTo>
                  <a:cubicBezTo>
                    <a:pt x="915" y="2170"/>
                    <a:pt x="915" y="2170"/>
                    <a:pt x="915" y="2170"/>
                  </a:cubicBezTo>
                  <a:cubicBezTo>
                    <a:pt x="946" y="2153"/>
                    <a:pt x="946" y="2153"/>
                    <a:pt x="946" y="2153"/>
                  </a:cubicBezTo>
                  <a:cubicBezTo>
                    <a:pt x="950" y="2149"/>
                    <a:pt x="950" y="2149"/>
                    <a:pt x="950" y="2149"/>
                  </a:cubicBezTo>
                  <a:cubicBezTo>
                    <a:pt x="920" y="2148"/>
                    <a:pt x="920" y="2148"/>
                    <a:pt x="920" y="2148"/>
                  </a:cubicBezTo>
                  <a:cubicBezTo>
                    <a:pt x="929" y="2125"/>
                    <a:pt x="929" y="2125"/>
                    <a:pt x="929" y="2125"/>
                  </a:cubicBezTo>
                  <a:cubicBezTo>
                    <a:pt x="947" y="2130"/>
                    <a:pt x="947" y="2130"/>
                    <a:pt x="947" y="2130"/>
                  </a:cubicBezTo>
                  <a:cubicBezTo>
                    <a:pt x="951" y="2118"/>
                    <a:pt x="951" y="2118"/>
                    <a:pt x="951" y="2118"/>
                  </a:cubicBezTo>
                  <a:cubicBezTo>
                    <a:pt x="929" y="2106"/>
                    <a:pt x="929" y="2106"/>
                    <a:pt x="929" y="2106"/>
                  </a:cubicBezTo>
                  <a:cubicBezTo>
                    <a:pt x="912" y="2067"/>
                    <a:pt x="912" y="2067"/>
                    <a:pt x="912" y="2067"/>
                  </a:cubicBezTo>
                  <a:cubicBezTo>
                    <a:pt x="883" y="2065"/>
                    <a:pt x="883" y="2065"/>
                    <a:pt x="883" y="2065"/>
                  </a:cubicBezTo>
                  <a:cubicBezTo>
                    <a:pt x="875" y="2065"/>
                    <a:pt x="865" y="2038"/>
                    <a:pt x="865" y="2038"/>
                  </a:cubicBezTo>
                  <a:cubicBezTo>
                    <a:pt x="866" y="2023"/>
                    <a:pt x="866" y="2023"/>
                    <a:pt x="866" y="2023"/>
                  </a:cubicBezTo>
                  <a:cubicBezTo>
                    <a:pt x="863" y="2015"/>
                    <a:pt x="863" y="2015"/>
                    <a:pt x="863" y="2015"/>
                  </a:cubicBezTo>
                  <a:cubicBezTo>
                    <a:pt x="847" y="2018"/>
                    <a:pt x="847" y="2018"/>
                    <a:pt x="847" y="2018"/>
                  </a:cubicBezTo>
                  <a:cubicBezTo>
                    <a:pt x="816" y="1978"/>
                    <a:pt x="816" y="1978"/>
                    <a:pt x="816" y="1978"/>
                  </a:cubicBezTo>
                  <a:cubicBezTo>
                    <a:pt x="816" y="1978"/>
                    <a:pt x="820" y="1963"/>
                    <a:pt x="809" y="1959"/>
                  </a:cubicBezTo>
                  <a:cubicBezTo>
                    <a:pt x="794" y="1954"/>
                    <a:pt x="778" y="1988"/>
                    <a:pt x="778" y="1988"/>
                  </a:cubicBezTo>
                  <a:cubicBezTo>
                    <a:pt x="767" y="1968"/>
                    <a:pt x="767" y="1968"/>
                    <a:pt x="767" y="1968"/>
                  </a:cubicBezTo>
                  <a:cubicBezTo>
                    <a:pt x="767" y="1968"/>
                    <a:pt x="775" y="1961"/>
                    <a:pt x="768" y="1953"/>
                  </a:cubicBezTo>
                  <a:cubicBezTo>
                    <a:pt x="757" y="1945"/>
                    <a:pt x="716" y="1950"/>
                    <a:pt x="716" y="1950"/>
                  </a:cubicBezTo>
                  <a:cubicBezTo>
                    <a:pt x="739" y="1929"/>
                    <a:pt x="739" y="1929"/>
                    <a:pt x="739" y="1929"/>
                  </a:cubicBezTo>
                  <a:cubicBezTo>
                    <a:pt x="726" y="1901"/>
                    <a:pt x="726" y="1901"/>
                    <a:pt x="726" y="1901"/>
                  </a:cubicBezTo>
                  <a:cubicBezTo>
                    <a:pt x="711" y="1897"/>
                    <a:pt x="711" y="1897"/>
                    <a:pt x="711" y="1897"/>
                  </a:cubicBezTo>
                  <a:cubicBezTo>
                    <a:pt x="719" y="1870"/>
                    <a:pt x="719" y="1870"/>
                    <a:pt x="719" y="1870"/>
                  </a:cubicBezTo>
                  <a:cubicBezTo>
                    <a:pt x="714" y="1832"/>
                    <a:pt x="714" y="1832"/>
                    <a:pt x="714" y="1832"/>
                  </a:cubicBezTo>
                  <a:cubicBezTo>
                    <a:pt x="714" y="1832"/>
                    <a:pt x="722" y="1813"/>
                    <a:pt x="723" y="1802"/>
                  </a:cubicBezTo>
                  <a:cubicBezTo>
                    <a:pt x="723" y="1794"/>
                    <a:pt x="705" y="1785"/>
                    <a:pt x="705" y="1785"/>
                  </a:cubicBezTo>
                  <a:cubicBezTo>
                    <a:pt x="714" y="1748"/>
                    <a:pt x="714" y="1748"/>
                    <a:pt x="714" y="1748"/>
                  </a:cubicBezTo>
                  <a:cubicBezTo>
                    <a:pt x="707" y="1743"/>
                    <a:pt x="707" y="1743"/>
                    <a:pt x="707" y="1743"/>
                  </a:cubicBezTo>
                  <a:cubicBezTo>
                    <a:pt x="718" y="1736"/>
                    <a:pt x="718" y="1736"/>
                    <a:pt x="718" y="1736"/>
                  </a:cubicBezTo>
                  <a:cubicBezTo>
                    <a:pt x="705" y="1705"/>
                    <a:pt x="705" y="1705"/>
                    <a:pt x="705" y="1705"/>
                  </a:cubicBezTo>
                  <a:cubicBezTo>
                    <a:pt x="726" y="1718"/>
                    <a:pt x="726" y="1718"/>
                    <a:pt x="726" y="1718"/>
                  </a:cubicBezTo>
                  <a:cubicBezTo>
                    <a:pt x="738" y="1707"/>
                    <a:pt x="738" y="1707"/>
                    <a:pt x="738" y="1707"/>
                  </a:cubicBezTo>
                  <a:cubicBezTo>
                    <a:pt x="738" y="1707"/>
                    <a:pt x="735" y="1691"/>
                    <a:pt x="728" y="1683"/>
                  </a:cubicBezTo>
                  <a:cubicBezTo>
                    <a:pt x="717" y="1679"/>
                    <a:pt x="726" y="1653"/>
                    <a:pt x="726" y="1653"/>
                  </a:cubicBezTo>
                  <a:cubicBezTo>
                    <a:pt x="737" y="1642"/>
                    <a:pt x="737" y="1642"/>
                    <a:pt x="737" y="1642"/>
                  </a:cubicBezTo>
                  <a:cubicBezTo>
                    <a:pt x="743" y="1600"/>
                    <a:pt x="743" y="1600"/>
                    <a:pt x="743" y="1600"/>
                  </a:cubicBezTo>
                  <a:cubicBezTo>
                    <a:pt x="758" y="1597"/>
                    <a:pt x="758" y="1597"/>
                    <a:pt x="758" y="1597"/>
                  </a:cubicBezTo>
                  <a:cubicBezTo>
                    <a:pt x="759" y="1585"/>
                    <a:pt x="759" y="1585"/>
                    <a:pt x="759" y="1585"/>
                  </a:cubicBezTo>
                  <a:cubicBezTo>
                    <a:pt x="740" y="1584"/>
                    <a:pt x="740" y="1584"/>
                    <a:pt x="740" y="1584"/>
                  </a:cubicBezTo>
                  <a:cubicBezTo>
                    <a:pt x="737" y="1569"/>
                    <a:pt x="737" y="1569"/>
                    <a:pt x="737" y="1569"/>
                  </a:cubicBezTo>
                  <a:cubicBezTo>
                    <a:pt x="729" y="1572"/>
                    <a:pt x="729" y="1572"/>
                    <a:pt x="729" y="1572"/>
                  </a:cubicBezTo>
                  <a:cubicBezTo>
                    <a:pt x="727" y="1538"/>
                    <a:pt x="727" y="1538"/>
                    <a:pt x="727" y="1538"/>
                  </a:cubicBezTo>
                  <a:cubicBezTo>
                    <a:pt x="720" y="1530"/>
                    <a:pt x="720" y="1530"/>
                    <a:pt x="720" y="1530"/>
                  </a:cubicBezTo>
                  <a:cubicBezTo>
                    <a:pt x="739" y="1523"/>
                    <a:pt x="739" y="1523"/>
                    <a:pt x="739" y="1523"/>
                  </a:cubicBezTo>
                  <a:cubicBezTo>
                    <a:pt x="749" y="1543"/>
                    <a:pt x="749" y="1543"/>
                    <a:pt x="749" y="1543"/>
                  </a:cubicBezTo>
                  <a:cubicBezTo>
                    <a:pt x="765" y="1540"/>
                    <a:pt x="765" y="1540"/>
                    <a:pt x="765" y="1540"/>
                  </a:cubicBezTo>
                  <a:cubicBezTo>
                    <a:pt x="757" y="1532"/>
                    <a:pt x="757" y="1532"/>
                    <a:pt x="757" y="1532"/>
                  </a:cubicBezTo>
                  <a:cubicBezTo>
                    <a:pt x="765" y="1521"/>
                    <a:pt x="765" y="1521"/>
                    <a:pt x="765" y="1521"/>
                  </a:cubicBezTo>
                  <a:cubicBezTo>
                    <a:pt x="765" y="1521"/>
                    <a:pt x="784" y="1522"/>
                    <a:pt x="784" y="1514"/>
                  </a:cubicBezTo>
                  <a:cubicBezTo>
                    <a:pt x="786" y="1487"/>
                    <a:pt x="786" y="1487"/>
                    <a:pt x="786" y="1487"/>
                  </a:cubicBezTo>
                  <a:cubicBezTo>
                    <a:pt x="790" y="1476"/>
                    <a:pt x="790" y="1476"/>
                    <a:pt x="790" y="1476"/>
                  </a:cubicBezTo>
                  <a:cubicBezTo>
                    <a:pt x="790" y="1476"/>
                    <a:pt x="784" y="1453"/>
                    <a:pt x="791" y="1453"/>
                  </a:cubicBezTo>
                  <a:cubicBezTo>
                    <a:pt x="799" y="1450"/>
                    <a:pt x="802" y="1461"/>
                    <a:pt x="802" y="1461"/>
                  </a:cubicBezTo>
                  <a:cubicBezTo>
                    <a:pt x="817" y="1450"/>
                    <a:pt x="817" y="1450"/>
                    <a:pt x="817" y="1450"/>
                  </a:cubicBezTo>
                  <a:cubicBezTo>
                    <a:pt x="817" y="1450"/>
                    <a:pt x="811" y="1435"/>
                    <a:pt x="818" y="1431"/>
                  </a:cubicBezTo>
                  <a:cubicBezTo>
                    <a:pt x="822" y="1428"/>
                    <a:pt x="833" y="1443"/>
                    <a:pt x="833" y="1443"/>
                  </a:cubicBezTo>
                  <a:cubicBezTo>
                    <a:pt x="848" y="1425"/>
                    <a:pt x="848" y="1425"/>
                    <a:pt x="848" y="1425"/>
                  </a:cubicBezTo>
                  <a:cubicBezTo>
                    <a:pt x="834" y="1417"/>
                    <a:pt x="834" y="1417"/>
                    <a:pt x="834" y="1417"/>
                  </a:cubicBezTo>
                  <a:cubicBezTo>
                    <a:pt x="845" y="1413"/>
                    <a:pt x="845" y="1413"/>
                    <a:pt x="845" y="1413"/>
                  </a:cubicBezTo>
                  <a:cubicBezTo>
                    <a:pt x="845" y="1410"/>
                    <a:pt x="845" y="1410"/>
                    <a:pt x="845" y="1410"/>
                  </a:cubicBezTo>
                  <a:cubicBezTo>
                    <a:pt x="823" y="1409"/>
                    <a:pt x="823" y="1409"/>
                    <a:pt x="823" y="1409"/>
                  </a:cubicBezTo>
                  <a:cubicBezTo>
                    <a:pt x="838" y="1398"/>
                    <a:pt x="838" y="1398"/>
                    <a:pt x="838" y="1398"/>
                  </a:cubicBezTo>
                  <a:cubicBezTo>
                    <a:pt x="859" y="1357"/>
                    <a:pt x="859" y="1357"/>
                    <a:pt x="859" y="1357"/>
                  </a:cubicBezTo>
                  <a:cubicBezTo>
                    <a:pt x="870" y="1357"/>
                    <a:pt x="870" y="1357"/>
                    <a:pt x="870" y="1357"/>
                  </a:cubicBezTo>
                  <a:cubicBezTo>
                    <a:pt x="886" y="1347"/>
                    <a:pt x="886" y="1347"/>
                    <a:pt x="886" y="1347"/>
                  </a:cubicBezTo>
                  <a:cubicBezTo>
                    <a:pt x="867" y="1338"/>
                    <a:pt x="867" y="1338"/>
                    <a:pt x="867" y="1338"/>
                  </a:cubicBezTo>
                  <a:cubicBezTo>
                    <a:pt x="886" y="1335"/>
                    <a:pt x="886" y="1335"/>
                    <a:pt x="886" y="1335"/>
                  </a:cubicBezTo>
                  <a:cubicBezTo>
                    <a:pt x="900" y="1351"/>
                    <a:pt x="900" y="1351"/>
                    <a:pt x="900" y="1351"/>
                  </a:cubicBezTo>
                  <a:cubicBezTo>
                    <a:pt x="900" y="1351"/>
                    <a:pt x="905" y="1336"/>
                    <a:pt x="913" y="1325"/>
                  </a:cubicBezTo>
                  <a:cubicBezTo>
                    <a:pt x="921" y="1318"/>
                    <a:pt x="926" y="1291"/>
                    <a:pt x="926" y="1291"/>
                  </a:cubicBezTo>
                  <a:cubicBezTo>
                    <a:pt x="926" y="1291"/>
                    <a:pt x="933" y="1295"/>
                    <a:pt x="941" y="1288"/>
                  </a:cubicBezTo>
                  <a:cubicBezTo>
                    <a:pt x="948" y="1285"/>
                    <a:pt x="946" y="1265"/>
                    <a:pt x="946" y="1265"/>
                  </a:cubicBezTo>
                  <a:cubicBezTo>
                    <a:pt x="956" y="1281"/>
                    <a:pt x="956" y="1281"/>
                    <a:pt x="956" y="1281"/>
                  </a:cubicBezTo>
                  <a:cubicBezTo>
                    <a:pt x="966" y="1301"/>
                    <a:pt x="966" y="1301"/>
                    <a:pt x="966" y="1301"/>
                  </a:cubicBezTo>
                  <a:cubicBezTo>
                    <a:pt x="974" y="1293"/>
                    <a:pt x="974" y="1293"/>
                    <a:pt x="974" y="1293"/>
                  </a:cubicBezTo>
                  <a:cubicBezTo>
                    <a:pt x="971" y="1278"/>
                    <a:pt x="971" y="1278"/>
                    <a:pt x="971" y="1278"/>
                  </a:cubicBezTo>
                  <a:cubicBezTo>
                    <a:pt x="999" y="1249"/>
                    <a:pt x="999" y="1249"/>
                    <a:pt x="999" y="1249"/>
                  </a:cubicBezTo>
                  <a:cubicBezTo>
                    <a:pt x="995" y="1241"/>
                    <a:pt x="995" y="1241"/>
                    <a:pt x="995" y="1241"/>
                  </a:cubicBezTo>
                  <a:cubicBezTo>
                    <a:pt x="1003" y="1237"/>
                    <a:pt x="1003" y="1237"/>
                    <a:pt x="1003" y="1237"/>
                  </a:cubicBezTo>
                  <a:cubicBezTo>
                    <a:pt x="1006" y="1241"/>
                    <a:pt x="1006" y="1241"/>
                    <a:pt x="1006" y="1241"/>
                  </a:cubicBezTo>
                  <a:cubicBezTo>
                    <a:pt x="1029" y="1235"/>
                    <a:pt x="1029" y="1235"/>
                    <a:pt x="1029" y="1235"/>
                  </a:cubicBezTo>
                  <a:cubicBezTo>
                    <a:pt x="1030" y="1220"/>
                    <a:pt x="1030" y="1220"/>
                    <a:pt x="1030" y="1220"/>
                  </a:cubicBezTo>
                  <a:cubicBezTo>
                    <a:pt x="1037" y="1235"/>
                    <a:pt x="1037" y="1235"/>
                    <a:pt x="1037" y="1235"/>
                  </a:cubicBezTo>
                  <a:cubicBezTo>
                    <a:pt x="1042" y="1201"/>
                    <a:pt x="1042" y="1201"/>
                    <a:pt x="1042" y="1201"/>
                  </a:cubicBezTo>
                  <a:cubicBezTo>
                    <a:pt x="1053" y="1217"/>
                    <a:pt x="1053" y="1217"/>
                    <a:pt x="1053" y="1217"/>
                  </a:cubicBezTo>
                  <a:cubicBezTo>
                    <a:pt x="1072" y="1199"/>
                    <a:pt x="1072" y="1199"/>
                    <a:pt x="1072" y="1199"/>
                  </a:cubicBezTo>
                  <a:cubicBezTo>
                    <a:pt x="1072" y="1199"/>
                    <a:pt x="1085" y="1169"/>
                    <a:pt x="1089" y="1157"/>
                  </a:cubicBezTo>
                  <a:cubicBezTo>
                    <a:pt x="1093" y="1146"/>
                    <a:pt x="1087" y="1127"/>
                    <a:pt x="1087" y="1127"/>
                  </a:cubicBezTo>
                  <a:cubicBezTo>
                    <a:pt x="1106" y="1108"/>
                    <a:pt x="1106" y="1108"/>
                    <a:pt x="1106" y="1108"/>
                  </a:cubicBezTo>
                  <a:cubicBezTo>
                    <a:pt x="1111" y="1090"/>
                    <a:pt x="1111" y="1090"/>
                    <a:pt x="1111" y="1090"/>
                  </a:cubicBezTo>
                  <a:cubicBezTo>
                    <a:pt x="1146" y="1057"/>
                    <a:pt x="1146" y="1057"/>
                    <a:pt x="1146" y="1057"/>
                  </a:cubicBezTo>
                  <a:cubicBezTo>
                    <a:pt x="1151" y="1038"/>
                    <a:pt x="1151" y="1038"/>
                    <a:pt x="1151" y="1038"/>
                  </a:cubicBezTo>
                  <a:cubicBezTo>
                    <a:pt x="1135" y="1041"/>
                    <a:pt x="1135" y="1041"/>
                    <a:pt x="1135" y="1041"/>
                  </a:cubicBezTo>
                  <a:cubicBezTo>
                    <a:pt x="1128" y="1033"/>
                    <a:pt x="1128" y="1033"/>
                    <a:pt x="1128" y="1033"/>
                  </a:cubicBezTo>
                  <a:cubicBezTo>
                    <a:pt x="1143" y="1030"/>
                    <a:pt x="1143" y="1030"/>
                    <a:pt x="1143" y="1030"/>
                  </a:cubicBezTo>
                  <a:cubicBezTo>
                    <a:pt x="1147" y="1022"/>
                    <a:pt x="1147" y="1022"/>
                    <a:pt x="1147" y="1022"/>
                  </a:cubicBezTo>
                  <a:cubicBezTo>
                    <a:pt x="1114" y="1021"/>
                    <a:pt x="1114" y="1021"/>
                    <a:pt x="1114" y="1021"/>
                  </a:cubicBezTo>
                  <a:cubicBezTo>
                    <a:pt x="1100" y="997"/>
                    <a:pt x="1100" y="997"/>
                    <a:pt x="1100" y="997"/>
                  </a:cubicBezTo>
                  <a:cubicBezTo>
                    <a:pt x="1112" y="971"/>
                    <a:pt x="1112" y="971"/>
                    <a:pt x="1112" y="971"/>
                  </a:cubicBezTo>
                  <a:cubicBezTo>
                    <a:pt x="1094" y="970"/>
                    <a:pt x="1094" y="970"/>
                    <a:pt x="1094" y="970"/>
                  </a:cubicBezTo>
                  <a:cubicBezTo>
                    <a:pt x="1103" y="940"/>
                    <a:pt x="1103" y="940"/>
                    <a:pt x="1103" y="940"/>
                  </a:cubicBezTo>
                  <a:cubicBezTo>
                    <a:pt x="1114" y="937"/>
                    <a:pt x="1114" y="937"/>
                    <a:pt x="1114" y="937"/>
                  </a:cubicBezTo>
                  <a:cubicBezTo>
                    <a:pt x="1131" y="888"/>
                    <a:pt x="1131" y="888"/>
                    <a:pt x="1131" y="888"/>
                  </a:cubicBezTo>
                  <a:cubicBezTo>
                    <a:pt x="1131" y="888"/>
                    <a:pt x="1099" y="860"/>
                    <a:pt x="1107" y="845"/>
                  </a:cubicBezTo>
                  <a:cubicBezTo>
                    <a:pt x="1111" y="830"/>
                    <a:pt x="1137" y="835"/>
                    <a:pt x="1156" y="828"/>
                  </a:cubicBezTo>
                  <a:cubicBezTo>
                    <a:pt x="1179" y="821"/>
                    <a:pt x="1150" y="801"/>
                    <a:pt x="1150" y="801"/>
                  </a:cubicBezTo>
                  <a:cubicBezTo>
                    <a:pt x="1173" y="794"/>
                    <a:pt x="1173" y="794"/>
                    <a:pt x="1173" y="794"/>
                  </a:cubicBezTo>
                  <a:cubicBezTo>
                    <a:pt x="1173" y="783"/>
                    <a:pt x="1173" y="783"/>
                    <a:pt x="1173" y="783"/>
                  </a:cubicBezTo>
                  <a:cubicBezTo>
                    <a:pt x="1192" y="784"/>
                    <a:pt x="1192" y="784"/>
                    <a:pt x="1192" y="784"/>
                  </a:cubicBezTo>
                  <a:cubicBezTo>
                    <a:pt x="1184" y="714"/>
                    <a:pt x="1184" y="714"/>
                    <a:pt x="1184" y="714"/>
                  </a:cubicBezTo>
                  <a:cubicBezTo>
                    <a:pt x="1195" y="715"/>
                    <a:pt x="1195" y="715"/>
                    <a:pt x="1195" y="715"/>
                  </a:cubicBezTo>
                  <a:cubicBezTo>
                    <a:pt x="1206" y="731"/>
                    <a:pt x="1206" y="731"/>
                    <a:pt x="1206" y="731"/>
                  </a:cubicBezTo>
                  <a:cubicBezTo>
                    <a:pt x="1221" y="731"/>
                    <a:pt x="1221" y="731"/>
                    <a:pt x="1221" y="731"/>
                  </a:cubicBezTo>
                  <a:cubicBezTo>
                    <a:pt x="1214" y="704"/>
                    <a:pt x="1214" y="704"/>
                    <a:pt x="1214" y="704"/>
                  </a:cubicBezTo>
                  <a:cubicBezTo>
                    <a:pt x="1233" y="713"/>
                    <a:pt x="1233" y="713"/>
                    <a:pt x="1233" y="713"/>
                  </a:cubicBezTo>
                  <a:cubicBezTo>
                    <a:pt x="1232" y="724"/>
                    <a:pt x="1232" y="724"/>
                    <a:pt x="1232" y="724"/>
                  </a:cubicBezTo>
                  <a:cubicBezTo>
                    <a:pt x="1254" y="733"/>
                    <a:pt x="1254" y="733"/>
                    <a:pt x="1254" y="733"/>
                  </a:cubicBezTo>
                  <a:cubicBezTo>
                    <a:pt x="1257" y="748"/>
                    <a:pt x="1257" y="748"/>
                    <a:pt x="1257" y="748"/>
                  </a:cubicBezTo>
                  <a:cubicBezTo>
                    <a:pt x="1269" y="730"/>
                    <a:pt x="1269" y="730"/>
                    <a:pt x="1269" y="730"/>
                  </a:cubicBezTo>
                  <a:cubicBezTo>
                    <a:pt x="1266" y="718"/>
                    <a:pt x="1266" y="718"/>
                    <a:pt x="1266" y="718"/>
                  </a:cubicBezTo>
                  <a:cubicBezTo>
                    <a:pt x="1307" y="720"/>
                    <a:pt x="1307" y="720"/>
                    <a:pt x="1307" y="720"/>
                  </a:cubicBezTo>
                  <a:cubicBezTo>
                    <a:pt x="1319" y="709"/>
                    <a:pt x="1319" y="709"/>
                    <a:pt x="1319" y="709"/>
                  </a:cubicBezTo>
                  <a:cubicBezTo>
                    <a:pt x="1330" y="721"/>
                    <a:pt x="1330" y="721"/>
                    <a:pt x="1330" y="721"/>
                  </a:cubicBezTo>
                  <a:cubicBezTo>
                    <a:pt x="1341" y="722"/>
                    <a:pt x="1341" y="722"/>
                    <a:pt x="1341" y="722"/>
                  </a:cubicBezTo>
                  <a:cubicBezTo>
                    <a:pt x="1341" y="714"/>
                    <a:pt x="1341" y="714"/>
                    <a:pt x="1341" y="714"/>
                  </a:cubicBezTo>
                  <a:cubicBezTo>
                    <a:pt x="1360" y="719"/>
                    <a:pt x="1360" y="719"/>
                    <a:pt x="1360" y="719"/>
                  </a:cubicBezTo>
                  <a:cubicBezTo>
                    <a:pt x="1357" y="692"/>
                    <a:pt x="1357" y="692"/>
                    <a:pt x="1357" y="692"/>
                  </a:cubicBezTo>
                  <a:cubicBezTo>
                    <a:pt x="1357" y="692"/>
                    <a:pt x="1339" y="684"/>
                    <a:pt x="1336" y="66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8" name="Freeform 321">
              <a:extLst>
                <a:ext uri="{FF2B5EF4-FFF2-40B4-BE49-F238E27FC236}">
                  <a16:creationId xmlns:a16="http://schemas.microsoft.com/office/drawing/2014/main" id="{A43E6270-4454-1073-7E4A-12F2D3219AA0}"/>
                </a:ext>
              </a:extLst>
            </p:cNvPr>
            <p:cNvSpPr>
              <a:spLocks/>
            </p:cNvSpPr>
            <p:nvPr/>
          </p:nvSpPr>
          <p:spPr bwMode="gray">
            <a:xfrm>
              <a:off x="10119258" y="2379068"/>
              <a:ext cx="32364" cy="23374"/>
            </a:xfrm>
            <a:custGeom>
              <a:avLst/>
              <a:gdLst>
                <a:gd name="T0" fmla="*/ 7 w 18"/>
                <a:gd name="T1" fmla="*/ 9 h 13"/>
                <a:gd name="T2" fmla="*/ 16 w 18"/>
                <a:gd name="T3" fmla="*/ 11 h 13"/>
                <a:gd name="T4" fmla="*/ 18 w 18"/>
                <a:gd name="T5" fmla="*/ 4 h 13"/>
                <a:gd name="T6" fmla="*/ 14 w 18"/>
                <a:gd name="T7" fmla="*/ 0 h 13"/>
                <a:gd name="T8" fmla="*/ 11 w 18"/>
                <a:gd name="T9" fmla="*/ 4 h 13"/>
                <a:gd name="T10" fmla="*/ 10 w 18"/>
                <a:gd name="T11" fmla="*/ 4 h 13"/>
                <a:gd name="T12" fmla="*/ 0 w 18"/>
                <a:gd name="T13" fmla="*/ 12 h 13"/>
                <a:gd name="T14" fmla="*/ 7 w 18"/>
                <a:gd name="T15" fmla="*/ 13 h 13"/>
                <a:gd name="T16" fmla="*/ 7 w 18"/>
                <a:gd name="T1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3">
                  <a:moveTo>
                    <a:pt x="7" y="9"/>
                  </a:moveTo>
                  <a:lnTo>
                    <a:pt x="16" y="11"/>
                  </a:lnTo>
                  <a:lnTo>
                    <a:pt x="18" y="4"/>
                  </a:lnTo>
                  <a:lnTo>
                    <a:pt x="14" y="0"/>
                  </a:lnTo>
                  <a:lnTo>
                    <a:pt x="11" y="4"/>
                  </a:lnTo>
                  <a:lnTo>
                    <a:pt x="10" y="4"/>
                  </a:lnTo>
                  <a:lnTo>
                    <a:pt x="0" y="12"/>
                  </a:lnTo>
                  <a:lnTo>
                    <a:pt x="7" y="13"/>
                  </a:lnTo>
                  <a:lnTo>
                    <a:pt x="7"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9" name="Freeform 322">
              <a:extLst>
                <a:ext uri="{FF2B5EF4-FFF2-40B4-BE49-F238E27FC236}">
                  <a16:creationId xmlns:a16="http://schemas.microsoft.com/office/drawing/2014/main" id="{CD998D16-DE61-DD47-44DD-5EF45432AAA7}"/>
                </a:ext>
              </a:extLst>
            </p:cNvPr>
            <p:cNvSpPr>
              <a:spLocks/>
            </p:cNvSpPr>
            <p:nvPr/>
          </p:nvSpPr>
          <p:spPr bwMode="gray">
            <a:xfrm>
              <a:off x="10617297" y="2422219"/>
              <a:ext cx="73718" cy="145637"/>
            </a:xfrm>
            <a:custGeom>
              <a:avLst/>
              <a:gdLst>
                <a:gd name="T0" fmla="*/ 6 w 124"/>
                <a:gd name="T1" fmla="*/ 159 h 243"/>
                <a:gd name="T2" fmla="*/ 13 w 124"/>
                <a:gd name="T3" fmla="*/ 163 h 243"/>
                <a:gd name="T4" fmla="*/ 12 w 124"/>
                <a:gd name="T5" fmla="*/ 190 h 243"/>
                <a:gd name="T6" fmla="*/ 19 w 124"/>
                <a:gd name="T7" fmla="*/ 194 h 243"/>
                <a:gd name="T8" fmla="*/ 18 w 124"/>
                <a:gd name="T9" fmla="*/ 205 h 243"/>
                <a:gd name="T10" fmla="*/ 30 w 124"/>
                <a:gd name="T11" fmla="*/ 206 h 243"/>
                <a:gd name="T12" fmla="*/ 22 w 124"/>
                <a:gd name="T13" fmla="*/ 213 h 243"/>
                <a:gd name="T14" fmla="*/ 21 w 124"/>
                <a:gd name="T15" fmla="*/ 225 h 243"/>
                <a:gd name="T16" fmla="*/ 13 w 124"/>
                <a:gd name="T17" fmla="*/ 243 h 243"/>
                <a:gd name="T18" fmla="*/ 32 w 124"/>
                <a:gd name="T19" fmla="*/ 237 h 243"/>
                <a:gd name="T20" fmla="*/ 44 w 124"/>
                <a:gd name="T21" fmla="*/ 218 h 243"/>
                <a:gd name="T22" fmla="*/ 40 w 124"/>
                <a:gd name="T23" fmla="*/ 218 h 243"/>
                <a:gd name="T24" fmla="*/ 45 w 124"/>
                <a:gd name="T25" fmla="*/ 199 h 243"/>
                <a:gd name="T26" fmla="*/ 49 w 124"/>
                <a:gd name="T27" fmla="*/ 192 h 243"/>
                <a:gd name="T28" fmla="*/ 45 w 124"/>
                <a:gd name="T29" fmla="*/ 191 h 243"/>
                <a:gd name="T30" fmla="*/ 65 w 124"/>
                <a:gd name="T31" fmla="*/ 169 h 243"/>
                <a:gd name="T32" fmla="*/ 80 w 124"/>
                <a:gd name="T33" fmla="*/ 162 h 243"/>
                <a:gd name="T34" fmla="*/ 81 w 124"/>
                <a:gd name="T35" fmla="*/ 143 h 243"/>
                <a:gd name="T36" fmla="*/ 105 w 124"/>
                <a:gd name="T37" fmla="*/ 114 h 243"/>
                <a:gd name="T38" fmla="*/ 94 w 124"/>
                <a:gd name="T39" fmla="*/ 113 h 243"/>
                <a:gd name="T40" fmla="*/ 83 w 124"/>
                <a:gd name="T41" fmla="*/ 101 h 243"/>
                <a:gd name="T42" fmla="*/ 95 w 124"/>
                <a:gd name="T43" fmla="*/ 79 h 243"/>
                <a:gd name="T44" fmla="*/ 85 w 124"/>
                <a:gd name="T45" fmla="*/ 59 h 243"/>
                <a:gd name="T46" fmla="*/ 89 w 124"/>
                <a:gd name="T47" fmla="*/ 44 h 243"/>
                <a:gd name="T48" fmla="*/ 108 w 124"/>
                <a:gd name="T49" fmla="*/ 49 h 243"/>
                <a:gd name="T50" fmla="*/ 124 w 124"/>
                <a:gd name="T51" fmla="*/ 23 h 243"/>
                <a:gd name="T52" fmla="*/ 114 w 124"/>
                <a:gd name="T53" fmla="*/ 0 h 243"/>
                <a:gd name="T54" fmla="*/ 91 w 124"/>
                <a:gd name="T55" fmla="*/ 2 h 243"/>
                <a:gd name="T56" fmla="*/ 83 w 124"/>
                <a:gd name="T57" fmla="*/ 21 h 243"/>
                <a:gd name="T58" fmla="*/ 84 w 124"/>
                <a:gd name="T59" fmla="*/ 2 h 243"/>
                <a:gd name="T60" fmla="*/ 73 w 124"/>
                <a:gd name="T61" fmla="*/ 5 h 243"/>
                <a:gd name="T62" fmla="*/ 61 w 124"/>
                <a:gd name="T63" fmla="*/ 20 h 243"/>
                <a:gd name="T64" fmla="*/ 45 w 124"/>
                <a:gd name="T65" fmla="*/ 27 h 243"/>
                <a:gd name="T66" fmla="*/ 21 w 124"/>
                <a:gd name="T67" fmla="*/ 72 h 243"/>
                <a:gd name="T68" fmla="*/ 5 w 124"/>
                <a:gd name="T69" fmla="*/ 98 h 243"/>
                <a:gd name="T70" fmla="*/ 18 w 124"/>
                <a:gd name="T71" fmla="*/ 137 h 243"/>
                <a:gd name="T72" fmla="*/ 6 w 124"/>
                <a:gd name="T73" fmla="*/ 15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4" h="243">
                  <a:moveTo>
                    <a:pt x="6" y="159"/>
                  </a:moveTo>
                  <a:cubicBezTo>
                    <a:pt x="13" y="163"/>
                    <a:pt x="13" y="163"/>
                    <a:pt x="13" y="163"/>
                  </a:cubicBezTo>
                  <a:cubicBezTo>
                    <a:pt x="12" y="190"/>
                    <a:pt x="12" y="190"/>
                    <a:pt x="12" y="190"/>
                  </a:cubicBezTo>
                  <a:cubicBezTo>
                    <a:pt x="19" y="194"/>
                    <a:pt x="19" y="194"/>
                    <a:pt x="19" y="194"/>
                  </a:cubicBezTo>
                  <a:cubicBezTo>
                    <a:pt x="18" y="205"/>
                    <a:pt x="18" y="205"/>
                    <a:pt x="18" y="205"/>
                  </a:cubicBezTo>
                  <a:cubicBezTo>
                    <a:pt x="18" y="205"/>
                    <a:pt x="30" y="202"/>
                    <a:pt x="30" y="206"/>
                  </a:cubicBezTo>
                  <a:cubicBezTo>
                    <a:pt x="30" y="210"/>
                    <a:pt x="22" y="213"/>
                    <a:pt x="22" y="213"/>
                  </a:cubicBezTo>
                  <a:cubicBezTo>
                    <a:pt x="21" y="225"/>
                    <a:pt x="21" y="225"/>
                    <a:pt x="21" y="225"/>
                  </a:cubicBezTo>
                  <a:cubicBezTo>
                    <a:pt x="21" y="228"/>
                    <a:pt x="13" y="243"/>
                    <a:pt x="13" y="243"/>
                  </a:cubicBezTo>
                  <a:cubicBezTo>
                    <a:pt x="32" y="237"/>
                    <a:pt x="32" y="237"/>
                    <a:pt x="32" y="237"/>
                  </a:cubicBezTo>
                  <a:cubicBezTo>
                    <a:pt x="44" y="218"/>
                    <a:pt x="44" y="218"/>
                    <a:pt x="44" y="218"/>
                  </a:cubicBezTo>
                  <a:cubicBezTo>
                    <a:pt x="40" y="218"/>
                    <a:pt x="40" y="218"/>
                    <a:pt x="40" y="218"/>
                  </a:cubicBezTo>
                  <a:cubicBezTo>
                    <a:pt x="45" y="199"/>
                    <a:pt x="45" y="199"/>
                    <a:pt x="45" y="199"/>
                  </a:cubicBezTo>
                  <a:cubicBezTo>
                    <a:pt x="49" y="192"/>
                    <a:pt x="49" y="192"/>
                    <a:pt x="49" y="192"/>
                  </a:cubicBezTo>
                  <a:cubicBezTo>
                    <a:pt x="45" y="191"/>
                    <a:pt x="45" y="191"/>
                    <a:pt x="45" y="191"/>
                  </a:cubicBezTo>
                  <a:cubicBezTo>
                    <a:pt x="65" y="169"/>
                    <a:pt x="65" y="169"/>
                    <a:pt x="65" y="169"/>
                  </a:cubicBezTo>
                  <a:cubicBezTo>
                    <a:pt x="80" y="162"/>
                    <a:pt x="80" y="162"/>
                    <a:pt x="80" y="162"/>
                  </a:cubicBezTo>
                  <a:cubicBezTo>
                    <a:pt x="81" y="143"/>
                    <a:pt x="81" y="143"/>
                    <a:pt x="81" y="143"/>
                  </a:cubicBezTo>
                  <a:cubicBezTo>
                    <a:pt x="105" y="114"/>
                    <a:pt x="105" y="114"/>
                    <a:pt x="105" y="114"/>
                  </a:cubicBezTo>
                  <a:cubicBezTo>
                    <a:pt x="94" y="113"/>
                    <a:pt x="94" y="113"/>
                    <a:pt x="94" y="113"/>
                  </a:cubicBezTo>
                  <a:cubicBezTo>
                    <a:pt x="83" y="101"/>
                    <a:pt x="83" y="101"/>
                    <a:pt x="83" y="101"/>
                  </a:cubicBezTo>
                  <a:cubicBezTo>
                    <a:pt x="83" y="101"/>
                    <a:pt x="91" y="90"/>
                    <a:pt x="95" y="79"/>
                  </a:cubicBezTo>
                  <a:cubicBezTo>
                    <a:pt x="96" y="71"/>
                    <a:pt x="85" y="59"/>
                    <a:pt x="85" y="59"/>
                  </a:cubicBezTo>
                  <a:cubicBezTo>
                    <a:pt x="89" y="44"/>
                    <a:pt x="89" y="44"/>
                    <a:pt x="89" y="44"/>
                  </a:cubicBezTo>
                  <a:cubicBezTo>
                    <a:pt x="108" y="49"/>
                    <a:pt x="108" y="49"/>
                    <a:pt x="108" y="49"/>
                  </a:cubicBezTo>
                  <a:cubicBezTo>
                    <a:pt x="124" y="23"/>
                    <a:pt x="124" y="23"/>
                    <a:pt x="124" y="23"/>
                  </a:cubicBezTo>
                  <a:cubicBezTo>
                    <a:pt x="114" y="0"/>
                    <a:pt x="114" y="0"/>
                    <a:pt x="114" y="0"/>
                  </a:cubicBezTo>
                  <a:cubicBezTo>
                    <a:pt x="91" y="2"/>
                    <a:pt x="91" y="2"/>
                    <a:pt x="91" y="2"/>
                  </a:cubicBezTo>
                  <a:cubicBezTo>
                    <a:pt x="83" y="21"/>
                    <a:pt x="83" y="21"/>
                    <a:pt x="83" y="21"/>
                  </a:cubicBezTo>
                  <a:cubicBezTo>
                    <a:pt x="84" y="2"/>
                    <a:pt x="84" y="2"/>
                    <a:pt x="84" y="2"/>
                  </a:cubicBezTo>
                  <a:cubicBezTo>
                    <a:pt x="84" y="2"/>
                    <a:pt x="77" y="2"/>
                    <a:pt x="73" y="5"/>
                  </a:cubicBezTo>
                  <a:cubicBezTo>
                    <a:pt x="65" y="9"/>
                    <a:pt x="61" y="20"/>
                    <a:pt x="61" y="20"/>
                  </a:cubicBezTo>
                  <a:cubicBezTo>
                    <a:pt x="61" y="20"/>
                    <a:pt x="57" y="16"/>
                    <a:pt x="45" y="27"/>
                  </a:cubicBezTo>
                  <a:cubicBezTo>
                    <a:pt x="37" y="38"/>
                    <a:pt x="21" y="72"/>
                    <a:pt x="21" y="72"/>
                  </a:cubicBezTo>
                  <a:cubicBezTo>
                    <a:pt x="21" y="72"/>
                    <a:pt x="6" y="79"/>
                    <a:pt x="5" y="98"/>
                  </a:cubicBezTo>
                  <a:cubicBezTo>
                    <a:pt x="0" y="120"/>
                    <a:pt x="19" y="121"/>
                    <a:pt x="18" y="137"/>
                  </a:cubicBezTo>
                  <a:cubicBezTo>
                    <a:pt x="13" y="155"/>
                    <a:pt x="6" y="159"/>
                    <a:pt x="6" y="15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0" name="Freeform 323">
              <a:extLst>
                <a:ext uri="{FF2B5EF4-FFF2-40B4-BE49-F238E27FC236}">
                  <a16:creationId xmlns:a16="http://schemas.microsoft.com/office/drawing/2014/main" id="{84C5E69E-0584-AE86-4157-3B7D747C19EF}"/>
                </a:ext>
              </a:extLst>
            </p:cNvPr>
            <p:cNvSpPr>
              <a:spLocks/>
            </p:cNvSpPr>
            <p:nvPr/>
          </p:nvSpPr>
          <p:spPr bwMode="gray">
            <a:xfrm>
              <a:off x="10489641" y="2506724"/>
              <a:ext cx="55738" cy="160020"/>
            </a:xfrm>
            <a:custGeom>
              <a:avLst/>
              <a:gdLst>
                <a:gd name="T0" fmla="*/ 5 w 95"/>
                <a:gd name="T1" fmla="*/ 268 h 268"/>
                <a:gd name="T2" fmla="*/ 25 w 95"/>
                <a:gd name="T3" fmla="*/ 246 h 268"/>
                <a:gd name="T4" fmla="*/ 26 w 95"/>
                <a:gd name="T5" fmla="*/ 219 h 268"/>
                <a:gd name="T6" fmla="*/ 39 w 95"/>
                <a:gd name="T7" fmla="*/ 193 h 268"/>
                <a:gd name="T8" fmla="*/ 40 w 95"/>
                <a:gd name="T9" fmla="*/ 166 h 268"/>
                <a:gd name="T10" fmla="*/ 53 w 95"/>
                <a:gd name="T11" fmla="*/ 125 h 268"/>
                <a:gd name="T12" fmla="*/ 60 w 95"/>
                <a:gd name="T13" fmla="*/ 125 h 268"/>
                <a:gd name="T14" fmla="*/ 69 w 95"/>
                <a:gd name="T15" fmla="*/ 99 h 268"/>
                <a:gd name="T16" fmla="*/ 66 w 95"/>
                <a:gd name="T17" fmla="*/ 87 h 268"/>
                <a:gd name="T18" fmla="*/ 74 w 95"/>
                <a:gd name="T19" fmla="*/ 80 h 268"/>
                <a:gd name="T20" fmla="*/ 70 w 95"/>
                <a:gd name="T21" fmla="*/ 76 h 268"/>
                <a:gd name="T22" fmla="*/ 78 w 95"/>
                <a:gd name="T23" fmla="*/ 69 h 268"/>
                <a:gd name="T24" fmla="*/ 75 w 95"/>
                <a:gd name="T25" fmla="*/ 61 h 268"/>
                <a:gd name="T26" fmla="*/ 87 w 95"/>
                <a:gd name="T27" fmla="*/ 42 h 268"/>
                <a:gd name="T28" fmla="*/ 84 w 95"/>
                <a:gd name="T29" fmla="*/ 19 h 268"/>
                <a:gd name="T30" fmla="*/ 95 w 95"/>
                <a:gd name="T31" fmla="*/ 12 h 268"/>
                <a:gd name="T32" fmla="*/ 85 w 95"/>
                <a:gd name="T33" fmla="*/ 0 h 268"/>
                <a:gd name="T34" fmla="*/ 69 w 95"/>
                <a:gd name="T35" fmla="*/ 15 h 268"/>
                <a:gd name="T36" fmla="*/ 72 w 95"/>
                <a:gd name="T37" fmla="*/ 38 h 268"/>
                <a:gd name="T38" fmla="*/ 68 w 95"/>
                <a:gd name="T39" fmla="*/ 37 h 268"/>
                <a:gd name="T40" fmla="*/ 68 w 95"/>
                <a:gd name="T41" fmla="*/ 45 h 268"/>
                <a:gd name="T42" fmla="*/ 59 w 95"/>
                <a:gd name="T43" fmla="*/ 79 h 268"/>
                <a:gd name="T44" fmla="*/ 51 w 95"/>
                <a:gd name="T45" fmla="*/ 83 h 268"/>
                <a:gd name="T46" fmla="*/ 42 w 95"/>
                <a:gd name="T47" fmla="*/ 113 h 268"/>
                <a:gd name="T48" fmla="*/ 35 w 95"/>
                <a:gd name="T49" fmla="*/ 112 h 268"/>
                <a:gd name="T50" fmla="*/ 18 w 95"/>
                <a:gd name="T51" fmla="*/ 142 h 268"/>
                <a:gd name="T52" fmla="*/ 13 w 95"/>
                <a:gd name="T53" fmla="*/ 169 h 268"/>
                <a:gd name="T54" fmla="*/ 1 w 95"/>
                <a:gd name="T55" fmla="*/ 195 h 268"/>
                <a:gd name="T56" fmla="*/ 0 w 95"/>
                <a:gd name="T57" fmla="*/ 214 h 268"/>
                <a:gd name="T58" fmla="*/ 11 w 95"/>
                <a:gd name="T59" fmla="*/ 222 h 268"/>
                <a:gd name="T60" fmla="*/ 5 w 95"/>
                <a:gd name="T6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 h="268">
                  <a:moveTo>
                    <a:pt x="5" y="268"/>
                  </a:moveTo>
                  <a:cubicBezTo>
                    <a:pt x="5" y="268"/>
                    <a:pt x="21" y="257"/>
                    <a:pt x="25" y="246"/>
                  </a:cubicBezTo>
                  <a:cubicBezTo>
                    <a:pt x="29" y="231"/>
                    <a:pt x="26" y="227"/>
                    <a:pt x="26" y="219"/>
                  </a:cubicBezTo>
                  <a:cubicBezTo>
                    <a:pt x="26" y="211"/>
                    <a:pt x="34" y="200"/>
                    <a:pt x="39" y="193"/>
                  </a:cubicBezTo>
                  <a:cubicBezTo>
                    <a:pt x="43" y="185"/>
                    <a:pt x="40" y="166"/>
                    <a:pt x="40" y="166"/>
                  </a:cubicBezTo>
                  <a:cubicBezTo>
                    <a:pt x="53" y="125"/>
                    <a:pt x="53" y="125"/>
                    <a:pt x="53" y="125"/>
                  </a:cubicBezTo>
                  <a:cubicBezTo>
                    <a:pt x="60" y="125"/>
                    <a:pt x="60" y="125"/>
                    <a:pt x="60" y="125"/>
                  </a:cubicBezTo>
                  <a:cubicBezTo>
                    <a:pt x="69" y="99"/>
                    <a:pt x="69" y="99"/>
                    <a:pt x="69" y="99"/>
                  </a:cubicBezTo>
                  <a:cubicBezTo>
                    <a:pt x="66" y="87"/>
                    <a:pt x="66" y="87"/>
                    <a:pt x="66" y="87"/>
                  </a:cubicBezTo>
                  <a:cubicBezTo>
                    <a:pt x="74" y="80"/>
                    <a:pt x="74" y="80"/>
                    <a:pt x="74" y="80"/>
                  </a:cubicBezTo>
                  <a:cubicBezTo>
                    <a:pt x="70" y="76"/>
                    <a:pt x="70" y="76"/>
                    <a:pt x="70" y="76"/>
                  </a:cubicBezTo>
                  <a:cubicBezTo>
                    <a:pt x="78" y="69"/>
                    <a:pt x="78" y="69"/>
                    <a:pt x="78" y="69"/>
                  </a:cubicBezTo>
                  <a:cubicBezTo>
                    <a:pt x="75" y="61"/>
                    <a:pt x="75" y="61"/>
                    <a:pt x="75" y="61"/>
                  </a:cubicBezTo>
                  <a:cubicBezTo>
                    <a:pt x="87" y="42"/>
                    <a:pt x="87" y="42"/>
                    <a:pt x="87" y="42"/>
                  </a:cubicBezTo>
                  <a:cubicBezTo>
                    <a:pt x="84" y="19"/>
                    <a:pt x="84" y="19"/>
                    <a:pt x="84" y="19"/>
                  </a:cubicBezTo>
                  <a:cubicBezTo>
                    <a:pt x="95" y="12"/>
                    <a:pt x="95" y="12"/>
                    <a:pt x="95" y="12"/>
                  </a:cubicBezTo>
                  <a:cubicBezTo>
                    <a:pt x="85" y="0"/>
                    <a:pt x="85" y="0"/>
                    <a:pt x="85" y="0"/>
                  </a:cubicBezTo>
                  <a:cubicBezTo>
                    <a:pt x="69" y="15"/>
                    <a:pt x="69" y="15"/>
                    <a:pt x="69" y="15"/>
                  </a:cubicBezTo>
                  <a:cubicBezTo>
                    <a:pt x="72" y="38"/>
                    <a:pt x="72" y="38"/>
                    <a:pt x="72" y="38"/>
                  </a:cubicBezTo>
                  <a:cubicBezTo>
                    <a:pt x="68" y="37"/>
                    <a:pt x="68" y="37"/>
                    <a:pt x="68" y="37"/>
                  </a:cubicBezTo>
                  <a:cubicBezTo>
                    <a:pt x="68" y="45"/>
                    <a:pt x="68" y="45"/>
                    <a:pt x="68" y="45"/>
                  </a:cubicBezTo>
                  <a:cubicBezTo>
                    <a:pt x="59" y="79"/>
                    <a:pt x="59" y="79"/>
                    <a:pt x="59" y="79"/>
                  </a:cubicBezTo>
                  <a:cubicBezTo>
                    <a:pt x="51" y="83"/>
                    <a:pt x="51" y="83"/>
                    <a:pt x="51" y="83"/>
                  </a:cubicBezTo>
                  <a:cubicBezTo>
                    <a:pt x="42" y="113"/>
                    <a:pt x="42" y="113"/>
                    <a:pt x="42" y="113"/>
                  </a:cubicBezTo>
                  <a:cubicBezTo>
                    <a:pt x="35" y="112"/>
                    <a:pt x="35" y="112"/>
                    <a:pt x="35" y="112"/>
                  </a:cubicBezTo>
                  <a:cubicBezTo>
                    <a:pt x="35" y="112"/>
                    <a:pt x="23" y="127"/>
                    <a:pt x="18" y="142"/>
                  </a:cubicBezTo>
                  <a:cubicBezTo>
                    <a:pt x="14" y="153"/>
                    <a:pt x="17" y="165"/>
                    <a:pt x="13" y="169"/>
                  </a:cubicBezTo>
                  <a:cubicBezTo>
                    <a:pt x="13" y="176"/>
                    <a:pt x="2" y="180"/>
                    <a:pt x="1" y="195"/>
                  </a:cubicBezTo>
                  <a:cubicBezTo>
                    <a:pt x="0" y="214"/>
                    <a:pt x="0" y="214"/>
                    <a:pt x="0" y="214"/>
                  </a:cubicBezTo>
                  <a:cubicBezTo>
                    <a:pt x="11" y="222"/>
                    <a:pt x="11" y="222"/>
                    <a:pt x="11" y="222"/>
                  </a:cubicBezTo>
                  <a:lnTo>
                    <a:pt x="5" y="26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1" name="Freeform 324">
              <a:extLst>
                <a:ext uri="{FF2B5EF4-FFF2-40B4-BE49-F238E27FC236}">
                  <a16:creationId xmlns:a16="http://schemas.microsoft.com/office/drawing/2014/main" id="{9A8C6157-EAF7-6E6A-5C25-5DB090CD1512}"/>
                </a:ext>
              </a:extLst>
            </p:cNvPr>
            <p:cNvSpPr>
              <a:spLocks/>
            </p:cNvSpPr>
            <p:nvPr/>
          </p:nvSpPr>
          <p:spPr bwMode="gray">
            <a:xfrm>
              <a:off x="10509419" y="2452784"/>
              <a:ext cx="5395" cy="8991"/>
            </a:xfrm>
            <a:custGeom>
              <a:avLst/>
              <a:gdLst>
                <a:gd name="T0" fmla="*/ 0 w 3"/>
                <a:gd name="T1" fmla="*/ 0 h 5"/>
                <a:gd name="T2" fmla="*/ 0 w 3"/>
                <a:gd name="T3" fmla="*/ 5 h 5"/>
                <a:gd name="T4" fmla="*/ 3 w 3"/>
                <a:gd name="T5" fmla="*/ 4 h 5"/>
                <a:gd name="T6" fmla="*/ 0 w 3"/>
                <a:gd name="T7" fmla="*/ 0 h 5"/>
              </a:gdLst>
              <a:ahLst/>
              <a:cxnLst>
                <a:cxn ang="0">
                  <a:pos x="T0" y="T1"/>
                </a:cxn>
                <a:cxn ang="0">
                  <a:pos x="T2" y="T3"/>
                </a:cxn>
                <a:cxn ang="0">
                  <a:pos x="T4" y="T5"/>
                </a:cxn>
                <a:cxn ang="0">
                  <a:pos x="T6" y="T7"/>
                </a:cxn>
              </a:cxnLst>
              <a:rect l="0" t="0" r="r" b="b"/>
              <a:pathLst>
                <a:path w="3" h="5">
                  <a:moveTo>
                    <a:pt x="0" y="0"/>
                  </a:moveTo>
                  <a:lnTo>
                    <a:pt x="0" y="5"/>
                  </a:lnTo>
                  <a:lnTo>
                    <a:pt x="3" y="4"/>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2" name="Freeform 325">
              <a:extLst>
                <a:ext uri="{FF2B5EF4-FFF2-40B4-BE49-F238E27FC236}">
                  <a16:creationId xmlns:a16="http://schemas.microsoft.com/office/drawing/2014/main" id="{D68E9240-CE66-2580-A8B9-8D88748D16FB}"/>
                </a:ext>
              </a:extLst>
            </p:cNvPr>
            <p:cNvSpPr>
              <a:spLocks/>
            </p:cNvSpPr>
            <p:nvPr/>
          </p:nvSpPr>
          <p:spPr bwMode="gray">
            <a:xfrm>
              <a:off x="10606509" y="2272987"/>
              <a:ext cx="10788" cy="8991"/>
            </a:xfrm>
            <a:custGeom>
              <a:avLst/>
              <a:gdLst>
                <a:gd name="T0" fmla="*/ 6 w 6"/>
                <a:gd name="T1" fmla="*/ 0 h 5"/>
                <a:gd name="T2" fmla="*/ 5 w 6"/>
                <a:gd name="T3" fmla="*/ 0 h 5"/>
                <a:gd name="T4" fmla="*/ 0 w 6"/>
                <a:gd name="T5" fmla="*/ 4 h 5"/>
                <a:gd name="T6" fmla="*/ 4 w 6"/>
                <a:gd name="T7" fmla="*/ 5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lnTo>
                    <a:pt x="5" y="0"/>
                  </a:lnTo>
                  <a:lnTo>
                    <a:pt x="0" y="4"/>
                  </a:lnTo>
                  <a:lnTo>
                    <a:pt x="4" y="5"/>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3" name="Freeform 326">
              <a:extLst>
                <a:ext uri="{FF2B5EF4-FFF2-40B4-BE49-F238E27FC236}">
                  <a16:creationId xmlns:a16="http://schemas.microsoft.com/office/drawing/2014/main" id="{B61EA2AC-5ED5-3F45-6F83-4CA7C83854A3}"/>
                </a:ext>
              </a:extLst>
            </p:cNvPr>
            <p:cNvSpPr>
              <a:spLocks/>
            </p:cNvSpPr>
            <p:nvPr/>
          </p:nvSpPr>
          <p:spPr bwMode="gray">
            <a:xfrm>
              <a:off x="10692812" y="2352097"/>
              <a:ext cx="12586" cy="14383"/>
            </a:xfrm>
            <a:custGeom>
              <a:avLst/>
              <a:gdLst>
                <a:gd name="T0" fmla="*/ 2 w 7"/>
                <a:gd name="T1" fmla="*/ 8 h 8"/>
                <a:gd name="T2" fmla="*/ 7 w 7"/>
                <a:gd name="T3" fmla="*/ 4 h 8"/>
                <a:gd name="T4" fmla="*/ 0 w 7"/>
                <a:gd name="T5" fmla="*/ 0 h 8"/>
                <a:gd name="T6" fmla="*/ 1 w 7"/>
                <a:gd name="T7" fmla="*/ 5 h 8"/>
                <a:gd name="T8" fmla="*/ 2 w 7"/>
                <a:gd name="T9" fmla="*/ 8 h 8"/>
              </a:gdLst>
              <a:ahLst/>
              <a:cxnLst>
                <a:cxn ang="0">
                  <a:pos x="T0" y="T1"/>
                </a:cxn>
                <a:cxn ang="0">
                  <a:pos x="T2" y="T3"/>
                </a:cxn>
                <a:cxn ang="0">
                  <a:pos x="T4" y="T5"/>
                </a:cxn>
                <a:cxn ang="0">
                  <a:pos x="T6" y="T7"/>
                </a:cxn>
                <a:cxn ang="0">
                  <a:pos x="T8" y="T9"/>
                </a:cxn>
              </a:cxnLst>
              <a:rect l="0" t="0" r="r" b="b"/>
              <a:pathLst>
                <a:path w="7" h="8">
                  <a:moveTo>
                    <a:pt x="2" y="8"/>
                  </a:moveTo>
                  <a:lnTo>
                    <a:pt x="7" y="4"/>
                  </a:lnTo>
                  <a:lnTo>
                    <a:pt x="0" y="0"/>
                  </a:lnTo>
                  <a:lnTo>
                    <a:pt x="1" y="5"/>
                  </a:lnTo>
                  <a:lnTo>
                    <a:pt x="2"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4" name="Freeform 327">
              <a:extLst>
                <a:ext uri="{FF2B5EF4-FFF2-40B4-BE49-F238E27FC236}">
                  <a16:creationId xmlns:a16="http://schemas.microsoft.com/office/drawing/2014/main" id="{78E341A2-80C5-3933-C19E-E0D819E556CF}"/>
                </a:ext>
              </a:extLst>
            </p:cNvPr>
            <p:cNvSpPr>
              <a:spLocks/>
            </p:cNvSpPr>
            <p:nvPr/>
          </p:nvSpPr>
          <p:spPr bwMode="gray">
            <a:xfrm>
              <a:off x="10520206" y="2362885"/>
              <a:ext cx="8991" cy="12586"/>
            </a:xfrm>
            <a:custGeom>
              <a:avLst/>
              <a:gdLst>
                <a:gd name="T0" fmla="*/ 2 w 5"/>
                <a:gd name="T1" fmla="*/ 4 h 7"/>
                <a:gd name="T2" fmla="*/ 1 w 5"/>
                <a:gd name="T3" fmla="*/ 0 h 7"/>
                <a:gd name="T4" fmla="*/ 0 w 5"/>
                <a:gd name="T5" fmla="*/ 0 h 7"/>
                <a:gd name="T6" fmla="*/ 0 w 5"/>
                <a:gd name="T7" fmla="*/ 7 h 7"/>
                <a:gd name="T8" fmla="*/ 5 w 5"/>
                <a:gd name="T9" fmla="*/ 6 h 7"/>
                <a:gd name="T10" fmla="*/ 2 w 5"/>
                <a:gd name="T11" fmla="*/ 4 h 7"/>
              </a:gdLst>
              <a:ahLst/>
              <a:cxnLst>
                <a:cxn ang="0">
                  <a:pos x="T0" y="T1"/>
                </a:cxn>
                <a:cxn ang="0">
                  <a:pos x="T2" y="T3"/>
                </a:cxn>
                <a:cxn ang="0">
                  <a:pos x="T4" y="T5"/>
                </a:cxn>
                <a:cxn ang="0">
                  <a:pos x="T6" y="T7"/>
                </a:cxn>
                <a:cxn ang="0">
                  <a:pos x="T8" y="T9"/>
                </a:cxn>
                <a:cxn ang="0">
                  <a:pos x="T10" y="T11"/>
                </a:cxn>
              </a:cxnLst>
              <a:rect l="0" t="0" r="r" b="b"/>
              <a:pathLst>
                <a:path w="5" h="7">
                  <a:moveTo>
                    <a:pt x="2" y="4"/>
                  </a:moveTo>
                  <a:lnTo>
                    <a:pt x="1" y="0"/>
                  </a:lnTo>
                  <a:lnTo>
                    <a:pt x="0" y="0"/>
                  </a:lnTo>
                  <a:lnTo>
                    <a:pt x="0" y="7"/>
                  </a:lnTo>
                  <a:lnTo>
                    <a:pt x="5" y="6"/>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5" name="Rectangle 328">
              <a:extLst>
                <a:ext uri="{FF2B5EF4-FFF2-40B4-BE49-F238E27FC236}">
                  <a16:creationId xmlns:a16="http://schemas.microsoft.com/office/drawing/2014/main" id="{B7F82592-827A-E08B-94A2-D1DE142B958C}"/>
                </a:ext>
              </a:extLst>
            </p:cNvPr>
            <p:cNvSpPr>
              <a:spLocks noChangeArrowheads="1"/>
            </p:cNvSpPr>
            <p:nvPr/>
          </p:nvSpPr>
          <p:spPr bwMode="gray">
            <a:xfrm>
              <a:off x="10892388" y="1327250"/>
              <a:ext cx="5395" cy="3596"/>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6" name="Freeform 329">
              <a:extLst>
                <a:ext uri="{FF2B5EF4-FFF2-40B4-BE49-F238E27FC236}">
                  <a16:creationId xmlns:a16="http://schemas.microsoft.com/office/drawing/2014/main" id="{0E208F7D-D7BE-B098-A01E-4F9DCAF7F371}"/>
                </a:ext>
              </a:extLst>
            </p:cNvPr>
            <p:cNvSpPr>
              <a:spLocks/>
            </p:cNvSpPr>
            <p:nvPr/>
          </p:nvSpPr>
          <p:spPr bwMode="gray">
            <a:xfrm>
              <a:off x="10545378" y="1907998"/>
              <a:ext cx="10788" cy="10788"/>
            </a:xfrm>
            <a:custGeom>
              <a:avLst/>
              <a:gdLst>
                <a:gd name="T0" fmla="*/ 0 w 6"/>
                <a:gd name="T1" fmla="*/ 2 h 6"/>
                <a:gd name="T2" fmla="*/ 5 w 6"/>
                <a:gd name="T3" fmla="*/ 6 h 6"/>
                <a:gd name="T4" fmla="*/ 6 w 6"/>
                <a:gd name="T5" fmla="*/ 3 h 6"/>
                <a:gd name="T6" fmla="*/ 2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5" y="6"/>
                  </a:lnTo>
                  <a:lnTo>
                    <a:pt x="6" y="3"/>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7" name="Freeform 330">
              <a:extLst>
                <a:ext uri="{FF2B5EF4-FFF2-40B4-BE49-F238E27FC236}">
                  <a16:creationId xmlns:a16="http://schemas.microsoft.com/office/drawing/2014/main" id="{70BE3A79-C327-93C9-1108-A266DDD3306A}"/>
                </a:ext>
              </a:extLst>
            </p:cNvPr>
            <p:cNvSpPr>
              <a:spLocks/>
            </p:cNvSpPr>
            <p:nvPr/>
          </p:nvSpPr>
          <p:spPr bwMode="gray">
            <a:xfrm>
              <a:off x="10579540" y="1778544"/>
              <a:ext cx="7192" cy="14383"/>
            </a:xfrm>
            <a:custGeom>
              <a:avLst/>
              <a:gdLst>
                <a:gd name="T0" fmla="*/ 0 w 4"/>
                <a:gd name="T1" fmla="*/ 0 h 8"/>
                <a:gd name="T2" fmla="*/ 0 w 4"/>
                <a:gd name="T3" fmla="*/ 3 h 8"/>
                <a:gd name="T4" fmla="*/ 0 w 4"/>
                <a:gd name="T5" fmla="*/ 8 h 8"/>
                <a:gd name="T6" fmla="*/ 4 w 4"/>
                <a:gd name="T7" fmla="*/ 3 h 8"/>
                <a:gd name="T8" fmla="*/ 3 w 4"/>
                <a:gd name="T9" fmla="*/ 1 h 8"/>
                <a:gd name="T10" fmla="*/ 0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0" y="0"/>
                  </a:moveTo>
                  <a:lnTo>
                    <a:pt x="0" y="3"/>
                  </a:lnTo>
                  <a:lnTo>
                    <a:pt x="0" y="8"/>
                  </a:lnTo>
                  <a:lnTo>
                    <a:pt x="4" y="3"/>
                  </a:lnTo>
                  <a:lnTo>
                    <a:pt x="3" y="1"/>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8" name="Freeform 331">
              <a:extLst>
                <a:ext uri="{FF2B5EF4-FFF2-40B4-BE49-F238E27FC236}">
                  <a16:creationId xmlns:a16="http://schemas.microsoft.com/office/drawing/2014/main" id="{39F72DEA-B955-F931-1E63-8A1BFCA977A2}"/>
                </a:ext>
              </a:extLst>
            </p:cNvPr>
            <p:cNvSpPr>
              <a:spLocks/>
            </p:cNvSpPr>
            <p:nvPr/>
          </p:nvSpPr>
          <p:spPr bwMode="gray">
            <a:xfrm>
              <a:off x="10579540" y="1764159"/>
              <a:ext cx="19778" cy="12586"/>
            </a:xfrm>
            <a:custGeom>
              <a:avLst/>
              <a:gdLst>
                <a:gd name="T0" fmla="*/ 20 w 31"/>
                <a:gd name="T1" fmla="*/ 0 h 23"/>
                <a:gd name="T2" fmla="*/ 8 w 31"/>
                <a:gd name="T3" fmla="*/ 19 h 23"/>
                <a:gd name="T4" fmla="*/ 20 w 31"/>
                <a:gd name="T5" fmla="*/ 0 h 23"/>
              </a:gdLst>
              <a:ahLst/>
              <a:cxnLst>
                <a:cxn ang="0">
                  <a:pos x="T0" y="T1"/>
                </a:cxn>
                <a:cxn ang="0">
                  <a:pos x="T2" y="T3"/>
                </a:cxn>
                <a:cxn ang="0">
                  <a:pos x="T4" y="T5"/>
                </a:cxn>
              </a:cxnLst>
              <a:rect l="0" t="0" r="r" b="b"/>
              <a:pathLst>
                <a:path w="31" h="23">
                  <a:moveTo>
                    <a:pt x="20" y="0"/>
                  </a:moveTo>
                  <a:cubicBezTo>
                    <a:pt x="5" y="4"/>
                    <a:pt x="0" y="15"/>
                    <a:pt x="8" y="19"/>
                  </a:cubicBezTo>
                  <a:cubicBezTo>
                    <a:pt x="19" y="23"/>
                    <a:pt x="31" y="1"/>
                    <a:pt x="2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9" name="Freeform 332">
              <a:extLst>
                <a:ext uri="{FF2B5EF4-FFF2-40B4-BE49-F238E27FC236}">
                  <a16:creationId xmlns:a16="http://schemas.microsoft.com/office/drawing/2014/main" id="{D91CF53D-CB36-0328-020C-4EFE9DB27E6D}"/>
                </a:ext>
              </a:extLst>
            </p:cNvPr>
            <p:cNvSpPr>
              <a:spLocks/>
            </p:cNvSpPr>
            <p:nvPr/>
          </p:nvSpPr>
          <p:spPr bwMode="gray">
            <a:xfrm>
              <a:off x="10545378" y="1805512"/>
              <a:ext cx="5395" cy="16183"/>
            </a:xfrm>
            <a:custGeom>
              <a:avLst/>
              <a:gdLst>
                <a:gd name="T0" fmla="*/ 0 w 3"/>
                <a:gd name="T1" fmla="*/ 0 h 9"/>
                <a:gd name="T2" fmla="*/ 1 w 3"/>
                <a:gd name="T3" fmla="*/ 8 h 9"/>
                <a:gd name="T4" fmla="*/ 3 w 3"/>
                <a:gd name="T5" fmla="*/ 9 h 9"/>
                <a:gd name="T6" fmla="*/ 2 w 3"/>
                <a:gd name="T7" fmla="*/ 1 h 9"/>
                <a:gd name="T8" fmla="*/ 0 w 3"/>
                <a:gd name="T9" fmla="*/ 0 h 9"/>
              </a:gdLst>
              <a:ahLst/>
              <a:cxnLst>
                <a:cxn ang="0">
                  <a:pos x="T0" y="T1"/>
                </a:cxn>
                <a:cxn ang="0">
                  <a:pos x="T2" y="T3"/>
                </a:cxn>
                <a:cxn ang="0">
                  <a:pos x="T4" y="T5"/>
                </a:cxn>
                <a:cxn ang="0">
                  <a:pos x="T6" y="T7"/>
                </a:cxn>
                <a:cxn ang="0">
                  <a:pos x="T8" y="T9"/>
                </a:cxn>
              </a:cxnLst>
              <a:rect l="0" t="0" r="r" b="b"/>
              <a:pathLst>
                <a:path w="3" h="9">
                  <a:moveTo>
                    <a:pt x="0" y="0"/>
                  </a:moveTo>
                  <a:lnTo>
                    <a:pt x="1" y="8"/>
                  </a:lnTo>
                  <a:lnTo>
                    <a:pt x="3" y="9"/>
                  </a:lnTo>
                  <a:lnTo>
                    <a:pt x="2" y="1"/>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0" name="Freeform 333">
              <a:extLst>
                <a:ext uri="{FF2B5EF4-FFF2-40B4-BE49-F238E27FC236}">
                  <a16:creationId xmlns:a16="http://schemas.microsoft.com/office/drawing/2014/main" id="{19FEC6C9-2AE4-C5AA-1A35-4213125B4CBD}"/>
                </a:ext>
              </a:extLst>
            </p:cNvPr>
            <p:cNvSpPr>
              <a:spLocks/>
            </p:cNvSpPr>
            <p:nvPr/>
          </p:nvSpPr>
          <p:spPr bwMode="gray">
            <a:xfrm>
              <a:off x="10619095" y="1708422"/>
              <a:ext cx="5395" cy="17980"/>
            </a:xfrm>
            <a:custGeom>
              <a:avLst/>
              <a:gdLst>
                <a:gd name="T0" fmla="*/ 1 w 3"/>
                <a:gd name="T1" fmla="*/ 0 h 10"/>
                <a:gd name="T2" fmla="*/ 0 w 3"/>
                <a:gd name="T3" fmla="*/ 10 h 10"/>
                <a:gd name="T4" fmla="*/ 3 w 3"/>
                <a:gd name="T5" fmla="*/ 9 h 10"/>
                <a:gd name="T6" fmla="*/ 1 w 3"/>
                <a:gd name="T7" fmla="*/ 0 h 10"/>
              </a:gdLst>
              <a:ahLst/>
              <a:cxnLst>
                <a:cxn ang="0">
                  <a:pos x="T0" y="T1"/>
                </a:cxn>
                <a:cxn ang="0">
                  <a:pos x="T2" y="T3"/>
                </a:cxn>
                <a:cxn ang="0">
                  <a:pos x="T4" y="T5"/>
                </a:cxn>
                <a:cxn ang="0">
                  <a:pos x="T6" y="T7"/>
                </a:cxn>
              </a:cxnLst>
              <a:rect l="0" t="0" r="r" b="b"/>
              <a:pathLst>
                <a:path w="3" h="10">
                  <a:moveTo>
                    <a:pt x="1" y="0"/>
                  </a:moveTo>
                  <a:lnTo>
                    <a:pt x="0" y="10"/>
                  </a:lnTo>
                  <a:lnTo>
                    <a:pt x="3" y="9"/>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1" name="Freeform 334">
              <a:extLst>
                <a:ext uri="{FF2B5EF4-FFF2-40B4-BE49-F238E27FC236}">
                  <a16:creationId xmlns:a16="http://schemas.microsoft.com/office/drawing/2014/main" id="{0B188006-1406-C884-2CE7-CD187B6E1387}"/>
                </a:ext>
              </a:extLst>
            </p:cNvPr>
            <p:cNvSpPr>
              <a:spLocks/>
            </p:cNvSpPr>
            <p:nvPr/>
          </p:nvSpPr>
          <p:spPr bwMode="gray">
            <a:xfrm>
              <a:off x="10804286" y="1368604"/>
              <a:ext cx="5395" cy="10788"/>
            </a:xfrm>
            <a:custGeom>
              <a:avLst/>
              <a:gdLst>
                <a:gd name="T0" fmla="*/ 2 w 3"/>
                <a:gd name="T1" fmla="*/ 0 h 6"/>
                <a:gd name="T2" fmla="*/ 0 w 3"/>
                <a:gd name="T3" fmla="*/ 1 h 6"/>
                <a:gd name="T4" fmla="*/ 3 w 3"/>
                <a:gd name="T5" fmla="*/ 6 h 6"/>
                <a:gd name="T6" fmla="*/ 2 w 3"/>
                <a:gd name="T7" fmla="*/ 0 h 6"/>
              </a:gdLst>
              <a:ahLst/>
              <a:cxnLst>
                <a:cxn ang="0">
                  <a:pos x="T0" y="T1"/>
                </a:cxn>
                <a:cxn ang="0">
                  <a:pos x="T2" y="T3"/>
                </a:cxn>
                <a:cxn ang="0">
                  <a:pos x="T4" y="T5"/>
                </a:cxn>
                <a:cxn ang="0">
                  <a:pos x="T6" y="T7"/>
                </a:cxn>
              </a:cxnLst>
              <a:rect l="0" t="0" r="r" b="b"/>
              <a:pathLst>
                <a:path w="3" h="6">
                  <a:moveTo>
                    <a:pt x="2" y="0"/>
                  </a:moveTo>
                  <a:lnTo>
                    <a:pt x="0" y="1"/>
                  </a:lnTo>
                  <a:lnTo>
                    <a:pt x="3" y="6"/>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2" name="Freeform 335">
              <a:extLst>
                <a:ext uri="{FF2B5EF4-FFF2-40B4-BE49-F238E27FC236}">
                  <a16:creationId xmlns:a16="http://schemas.microsoft.com/office/drawing/2014/main" id="{B69BF8B8-87FC-58D4-5F7D-6E8E2F3608AF}"/>
                </a:ext>
              </a:extLst>
            </p:cNvPr>
            <p:cNvSpPr>
              <a:spLocks/>
            </p:cNvSpPr>
            <p:nvPr/>
          </p:nvSpPr>
          <p:spPr bwMode="gray">
            <a:xfrm>
              <a:off x="10824064" y="1366806"/>
              <a:ext cx="8991" cy="5395"/>
            </a:xfrm>
            <a:custGeom>
              <a:avLst/>
              <a:gdLst>
                <a:gd name="T0" fmla="*/ 5 w 5"/>
                <a:gd name="T1" fmla="*/ 1 h 3"/>
                <a:gd name="T2" fmla="*/ 0 w 5"/>
                <a:gd name="T3" fmla="*/ 0 h 3"/>
                <a:gd name="T4" fmla="*/ 0 w 5"/>
                <a:gd name="T5" fmla="*/ 2 h 3"/>
                <a:gd name="T6" fmla="*/ 5 w 5"/>
                <a:gd name="T7" fmla="*/ 3 h 3"/>
                <a:gd name="T8" fmla="*/ 5 w 5"/>
                <a:gd name="T9" fmla="*/ 1 h 3"/>
              </a:gdLst>
              <a:ahLst/>
              <a:cxnLst>
                <a:cxn ang="0">
                  <a:pos x="T0" y="T1"/>
                </a:cxn>
                <a:cxn ang="0">
                  <a:pos x="T2" y="T3"/>
                </a:cxn>
                <a:cxn ang="0">
                  <a:pos x="T4" y="T5"/>
                </a:cxn>
                <a:cxn ang="0">
                  <a:pos x="T6" y="T7"/>
                </a:cxn>
                <a:cxn ang="0">
                  <a:pos x="T8" y="T9"/>
                </a:cxn>
              </a:cxnLst>
              <a:rect l="0" t="0" r="r" b="b"/>
              <a:pathLst>
                <a:path w="5" h="3">
                  <a:moveTo>
                    <a:pt x="5" y="1"/>
                  </a:moveTo>
                  <a:lnTo>
                    <a:pt x="0" y="0"/>
                  </a:lnTo>
                  <a:lnTo>
                    <a:pt x="0" y="2"/>
                  </a:lnTo>
                  <a:lnTo>
                    <a:pt x="5" y="3"/>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3" name="Freeform 336">
              <a:extLst>
                <a:ext uri="{FF2B5EF4-FFF2-40B4-BE49-F238E27FC236}">
                  <a16:creationId xmlns:a16="http://schemas.microsoft.com/office/drawing/2014/main" id="{EBE4B2A9-C414-F91F-0391-DC865F694645}"/>
                </a:ext>
              </a:extLst>
            </p:cNvPr>
            <p:cNvSpPr>
              <a:spLocks/>
            </p:cNvSpPr>
            <p:nvPr/>
          </p:nvSpPr>
          <p:spPr bwMode="gray">
            <a:xfrm>
              <a:off x="10807883" y="1361412"/>
              <a:ext cx="12586" cy="7192"/>
            </a:xfrm>
            <a:custGeom>
              <a:avLst/>
              <a:gdLst>
                <a:gd name="T0" fmla="*/ 8 w 19"/>
                <a:gd name="T1" fmla="*/ 11 h 12"/>
                <a:gd name="T2" fmla="*/ 16 w 19"/>
                <a:gd name="T3" fmla="*/ 4 h 12"/>
                <a:gd name="T4" fmla="*/ 4 w 19"/>
                <a:gd name="T5" fmla="*/ 4 h 12"/>
                <a:gd name="T6" fmla="*/ 8 w 19"/>
                <a:gd name="T7" fmla="*/ 11 h 12"/>
              </a:gdLst>
              <a:ahLst/>
              <a:cxnLst>
                <a:cxn ang="0">
                  <a:pos x="T0" y="T1"/>
                </a:cxn>
                <a:cxn ang="0">
                  <a:pos x="T2" y="T3"/>
                </a:cxn>
                <a:cxn ang="0">
                  <a:pos x="T4" y="T5"/>
                </a:cxn>
                <a:cxn ang="0">
                  <a:pos x="T6" y="T7"/>
                </a:cxn>
              </a:cxnLst>
              <a:rect l="0" t="0" r="r" b="b"/>
              <a:pathLst>
                <a:path w="19" h="12">
                  <a:moveTo>
                    <a:pt x="8" y="11"/>
                  </a:moveTo>
                  <a:cubicBezTo>
                    <a:pt x="15" y="12"/>
                    <a:pt x="19" y="8"/>
                    <a:pt x="16" y="4"/>
                  </a:cubicBezTo>
                  <a:cubicBezTo>
                    <a:pt x="12" y="0"/>
                    <a:pt x="4" y="4"/>
                    <a:pt x="4" y="4"/>
                  </a:cubicBezTo>
                  <a:cubicBezTo>
                    <a:pt x="4" y="4"/>
                    <a:pt x="0" y="7"/>
                    <a:pt x="8"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4" name="Freeform 337">
              <a:extLst>
                <a:ext uri="{FF2B5EF4-FFF2-40B4-BE49-F238E27FC236}">
                  <a16:creationId xmlns:a16="http://schemas.microsoft.com/office/drawing/2014/main" id="{92D81FED-130A-DAD0-1424-9640EDFF6D39}"/>
                </a:ext>
              </a:extLst>
            </p:cNvPr>
            <p:cNvSpPr>
              <a:spLocks/>
            </p:cNvSpPr>
            <p:nvPr/>
          </p:nvSpPr>
          <p:spPr bwMode="gray">
            <a:xfrm>
              <a:off x="10824064" y="1350624"/>
              <a:ext cx="10788" cy="10788"/>
            </a:xfrm>
            <a:custGeom>
              <a:avLst/>
              <a:gdLst>
                <a:gd name="T0" fmla="*/ 6 w 6"/>
                <a:gd name="T1" fmla="*/ 0 h 6"/>
                <a:gd name="T2" fmla="*/ 0 w 6"/>
                <a:gd name="T3" fmla="*/ 3 h 6"/>
                <a:gd name="T4" fmla="*/ 4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3"/>
                  </a:lnTo>
                  <a:lnTo>
                    <a:pt x="4" y="6"/>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5" name="Freeform 338">
              <a:extLst>
                <a:ext uri="{FF2B5EF4-FFF2-40B4-BE49-F238E27FC236}">
                  <a16:creationId xmlns:a16="http://schemas.microsoft.com/office/drawing/2014/main" id="{8D8C3CA7-E2D6-14B4-91C2-C9144D534165}"/>
                </a:ext>
              </a:extLst>
            </p:cNvPr>
            <p:cNvSpPr>
              <a:spLocks/>
            </p:cNvSpPr>
            <p:nvPr/>
          </p:nvSpPr>
          <p:spPr bwMode="gray">
            <a:xfrm>
              <a:off x="10620893" y="2069816"/>
              <a:ext cx="12586" cy="28768"/>
            </a:xfrm>
            <a:custGeom>
              <a:avLst/>
              <a:gdLst>
                <a:gd name="T0" fmla="*/ 7 w 7"/>
                <a:gd name="T1" fmla="*/ 10 h 16"/>
                <a:gd name="T2" fmla="*/ 4 w 7"/>
                <a:gd name="T3" fmla="*/ 10 h 16"/>
                <a:gd name="T4" fmla="*/ 3 w 7"/>
                <a:gd name="T5" fmla="*/ 6 h 16"/>
                <a:gd name="T6" fmla="*/ 1 w 7"/>
                <a:gd name="T7" fmla="*/ 0 h 16"/>
                <a:gd name="T8" fmla="*/ 0 w 7"/>
                <a:gd name="T9" fmla="*/ 0 h 16"/>
                <a:gd name="T10" fmla="*/ 1 w 7"/>
                <a:gd name="T11" fmla="*/ 7 h 16"/>
                <a:gd name="T12" fmla="*/ 7 w 7"/>
                <a:gd name="T13" fmla="*/ 16 h 16"/>
                <a:gd name="T14" fmla="*/ 7 w 7"/>
                <a:gd name="T15" fmla="*/ 1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6">
                  <a:moveTo>
                    <a:pt x="7" y="10"/>
                  </a:moveTo>
                  <a:lnTo>
                    <a:pt x="4" y="10"/>
                  </a:lnTo>
                  <a:lnTo>
                    <a:pt x="3" y="6"/>
                  </a:lnTo>
                  <a:lnTo>
                    <a:pt x="1" y="0"/>
                  </a:lnTo>
                  <a:lnTo>
                    <a:pt x="0" y="0"/>
                  </a:lnTo>
                  <a:lnTo>
                    <a:pt x="1" y="7"/>
                  </a:lnTo>
                  <a:lnTo>
                    <a:pt x="7" y="16"/>
                  </a:lnTo>
                  <a:lnTo>
                    <a:pt x="7"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6" name="Freeform 339">
              <a:extLst>
                <a:ext uri="{FF2B5EF4-FFF2-40B4-BE49-F238E27FC236}">
                  <a16:creationId xmlns:a16="http://schemas.microsoft.com/office/drawing/2014/main" id="{534660C0-7793-B7D1-FEDA-7F398CE4B4F8}"/>
                </a:ext>
              </a:extLst>
            </p:cNvPr>
            <p:cNvSpPr>
              <a:spLocks/>
            </p:cNvSpPr>
            <p:nvPr/>
          </p:nvSpPr>
          <p:spPr bwMode="gray">
            <a:xfrm>
              <a:off x="10773722" y="1395573"/>
              <a:ext cx="17980" cy="17980"/>
            </a:xfrm>
            <a:custGeom>
              <a:avLst/>
              <a:gdLst>
                <a:gd name="T0" fmla="*/ 7 w 10"/>
                <a:gd name="T1" fmla="*/ 2 h 10"/>
                <a:gd name="T2" fmla="*/ 5 w 10"/>
                <a:gd name="T3" fmla="*/ 1 h 10"/>
                <a:gd name="T4" fmla="*/ 4 w 10"/>
                <a:gd name="T5" fmla="*/ 3 h 10"/>
                <a:gd name="T6" fmla="*/ 4 w 10"/>
                <a:gd name="T7" fmla="*/ 0 h 10"/>
                <a:gd name="T8" fmla="*/ 0 w 10"/>
                <a:gd name="T9" fmla="*/ 2 h 10"/>
                <a:gd name="T10" fmla="*/ 2 w 10"/>
                <a:gd name="T11" fmla="*/ 7 h 10"/>
                <a:gd name="T12" fmla="*/ 8 w 10"/>
                <a:gd name="T13" fmla="*/ 10 h 10"/>
                <a:gd name="T14" fmla="*/ 10 w 10"/>
                <a:gd name="T15" fmla="*/ 8 h 10"/>
                <a:gd name="T16" fmla="*/ 6 w 10"/>
                <a:gd name="T17" fmla="*/ 6 h 10"/>
                <a:gd name="T18" fmla="*/ 7 w 10"/>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2"/>
                  </a:moveTo>
                  <a:lnTo>
                    <a:pt x="5" y="1"/>
                  </a:lnTo>
                  <a:lnTo>
                    <a:pt x="4" y="3"/>
                  </a:lnTo>
                  <a:lnTo>
                    <a:pt x="4" y="0"/>
                  </a:lnTo>
                  <a:lnTo>
                    <a:pt x="0" y="2"/>
                  </a:lnTo>
                  <a:lnTo>
                    <a:pt x="2" y="7"/>
                  </a:lnTo>
                  <a:lnTo>
                    <a:pt x="8" y="10"/>
                  </a:lnTo>
                  <a:lnTo>
                    <a:pt x="10" y="8"/>
                  </a:lnTo>
                  <a:lnTo>
                    <a:pt x="6" y="6"/>
                  </a:lnTo>
                  <a:lnTo>
                    <a:pt x="7"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7" name="Freeform 340">
              <a:extLst>
                <a:ext uri="{FF2B5EF4-FFF2-40B4-BE49-F238E27FC236}">
                  <a16:creationId xmlns:a16="http://schemas.microsoft.com/office/drawing/2014/main" id="{462E7E04-C36A-4E77-075A-505D6341C5AA}"/>
                </a:ext>
              </a:extLst>
            </p:cNvPr>
            <p:cNvSpPr>
              <a:spLocks/>
            </p:cNvSpPr>
            <p:nvPr/>
          </p:nvSpPr>
          <p:spPr bwMode="gray">
            <a:xfrm>
              <a:off x="10815074" y="1375797"/>
              <a:ext cx="8991" cy="7192"/>
            </a:xfrm>
            <a:custGeom>
              <a:avLst/>
              <a:gdLst>
                <a:gd name="T0" fmla="*/ 2 w 5"/>
                <a:gd name="T1" fmla="*/ 4 h 4"/>
                <a:gd name="T2" fmla="*/ 5 w 5"/>
                <a:gd name="T3" fmla="*/ 0 h 4"/>
                <a:gd name="T4" fmla="*/ 0 w 5"/>
                <a:gd name="T5" fmla="*/ 1 h 4"/>
                <a:gd name="T6" fmla="*/ 2 w 5"/>
                <a:gd name="T7" fmla="*/ 4 h 4"/>
              </a:gdLst>
              <a:ahLst/>
              <a:cxnLst>
                <a:cxn ang="0">
                  <a:pos x="T0" y="T1"/>
                </a:cxn>
                <a:cxn ang="0">
                  <a:pos x="T2" y="T3"/>
                </a:cxn>
                <a:cxn ang="0">
                  <a:pos x="T4" y="T5"/>
                </a:cxn>
                <a:cxn ang="0">
                  <a:pos x="T6" y="T7"/>
                </a:cxn>
              </a:cxnLst>
              <a:rect l="0" t="0" r="r" b="b"/>
              <a:pathLst>
                <a:path w="5" h="4">
                  <a:moveTo>
                    <a:pt x="2" y="4"/>
                  </a:moveTo>
                  <a:lnTo>
                    <a:pt x="5" y="0"/>
                  </a:lnTo>
                  <a:lnTo>
                    <a:pt x="0" y="1"/>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8" name="Freeform 341">
              <a:extLst>
                <a:ext uri="{FF2B5EF4-FFF2-40B4-BE49-F238E27FC236}">
                  <a16:creationId xmlns:a16="http://schemas.microsoft.com/office/drawing/2014/main" id="{CBFA6AB8-C290-242F-A4C0-9833DE70FE7D}"/>
                </a:ext>
              </a:extLst>
            </p:cNvPr>
            <p:cNvSpPr>
              <a:spLocks/>
            </p:cNvSpPr>
            <p:nvPr/>
          </p:nvSpPr>
          <p:spPr bwMode="gray">
            <a:xfrm>
              <a:off x="10626288" y="2102179"/>
              <a:ext cx="12586" cy="8991"/>
            </a:xfrm>
            <a:custGeom>
              <a:avLst/>
              <a:gdLst>
                <a:gd name="T0" fmla="*/ 11 w 22"/>
                <a:gd name="T1" fmla="*/ 1 h 13"/>
                <a:gd name="T2" fmla="*/ 7 w 22"/>
                <a:gd name="T3" fmla="*/ 8 h 13"/>
                <a:gd name="T4" fmla="*/ 11 w 22"/>
                <a:gd name="T5" fmla="*/ 1 h 13"/>
              </a:gdLst>
              <a:ahLst/>
              <a:cxnLst>
                <a:cxn ang="0">
                  <a:pos x="T0" y="T1"/>
                </a:cxn>
                <a:cxn ang="0">
                  <a:pos x="T2" y="T3"/>
                </a:cxn>
                <a:cxn ang="0">
                  <a:pos x="T4" y="T5"/>
                </a:cxn>
              </a:cxnLst>
              <a:rect l="0" t="0" r="r" b="b"/>
              <a:pathLst>
                <a:path w="22" h="13">
                  <a:moveTo>
                    <a:pt x="11" y="1"/>
                  </a:moveTo>
                  <a:cubicBezTo>
                    <a:pt x="0" y="0"/>
                    <a:pt x="0" y="8"/>
                    <a:pt x="7" y="8"/>
                  </a:cubicBezTo>
                  <a:cubicBezTo>
                    <a:pt x="18" y="13"/>
                    <a:pt x="22" y="1"/>
                    <a:pt x="1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9" name="Freeform 342">
              <a:extLst>
                <a:ext uri="{FF2B5EF4-FFF2-40B4-BE49-F238E27FC236}">
                  <a16:creationId xmlns:a16="http://schemas.microsoft.com/office/drawing/2014/main" id="{89FBFB21-51E2-BE70-7118-34405FB3AB33}"/>
                </a:ext>
              </a:extLst>
            </p:cNvPr>
            <p:cNvSpPr>
              <a:spLocks/>
            </p:cNvSpPr>
            <p:nvPr/>
          </p:nvSpPr>
          <p:spPr bwMode="gray">
            <a:xfrm>
              <a:off x="10753943" y="1611331"/>
              <a:ext cx="7192" cy="14383"/>
            </a:xfrm>
            <a:custGeom>
              <a:avLst/>
              <a:gdLst>
                <a:gd name="T0" fmla="*/ 0 w 4"/>
                <a:gd name="T1" fmla="*/ 8 h 8"/>
                <a:gd name="T2" fmla="*/ 4 w 4"/>
                <a:gd name="T3" fmla="*/ 7 h 8"/>
                <a:gd name="T4" fmla="*/ 3 w 4"/>
                <a:gd name="T5" fmla="*/ 0 h 8"/>
                <a:gd name="T6" fmla="*/ 1 w 4"/>
                <a:gd name="T7" fmla="*/ 4 h 8"/>
                <a:gd name="T8" fmla="*/ 0 w 4"/>
                <a:gd name="T9" fmla="*/ 8 h 8"/>
              </a:gdLst>
              <a:ahLst/>
              <a:cxnLst>
                <a:cxn ang="0">
                  <a:pos x="T0" y="T1"/>
                </a:cxn>
                <a:cxn ang="0">
                  <a:pos x="T2" y="T3"/>
                </a:cxn>
                <a:cxn ang="0">
                  <a:pos x="T4" y="T5"/>
                </a:cxn>
                <a:cxn ang="0">
                  <a:pos x="T6" y="T7"/>
                </a:cxn>
                <a:cxn ang="0">
                  <a:pos x="T8" y="T9"/>
                </a:cxn>
              </a:cxnLst>
              <a:rect l="0" t="0" r="r" b="b"/>
              <a:pathLst>
                <a:path w="4" h="8">
                  <a:moveTo>
                    <a:pt x="0" y="8"/>
                  </a:moveTo>
                  <a:lnTo>
                    <a:pt x="4" y="7"/>
                  </a:lnTo>
                  <a:lnTo>
                    <a:pt x="3" y="0"/>
                  </a:lnTo>
                  <a:lnTo>
                    <a:pt x="1" y="4"/>
                  </a:ln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0" name="Freeform 343">
              <a:extLst>
                <a:ext uri="{FF2B5EF4-FFF2-40B4-BE49-F238E27FC236}">
                  <a16:creationId xmlns:a16="http://schemas.microsoft.com/office/drawing/2014/main" id="{4A10988D-036D-19D9-81CC-80A892424731}"/>
                </a:ext>
              </a:extLst>
            </p:cNvPr>
            <p:cNvSpPr>
              <a:spLocks/>
            </p:cNvSpPr>
            <p:nvPr/>
          </p:nvSpPr>
          <p:spPr bwMode="gray">
            <a:xfrm>
              <a:off x="10746751" y="1600543"/>
              <a:ext cx="12586" cy="17980"/>
            </a:xfrm>
            <a:custGeom>
              <a:avLst/>
              <a:gdLst>
                <a:gd name="T0" fmla="*/ 15 w 23"/>
                <a:gd name="T1" fmla="*/ 19 h 30"/>
                <a:gd name="T2" fmla="*/ 12 w 23"/>
                <a:gd name="T3" fmla="*/ 15 h 30"/>
                <a:gd name="T4" fmla="*/ 15 w 23"/>
                <a:gd name="T5" fmla="*/ 19 h 30"/>
              </a:gdLst>
              <a:ahLst/>
              <a:cxnLst>
                <a:cxn ang="0">
                  <a:pos x="T0" y="T1"/>
                </a:cxn>
                <a:cxn ang="0">
                  <a:pos x="T2" y="T3"/>
                </a:cxn>
                <a:cxn ang="0">
                  <a:pos x="T4" y="T5"/>
                </a:cxn>
              </a:cxnLst>
              <a:rect l="0" t="0" r="r" b="b"/>
              <a:pathLst>
                <a:path w="23" h="30">
                  <a:moveTo>
                    <a:pt x="15" y="19"/>
                  </a:moveTo>
                  <a:cubicBezTo>
                    <a:pt x="23" y="8"/>
                    <a:pt x="20" y="0"/>
                    <a:pt x="12" y="15"/>
                  </a:cubicBezTo>
                  <a:cubicBezTo>
                    <a:pt x="0" y="30"/>
                    <a:pt x="15" y="19"/>
                    <a:pt x="15"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344">
              <a:extLst>
                <a:ext uri="{FF2B5EF4-FFF2-40B4-BE49-F238E27FC236}">
                  <a16:creationId xmlns:a16="http://schemas.microsoft.com/office/drawing/2014/main" id="{8FC0A8F6-575A-9C7A-F0EA-53B5BD8C7FAE}"/>
                </a:ext>
              </a:extLst>
            </p:cNvPr>
            <p:cNvSpPr>
              <a:spLocks/>
            </p:cNvSpPr>
            <p:nvPr/>
          </p:nvSpPr>
          <p:spPr bwMode="gray">
            <a:xfrm>
              <a:off x="10700004" y="2411431"/>
              <a:ext cx="12586" cy="7192"/>
            </a:xfrm>
            <a:custGeom>
              <a:avLst/>
              <a:gdLst>
                <a:gd name="T0" fmla="*/ 0 w 7"/>
                <a:gd name="T1" fmla="*/ 4 h 4"/>
                <a:gd name="T2" fmla="*/ 5 w 7"/>
                <a:gd name="T3" fmla="*/ 4 h 4"/>
                <a:gd name="T4" fmla="*/ 7 w 7"/>
                <a:gd name="T5" fmla="*/ 1 h 4"/>
                <a:gd name="T6" fmla="*/ 3 w 7"/>
                <a:gd name="T7" fmla="*/ 0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lnTo>
                    <a:pt x="5" y="4"/>
                  </a:lnTo>
                  <a:lnTo>
                    <a:pt x="7" y="1"/>
                  </a:lnTo>
                  <a:lnTo>
                    <a:pt x="3"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345">
              <a:extLst>
                <a:ext uri="{FF2B5EF4-FFF2-40B4-BE49-F238E27FC236}">
                  <a16:creationId xmlns:a16="http://schemas.microsoft.com/office/drawing/2014/main" id="{C23ECADF-8876-B17D-D080-FBD147F90D7A}"/>
                </a:ext>
              </a:extLst>
            </p:cNvPr>
            <p:cNvSpPr>
              <a:spLocks/>
            </p:cNvSpPr>
            <p:nvPr/>
          </p:nvSpPr>
          <p:spPr bwMode="gray">
            <a:xfrm>
              <a:off x="10640671" y="2107572"/>
              <a:ext cx="10788" cy="12586"/>
            </a:xfrm>
            <a:custGeom>
              <a:avLst/>
              <a:gdLst>
                <a:gd name="T0" fmla="*/ 8 w 19"/>
                <a:gd name="T1" fmla="*/ 0 h 20"/>
                <a:gd name="T2" fmla="*/ 8 w 19"/>
                <a:gd name="T3" fmla="*/ 16 h 20"/>
                <a:gd name="T4" fmla="*/ 19 w 19"/>
                <a:gd name="T5" fmla="*/ 9 h 20"/>
                <a:gd name="T6" fmla="*/ 8 w 19"/>
                <a:gd name="T7" fmla="*/ 0 h 20"/>
              </a:gdLst>
              <a:ahLst/>
              <a:cxnLst>
                <a:cxn ang="0">
                  <a:pos x="T0" y="T1"/>
                </a:cxn>
                <a:cxn ang="0">
                  <a:pos x="T2" y="T3"/>
                </a:cxn>
                <a:cxn ang="0">
                  <a:pos x="T4" y="T5"/>
                </a:cxn>
                <a:cxn ang="0">
                  <a:pos x="T6" y="T7"/>
                </a:cxn>
              </a:cxnLst>
              <a:rect l="0" t="0" r="r" b="b"/>
              <a:pathLst>
                <a:path w="19" h="20">
                  <a:moveTo>
                    <a:pt x="8" y="0"/>
                  </a:moveTo>
                  <a:cubicBezTo>
                    <a:pt x="1" y="0"/>
                    <a:pt x="0" y="12"/>
                    <a:pt x="8" y="16"/>
                  </a:cubicBezTo>
                  <a:cubicBezTo>
                    <a:pt x="15" y="20"/>
                    <a:pt x="19" y="16"/>
                    <a:pt x="19" y="9"/>
                  </a:cubicBezTo>
                  <a:cubicBezTo>
                    <a:pt x="16" y="1"/>
                    <a:pt x="12" y="1"/>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346">
              <a:extLst>
                <a:ext uri="{FF2B5EF4-FFF2-40B4-BE49-F238E27FC236}">
                  <a16:creationId xmlns:a16="http://schemas.microsoft.com/office/drawing/2014/main" id="{DE317D46-6311-920D-4E56-5C1C6045C54E}"/>
                </a:ext>
              </a:extLst>
            </p:cNvPr>
            <p:cNvSpPr>
              <a:spLocks/>
            </p:cNvSpPr>
            <p:nvPr/>
          </p:nvSpPr>
          <p:spPr bwMode="gray">
            <a:xfrm>
              <a:off x="10660448" y="2161511"/>
              <a:ext cx="10788" cy="5395"/>
            </a:xfrm>
            <a:custGeom>
              <a:avLst/>
              <a:gdLst>
                <a:gd name="T0" fmla="*/ 0 w 6"/>
                <a:gd name="T1" fmla="*/ 2 h 3"/>
                <a:gd name="T2" fmla="*/ 6 w 6"/>
                <a:gd name="T3" fmla="*/ 3 h 3"/>
                <a:gd name="T4" fmla="*/ 3 w 6"/>
                <a:gd name="T5" fmla="*/ 0 h 3"/>
                <a:gd name="T6" fmla="*/ 0 w 6"/>
                <a:gd name="T7" fmla="*/ 2 h 3"/>
              </a:gdLst>
              <a:ahLst/>
              <a:cxnLst>
                <a:cxn ang="0">
                  <a:pos x="T0" y="T1"/>
                </a:cxn>
                <a:cxn ang="0">
                  <a:pos x="T2" y="T3"/>
                </a:cxn>
                <a:cxn ang="0">
                  <a:pos x="T4" y="T5"/>
                </a:cxn>
                <a:cxn ang="0">
                  <a:pos x="T6" y="T7"/>
                </a:cxn>
              </a:cxnLst>
              <a:rect l="0" t="0" r="r" b="b"/>
              <a:pathLst>
                <a:path w="6" h="3">
                  <a:moveTo>
                    <a:pt x="0" y="2"/>
                  </a:moveTo>
                  <a:lnTo>
                    <a:pt x="6" y="3"/>
                  </a:lnTo>
                  <a:lnTo>
                    <a:pt x="3"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347">
              <a:extLst>
                <a:ext uri="{FF2B5EF4-FFF2-40B4-BE49-F238E27FC236}">
                  <a16:creationId xmlns:a16="http://schemas.microsoft.com/office/drawing/2014/main" id="{CF0F3E08-1B33-59B2-9F17-7CEE66E3398B}"/>
                </a:ext>
              </a:extLst>
            </p:cNvPr>
            <p:cNvSpPr>
              <a:spLocks/>
            </p:cNvSpPr>
            <p:nvPr/>
          </p:nvSpPr>
          <p:spPr bwMode="gray">
            <a:xfrm>
              <a:off x="9813601" y="1749776"/>
              <a:ext cx="8991" cy="7192"/>
            </a:xfrm>
            <a:custGeom>
              <a:avLst/>
              <a:gdLst>
                <a:gd name="T0" fmla="*/ 5 w 5"/>
                <a:gd name="T1" fmla="*/ 1 h 4"/>
                <a:gd name="T2" fmla="*/ 0 w 5"/>
                <a:gd name="T3" fmla="*/ 0 h 4"/>
                <a:gd name="T4" fmla="*/ 4 w 5"/>
                <a:gd name="T5" fmla="*/ 4 h 4"/>
                <a:gd name="T6" fmla="*/ 5 w 5"/>
                <a:gd name="T7" fmla="*/ 1 h 4"/>
              </a:gdLst>
              <a:ahLst/>
              <a:cxnLst>
                <a:cxn ang="0">
                  <a:pos x="T0" y="T1"/>
                </a:cxn>
                <a:cxn ang="0">
                  <a:pos x="T2" y="T3"/>
                </a:cxn>
                <a:cxn ang="0">
                  <a:pos x="T4" y="T5"/>
                </a:cxn>
                <a:cxn ang="0">
                  <a:pos x="T6" y="T7"/>
                </a:cxn>
              </a:cxnLst>
              <a:rect l="0" t="0" r="r" b="b"/>
              <a:pathLst>
                <a:path w="5" h="4">
                  <a:moveTo>
                    <a:pt x="5" y="1"/>
                  </a:moveTo>
                  <a:lnTo>
                    <a:pt x="0" y="0"/>
                  </a:lnTo>
                  <a:lnTo>
                    <a:pt x="4" y="4"/>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5" name="Freeform 348">
              <a:extLst>
                <a:ext uri="{FF2B5EF4-FFF2-40B4-BE49-F238E27FC236}">
                  <a16:creationId xmlns:a16="http://schemas.microsoft.com/office/drawing/2014/main" id="{8F1B1DB7-6F2F-DFB7-9E24-28F8B97A4CED}"/>
                </a:ext>
              </a:extLst>
            </p:cNvPr>
            <p:cNvSpPr>
              <a:spLocks/>
            </p:cNvSpPr>
            <p:nvPr/>
          </p:nvSpPr>
          <p:spPr bwMode="gray">
            <a:xfrm>
              <a:off x="9808207" y="1776744"/>
              <a:ext cx="17980" cy="8991"/>
            </a:xfrm>
            <a:custGeom>
              <a:avLst/>
              <a:gdLst>
                <a:gd name="T0" fmla="*/ 0 w 10"/>
                <a:gd name="T1" fmla="*/ 1 h 5"/>
                <a:gd name="T2" fmla="*/ 4 w 10"/>
                <a:gd name="T3" fmla="*/ 5 h 5"/>
                <a:gd name="T4" fmla="*/ 10 w 10"/>
                <a:gd name="T5" fmla="*/ 3 h 5"/>
                <a:gd name="T6" fmla="*/ 5 w 10"/>
                <a:gd name="T7" fmla="*/ 0 h 5"/>
                <a:gd name="T8" fmla="*/ 0 w 10"/>
                <a:gd name="T9" fmla="*/ 1 h 5"/>
              </a:gdLst>
              <a:ahLst/>
              <a:cxnLst>
                <a:cxn ang="0">
                  <a:pos x="T0" y="T1"/>
                </a:cxn>
                <a:cxn ang="0">
                  <a:pos x="T2" y="T3"/>
                </a:cxn>
                <a:cxn ang="0">
                  <a:pos x="T4" y="T5"/>
                </a:cxn>
                <a:cxn ang="0">
                  <a:pos x="T6" y="T7"/>
                </a:cxn>
                <a:cxn ang="0">
                  <a:pos x="T8" y="T9"/>
                </a:cxn>
              </a:cxnLst>
              <a:rect l="0" t="0" r="r" b="b"/>
              <a:pathLst>
                <a:path w="10" h="5">
                  <a:moveTo>
                    <a:pt x="0" y="1"/>
                  </a:moveTo>
                  <a:lnTo>
                    <a:pt x="4" y="5"/>
                  </a:lnTo>
                  <a:lnTo>
                    <a:pt x="10" y="3"/>
                  </a:lnTo>
                  <a:lnTo>
                    <a:pt x="5"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6" name="Freeform 349">
              <a:extLst>
                <a:ext uri="{FF2B5EF4-FFF2-40B4-BE49-F238E27FC236}">
                  <a16:creationId xmlns:a16="http://schemas.microsoft.com/office/drawing/2014/main" id="{6820293B-82A3-3F09-F361-FC0901508F4B}"/>
                </a:ext>
              </a:extLst>
            </p:cNvPr>
            <p:cNvSpPr>
              <a:spLocks/>
            </p:cNvSpPr>
            <p:nvPr/>
          </p:nvSpPr>
          <p:spPr bwMode="gray">
            <a:xfrm>
              <a:off x="9804612" y="1755169"/>
              <a:ext cx="14383" cy="10788"/>
            </a:xfrm>
            <a:custGeom>
              <a:avLst/>
              <a:gdLst>
                <a:gd name="T0" fmla="*/ 7 w 23"/>
                <a:gd name="T1" fmla="*/ 18 h 18"/>
                <a:gd name="T2" fmla="*/ 12 w 23"/>
                <a:gd name="T3" fmla="*/ 3 h 18"/>
                <a:gd name="T4" fmla="*/ 7 w 23"/>
                <a:gd name="T5" fmla="*/ 18 h 18"/>
              </a:gdLst>
              <a:ahLst/>
              <a:cxnLst>
                <a:cxn ang="0">
                  <a:pos x="T0" y="T1"/>
                </a:cxn>
                <a:cxn ang="0">
                  <a:pos x="T2" y="T3"/>
                </a:cxn>
                <a:cxn ang="0">
                  <a:pos x="T4" y="T5"/>
                </a:cxn>
              </a:cxnLst>
              <a:rect l="0" t="0" r="r" b="b"/>
              <a:pathLst>
                <a:path w="23" h="18">
                  <a:moveTo>
                    <a:pt x="7" y="18"/>
                  </a:moveTo>
                  <a:cubicBezTo>
                    <a:pt x="15" y="18"/>
                    <a:pt x="23" y="0"/>
                    <a:pt x="12" y="3"/>
                  </a:cubicBezTo>
                  <a:cubicBezTo>
                    <a:pt x="0" y="6"/>
                    <a:pt x="4" y="18"/>
                    <a:pt x="7" y="1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7" name="Freeform 350">
              <a:extLst>
                <a:ext uri="{FF2B5EF4-FFF2-40B4-BE49-F238E27FC236}">
                  <a16:creationId xmlns:a16="http://schemas.microsoft.com/office/drawing/2014/main" id="{E6E1FC6E-CB67-E721-D0DE-D51272E92199}"/>
                </a:ext>
              </a:extLst>
            </p:cNvPr>
            <p:cNvSpPr>
              <a:spLocks/>
            </p:cNvSpPr>
            <p:nvPr/>
          </p:nvSpPr>
          <p:spPr bwMode="gray">
            <a:xfrm>
              <a:off x="9797419" y="1767756"/>
              <a:ext cx="12586" cy="7192"/>
            </a:xfrm>
            <a:custGeom>
              <a:avLst/>
              <a:gdLst>
                <a:gd name="T0" fmla="*/ 4 w 7"/>
                <a:gd name="T1" fmla="*/ 0 h 4"/>
                <a:gd name="T2" fmla="*/ 0 w 7"/>
                <a:gd name="T3" fmla="*/ 3 h 4"/>
                <a:gd name="T4" fmla="*/ 7 w 7"/>
                <a:gd name="T5" fmla="*/ 4 h 4"/>
                <a:gd name="T6" fmla="*/ 4 w 7"/>
                <a:gd name="T7" fmla="*/ 0 h 4"/>
              </a:gdLst>
              <a:ahLst/>
              <a:cxnLst>
                <a:cxn ang="0">
                  <a:pos x="T0" y="T1"/>
                </a:cxn>
                <a:cxn ang="0">
                  <a:pos x="T2" y="T3"/>
                </a:cxn>
                <a:cxn ang="0">
                  <a:pos x="T4" y="T5"/>
                </a:cxn>
                <a:cxn ang="0">
                  <a:pos x="T6" y="T7"/>
                </a:cxn>
              </a:cxnLst>
              <a:rect l="0" t="0" r="r" b="b"/>
              <a:pathLst>
                <a:path w="7" h="4">
                  <a:moveTo>
                    <a:pt x="4" y="0"/>
                  </a:moveTo>
                  <a:lnTo>
                    <a:pt x="0" y="3"/>
                  </a:lnTo>
                  <a:lnTo>
                    <a:pt x="7" y="4"/>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8" name="Freeform 351">
              <a:extLst>
                <a:ext uri="{FF2B5EF4-FFF2-40B4-BE49-F238E27FC236}">
                  <a16:creationId xmlns:a16="http://schemas.microsoft.com/office/drawing/2014/main" id="{317FB491-4004-BA12-6661-C6AC1F69EAC3}"/>
                </a:ext>
              </a:extLst>
            </p:cNvPr>
            <p:cNvSpPr>
              <a:spLocks/>
            </p:cNvSpPr>
            <p:nvPr/>
          </p:nvSpPr>
          <p:spPr bwMode="gray">
            <a:xfrm>
              <a:off x="9820793" y="1746179"/>
              <a:ext cx="7192" cy="5395"/>
            </a:xfrm>
            <a:custGeom>
              <a:avLst/>
              <a:gdLst>
                <a:gd name="T0" fmla="*/ 1 w 4"/>
                <a:gd name="T1" fmla="*/ 0 h 3"/>
                <a:gd name="T2" fmla="*/ 0 w 4"/>
                <a:gd name="T3" fmla="*/ 1 h 3"/>
                <a:gd name="T4" fmla="*/ 4 w 4"/>
                <a:gd name="T5" fmla="*/ 3 h 3"/>
                <a:gd name="T6" fmla="*/ 1 w 4"/>
                <a:gd name="T7" fmla="*/ 0 h 3"/>
              </a:gdLst>
              <a:ahLst/>
              <a:cxnLst>
                <a:cxn ang="0">
                  <a:pos x="T0" y="T1"/>
                </a:cxn>
                <a:cxn ang="0">
                  <a:pos x="T2" y="T3"/>
                </a:cxn>
                <a:cxn ang="0">
                  <a:pos x="T4" y="T5"/>
                </a:cxn>
                <a:cxn ang="0">
                  <a:pos x="T6" y="T7"/>
                </a:cxn>
              </a:cxnLst>
              <a:rect l="0" t="0" r="r" b="b"/>
              <a:pathLst>
                <a:path w="4" h="3">
                  <a:moveTo>
                    <a:pt x="1" y="0"/>
                  </a:moveTo>
                  <a:lnTo>
                    <a:pt x="0" y="1"/>
                  </a:lnTo>
                  <a:lnTo>
                    <a:pt x="4" y="3"/>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9" name="Rectangle 352">
              <a:extLst>
                <a:ext uri="{FF2B5EF4-FFF2-40B4-BE49-F238E27FC236}">
                  <a16:creationId xmlns:a16="http://schemas.microsoft.com/office/drawing/2014/main" id="{134FC9C5-E5C7-5815-AE93-FEDCA13A20BE}"/>
                </a:ext>
              </a:extLst>
            </p:cNvPr>
            <p:cNvSpPr>
              <a:spLocks noChangeArrowheads="1"/>
            </p:cNvSpPr>
            <p:nvPr/>
          </p:nvSpPr>
          <p:spPr bwMode="gray">
            <a:xfrm>
              <a:off x="9836975" y="1735391"/>
              <a:ext cx="1798" cy="5395"/>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0" name="Freeform 353">
              <a:extLst>
                <a:ext uri="{FF2B5EF4-FFF2-40B4-BE49-F238E27FC236}">
                  <a16:creationId xmlns:a16="http://schemas.microsoft.com/office/drawing/2014/main" id="{D31291D1-A01C-A82A-A61C-11C10364D111}"/>
                </a:ext>
              </a:extLst>
            </p:cNvPr>
            <p:cNvSpPr>
              <a:spLocks/>
            </p:cNvSpPr>
            <p:nvPr/>
          </p:nvSpPr>
          <p:spPr bwMode="gray">
            <a:xfrm>
              <a:off x="9853157" y="1740785"/>
              <a:ext cx="16183" cy="8991"/>
            </a:xfrm>
            <a:custGeom>
              <a:avLst/>
              <a:gdLst>
                <a:gd name="T0" fmla="*/ 11 w 30"/>
                <a:gd name="T1" fmla="*/ 15 h 15"/>
                <a:gd name="T2" fmla="*/ 19 w 30"/>
                <a:gd name="T3" fmla="*/ 4 h 15"/>
                <a:gd name="T4" fmla="*/ 0 w 30"/>
                <a:gd name="T5" fmla="*/ 11 h 15"/>
                <a:gd name="T6" fmla="*/ 11 w 30"/>
                <a:gd name="T7" fmla="*/ 15 h 15"/>
              </a:gdLst>
              <a:ahLst/>
              <a:cxnLst>
                <a:cxn ang="0">
                  <a:pos x="T0" y="T1"/>
                </a:cxn>
                <a:cxn ang="0">
                  <a:pos x="T2" y="T3"/>
                </a:cxn>
                <a:cxn ang="0">
                  <a:pos x="T4" y="T5"/>
                </a:cxn>
                <a:cxn ang="0">
                  <a:pos x="T6" y="T7"/>
                </a:cxn>
              </a:cxnLst>
              <a:rect l="0" t="0" r="r" b="b"/>
              <a:pathLst>
                <a:path w="30" h="15">
                  <a:moveTo>
                    <a:pt x="11" y="15"/>
                  </a:moveTo>
                  <a:cubicBezTo>
                    <a:pt x="30" y="9"/>
                    <a:pt x="30" y="5"/>
                    <a:pt x="19" y="4"/>
                  </a:cubicBezTo>
                  <a:cubicBezTo>
                    <a:pt x="4" y="0"/>
                    <a:pt x="0" y="7"/>
                    <a:pt x="0" y="11"/>
                  </a:cubicBezTo>
                  <a:cubicBezTo>
                    <a:pt x="0" y="15"/>
                    <a:pt x="11" y="15"/>
                    <a:pt x="11"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1" name="Freeform 354">
              <a:extLst>
                <a:ext uri="{FF2B5EF4-FFF2-40B4-BE49-F238E27FC236}">
                  <a16:creationId xmlns:a16="http://schemas.microsoft.com/office/drawing/2014/main" id="{14768796-781A-95BA-B291-B446AFC22CC0}"/>
                </a:ext>
              </a:extLst>
            </p:cNvPr>
            <p:cNvSpPr>
              <a:spLocks/>
            </p:cNvSpPr>
            <p:nvPr/>
          </p:nvSpPr>
          <p:spPr bwMode="gray">
            <a:xfrm>
              <a:off x="9903501" y="1695836"/>
              <a:ext cx="19778" cy="21576"/>
            </a:xfrm>
            <a:custGeom>
              <a:avLst/>
              <a:gdLst>
                <a:gd name="T0" fmla="*/ 11 w 11"/>
                <a:gd name="T1" fmla="*/ 7 h 12"/>
                <a:gd name="T2" fmla="*/ 10 w 11"/>
                <a:gd name="T3" fmla="*/ 0 h 12"/>
                <a:gd name="T4" fmla="*/ 6 w 11"/>
                <a:gd name="T5" fmla="*/ 0 h 12"/>
                <a:gd name="T6" fmla="*/ 7 w 11"/>
                <a:gd name="T7" fmla="*/ 4 h 12"/>
                <a:gd name="T8" fmla="*/ 4 w 11"/>
                <a:gd name="T9" fmla="*/ 3 h 12"/>
                <a:gd name="T10" fmla="*/ 0 w 11"/>
                <a:gd name="T11" fmla="*/ 8 h 12"/>
                <a:gd name="T12" fmla="*/ 4 w 11"/>
                <a:gd name="T13" fmla="*/ 12 h 12"/>
                <a:gd name="T14" fmla="*/ 11 w 11"/>
                <a:gd name="T15" fmla="*/ 7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11" y="7"/>
                  </a:moveTo>
                  <a:lnTo>
                    <a:pt x="10" y="0"/>
                  </a:lnTo>
                  <a:lnTo>
                    <a:pt x="6" y="0"/>
                  </a:lnTo>
                  <a:lnTo>
                    <a:pt x="7" y="4"/>
                  </a:lnTo>
                  <a:lnTo>
                    <a:pt x="4" y="3"/>
                  </a:lnTo>
                  <a:lnTo>
                    <a:pt x="0" y="8"/>
                  </a:lnTo>
                  <a:lnTo>
                    <a:pt x="4" y="12"/>
                  </a:lnTo>
                  <a:lnTo>
                    <a:pt x="11"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2" name="Freeform 355">
              <a:extLst>
                <a:ext uri="{FF2B5EF4-FFF2-40B4-BE49-F238E27FC236}">
                  <a16:creationId xmlns:a16="http://schemas.microsoft.com/office/drawing/2014/main" id="{0E99EBFA-AB36-D660-79CD-44B47B74A2F9}"/>
                </a:ext>
              </a:extLst>
            </p:cNvPr>
            <p:cNvSpPr>
              <a:spLocks/>
            </p:cNvSpPr>
            <p:nvPr/>
          </p:nvSpPr>
          <p:spPr bwMode="gray">
            <a:xfrm>
              <a:off x="9858551" y="1726402"/>
              <a:ext cx="14383" cy="8991"/>
            </a:xfrm>
            <a:custGeom>
              <a:avLst/>
              <a:gdLst>
                <a:gd name="T0" fmla="*/ 8 w 8"/>
                <a:gd name="T1" fmla="*/ 2 h 5"/>
                <a:gd name="T2" fmla="*/ 3 w 8"/>
                <a:gd name="T3" fmla="*/ 0 h 5"/>
                <a:gd name="T4" fmla="*/ 0 w 8"/>
                <a:gd name="T5" fmla="*/ 1 h 5"/>
                <a:gd name="T6" fmla="*/ 4 w 8"/>
                <a:gd name="T7" fmla="*/ 5 h 5"/>
                <a:gd name="T8" fmla="*/ 8 w 8"/>
                <a:gd name="T9" fmla="*/ 2 h 5"/>
              </a:gdLst>
              <a:ahLst/>
              <a:cxnLst>
                <a:cxn ang="0">
                  <a:pos x="T0" y="T1"/>
                </a:cxn>
                <a:cxn ang="0">
                  <a:pos x="T2" y="T3"/>
                </a:cxn>
                <a:cxn ang="0">
                  <a:pos x="T4" y="T5"/>
                </a:cxn>
                <a:cxn ang="0">
                  <a:pos x="T6" y="T7"/>
                </a:cxn>
                <a:cxn ang="0">
                  <a:pos x="T8" y="T9"/>
                </a:cxn>
              </a:cxnLst>
              <a:rect l="0" t="0" r="r" b="b"/>
              <a:pathLst>
                <a:path w="8" h="5">
                  <a:moveTo>
                    <a:pt x="8" y="2"/>
                  </a:moveTo>
                  <a:lnTo>
                    <a:pt x="3" y="0"/>
                  </a:lnTo>
                  <a:lnTo>
                    <a:pt x="0" y="1"/>
                  </a:lnTo>
                  <a:lnTo>
                    <a:pt x="4" y="5"/>
                  </a:lnTo>
                  <a:lnTo>
                    <a:pt x="8"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3" name="Freeform 356">
              <a:extLst>
                <a:ext uri="{FF2B5EF4-FFF2-40B4-BE49-F238E27FC236}">
                  <a16:creationId xmlns:a16="http://schemas.microsoft.com/office/drawing/2014/main" id="{E4CA3A49-7DBA-5322-4CD2-C89A1761FE7E}"/>
                </a:ext>
              </a:extLst>
            </p:cNvPr>
            <p:cNvSpPr>
              <a:spLocks/>
            </p:cNvSpPr>
            <p:nvPr/>
          </p:nvSpPr>
          <p:spPr bwMode="gray">
            <a:xfrm>
              <a:off x="9705723" y="1990704"/>
              <a:ext cx="25171" cy="37758"/>
            </a:xfrm>
            <a:custGeom>
              <a:avLst/>
              <a:gdLst>
                <a:gd name="T0" fmla="*/ 0 w 42"/>
                <a:gd name="T1" fmla="*/ 4 h 63"/>
                <a:gd name="T2" fmla="*/ 21 w 42"/>
                <a:gd name="T3" fmla="*/ 32 h 63"/>
                <a:gd name="T4" fmla="*/ 17 w 42"/>
                <a:gd name="T5" fmla="*/ 39 h 63"/>
                <a:gd name="T6" fmla="*/ 9 w 42"/>
                <a:gd name="T7" fmla="*/ 35 h 63"/>
                <a:gd name="T8" fmla="*/ 27 w 42"/>
                <a:gd name="T9" fmla="*/ 62 h 63"/>
                <a:gd name="T10" fmla="*/ 42 w 42"/>
                <a:gd name="T11" fmla="*/ 52 h 63"/>
                <a:gd name="T12" fmla="*/ 35 w 42"/>
                <a:gd name="T13" fmla="*/ 40 h 63"/>
                <a:gd name="T14" fmla="*/ 32 w 42"/>
                <a:gd name="T15" fmla="*/ 32 h 63"/>
                <a:gd name="T16" fmla="*/ 4 w 42"/>
                <a:gd name="T17" fmla="*/ 0 h 63"/>
                <a:gd name="T18" fmla="*/ 0 w 42"/>
                <a:gd name="T19" fmla="*/ 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3">
                  <a:moveTo>
                    <a:pt x="0" y="4"/>
                  </a:moveTo>
                  <a:cubicBezTo>
                    <a:pt x="21" y="32"/>
                    <a:pt x="21" y="32"/>
                    <a:pt x="21" y="32"/>
                  </a:cubicBezTo>
                  <a:cubicBezTo>
                    <a:pt x="17" y="39"/>
                    <a:pt x="17" y="39"/>
                    <a:pt x="17" y="39"/>
                  </a:cubicBezTo>
                  <a:cubicBezTo>
                    <a:pt x="9" y="35"/>
                    <a:pt x="9" y="35"/>
                    <a:pt x="9" y="35"/>
                  </a:cubicBezTo>
                  <a:cubicBezTo>
                    <a:pt x="27" y="62"/>
                    <a:pt x="27" y="62"/>
                    <a:pt x="27" y="62"/>
                  </a:cubicBezTo>
                  <a:cubicBezTo>
                    <a:pt x="34" y="63"/>
                    <a:pt x="42" y="52"/>
                    <a:pt x="42" y="52"/>
                  </a:cubicBezTo>
                  <a:cubicBezTo>
                    <a:pt x="35" y="40"/>
                    <a:pt x="35" y="40"/>
                    <a:pt x="35" y="40"/>
                  </a:cubicBezTo>
                  <a:cubicBezTo>
                    <a:pt x="32" y="32"/>
                    <a:pt x="32" y="32"/>
                    <a:pt x="32" y="32"/>
                  </a:cubicBezTo>
                  <a:cubicBezTo>
                    <a:pt x="4" y="0"/>
                    <a:pt x="4" y="0"/>
                    <a:pt x="4" y="0"/>
                  </a:cubicBez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4" name="Freeform 357">
              <a:extLst>
                <a:ext uri="{FF2B5EF4-FFF2-40B4-BE49-F238E27FC236}">
                  <a16:creationId xmlns:a16="http://schemas.microsoft.com/office/drawing/2014/main" id="{B992BBDF-E141-AEF0-8E77-91E8D945BCC7}"/>
                </a:ext>
              </a:extLst>
            </p:cNvPr>
            <p:cNvSpPr>
              <a:spLocks/>
            </p:cNvSpPr>
            <p:nvPr/>
          </p:nvSpPr>
          <p:spPr bwMode="gray">
            <a:xfrm>
              <a:off x="9725500" y="1823492"/>
              <a:ext cx="14383" cy="16183"/>
            </a:xfrm>
            <a:custGeom>
              <a:avLst/>
              <a:gdLst>
                <a:gd name="T0" fmla="*/ 7 w 22"/>
                <a:gd name="T1" fmla="*/ 11 h 27"/>
                <a:gd name="T2" fmla="*/ 10 w 22"/>
                <a:gd name="T3" fmla="*/ 27 h 27"/>
                <a:gd name="T4" fmla="*/ 21 w 22"/>
                <a:gd name="T5" fmla="*/ 27 h 27"/>
                <a:gd name="T6" fmla="*/ 22 w 22"/>
                <a:gd name="T7" fmla="*/ 4 h 27"/>
                <a:gd name="T8" fmla="*/ 8 w 22"/>
                <a:gd name="T9" fmla="*/ 0 h 27"/>
                <a:gd name="T10" fmla="*/ 7 w 22"/>
                <a:gd name="T11" fmla="*/ 11 h 27"/>
              </a:gdLst>
              <a:ahLst/>
              <a:cxnLst>
                <a:cxn ang="0">
                  <a:pos x="T0" y="T1"/>
                </a:cxn>
                <a:cxn ang="0">
                  <a:pos x="T2" y="T3"/>
                </a:cxn>
                <a:cxn ang="0">
                  <a:pos x="T4" y="T5"/>
                </a:cxn>
                <a:cxn ang="0">
                  <a:pos x="T6" y="T7"/>
                </a:cxn>
                <a:cxn ang="0">
                  <a:pos x="T8" y="T9"/>
                </a:cxn>
                <a:cxn ang="0">
                  <a:pos x="T10" y="T11"/>
                </a:cxn>
              </a:cxnLst>
              <a:rect l="0" t="0" r="r" b="b"/>
              <a:pathLst>
                <a:path w="22" h="27">
                  <a:moveTo>
                    <a:pt x="7" y="11"/>
                  </a:moveTo>
                  <a:cubicBezTo>
                    <a:pt x="11" y="15"/>
                    <a:pt x="10" y="27"/>
                    <a:pt x="10" y="27"/>
                  </a:cubicBezTo>
                  <a:cubicBezTo>
                    <a:pt x="21" y="27"/>
                    <a:pt x="21" y="27"/>
                    <a:pt x="21" y="27"/>
                  </a:cubicBezTo>
                  <a:cubicBezTo>
                    <a:pt x="22" y="4"/>
                    <a:pt x="22" y="4"/>
                    <a:pt x="22" y="4"/>
                  </a:cubicBezTo>
                  <a:cubicBezTo>
                    <a:pt x="8" y="0"/>
                    <a:pt x="8" y="0"/>
                    <a:pt x="8" y="0"/>
                  </a:cubicBezTo>
                  <a:cubicBezTo>
                    <a:pt x="8" y="0"/>
                    <a:pt x="0" y="7"/>
                    <a:pt x="7"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5" name="Freeform 358">
              <a:extLst>
                <a:ext uri="{FF2B5EF4-FFF2-40B4-BE49-F238E27FC236}">
                  <a16:creationId xmlns:a16="http://schemas.microsoft.com/office/drawing/2014/main" id="{207CA40D-29FA-02C8-7445-A97ED2946922}"/>
                </a:ext>
              </a:extLst>
            </p:cNvPr>
            <p:cNvSpPr>
              <a:spLocks/>
            </p:cNvSpPr>
            <p:nvPr/>
          </p:nvSpPr>
          <p:spPr bwMode="gray">
            <a:xfrm>
              <a:off x="9721905" y="1882826"/>
              <a:ext cx="8991" cy="8991"/>
            </a:xfrm>
            <a:custGeom>
              <a:avLst/>
              <a:gdLst>
                <a:gd name="T0" fmla="*/ 4 w 5"/>
                <a:gd name="T1" fmla="*/ 5 h 5"/>
                <a:gd name="T2" fmla="*/ 5 w 5"/>
                <a:gd name="T3" fmla="*/ 0 h 5"/>
                <a:gd name="T4" fmla="*/ 0 w 5"/>
                <a:gd name="T5" fmla="*/ 2 h 5"/>
                <a:gd name="T6" fmla="*/ 4 w 5"/>
                <a:gd name="T7" fmla="*/ 5 h 5"/>
              </a:gdLst>
              <a:ahLst/>
              <a:cxnLst>
                <a:cxn ang="0">
                  <a:pos x="T0" y="T1"/>
                </a:cxn>
                <a:cxn ang="0">
                  <a:pos x="T2" y="T3"/>
                </a:cxn>
                <a:cxn ang="0">
                  <a:pos x="T4" y="T5"/>
                </a:cxn>
                <a:cxn ang="0">
                  <a:pos x="T6" y="T7"/>
                </a:cxn>
              </a:cxnLst>
              <a:rect l="0" t="0" r="r" b="b"/>
              <a:pathLst>
                <a:path w="5" h="5">
                  <a:moveTo>
                    <a:pt x="4" y="5"/>
                  </a:moveTo>
                  <a:lnTo>
                    <a:pt x="5" y="0"/>
                  </a:lnTo>
                  <a:lnTo>
                    <a:pt x="0" y="2"/>
                  </a:lnTo>
                  <a:lnTo>
                    <a:pt x="4"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6" name="Freeform 359">
              <a:extLst>
                <a:ext uri="{FF2B5EF4-FFF2-40B4-BE49-F238E27FC236}">
                  <a16:creationId xmlns:a16="http://schemas.microsoft.com/office/drawing/2014/main" id="{5BB82AFA-B67C-5E61-2211-3CA0780E32E2}"/>
                </a:ext>
              </a:extLst>
            </p:cNvPr>
            <p:cNvSpPr>
              <a:spLocks/>
            </p:cNvSpPr>
            <p:nvPr/>
          </p:nvSpPr>
          <p:spPr bwMode="gray">
            <a:xfrm>
              <a:off x="9711117" y="1837876"/>
              <a:ext cx="26971" cy="21576"/>
            </a:xfrm>
            <a:custGeom>
              <a:avLst/>
              <a:gdLst>
                <a:gd name="T0" fmla="*/ 4 w 15"/>
                <a:gd name="T1" fmla="*/ 12 h 12"/>
                <a:gd name="T2" fmla="*/ 14 w 15"/>
                <a:gd name="T3" fmla="*/ 8 h 12"/>
                <a:gd name="T4" fmla="*/ 15 w 15"/>
                <a:gd name="T5" fmla="*/ 5 h 12"/>
                <a:gd name="T6" fmla="*/ 9 w 15"/>
                <a:gd name="T7" fmla="*/ 4 h 12"/>
                <a:gd name="T8" fmla="*/ 4 w 15"/>
                <a:gd name="T9" fmla="*/ 0 h 12"/>
                <a:gd name="T10" fmla="*/ 4 w 15"/>
                <a:gd name="T11" fmla="*/ 4 h 12"/>
                <a:gd name="T12" fmla="*/ 0 w 15"/>
                <a:gd name="T13" fmla="*/ 5 h 12"/>
                <a:gd name="T14" fmla="*/ 5 w 15"/>
                <a:gd name="T15" fmla="*/ 7 h 12"/>
                <a:gd name="T16" fmla="*/ 4 w 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4" y="12"/>
                  </a:moveTo>
                  <a:lnTo>
                    <a:pt x="14" y="8"/>
                  </a:lnTo>
                  <a:lnTo>
                    <a:pt x="15" y="5"/>
                  </a:lnTo>
                  <a:lnTo>
                    <a:pt x="9" y="4"/>
                  </a:lnTo>
                  <a:lnTo>
                    <a:pt x="4" y="0"/>
                  </a:lnTo>
                  <a:lnTo>
                    <a:pt x="4" y="4"/>
                  </a:lnTo>
                  <a:lnTo>
                    <a:pt x="0" y="5"/>
                  </a:lnTo>
                  <a:lnTo>
                    <a:pt x="5" y="7"/>
                  </a:lnTo>
                  <a:lnTo>
                    <a:pt x="4"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7" name="Freeform 360">
              <a:extLst>
                <a:ext uri="{FF2B5EF4-FFF2-40B4-BE49-F238E27FC236}">
                  <a16:creationId xmlns:a16="http://schemas.microsoft.com/office/drawing/2014/main" id="{4236B93B-7FB7-2B26-2DDB-C5FB2DEAFD0E}"/>
                </a:ext>
              </a:extLst>
            </p:cNvPr>
            <p:cNvSpPr>
              <a:spLocks/>
            </p:cNvSpPr>
            <p:nvPr/>
          </p:nvSpPr>
          <p:spPr bwMode="gray">
            <a:xfrm>
              <a:off x="9696732" y="2082401"/>
              <a:ext cx="12586" cy="19778"/>
            </a:xfrm>
            <a:custGeom>
              <a:avLst/>
              <a:gdLst>
                <a:gd name="T0" fmla="*/ 0 w 7"/>
                <a:gd name="T1" fmla="*/ 1 h 11"/>
                <a:gd name="T2" fmla="*/ 1 w 7"/>
                <a:gd name="T3" fmla="*/ 3 h 11"/>
                <a:gd name="T4" fmla="*/ 2 w 7"/>
                <a:gd name="T5" fmla="*/ 3 h 11"/>
                <a:gd name="T6" fmla="*/ 4 w 7"/>
                <a:gd name="T7" fmla="*/ 7 h 11"/>
                <a:gd name="T8" fmla="*/ 2 w 7"/>
                <a:gd name="T9" fmla="*/ 10 h 11"/>
                <a:gd name="T10" fmla="*/ 5 w 7"/>
                <a:gd name="T11" fmla="*/ 11 h 11"/>
                <a:gd name="T12" fmla="*/ 7 w 7"/>
                <a:gd name="T13" fmla="*/ 6 h 11"/>
                <a:gd name="T14" fmla="*/ 2 w 7"/>
                <a:gd name="T15" fmla="*/ 0 h 11"/>
                <a:gd name="T16" fmla="*/ 0 w 7"/>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1">
                  <a:moveTo>
                    <a:pt x="0" y="1"/>
                  </a:moveTo>
                  <a:lnTo>
                    <a:pt x="1" y="3"/>
                  </a:lnTo>
                  <a:lnTo>
                    <a:pt x="2" y="3"/>
                  </a:lnTo>
                  <a:lnTo>
                    <a:pt x="4" y="7"/>
                  </a:lnTo>
                  <a:lnTo>
                    <a:pt x="2" y="10"/>
                  </a:lnTo>
                  <a:lnTo>
                    <a:pt x="5" y="11"/>
                  </a:lnTo>
                  <a:lnTo>
                    <a:pt x="7" y="6"/>
                  </a:lnTo>
                  <a:lnTo>
                    <a:pt x="2"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8" name="Freeform 361">
              <a:extLst>
                <a:ext uri="{FF2B5EF4-FFF2-40B4-BE49-F238E27FC236}">
                  <a16:creationId xmlns:a16="http://schemas.microsoft.com/office/drawing/2014/main" id="{9CDB26D7-DCC7-4EC2-7E98-E61973ADD125}"/>
                </a:ext>
              </a:extLst>
            </p:cNvPr>
            <p:cNvSpPr>
              <a:spLocks/>
            </p:cNvSpPr>
            <p:nvPr/>
          </p:nvSpPr>
          <p:spPr bwMode="gray">
            <a:xfrm>
              <a:off x="9711117" y="1852259"/>
              <a:ext cx="5395" cy="8991"/>
            </a:xfrm>
            <a:custGeom>
              <a:avLst/>
              <a:gdLst>
                <a:gd name="T0" fmla="*/ 2 w 3"/>
                <a:gd name="T1" fmla="*/ 5 h 5"/>
                <a:gd name="T2" fmla="*/ 3 w 3"/>
                <a:gd name="T3" fmla="*/ 0 h 5"/>
                <a:gd name="T4" fmla="*/ 0 w 3"/>
                <a:gd name="T5" fmla="*/ 1 h 5"/>
                <a:gd name="T6" fmla="*/ 1 w 3"/>
                <a:gd name="T7" fmla="*/ 4 h 5"/>
                <a:gd name="T8" fmla="*/ 2 w 3"/>
                <a:gd name="T9" fmla="*/ 5 h 5"/>
              </a:gdLst>
              <a:ahLst/>
              <a:cxnLst>
                <a:cxn ang="0">
                  <a:pos x="T0" y="T1"/>
                </a:cxn>
                <a:cxn ang="0">
                  <a:pos x="T2" y="T3"/>
                </a:cxn>
                <a:cxn ang="0">
                  <a:pos x="T4" y="T5"/>
                </a:cxn>
                <a:cxn ang="0">
                  <a:pos x="T6" y="T7"/>
                </a:cxn>
                <a:cxn ang="0">
                  <a:pos x="T8" y="T9"/>
                </a:cxn>
              </a:cxnLst>
              <a:rect l="0" t="0" r="r" b="b"/>
              <a:pathLst>
                <a:path w="3" h="5">
                  <a:moveTo>
                    <a:pt x="2" y="5"/>
                  </a:moveTo>
                  <a:lnTo>
                    <a:pt x="3" y="0"/>
                  </a:lnTo>
                  <a:lnTo>
                    <a:pt x="0" y="1"/>
                  </a:lnTo>
                  <a:lnTo>
                    <a:pt x="1" y="4"/>
                  </a:lnTo>
                  <a:lnTo>
                    <a:pt x="2"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9" name="Freeform 362">
              <a:extLst>
                <a:ext uri="{FF2B5EF4-FFF2-40B4-BE49-F238E27FC236}">
                  <a16:creationId xmlns:a16="http://schemas.microsoft.com/office/drawing/2014/main" id="{BD605871-3D0B-C238-A998-F3BCF6F18354}"/>
                </a:ext>
              </a:extLst>
            </p:cNvPr>
            <p:cNvSpPr>
              <a:spLocks/>
            </p:cNvSpPr>
            <p:nvPr/>
          </p:nvSpPr>
          <p:spPr bwMode="gray">
            <a:xfrm>
              <a:off x="9696732" y="2026664"/>
              <a:ext cx="16183" cy="21576"/>
            </a:xfrm>
            <a:custGeom>
              <a:avLst/>
              <a:gdLst>
                <a:gd name="T0" fmla="*/ 1 w 9"/>
                <a:gd name="T1" fmla="*/ 0 h 12"/>
                <a:gd name="T2" fmla="*/ 0 w 9"/>
                <a:gd name="T3" fmla="*/ 1 h 12"/>
                <a:gd name="T4" fmla="*/ 4 w 9"/>
                <a:gd name="T5" fmla="*/ 4 h 12"/>
                <a:gd name="T6" fmla="*/ 3 w 9"/>
                <a:gd name="T7" fmla="*/ 8 h 12"/>
                <a:gd name="T8" fmla="*/ 6 w 9"/>
                <a:gd name="T9" fmla="*/ 12 h 12"/>
                <a:gd name="T10" fmla="*/ 9 w 9"/>
                <a:gd name="T11" fmla="*/ 12 h 12"/>
                <a:gd name="T12" fmla="*/ 8 w 9"/>
                <a:gd name="T13" fmla="*/ 6 h 12"/>
                <a:gd name="T14" fmla="*/ 1 w 9"/>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1" y="0"/>
                  </a:moveTo>
                  <a:lnTo>
                    <a:pt x="0" y="1"/>
                  </a:lnTo>
                  <a:lnTo>
                    <a:pt x="4" y="4"/>
                  </a:lnTo>
                  <a:lnTo>
                    <a:pt x="3" y="8"/>
                  </a:lnTo>
                  <a:lnTo>
                    <a:pt x="6" y="12"/>
                  </a:lnTo>
                  <a:lnTo>
                    <a:pt x="9" y="12"/>
                  </a:lnTo>
                  <a:lnTo>
                    <a:pt x="8" y="6"/>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0" name="Freeform 363">
              <a:extLst>
                <a:ext uri="{FF2B5EF4-FFF2-40B4-BE49-F238E27FC236}">
                  <a16:creationId xmlns:a16="http://schemas.microsoft.com/office/drawing/2014/main" id="{B66A96F2-4B07-2DFB-CD31-BC77E74F512B}"/>
                </a:ext>
              </a:extLst>
            </p:cNvPr>
            <p:cNvSpPr>
              <a:spLocks/>
            </p:cNvSpPr>
            <p:nvPr/>
          </p:nvSpPr>
          <p:spPr bwMode="gray">
            <a:xfrm>
              <a:off x="9727298" y="2015876"/>
              <a:ext cx="23374" cy="28768"/>
            </a:xfrm>
            <a:custGeom>
              <a:avLst/>
              <a:gdLst>
                <a:gd name="T0" fmla="*/ 0 w 38"/>
                <a:gd name="T1" fmla="*/ 29 h 48"/>
                <a:gd name="T2" fmla="*/ 14 w 38"/>
                <a:gd name="T3" fmla="*/ 48 h 48"/>
                <a:gd name="T4" fmla="*/ 29 w 38"/>
                <a:gd name="T5" fmla="*/ 41 h 48"/>
                <a:gd name="T6" fmla="*/ 38 w 38"/>
                <a:gd name="T7" fmla="*/ 4 h 48"/>
                <a:gd name="T8" fmla="*/ 35 w 38"/>
                <a:gd name="T9" fmla="*/ 0 h 48"/>
                <a:gd name="T10" fmla="*/ 19 w 38"/>
                <a:gd name="T11" fmla="*/ 18 h 48"/>
                <a:gd name="T12" fmla="*/ 8 w 38"/>
                <a:gd name="T13" fmla="*/ 21 h 48"/>
                <a:gd name="T14" fmla="*/ 0 w 38"/>
                <a:gd name="T15" fmla="*/ 2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8">
                  <a:moveTo>
                    <a:pt x="0" y="29"/>
                  </a:moveTo>
                  <a:cubicBezTo>
                    <a:pt x="14" y="48"/>
                    <a:pt x="14" y="48"/>
                    <a:pt x="14" y="48"/>
                  </a:cubicBezTo>
                  <a:cubicBezTo>
                    <a:pt x="29" y="41"/>
                    <a:pt x="29" y="41"/>
                    <a:pt x="29" y="41"/>
                  </a:cubicBezTo>
                  <a:cubicBezTo>
                    <a:pt x="38" y="4"/>
                    <a:pt x="38" y="4"/>
                    <a:pt x="38" y="4"/>
                  </a:cubicBezTo>
                  <a:cubicBezTo>
                    <a:pt x="35" y="0"/>
                    <a:pt x="35" y="0"/>
                    <a:pt x="35" y="0"/>
                  </a:cubicBezTo>
                  <a:cubicBezTo>
                    <a:pt x="19" y="18"/>
                    <a:pt x="19" y="18"/>
                    <a:pt x="19" y="18"/>
                  </a:cubicBezTo>
                  <a:cubicBezTo>
                    <a:pt x="19" y="18"/>
                    <a:pt x="15" y="18"/>
                    <a:pt x="8" y="21"/>
                  </a:cubicBezTo>
                  <a:cubicBezTo>
                    <a:pt x="0" y="21"/>
                    <a:pt x="0" y="29"/>
                    <a:pt x="0" y="2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1" name="Freeform 364">
              <a:extLst>
                <a:ext uri="{FF2B5EF4-FFF2-40B4-BE49-F238E27FC236}">
                  <a16:creationId xmlns:a16="http://schemas.microsoft.com/office/drawing/2014/main" id="{3EB1D164-DA66-DC29-4E9C-D1E16768A6B1}"/>
                </a:ext>
              </a:extLst>
            </p:cNvPr>
            <p:cNvSpPr>
              <a:spLocks/>
            </p:cNvSpPr>
            <p:nvPr/>
          </p:nvSpPr>
          <p:spPr bwMode="gray">
            <a:xfrm>
              <a:off x="9925076" y="1699432"/>
              <a:ext cx="12586" cy="8991"/>
            </a:xfrm>
            <a:custGeom>
              <a:avLst/>
              <a:gdLst>
                <a:gd name="T0" fmla="*/ 6 w 7"/>
                <a:gd name="T1" fmla="*/ 3 h 5"/>
                <a:gd name="T2" fmla="*/ 7 w 7"/>
                <a:gd name="T3" fmla="*/ 0 h 5"/>
                <a:gd name="T4" fmla="*/ 0 w 7"/>
                <a:gd name="T5" fmla="*/ 1 h 5"/>
                <a:gd name="T6" fmla="*/ 1 w 7"/>
                <a:gd name="T7" fmla="*/ 5 h 5"/>
                <a:gd name="T8" fmla="*/ 6 w 7"/>
                <a:gd name="T9" fmla="*/ 3 h 5"/>
              </a:gdLst>
              <a:ahLst/>
              <a:cxnLst>
                <a:cxn ang="0">
                  <a:pos x="T0" y="T1"/>
                </a:cxn>
                <a:cxn ang="0">
                  <a:pos x="T2" y="T3"/>
                </a:cxn>
                <a:cxn ang="0">
                  <a:pos x="T4" y="T5"/>
                </a:cxn>
                <a:cxn ang="0">
                  <a:pos x="T6" y="T7"/>
                </a:cxn>
                <a:cxn ang="0">
                  <a:pos x="T8" y="T9"/>
                </a:cxn>
              </a:cxnLst>
              <a:rect l="0" t="0" r="r" b="b"/>
              <a:pathLst>
                <a:path w="7" h="5">
                  <a:moveTo>
                    <a:pt x="6" y="3"/>
                  </a:moveTo>
                  <a:lnTo>
                    <a:pt x="7" y="0"/>
                  </a:lnTo>
                  <a:lnTo>
                    <a:pt x="0" y="1"/>
                  </a:lnTo>
                  <a:lnTo>
                    <a:pt x="1" y="5"/>
                  </a:lnTo>
                  <a:lnTo>
                    <a:pt x="6"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2" name="Freeform 365">
              <a:extLst>
                <a:ext uri="{FF2B5EF4-FFF2-40B4-BE49-F238E27FC236}">
                  <a16:creationId xmlns:a16="http://schemas.microsoft.com/office/drawing/2014/main" id="{B7537935-2124-2644-7D25-25AEA073112D}"/>
                </a:ext>
              </a:extLst>
            </p:cNvPr>
            <p:cNvSpPr>
              <a:spLocks/>
            </p:cNvSpPr>
            <p:nvPr/>
          </p:nvSpPr>
          <p:spPr bwMode="gray">
            <a:xfrm>
              <a:off x="9714712" y="1888220"/>
              <a:ext cx="8991" cy="8991"/>
            </a:xfrm>
            <a:custGeom>
              <a:avLst/>
              <a:gdLst>
                <a:gd name="T0" fmla="*/ 1 w 5"/>
                <a:gd name="T1" fmla="*/ 5 h 5"/>
                <a:gd name="T2" fmla="*/ 5 w 5"/>
                <a:gd name="T3" fmla="*/ 4 h 5"/>
                <a:gd name="T4" fmla="*/ 0 w 5"/>
                <a:gd name="T5" fmla="*/ 0 h 5"/>
                <a:gd name="T6" fmla="*/ 1 w 5"/>
                <a:gd name="T7" fmla="*/ 5 h 5"/>
              </a:gdLst>
              <a:ahLst/>
              <a:cxnLst>
                <a:cxn ang="0">
                  <a:pos x="T0" y="T1"/>
                </a:cxn>
                <a:cxn ang="0">
                  <a:pos x="T2" y="T3"/>
                </a:cxn>
                <a:cxn ang="0">
                  <a:pos x="T4" y="T5"/>
                </a:cxn>
                <a:cxn ang="0">
                  <a:pos x="T6" y="T7"/>
                </a:cxn>
              </a:cxnLst>
              <a:rect l="0" t="0" r="r" b="b"/>
              <a:pathLst>
                <a:path w="5" h="5">
                  <a:moveTo>
                    <a:pt x="1" y="5"/>
                  </a:moveTo>
                  <a:lnTo>
                    <a:pt x="5" y="4"/>
                  </a:lnTo>
                  <a:lnTo>
                    <a:pt x="0" y="0"/>
                  </a:lnTo>
                  <a:lnTo>
                    <a:pt x="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3" name="Freeform 366">
              <a:extLst>
                <a:ext uri="{FF2B5EF4-FFF2-40B4-BE49-F238E27FC236}">
                  <a16:creationId xmlns:a16="http://schemas.microsoft.com/office/drawing/2014/main" id="{26F0E2D4-76F3-91F3-312F-2EABF83C2DE9}"/>
                </a:ext>
              </a:extLst>
            </p:cNvPr>
            <p:cNvSpPr>
              <a:spLocks/>
            </p:cNvSpPr>
            <p:nvPr/>
          </p:nvSpPr>
          <p:spPr bwMode="gray">
            <a:xfrm>
              <a:off x="9680551" y="2183087"/>
              <a:ext cx="12586" cy="32364"/>
            </a:xfrm>
            <a:custGeom>
              <a:avLst/>
              <a:gdLst>
                <a:gd name="T0" fmla="*/ 19 w 20"/>
                <a:gd name="T1" fmla="*/ 46 h 53"/>
                <a:gd name="T2" fmla="*/ 20 w 20"/>
                <a:gd name="T3" fmla="*/ 27 h 53"/>
                <a:gd name="T4" fmla="*/ 17 w 20"/>
                <a:gd name="T5" fmla="*/ 0 h 53"/>
                <a:gd name="T6" fmla="*/ 10 w 20"/>
                <a:gd name="T7" fmla="*/ 7 h 53"/>
                <a:gd name="T8" fmla="*/ 8 w 20"/>
                <a:gd name="T9" fmla="*/ 34 h 53"/>
                <a:gd name="T10" fmla="*/ 0 w 20"/>
                <a:gd name="T11" fmla="*/ 53 h 53"/>
                <a:gd name="T12" fmla="*/ 11 w 20"/>
                <a:gd name="T13" fmla="*/ 53 h 53"/>
                <a:gd name="T14" fmla="*/ 19 w 20"/>
                <a:gd name="T15" fmla="*/ 46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3">
                  <a:moveTo>
                    <a:pt x="19" y="46"/>
                  </a:moveTo>
                  <a:cubicBezTo>
                    <a:pt x="20" y="27"/>
                    <a:pt x="20" y="27"/>
                    <a:pt x="20" y="27"/>
                  </a:cubicBezTo>
                  <a:cubicBezTo>
                    <a:pt x="17" y="0"/>
                    <a:pt x="17" y="0"/>
                    <a:pt x="17" y="0"/>
                  </a:cubicBezTo>
                  <a:cubicBezTo>
                    <a:pt x="10" y="7"/>
                    <a:pt x="10" y="7"/>
                    <a:pt x="10" y="7"/>
                  </a:cubicBezTo>
                  <a:cubicBezTo>
                    <a:pt x="10" y="7"/>
                    <a:pt x="5" y="30"/>
                    <a:pt x="8" y="34"/>
                  </a:cubicBezTo>
                  <a:cubicBezTo>
                    <a:pt x="12" y="38"/>
                    <a:pt x="0" y="53"/>
                    <a:pt x="0" y="53"/>
                  </a:cubicBezTo>
                  <a:cubicBezTo>
                    <a:pt x="11" y="53"/>
                    <a:pt x="11" y="53"/>
                    <a:pt x="11" y="53"/>
                  </a:cubicBezTo>
                  <a:lnTo>
                    <a:pt x="19" y="4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4" name="Freeform 367">
              <a:extLst>
                <a:ext uri="{FF2B5EF4-FFF2-40B4-BE49-F238E27FC236}">
                  <a16:creationId xmlns:a16="http://schemas.microsoft.com/office/drawing/2014/main" id="{FD052582-3D0F-DD11-4D2C-AE84DB54D8B1}"/>
                </a:ext>
              </a:extLst>
            </p:cNvPr>
            <p:cNvSpPr>
              <a:spLocks/>
            </p:cNvSpPr>
            <p:nvPr/>
          </p:nvSpPr>
          <p:spPr bwMode="gray">
            <a:xfrm>
              <a:off x="9682349" y="1952947"/>
              <a:ext cx="12586" cy="12586"/>
            </a:xfrm>
            <a:custGeom>
              <a:avLst/>
              <a:gdLst>
                <a:gd name="T0" fmla="*/ 7 w 23"/>
                <a:gd name="T1" fmla="*/ 15 h 19"/>
                <a:gd name="T2" fmla="*/ 12 w 23"/>
                <a:gd name="T3" fmla="*/ 3 h 19"/>
                <a:gd name="T4" fmla="*/ 7 w 23"/>
                <a:gd name="T5" fmla="*/ 15 h 19"/>
              </a:gdLst>
              <a:ahLst/>
              <a:cxnLst>
                <a:cxn ang="0">
                  <a:pos x="T0" y="T1"/>
                </a:cxn>
                <a:cxn ang="0">
                  <a:pos x="T2" y="T3"/>
                </a:cxn>
                <a:cxn ang="0">
                  <a:pos x="T4" y="T5"/>
                </a:cxn>
              </a:cxnLst>
              <a:rect l="0" t="0" r="r" b="b"/>
              <a:pathLst>
                <a:path w="23" h="19">
                  <a:moveTo>
                    <a:pt x="7" y="15"/>
                  </a:moveTo>
                  <a:cubicBezTo>
                    <a:pt x="15" y="19"/>
                    <a:pt x="23" y="0"/>
                    <a:pt x="12" y="3"/>
                  </a:cubicBezTo>
                  <a:cubicBezTo>
                    <a:pt x="0" y="3"/>
                    <a:pt x="4" y="14"/>
                    <a:pt x="7"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5" name="Freeform 368">
              <a:extLst>
                <a:ext uri="{FF2B5EF4-FFF2-40B4-BE49-F238E27FC236}">
                  <a16:creationId xmlns:a16="http://schemas.microsoft.com/office/drawing/2014/main" id="{12CC2160-AA8B-1D42-0769-FB5D8D93FE83}"/>
                </a:ext>
              </a:extLst>
            </p:cNvPr>
            <p:cNvSpPr>
              <a:spLocks/>
            </p:cNvSpPr>
            <p:nvPr/>
          </p:nvSpPr>
          <p:spPr bwMode="gray">
            <a:xfrm>
              <a:off x="9732692" y="2206462"/>
              <a:ext cx="14383" cy="8991"/>
            </a:xfrm>
            <a:custGeom>
              <a:avLst/>
              <a:gdLst>
                <a:gd name="T0" fmla="*/ 7 w 8"/>
                <a:gd name="T1" fmla="*/ 0 h 5"/>
                <a:gd name="T2" fmla="*/ 3 w 8"/>
                <a:gd name="T3" fmla="*/ 0 h 5"/>
                <a:gd name="T4" fmla="*/ 0 w 8"/>
                <a:gd name="T5" fmla="*/ 5 h 5"/>
                <a:gd name="T6" fmla="*/ 8 w 8"/>
                <a:gd name="T7" fmla="*/ 4 h 5"/>
                <a:gd name="T8" fmla="*/ 7 w 8"/>
                <a:gd name="T9" fmla="*/ 0 h 5"/>
              </a:gdLst>
              <a:ahLst/>
              <a:cxnLst>
                <a:cxn ang="0">
                  <a:pos x="T0" y="T1"/>
                </a:cxn>
                <a:cxn ang="0">
                  <a:pos x="T2" y="T3"/>
                </a:cxn>
                <a:cxn ang="0">
                  <a:pos x="T4" y="T5"/>
                </a:cxn>
                <a:cxn ang="0">
                  <a:pos x="T6" y="T7"/>
                </a:cxn>
                <a:cxn ang="0">
                  <a:pos x="T8" y="T9"/>
                </a:cxn>
              </a:cxnLst>
              <a:rect l="0" t="0" r="r" b="b"/>
              <a:pathLst>
                <a:path w="8" h="5">
                  <a:moveTo>
                    <a:pt x="7" y="0"/>
                  </a:moveTo>
                  <a:lnTo>
                    <a:pt x="3" y="0"/>
                  </a:lnTo>
                  <a:lnTo>
                    <a:pt x="0" y="5"/>
                  </a:lnTo>
                  <a:lnTo>
                    <a:pt x="8" y="4"/>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6" name="Freeform 369">
              <a:extLst>
                <a:ext uri="{FF2B5EF4-FFF2-40B4-BE49-F238E27FC236}">
                  <a16:creationId xmlns:a16="http://schemas.microsoft.com/office/drawing/2014/main" id="{CB29D365-C30D-8C75-A3EF-1815CEA0EE73}"/>
                </a:ext>
              </a:extLst>
            </p:cNvPr>
            <p:cNvSpPr>
              <a:spLocks/>
            </p:cNvSpPr>
            <p:nvPr/>
          </p:nvSpPr>
          <p:spPr bwMode="gray">
            <a:xfrm>
              <a:off x="9705723" y="1911594"/>
              <a:ext cx="14383" cy="10788"/>
            </a:xfrm>
            <a:custGeom>
              <a:avLst/>
              <a:gdLst>
                <a:gd name="T0" fmla="*/ 8 w 8"/>
                <a:gd name="T1" fmla="*/ 1 h 6"/>
                <a:gd name="T2" fmla="*/ 4 w 8"/>
                <a:gd name="T3" fmla="*/ 0 h 6"/>
                <a:gd name="T4" fmla="*/ 0 w 8"/>
                <a:gd name="T5" fmla="*/ 4 h 6"/>
                <a:gd name="T6" fmla="*/ 3 w 8"/>
                <a:gd name="T7" fmla="*/ 6 h 6"/>
                <a:gd name="T8" fmla="*/ 8 w 8"/>
                <a:gd name="T9" fmla="*/ 1 h 6"/>
              </a:gdLst>
              <a:ahLst/>
              <a:cxnLst>
                <a:cxn ang="0">
                  <a:pos x="T0" y="T1"/>
                </a:cxn>
                <a:cxn ang="0">
                  <a:pos x="T2" y="T3"/>
                </a:cxn>
                <a:cxn ang="0">
                  <a:pos x="T4" y="T5"/>
                </a:cxn>
                <a:cxn ang="0">
                  <a:pos x="T6" y="T7"/>
                </a:cxn>
                <a:cxn ang="0">
                  <a:pos x="T8" y="T9"/>
                </a:cxn>
              </a:cxnLst>
              <a:rect l="0" t="0" r="r" b="b"/>
              <a:pathLst>
                <a:path w="8" h="6">
                  <a:moveTo>
                    <a:pt x="8" y="1"/>
                  </a:moveTo>
                  <a:lnTo>
                    <a:pt x="4" y="0"/>
                  </a:lnTo>
                  <a:lnTo>
                    <a:pt x="0" y="4"/>
                  </a:lnTo>
                  <a:lnTo>
                    <a:pt x="3" y="6"/>
                  </a:lnTo>
                  <a:lnTo>
                    <a:pt x="8"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7" name="Freeform 370">
              <a:extLst>
                <a:ext uri="{FF2B5EF4-FFF2-40B4-BE49-F238E27FC236}">
                  <a16:creationId xmlns:a16="http://schemas.microsoft.com/office/drawing/2014/main" id="{265B552C-EC02-BF16-251A-92C95F7C2C45}"/>
                </a:ext>
              </a:extLst>
            </p:cNvPr>
            <p:cNvSpPr>
              <a:spLocks/>
            </p:cNvSpPr>
            <p:nvPr/>
          </p:nvSpPr>
          <p:spPr bwMode="gray">
            <a:xfrm>
              <a:off x="9689541" y="1918786"/>
              <a:ext cx="14383" cy="5395"/>
            </a:xfrm>
            <a:custGeom>
              <a:avLst/>
              <a:gdLst>
                <a:gd name="T0" fmla="*/ 8 w 23"/>
                <a:gd name="T1" fmla="*/ 8 h 9"/>
                <a:gd name="T2" fmla="*/ 12 w 23"/>
                <a:gd name="T3" fmla="*/ 1 h 9"/>
                <a:gd name="T4" fmla="*/ 8 w 23"/>
                <a:gd name="T5" fmla="*/ 8 h 9"/>
              </a:gdLst>
              <a:ahLst/>
              <a:cxnLst>
                <a:cxn ang="0">
                  <a:pos x="T0" y="T1"/>
                </a:cxn>
                <a:cxn ang="0">
                  <a:pos x="T2" y="T3"/>
                </a:cxn>
                <a:cxn ang="0">
                  <a:pos x="T4" y="T5"/>
                </a:cxn>
              </a:cxnLst>
              <a:rect l="0" t="0" r="r" b="b"/>
              <a:pathLst>
                <a:path w="23" h="9">
                  <a:moveTo>
                    <a:pt x="8" y="8"/>
                  </a:moveTo>
                  <a:cubicBezTo>
                    <a:pt x="19" y="9"/>
                    <a:pt x="23" y="5"/>
                    <a:pt x="12" y="1"/>
                  </a:cubicBezTo>
                  <a:cubicBezTo>
                    <a:pt x="0" y="0"/>
                    <a:pt x="4" y="8"/>
                    <a:pt x="8"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8" name="Freeform 371">
              <a:extLst>
                <a:ext uri="{FF2B5EF4-FFF2-40B4-BE49-F238E27FC236}">
                  <a16:creationId xmlns:a16="http://schemas.microsoft.com/office/drawing/2014/main" id="{95769637-8D6C-03E3-1A35-9CED0B4ADF46}"/>
                </a:ext>
              </a:extLst>
            </p:cNvPr>
            <p:cNvSpPr>
              <a:spLocks/>
            </p:cNvSpPr>
            <p:nvPr/>
          </p:nvSpPr>
          <p:spPr bwMode="gray">
            <a:xfrm>
              <a:off x="9709319" y="1864847"/>
              <a:ext cx="5395" cy="12586"/>
            </a:xfrm>
            <a:custGeom>
              <a:avLst/>
              <a:gdLst>
                <a:gd name="T0" fmla="*/ 10 w 11"/>
                <a:gd name="T1" fmla="*/ 12 h 19"/>
                <a:gd name="T2" fmla="*/ 3 w 11"/>
                <a:gd name="T3" fmla="*/ 8 h 19"/>
                <a:gd name="T4" fmla="*/ 10 w 11"/>
                <a:gd name="T5" fmla="*/ 12 h 19"/>
              </a:gdLst>
              <a:ahLst/>
              <a:cxnLst>
                <a:cxn ang="0">
                  <a:pos x="T0" y="T1"/>
                </a:cxn>
                <a:cxn ang="0">
                  <a:pos x="T2" y="T3"/>
                </a:cxn>
                <a:cxn ang="0">
                  <a:pos x="T4" y="T5"/>
                </a:cxn>
              </a:cxnLst>
              <a:rect l="0" t="0" r="r" b="b"/>
              <a:pathLst>
                <a:path w="11" h="19">
                  <a:moveTo>
                    <a:pt x="10" y="12"/>
                  </a:moveTo>
                  <a:cubicBezTo>
                    <a:pt x="11" y="0"/>
                    <a:pt x="0" y="0"/>
                    <a:pt x="3" y="8"/>
                  </a:cubicBezTo>
                  <a:cubicBezTo>
                    <a:pt x="3" y="19"/>
                    <a:pt x="10" y="19"/>
                    <a:pt x="1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9" name="Freeform 372">
              <a:extLst>
                <a:ext uri="{FF2B5EF4-FFF2-40B4-BE49-F238E27FC236}">
                  <a16:creationId xmlns:a16="http://schemas.microsoft.com/office/drawing/2014/main" id="{9515ED30-CAAC-AC53-E08E-C78FE0A4066E}"/>
                </a:ext>
              </a:extLst>
            </p:cNvPr>
            <p:cNvSpPr>
              <a:spLocks/>
            </p:cNvSpPr>
            <p:nvPr/>
          </p:nvSpPr>
          <p:spPr bwMode="gray">
            <a:xfrm>
              <a:off x="9698531" y="1938562"/>
              <a:ext cx="16183" cy="17980"/>
            </a:xfrm>
            <a:custGeom>
              <a:avLst/>
              <a:gdLst>
                <a:gd name="T0" fmla="*/ 3 w 27"/>
                <a:gd name="T1" fmla="*/ 30 h 31"/>
                <a:gd name="T2" fmla="*/ 11 w 27"/>
                <a:gd name="T3" fmla="*/ 23 h 31"/>
                <a:gd name="T4" fmla="*/ 14 w 27"/>
                <a:gd name="T5" fmla="*/ 31 h 31"/>
                <a:gd name="T6" fmla="*/ 26 w 27"/>
                <a:gd name="T7" fmla="*/ 16 h 31"/>
                <a:gd name="T8" fmla="*/ 16 w 27"/>
                <a:gd name="T9" fmla="*/ 0 h 31"/>
                <a:gd name="T10" fmla="*/ 8 w 27"/>
                <a:gd name="T11" fmla="*/ 4 h 31"/>
                <a:gd name="T12" fmla="*/ 3 w 27"/>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27" h="31">
                  <a:moveTo>
                    <a:pt x="3" y="30"/>
                  </a:moveTo>
                  <a:cubicBezTo>
                    <a:pt x="11" y="23"/>
                    <a:pt x="11" y="23"/>
                    <a:pt x="11" y="23"/>
                  </a:cubicBezTo>
                  <a:cubicBezTo>
                    <a:pt x="14" y="31"/>
                    <a:pt x="14" y="31"/>
                    <a:pt x="14" y="31"/>
                  </a:cubicBezTo>
                  <a:cubicBezTo>
                    <a:pt x="14" y="31"/>
                    <a:pt x="26" y="24"/>
                    <a:pt x="26" y="16"/>
                  </a:cubicBezTo>
                  <a:cubicBezTo>
                    <a:pt x="27" y="5"/>
                    <a:pt x="16" y="0"/>
                    <a:pt x="16" y="0"/>
                  </a:cubicBezTo>
                  <a:cubicBezTo>
                    <a:pt x="8" y="4"/>
                    <a:pt x="8" y="4"/>
                    <a:pt x="8" y="4"/>
                  </a:cubicBezTo>
                  <a:cubicBezTo>
                    <a:pt x="8" y="4"/>
                    <a:pt x="0" y="19"/>
                    <a:pt x="3"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0" name="Freeform 373">
              <a:extLst>
                <a:ext uri="{FF2B5EF4-FFF2-40B4-BE49-F238E27FC236}">
                  <a16:creationId xmlns:a16="http://schemas.microsoft.com/office/drawing/2014/main" id="{E4712B96-3D05-7674-30AF-A367C75687CF}"/>
                </a:ext>
              </a:extLst>
            </p:cNvPr>
            <p:cNvSpPr>
              <a:spLocks/>
            </p:cNvSpPr>
            <p:nvPr/>
          </p:nvSpPr>
          <p:spPr bwMode="gray">
            <a:xfrm>
              <a:off x="9691339" y="2102179"/>
              <a:ext cx="10788" cy="8991"/>
            </a:xfrm>
            <a:custGeom>
              <a:avLst/>
              <a:gdLst>
                <a:gd name="T0" fmla="*/ 1 w 6"/>
                <a:gd name="T1" fmla="*/ 5 h 5"/>
                <a:gd name="T2" fmla="*/ 6 w 6"/>
                <a:gd name="T3" fmla="*/ 3 h 5"/>
                <a:gd name="T4" fmla="*/ 4 w 6"/>
                <a:gd name="T5" fmla="*/ 0 h 5"/>
                <a:gd name="T6" fmla="*/ 0 w 6"/>
                <a:gd name="T7" fmla="*/ 2 h 5"/>
                <a:gd name="T8" fmla="*/ 1 w 6"/>
                <a:gd name="T9" fmla="*/ 5 h 5"/>
              </a:gdLst>
              <a:ahLst/>
              <a:cxnLst>
                <a:cxn ang="0">
                  <a:pos x="T0" y="T1"/>
                </a:cxn>
                <a:cxn ang="0">
                  <a:pos x="T2" y="T3"/>
                </a:cxn>
                <a:cxn ang="0">
                  <a:pos x="T4" y="T5"/>
                </a:cxn>
                <a:cxn ang="0">
                  <a:pos x="T6" y="T7"/>
                </a:cxn>
                <a:cxn ang="0">
                  <a:pos x="T8" y="T9"/>
                </a:cxn>
              </a:cxnLst>
              <a:rect l="0" t="0" r="r" b="b"/>
              <a:pathLst>
                <a:path w="6" h="5">
                  <a:moveTo>
                    <a:pt x="1" y="5"/>
                  </a:moveTo>
                  <a:lnTo>
                    <a:pt x="6" y="3"/>
                  </a:lnTo>
                  <a:lnTo>
                    <a:pt x="4" y="0"/>
                  </a:lnTo>
                  <a:lnTo>
                    <a:pt x="0" y="2"/>
                  </a:lnTo>
                  <a:lnTo>
                    <a:pt x="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1" name="Freeform 374">
              <a:extLst>
                <a:ext uri="{FF2B5EF4-FFF2-40B4-BE49-F238E27FC236}">
                  <a16:creationId xmlns:a16="http://schemas.microsoft.com/office/drawing/2014/main" id="{8BB9499A-2974-03B0-A5DF-7B93E3282CB4}"/>
                </a:ext>
              </a:extLst>
            </p:cNvPr>
            <p:cNvSpPr>
              <a:spLocks/>
            </p:cNvSpPr>
            <p:nvPr/>
          </p:nvSpPr>
          <p:spPr bwMode="gray">
            <a:xfrm>
              <a:off x="9689541" y="2121957"/>
              <a:ext cx="19778" cy="37758"/>
            </a:xfrm>
            <a:custGeom>
              <a:avLst/>
              <a:gdLst>
                <a:gd name="T0" fmla="*/ 27 w 33"/>
                <a:gd name="T1" fmla="*/ 8 h 61"/>
                <a:gd name="T2" fmla="*/ 12 w 33"/>
                <a:gd name="T3" fmla="*/ 0 h 61"/>
                <a:gd name="T4" fmla="*/ 12 w 33"/>
                <a:gd name="T5" fmla="*/ 4 h 61"/>
                <a:gd name="T6" fmla="*/ 4 w 33"/>
                <a:gd name="T7" fmla="*/ 15 h 61"/>
                <a:gd name="T8" fmla="*/ 14 w 33"/>
                <a:gd name="T9" fmla="*/ 27 h 61"/>
                <a:gd name="T10" fmla="*/ 3 w 33"/>
                <a:gd name="T11" fmla="*/ 38 h 61"/>
                <a:gd name="T12" fmla="*/ 2 w 33"/>
                <a:gd name="T13" fmla="*/ 61 h 61"/>
                <a:gd name="T14" fmla="*/ 17 w 33"/>
                <a:gd name="T15" fmla="*/ 58 h 61"/>
                <a:gd name="T16" fmla="*/ 6 w 33"/>
                <a:gd name="T17" fmla="*/ 38 h 61"/>
                <a:gd name="T18" fmla="*/ 22 w 33"/>
                <a:gd name="T19" fmla="*/ 27 h 61"/>
                <a:gd name="T20" fmla="*/ 26 w 33"/>
                <a:gd name="T21" fmla="*/ 28 h 61"/>
                <a:gd name="T22" fmla="*/ 22 w 33"/>
                <a:gd name="T23" fmla="*/ 35 h 61"/>
                <a:gd name="T24" fmla="*/ 25 w 33"/>
                <a:gd name="T25" fmla="*/ 43 h 61"/>
                <a:gd name="T26" fmla="*/ 33 w 33"/>
                <a:gd name="T27" fmla="*/ 36 h 61"/>
                <a:gd name="T28" fmla="*/ 26 w 33"/>
                <a:gd name="T29" fmla="*/ 24 h 61"/>
                <a:gd name="T30" fmla="*/ 27 w 33"/>
                <a:gd name="T31"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61">
                  <a:moveTo>
                    <a:pt x="27" y="8"/>
                  </a:moveTo>
                  <a:cubicBezTo>
                    <a:pt x="12" y="0"/>
                    <a:pt x="12" y="0"/>
                    <a:pt x="12" y="0"/>
                  </a:cubicBezTo>
                  <a:cubicBezTo>
                    <a:pt x="12" y="4"/>
                    <a:pt x="12" y="4"/>
                    <a:pt x="12" y="4"/>
                  </a:cubicBezTo>
                  <a:cubicBezTo>
                    <a:pt x="12" y="4"/>
                    <a:pt x="8" y="8"/>
                    <a:pt x="4" y="15"/>
                  </a:cubicBezTo>
                  <a:cubicBezTo>
                    <a:pt x="0" y="22"/>
                    <a:pt x="14" y="27"/>
                    <a:pt x="14" y="27"/>
                  </a:cubicBezTo>
                  <a:cubicBezTo>
                    <a:pt x="3" y="38"/>
                    <a:pt x="3" y="38"/>
                    <a:pt x="3" y="38"/>
                  </a:cubicBezTo>
                  <a:cubicBezTo>
                    <a:pt x="2" y="61"/>
                    <a:pt x="2" y="61"/>
                    <a:pt x="2" y="61"/>
                  </a:cubicBezTo>
                  <a:cubicBezTo>
                    <a:pt x="17" y="58"/>
                    <a:pt x="17" y="58"/>
                    <a:pt x="17" y="58"/>
                  </a:cubicBezTo>
                  <a:cubicBezTo>
                    <a:pt x="6" y="38"/>
                    <a:pt x="6" y="38"/>
                    <a:pt x="6" y="38"/>
                  </a:cubicBezTo>
                  <a:cubicBezTo>
                    <a:pt x="22" y="27"/>
                    <a:pt x="22" y="27"/>
                    <a:pt x="22" y="27"/>
                  </a:cubicBezTo>
                  <a:cubicBezTo>
                    <a:pt x="26" y="28"/>
                    <a:pt x="26" y="28"/>
                    <a:pt x="26" y="28"/>
                  </a:cubicBezTo>
                  <a:cubicBezTo>
                    <a:pt x="22" y="35"/>
                    <a:pt x="22" y="35"/>
                    <a:pt x="22" y="35"/>
                  </a:cubicBezTo>
                  <a:cubicBezTo>
                    <a:pt x="25" y="43"/>
                    <a:pt x="25" y="43"/>
                    <a:pt x="25" y="43"/>
                  </a:cubicBezTo>
                  <a:cubicBezTo>
                    <a:pt x="33" y="36"/>
                    <a:pt x="33" y="36"/>
                    <a:pt x="33" y="36"/>
                  </a:cubicBezTo>
                  <a:cubicBezTo>
                    <a:pt x="26" y="24"/>
                    <a:pt x="26" y="24"/>
                    <a:pt x="26" y="24"/>
                  </a:cubicBezTo>
                  <a:lnTo>
                    <a:pt x="2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2" name="Freeform 375">
              <a:extLst>
                <a:ext uri="{FF2B5EF4-FFF2-40B4-BE49-F238E27FC236}">
                  <a16:creationId xmlns:a16="http://schemas.microsoft.com/office/drawing/2014/main" id="{63B3B039-6E7D-E63B-6138-F786CE6BDF0B}"/>
                </a:ext>
              </a:extLst>
            </p:cNvPr>
            <p:cNvSpPr>
              <a:spLocks/>
            </p:cNvSpPr>
            <p:nvPr/>
          </p:nvSpPr>
          <p:spPr bwMode="gray">
            <a:xfrm>
              <a:off x="9694935" y="2001492"/>
              <a:ext cx="16183" cy="16183"/>
            </a:xfrm>
            <a:custGeom>
              <a:avLst/>
              <a:gdLst>
                <a:gd name="T0" fmla="*/ 4 w 25"/>
                <a:gd name="T1" fmla="*/ 0 h 28"/>
                <a:gd name="T2" fmla="*/ 0 w 25"/>
                <a:gd name="T3" fmla="*/ 0 h 28"/>
                <a:gd name="T4" fmla="*/ 11 w 25"/>
                <a:gd name="T5" fmla="*/ 16 h 28"/>
                <a:gd name="T6" fmla="*/ 21 w 25"/>
                <a:gd name="T7" fmla="*/ 28 h 28"/>
                <a:gd name="T8" fmla="*/ 18 w 25"/>
                <a:gd name="T9" fmla="*/ 13 h 28"/>
                <a:gd name="T10" fmla="*/ 4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4" y="0"/>
                  </a:moveTo>
                  <a:cubicBezTo>
                    <a:pt x="0" y="0"/>
                    <a:pt x="0" y="0"/>
                    <a:pt x="0" y="0"/>
                  </a:cubicBezTo>
                  <a:cubicBezTo>
                    <a:pt x="0" y="0"/>
                    <a:pt x="7" y="12"/>
                    <a:pt x="11" y="16"/>
                  </a:cubicBezTo>
                  <a:cubicBezTo>
                    <a:pt x="14" y="20"/>
                    <a:pt x="21" y="28"/>
                    <a:pt x="21" y="28"/>
                  </a:cubicBezTo>
                  <a:cubicBezTo>
                    <a:pt x="21" y="28"/>
                    <a:pt x="25" y="21"/>
                    <a:pt x="18" y="13"/>
                  </a:cubicBezTo>
                  <a:cubicBezTo>
                    <a:pt x="15" y="5"/>
                    <a:pt x="4"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3" name="Freeform 376">
              <a:extLst>
                <a:ext uri="{FF2B5EF4-FFF2-40B4-BE49-F238E27FC236}">
                  <a16:creationId xmlns:a16="http://schemas.microsoft.com/office/drawing/2014/main" id="{8C826E9E-1CF6-6A58-85B6-87B3F71DEAEE}"/>
                </a:ext>
              </a:extLst>
            </p:cNvPr>
            <p:cNvSpPr>
              <a:spLocks/>
            </p:cNvSpPr>
            <p:nvPr/>
          </p:nvSpPr>
          <p:spPr bwMode="gray">
            <a:xfrm>
              <a:off x="9696732" y="2017674"/>
              <a:ext cx="16183" cy="12586"/>
            </a:xfrm>
            <a:custGeom>
              <a:avLst/>
              <a:gdLst>
                <a:gd name="T0" fmla="*/ 6 w 25"/>
                <a:gd name="T1" fmla="*/ 12 h 21"/>
                <a:gd name="T2" fmla="*/ 25 w 25"/>
                <a:gd name="T3" fmla="*/ 21 h 21"/>
                <a:gd name="T4" fmla="*/ 25 w 25"/>
                <a:gd name="T5" fmla="*/ 13 h 21"/>
                <a:gd name="T6" fmla="*/ 3 w 25"/>
                <a:gd name="T7" fmla="*/ 0 h 21"/>
                <a:gd name="T8" fmla="*/ 6 w 25"/>
                <a:gd name="T9" fmla="*/ 12 h 21"/>
              </a:gdLst>
              <a:ahLst/>
              <a:cxnLst>
                <a:cxn ang="0">
                  <a:pos x="T0" y="T1"/>
                </a:cxn>
                <a:cxn ang="0">
                  <a:pos x="T2" y="T3"/>
                </a:cxn>
                <a:cxn ang="0">
                  <a:pos x="T4" y="T5"/>
                </a:cxn>
                <a:cxn ang="0">
                  <a:pos x="T6" y="T7"/>
                </a:cxn>
                <a:cxn ang="0">
                  <a:pos x="T8" y="T9"/>
                </a:cxn>
              </a:cxnLst>
              <a:rect l="0" t="0" r="r" b="b"/>
              <a:pathLst>
                <a:path w="25" h="21">
                  <a:moveTo>
                    <a:pt x="6" y="12"/>
                  </a:moveTo>
                  <a:cubicBezTo>
                    <a:pt x="10" y="12"/>
                    <a:pt x="25" y="21"/>
                    <a:pt x="25" y="21"/>
                  </a:cubicBezTo>
                  <a:cubicBezTo>
                    <a:pt x="25" y="13"/>
                    <a:pt x="25" y="13"/>
                    <a:pt x="25" y="13"/>
                  </a:cubicBezTo>
                  <a:cubicBezTo>
                    <a:pt x="25" y="13"/>
                    <a:pt x="7" y="1"/>
                    <a:pt x="3" y="0"/>
                  </a:cubicBezTo>
                  <a:cubicBezTo>
                    <a:pt x="0" y="0"/>
                    <a:pt x="3" y="8"/>
                    <a:pt x="6"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4" name="Freeform 377">
              <a:extLst>
                <a:ext uri="{FF2B5EF4-FFF2-40B4-BE49-F238E27FC236}">
                  <a16:creationId xmlns:a16="http://schemas.microsoft.com/office/drawing/2014/main" id="{A3471209-80B7-E0CE-382D-98F9B2803595}"/>
                </a:ext>
              </a:extLst>
            </p:cNvPr>
            <p:cNvSpPr>
              <a:spLocks/>
            </p:cNvSpPr>
            <p:nvPr/>
          </p:nvSpPr>
          <p:spPr bwMode="gray">
            <a:xfrm>
              <a:off x="9703924" y="2109371"/>
              <a:ext cx="23374" cy="28768"/>
            </a:xfrm>
            <a:custGeom>
              <a:avLst/>
              <a:gdLst>
                <a:gd name="T0" fmla="*/ 7 w 39"/>
                <a:gd name="T1" fmla="*/ 12 h 48"/>
                <a:gd name="T2" fmla="*/ 0 w 39"/>
                <a:gd name="T3" fmla="*/ 15 h 48"/>
                <a:gd name="T4" fmla="*/ 21 w 39"/>
                <a:gd name="T5" fmla="*/ 47 h 48"/>
                <a:gd name="T6" fmla="*/ 26 w 39"/>
                <a:gd name="T7" fmla="*/ 12 h 48"/>
                <a:gd name="T8" fmla="*/ 11 w 39"/>
                <a:gd name="T9" fmla="*/ 0 h 48"/>
                <a:gd name="T10" fmla="*/ 8 w 39"/>
                <a:gd name="T11" fmla="*/ 0 h 48"/>
                <a:gd name="T12" fmla="*/ 7 w 39"/>
                <a:gd name="T13" fmla="*/ 12 h 48"/>
              </a:gdLst>
              <a:ahLst/>
              <a:cxnLst>
                <a:cxn ang="0">
                  <a:pos x="T0" y="T1"/>
                </a:cxn>
                <a:cxn ang="0">
                  <a:pos x="T2" y="T3"/>
                </a:cxn>
                <a:cxn ang="0">
                  <a:pos x="T4" y="T5"/>
                </a:cxn>
                <a:cxn ang="0">
                  <a:pos x="T6" y="T7"/>
                </a:cxn>
                <a:cxn ang="0">
                  <a:pos x="T8" y="T9"/>
                </a:cxn>
                <a:cxn ang="0">
                  <a:pos x="T10" y="T11"/>
                </a:cxn>
                <a:cxn ang="0">
                  <a:pos x="T12" y="T13"/>
                </a:cxn>
              </a:cxnLst>
              <a:rect l="0" t="0" r="r" b="b"/>
              <a:pathLst>
                <a:path w="39" h="48">
                  <a:moveTo>
                    <a:pt x="7" y="12"/>
                  </a:moveTo>
                  <a:cubicBezTo>
                    <a:pt x="0" y="15"/>
                    <a:pt x="0" y="15"/>
                    <a:pt x="0" y="15"/>
                  </a:cubicBezTo>
                  <a:cubicBezTo>
                    <a:pt x="0" y="15"/>
                    <a:pt x="6" y="46"/>
                    <a:pt x="21" y="47"/>
                  </a:cubicBezTo>
                  <a:cubicBezTo>
                    <a:pt x="39" y="48"/>
                    <a:pt x="26" y="12"/>
                    <a:pt x="26" y="12"/>
                  </a:cubicBezTo>
                  <a:cubicBezTo>
                    <a:pt x="11" y="0"/>
                    <a:pt x="11" y="0"/>
                    <a:pt x="11" y="0"/>
                  </a:cubicBezTo>
                  <a:cubicBezTo>
                    <a:pt x="8" y="0"/>
                    <a:pt x="8" y="0"/>
                    <a:pt x="8" y="0"/>
                  </a:cubicBezTo>
                  <a:lnTo>
                    <a:pt x="7"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5" name="Freeform 378">
              <a:extLst>
                <a:ext uri="{FF2B5EF4-FFF2-40B4-BE49-F238E27FC236}">
                  <a16:creationId xmlns:a16="http://schemas.microsoft.com/office/drawing/2014/main" id="{5E3A9561-E3AD-FA45-384E-9CD0F73105F5}"/>
                </a:ext>
              </a:extLst>
            </p:cNvPr>
            <p:cNvSpPr>
              <a:spLocks/>
            </p:cNvSpPr>
            <p:nvPr/>
          </p:nvSpPr>
          <p:spPr bwMode="gray">
            <a:xfrm>
              <a:off x="9774046" y="1776744"/>
              <a:ext cx="10788" cy="12586"/>
            </a:xfrm>
            <a:custGeom>
              <a:avLst/>
              <a:gdLst>
                <a:gd name="T0" fmla="*/ 1 w 6"/>
                <a:gd name="T1" fmla="*/ 7 h 7"/>
                <a:gd name="T2" fmla="*/ 5 w 6"/>
                <a:gd name="T3" fmla="*/ 7 h 7"/>
                <a:gd name="T4" fmla="*/ 6 w 6"/>
                <a:gd name="T5" fmla="*/ 5 h 7"/>
                <a:gd name="T6" fmla="*/ 3 w 6"/>
                <a:gd name="T7" fmla="*/ 1 h 7"/>
                <a:gd name="T8" fmla="*/ 0 w 6"/>
                <a:gd name="T9" fmla="*/ 0 h 7"/>
                <a:gd name="T10" fmla="*/ 1 w 6"/>
                <a:gd name="T11" fmla="*/ 4 h 7"/>
                <a:gd name="T12" fmla="*/ 1 w 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1" y="7"/>
                  </a:moveTo>
                  <a:lnTo>
                    <a:pt x="5" y="7"/>
                  </a:lnTo>
                  <a:lnTo>
                    <a:pt x="6" y="5"/>
                  </a:lnTo>
                  <a:lnTo>
                    <a:pt x="3" y="1"/>
                  </a:lnTo>
                  <a:lnTo>
                    <a:pt x="0" y="0"/>
                  </a:lnTo>
                  <a:lnTo>
                    <a:pt x="1" y="4"/>
                  </a:lnTo>
                  <a:lnTo>
                    <a:pt x="1"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6" name="Freeform 379">
              <a:extLst>
                <a:ext uri="{FF2B5EF4-FFF2-40B4-BE49-F238E27FC236}">
                  <a16:creationId xmlns:a16="http://schemas.microsoft.com/office/drawing/2014/main" id="{99A23FA6-730B-9D68-1267-0DBE484C7FFF}"/>
                </a:ext>
              </a:extLst>
            </p:cNvPr>
            <p:cNvSpPr>
              <a:spLocks/>
            </p:cNvSpPr>
            <p:nvPr/>
          </p:nvSpPr>
          <p:spPr bwMode="gray">
            <a:xfrm>
              <a:off x="9693137" y="1988906"/>
              <a:ext cx="8991" cy="10788"/>
            </a:xfrm>
            <a:custGeom>
              <a:avLst/>
              <a:gdLst>
                <a:gd name="T0" fmla="*/ 0 w 5"/>
                <a:gd name="T1" fmla="*/ 2 h 6"/>
                <a:gd name="T2" fmla="*/ 5 w 5"/>
                <a:gd name="T3" fmla="*/ 6 h 6"/>
                <a:gd name="T4" fmla="*/ 3 w 5"/>
                <a:gd name="T5" fmla="*/ 0 h 6"/>
                <a:gd name="T6" fmla="*/ 0 w 5"/>
                <a:gd name="T7" fmla="*/ 2 h 6"/>
              </a:gdLst>
              <a:ahLst/>
              <a:cxnLst>
                <a:cxn ang="0">
                  <a:pos x="T0" y="T1"/>
                </a:cxn>
                <a:cxn ang="0">
                  <a:pos x="T2" y="T3"/>
                </a:cxn>
                <a:cxn ang="0">
                  <a:pos x="T4" y="T5"/>
                </a:cxn>
                <a:cxn ang="0">
                  <a:pos x="T6" y="T7"/>
                </a:cxn>
              </a:cxnLst>
              <a:rect l="0" t="0" r="r" b="b"/>
              <a:pathLst>
                <a:path w="5" h="6">
                  <a:moveTo>
                    <a:pt x="0" y="2"/>
                  </a:moveTo>
                  <a:lnTo>
                    <a:pt x="5" y="6"/>
                  </a:lnTo>
                  <a:lnTo>
                    <a:pt x="3"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7" name="Freeform 380">
              <a:extLst>
                <a:ext uri="{FF2B5EF4-FFF2-40B4-BE49-F238E27FC236}">
                  <a16:creationId xmlns:a16="http://schemas.microsoft.com/office/drawing/2014/main" id="{915F8D78-B9D2-C115-47F7-90AE23EFE00D}"/>
                </a:ext>
              </a:extLst>
            </p:cNvPr>
            <p:cNvSpPr>
              <a:spLocks/>
            </p:cNvSpPr>
            <p:nvPr/>
          </p:nvSpPr>
          <p:spPr bwMode="gray">
            <a:xfrm>
              <a:off x="9759662" y="1794724"/>
              <a:ext cx="5395" cy="7192"/>
            </a:xfrm>
            <a:custGeom>
              <a:avLst/>
              <a:gdLst>
                <a:gd name="T0" fmla="*/ 3 w 3"/>
                <a:gd name="T1" fmla="*/ 0 h 4"/>
                <a:gd name="T2" fmla="*/ 0 w 3"/>
                <a:gd name="T3" fmla="*/ 1 h 4"/>
                <a:gd name="T4" fmla="*/ 0 w 3"/>
                <a:gd name="T5" fmla="*/ 4 h 4"/>
                <a:gd name="T6" fmla="*/ 3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1"/>
                  </a:lnTo>
                  <a:lnTo>
                    <a:pt x="0" y="4"/>
                  </a:lnTo>
                  <a:lnTo>
                    <a:pt x="3"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8" name="Freeform 381">
              <a:extLst>
                <a:ext uri="{FF2B5EF4-FFF2-40B4-BE49-F238E27FC236}">
                  <a16:creationId xmlns:a16="http://schemas.microsoft.com/office/drawing/2014/main" id="{B12E4640-5BAE-77F9-CCC9-4D170BB08D01}"/>
                </a:ext>
              </a:extLst>
            </p:cNvPr>
            <p:cNvSpPr>
              <a:spLocks/>
            </p:cNvSpPr>
            <p:nvPr/>
          </p:nvSpPr>
          <p:spPr bwMode="gray">
            <a:xfrm>
              <a:off x="9768652" y="1789332"/>
              <a:ext cx="21576" cy="19778"/>
            </a:xfrm>
            <a:custGeom>
              <a:avLst/>
              <a:gdLst>
                <a:gd name="T0" fmla="*/ 22 w 34"/>
                <a:gd name="T1" fmla="*/ 31 h 35"/>
                <a:gd name="T2" fmla="*/ 19 w 34"/>
                <a:gd name="T3" fmla="*/ 8 h 35"/>
                <a:gd name="T4" fmla="*/ 4 w 34"/>
                <a:gd name="T5" fmla="*/ 19 h 35"/>
                <a:gd name="T6" fmla="*/ 0 w 34"/>
                <a:gd name="T7" fmla="*/ 23 h 35"/>
                <a:gd name="T8" fmla="*/ 22 w 34"/>
                <a:gd name="T9" fmla="*/ 31 h 35"/>
              </a:gdLst>
              <a:ahLst/>
              <a:cxnLst>
                <a:cxn ang="0">
                  <a:pos x="T0" y="T1"/>
                </a:cxn>
                <a:cxn ang="0">
                  <a:pos x="T2" y="T3"/>
                </a:cxn>
                <a:cxn ang="0">
                  <a:pos x="T4" y="T5"/>
                </a:cxn>
                <a:cxn ang="0">
                  <a:pos x="T6" y="T7"/>
                </a:cxn>
                <a:cxn ang="0">
                  <a:pos x="T8" y="T9"/>
                </a:cxn>
              </a:cxnLst>
              <a:rect l="0" t="0" r="r" b="b"/>
              <a:pathLst>
                <a:path w="34" h="35">
                  <a:moveTo>
                    <a:pt x="22" y="31"/>
                  </a:moveTo>
                  <a:cubicBezTo>
                    <a:pt x="33" y="28"/>
                    <a:pt x="34" y="13"/>
                    <a:pt x="19" y="8"/>
                  </a:cubicBezTo>
                  <a:cubicBezTo>
                    <a:pt x="5" y="0"/>
                    <a:pt x="4" y="19"/>
                    <a:pt x="4" y="19"/>
                  </a:cubicBezTo>
                  <a:cubicBezTo>
                    <a:pt x="0" y="23"/>
                    <a:pt x="0" y="23"/>
                    <a:pt x="0" y="23"/>
                  </a:cubicBezTo>
                  <a:cubicBezTo>
                    <a:pt x="0" y="30"/>
                    <a:pt x="11" y="35"/>
                    <a:pt x="22" y="3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9" name="Freeform 382">
              <a:extLst>
                <a:ext uri="{FF2B5EF4-FFF2-40B4-BE49-F238E27FC236}">
                  <a16:creationId xmlns:a16="http://schemas.microsoft.com/office/drawing/2014/main" id="{8F9A99D2-4C99-3B02-147E-3B55441754B1}"/>
                </a:ext>
              </a:extLst>
            </p:cNvPr>
            <p:cNvSpPr>
              <a:spLocks/>
            </p:cNvSpPr>
            <p:nvPr/>
          </p:nvSpPr>
          <p:spPr bwMode="gray">
            <a:xfrm>
              <a:off x="9694935" y="1974522"/>
              <a:ext cx="5395" cy="10788"/>
            </a:xfrm>
            <a:custGeom>
              <a:avLst/>
              <a:gdLst>
                <a:gd name="T0" fmla="*/ 0 w 3"/>
                <a:gd name="T1" fmla="*/ 2 h 6"/>
                <a:gd name="T2" fmla="*/ 3 w 3"/>
                <a:gd name="T3" fmla="*/ 6 h 6"/>
                <a:gd name="T4" fmla="*/ 2 w 3"/>
                <a:gd name="T5" fmla="*/ 0 h 6"/>
                <a:gd name="T6" fmla="*/ 0 w 3"/>
                <a:gd name="T7" fmla="*/ 2 h 6"/>
              </a:gdLst>
              <a:ahLst/>
              <a:cxnLst>
                <a:cxn ang="0">
                  <a:pos x="T0" y="T1"/>
                </a:cxn>
                <a:cxn ang="0">
                  <a:pos x="T2" y="T3"/>
                </a:cxn>
                <a:cxn ang="0">
                  <a:pos x="T4" y="T5"/>
                </a:cxn>
                <a:cxn ang="0">
                  <a:pos x="T6" y="T7"/>
                </a:cxn>
              </a:cxnLst>
              <a:rect l="0" t="0" r="r" b="b"/>
              <a:pathLst>
                <a:path w="3" h="6">
                  <a:moveTo>
                    <a:pt x="0" y="2"/>
                  </a:moveTo>
                  <a:lnTo>
                    <a:pt x="3" y="6"/>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0" name="Freeform 383">
              <a:extLst>
                <a:ext uri="{FF2B5EF4-FFF2-40B4-BE49-F238E27FC236}">
                  <a16:creationId xmlns:a16="http://schemas.microsoft.com/office/drawing/2014/main" id="{EFF57265-E345-6F87-DE51-E2CA0C5781FF}"/>
                </a:ext>
              </a:extLst>
            </p:cNvPr>
            <p:cNvSpPr>
              <a:spLocks/>
            </p:cNvSpPr>
            <p:nvPr/>
          </p:nvSpPr>
          <p:spPr bwMode="gray">
            <a:xfrm>
              <a:off x="9709319" y="2089593"/>
              <a:ext cx="12586" cy="16183"/>
            </a:xfrm>
            <a:custGeom>
              <a:avLst/>
              <a:gdLst>
                <a:gd name="T0" fmla="*/ 15 w 23"/>
                <a:gd name="T1" fmla="*/ 22 h 26"/>
                <a:gd name="T2" fmla="*/ 12 w 23"/>
                <a:gd name="T3" fmla="*/ 11 h 26"/>
                <a:gd name="T4" fmla="*/ 15 w 23"/>
                <a:gd name="T5" fmla="*/ 22 h 26"/>
              </a:gdLst>
              <a:ahLst/>
              <a:cxnLst>
                <a:cxn ang="0">
                  <a:pos x="T0" y="T1"/>
                </a:cxn>
                <a:cxn ang="0">
                  <a:pos x="T2" y="T3"/>
                </a:cxn>
                <a:cxn ang="0">
                  <a:pos x="T4" y="T5"/>
                </a:cxn>
              </a:cxnLst>
              <a:rect l="0" t="0" r="r" b="b"/>
              <a:pathLst>
                <a:path w="23" h="26">
                  <a:moveTo>
                    <a:pt x="15" y="22"/>
                  </a:moveTo>
                  <a:cubicBezTo>
                    <a:pt x="23" y="15"/>
                    <a:pt x="20" y="0"/>
                    <a:pt x="12" y="11"/>
                  </a:cubicBezTo>
                  <a:cubicBezTo>
                    <a:pt x="0" y="22"/>
                    <a:pt x="11" y="26"/>
                    <a:pt x="15"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1" name="Freeform 384">
              <a:extLst>
                <a:ext uri="{FF2B5EF4-FFF2-40B4-BE49-F238E27FC236}">
                  <a16:creationId xmlns:a16="http://schemas.microsoft.com/office/drawing/2014/main" id="{5C864036-EA7B-CEFC-5A4A-8BF4F3FFBA2C}"/>
                </a:ext>
              </a:extLst>
            </p:cNvPr>
            <p:cNvSpPr>
              <a:spLocks/>
            </p:cNvSpPr>
            <p:nvPr/>
          </p:nvSpPr>
          <p:spPr bwMode="gray">
            <a:xfrm>
              <a:off x="9725500" y="2130947"/>
              <a:ext cx="16183" cy="14383"/>
            </a:xfrm>
            <a:custGeom>
              <a:avLst/>
              <a:gdLst>
                <a:gd name="T0" fmla="*/ 0 w 9"/>
                <a:gd name="T1" fmla="*/ 2 h 8"/>
                <a:gd name="T2" fmla="*/ 5 w 9"/>
                <a:gd name="T3" fmla="*/ 8 h 8"/>
                <a:gd name="T4" fmla="*/ 9 w 9"/>
                <a:gd name="T5" fmla="*/ 6 h 8"/>
                <a:gd name="T6" fmla="*/ 2 w 9"/>
                <a:gd name="T7" fmla="*/ 0 h 8"/>
                <a:gd name="T8" fmla="*/ 0 w 9"/>
                <a:gd name="T9" fmla="*/ 2 h 8"/>
              </a:gdLst>
              <a:ahLst/>
              <a:cxnLst>
                <a:cxn ang="0">
                  <a:pos x="T0" y="T1"/>
                </a:cxn>
                <a:cxn ang="0">
                  <a:pos x="T2" y="T3"/>
                </a:cxn>
                <a:cxn ang="0">
                  <a:pos x="T4" y="T5"/>
                </a:cxn>
                <a:cxn ang="0">
                  <a:pos x="T6" y="T7"/>
                </a:cxn>
                <a:cxn ang="0">
                  <a:pos x="T8" y="T9"/>
                </a:cxn>
              </a:cxnLst>
              <a:rect l="0" t="0" r="r" b="b"/>
              <a:pathLst>
                <a:path w="9" h="8">
                  <a:moveTo>
                    <a:pt x="0" y="2"/>
                  </a:moveTo>
                  <a:lnTo>
                    <a:pt x="5" y="8"/>
                  </a:lnTo>
                  <a:lnTo>
                    <a:pt x="9" y="6"/>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2" name="Freeform 385">
              <a:extLst>
                <a:ext uri="{FF2B5EF4-FFF2-40B4-BE49-F238E27FC236}">
                  <a16:creationId xmlns:a16="http://schemas.microsoft.com/office/drawing/2014/main" id="{DAEE69CC-E085-442A-C3FF-7CC051358F01}"/>
                </a:ext>
              </a:extLst>
            </p:cNvPr>
            <p:cNvSpPr>
              <a:spLocks/>
            </p:cNvSpPr>
            <p:nvPr/>
          </p:nvSpPr>
          <p:spPr bwMode="gray">
            <a:xfrm>
              <a:off x="9718309" y="2096784"/>
              <a:ext cx="17980" cy="23374"/>
            </a:xfrm>
            <a:custGeom>
              <a:avLst/>
              <a:gdLst>
                <a:gd name="T0" fmla="*/ 2 w 10"/>
                <a:gd name="T1" fmla="*/ 9 h 13"/>
                <a:gd name="T2" fmla="*/ 4 w 10"/>
                <a:gd name="T3" fmla="*/ 13 h 13"/>
                <a:gd name="T4" fmla="*/ 7 w 10"/>
                <a:gd name="T5" fmla="*/ 13 h 13"/>
                <a:gd name="T6" fmla="*/ 7 w 10"/>
                <a:gd name="T7" fmla="*/ 9 h 13"/>
                <a:gd name="T8" fmla="*/ 10 w 10"/>
                <a:gd name="T9" fmla="*/ 6 h 13"/>
                <a:gd name="T10" fmla="*/ 9 w 10"/>
                <a:gd name="T11" fmla="*/ 0 h 13"/>
                <a:gd name="T12" fmla="*/ 2 w 10"/>
                <a:gd name="T13" fmla="*/ 1 h 13"/>
                <a:gd name="T14" fmla="*/ 2 w 10"/>
                <a:gd name="T15" fmla="*/ 5 h 13"/>
                <a:gd name="T16" fmla="*/ 0 w 10"/>
                <a:gd name="T17" fmla="*/ 6 h 13"/>
                <a:gd name="T18" fmla="*/ 2 w 10"/>
                <a:gd name="T1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3">
                  <a:moveTo>
                    <a:pt x="2" y="9"/>
                  </a:moveTo>
                  <a:lnTo>
                    <a:pt x="4" y="13"/>
                  </a:lnTo>
                  <a:lnTo>
                    <a:pt x="7" y="13"/>
                  </a:lnTo>
                  <a:lnTo>
                    <a:pt x="7" y="9"/>
                  </a:lnTo>
                  <a:lnTo>
                    <a:pt x="10" y="6"/>
                  </a:lnTo>
                  <a:lnTo>
                    <a:pt x="9" y="0"/>
                  </a:lnTo>
                  <a:lnTo>
                    <a:pt x="2" y="1"/>
                  </a:lnTo>
                  <a:lnTo>
                    <a:pt x="2" y="5"/>
                  </a:lnTo>
                  <a:lnTo>
                    <a:pt x="0" y="6"/>
                  </a:lnTo>
                  <a:lnTo>
                    <a:pt x="2"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3" name="Freeform 386">
              <a:extLst>
                <a:ext uri="{FF2B5EF4-FFF2-40B4-BE49-F238E27FC236}">
                  <a16:creationId xmlns:a16="http://schemas.microsoft.com/office/drawing/2014/main" id="{119667C8-A541-E835-6347-1EEEEBE8629E}"/>
                </a:ext>
              </a:extLst>
            </p:cNvPr>
            <p:cNvSpPr>
              <a:spLocks/>
            </p:cNvSpPr>
            <p:nvPr/>
          </p:nvSpPr>
          <p:spPr bwMode="gray">
            <a:xfrm>
              <a:off x="9792027" y="1778544"/>
              <a:ext cx="16183" cy="23374"/>
            </a:xfrm>
            <a:custGeom>
              <a:avLst/>
              <a:gdLst>
                <a:gd name="T0" fmla="*/ 5 w 9"/>
                <a:gd name="T1" fmla="*/ 0 h 13"/>
                <a:gd name="T2" fmla="*/ 0 w 9"/>
                <a:gd name="T3" fmla="*/ 1 h 13"/>
                <a:gd name="T4" fmla="*/ 0 w 9"/>
                <a:gd name="T5" fmla="*/ 13 h 13"/>
                <a:gd name="T6" fmla="*/ 9 w 9"/>
                <a:gd name="T7" fmla="*/ 7 h 13"/>
                <a:gd name="T8" fmla="*/ 5 w 9"/>
                <a:gd name="T9" fmla="*/ 0 h 13"/>
              </a:gdLst>
              <a:ahLst/>
              <a:cxnLst>
                <a:cxn ang="0">
                  <a:pos x="T0" y="T1"/>
                </a:cxn>
                <a:cxn ang="0">
                  <a:pos x="T2" y="T3"/>
                </a:cxn>
                <a:cxn ang="0">
                  <a:pos x="T4" y="T5"/>
                </a:cxn>
                <a:cxn ang="0">
                  <a:pos x="T6" y="T7"/>
                </a:cxn>
                <a:cxn ang="0">
                  <a:pos x="T8" y="T9"/>
                </a:cxn>
              </a:cxnLst>
              <a:rect l="0" t="0" r="r" b="b"/>
              <a:pathLst>
                <a:path w="9" h="13">
                  <a:moveTo>
                    <a:pt x="5" y="0"/>
                  </a:moveTo>
                  <a:lnTo>
                    <a:pt x="0" y="1"/>
                  </a:lnTo>
                  <a:lnTo>
                    <a:pt x="0" y="13"/>
                  </a:lnTo>
                  <a:lnTo>
                    <a:pt x="9" y="7"/>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4" name="Freeform 387">
              <a:extLst>
                <a:ext uri="{FF2B5EF4-FFF2-40B4-BE49-F238E27FC236}">
                  <a16:creationId xmlns:a16="http://schemas.microsoft.com/office/drawing/2014/main" id="{FF284C03-B690-D3D8-A365-CD147CDAD328}"/>
                </a:ext>
              </a:extLst>
            </p:cNvPr>
            <p:cNvSpPr>
              <a:spLocks/>
            </p:cNvSpPr>
            <p:nvPr/>
          </p:nvSpPr>
          <p:spPr bwMode="gray">
            <a:xfrm>
              <a:off x="9693137" y="1951149"/>
              <a:ext cx="5395" cy="8991"/>
            </a:xfrm>
            <a:custGeom>
              <a:avLst/>
              <a:gdLst>
                <a:gd name="T0" fmla="*/ 0 w 3"/>
                <a:gd name="T1" fmla="*/ 5 h 5"/>
                <a:gd name="T2" fmla="*/ 1 w 3"/>
                <a:gd name="T3" fmla="*/ 5 h 5"/>
                <a:gd name="T4" fmla="*/ 3 w 3"/>
                <a:gd name="T5" fmla="*/ 0 h 5"/>
                <a:gd name="T6" fmla="*/ 1 w 3"/>
                <a:gd name="T7" fmla="*/ 0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1" y="5"/>
                  </a:lnTo>
                  <a:lnTo>
                    <a:pt x="3" y="0"/>
                  </a:lnTo>
                  <a:lnTo>
                    <a:pt x="1"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5" name="Freeform 388">
              <a:extLst>
                <a:ext uri="{FF2B5EF4-FFF2-40B4-BE49-F238E27FC236}">
                  <a16:creationId xmlns:a16="http://schemas.microsoft.com/office/drawing/2014/main" id="{25ACF0E2-30B6-DA5A-14F4-99C7A9C21A9A}"/>
                </a:ext>
              </a:extLst>
            </p:cNvPr>
            <p:cNvSpPr>
              <a:spLocks/>
            </p:cNvSpPr>
            <p:nvPr/>
          </p:nvSpPr>
          <p:spPr bwMode="gray">
            <a:xfrm>
              <a:off x="9689541" y="2042845"/>
              <a:ext cx="14383" cy="32364"/>
            </a:xfrm>
            <a:custGeom>
              <a:avLst/>
              <a:gdLst>
                <a:gd name="T0" fmla="*/ 7 w 23"/>
                <a:gd name="T1" fmla="*/ 50 h 54"/>
                <a:gd name="T2" fmla="*/ 22 w 23"/>
                <a:gd name="T3" fmla="*/ 54 h 54"/>
                <a:gd name="T4" fmla="*/ 15 w 23"/>
                <a:gd name="T5" fmla="*/ 39 h 54"/>
                <a:gd name="T6" fmla="*/ 23 w 23"/>
                <a:gd name="T7" fmla="*/ 31 h 54"/>
                <a:gd name="T8" fmla="*/ 13 w 23"/>
                <a:gd name="T9" fmla="*/ 0 h 54"/>
                <a:gd name="T10" fmla="*/ 9 w 23"/>
                <a:gd name="T11" fmla="*/ 12 h 54"/>
                <a:gd name="T12" fmla="*/ 16 w 23"/>
                <a:gd name="T13" fmla="*/ 27 h 54"/>
                <a:gd name="T14" fmla="*/ 1 w 23"/>
                <a:gd name="T15" fmla="*/ 30 h 54"/>
                <a:gd name="T16" fmla="*/ 7 w 23"/>
                <a:gd name="T17"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54">
                  <a:moveTo>
                    <a:pt x="7" y="50"/>
                  </a:moveTo>
                  <a:cubicBezTo>
                    <a:pt x="15" y="54"/>
                    <a:pt x="22" y="54"/>
                    <a:pt x="22" y="54"/>
                  </a:cubicBezTo>
                  <a:cubicBezTo>
                    <a:pt x="15" y="39"/>
                    <a:pt x="15" y="39"/>
                    <a:pt x="15" y="39"/>
                  </a:cubicBezTo>
                  <a:cubicBezTo>
                    <a:pt x="23" y="31"/>
                    <a:pt x="23" y="31"/>
                    <a:pt x="23" y="31"/>
                  </a:cubicBezTo>
                  <a:cubicBezTo>
                    <a:pt x="13" y="0"/>
                    <a:pt x="13" y="0"/>
                    <a:pt x="13" y="0"/>
                  </a:cubicBezTo>
                  <a:cubicBezTo>
                    <a:pt x="9" y="12"/>
                    <a:pt x="9" y="12"/>
                    <a:pt x="9" y="12"/>
                  </a:cubicBezTo>
                  <a:cubicBezTo>
                    <a:pt x="16" y="27"/>
                    <a:pt x="16" y="27"/>
                    <a:pt x="16" y="27"/>
                  </a:cubicBezTo>
                  <a:cubicBezTo>
                    <a:pt x="1" y="30"/>
                    <a:pt x="1" y="30"/>
                    <a:pt x="1" y="30"/>
                  </a:cubicBezTo>
                  <a:cubicBezTo>
                    <a:pt x="1" y="30"/>
                    <a:pt x="0" y="46"/>
                    <a:pt x="7" y="5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6" name="Freeform 389">
              <a:extLst>
                <a:ext uri="{FF2B5EF4-FFF2-40B4-BE49-F238E27FC236}">
                  <a16:creationId xmlns:a16="http://schemas.microsoft.com/office/drawing/2014/main" id="{9910D5E1-2BBB-91F5-E0F1-A4DA42608059}"/>
                </a:ext>
              </a:extLst>
            </p:cNvPr>
            <p:cNvSpPr>
              <a:spLocks/>
            </p:cNvSpPr>
            <p:nvPr/>
          </p:nvSpPr>
          <p:spPr bwMode="gray">
            <a:xfrm>
              <a:off x="10261297" y="1296685"/>
              <a:ext cx="7192" cy="5395"/>
            </a:xfrm>
            <a:custGeom>
              <a:avLst/>
              <a:gdLst>
                <a:gd name="T0" fmla="*/ 2 w 4"/>
                <a:gd name="T1" fmla="*/ 3 h 3"/>
                <a:gd name="T2" fmla="*/ 4 w 4"/>
                <a:gd name="T3" fmla="*/ 0 h 3"/>
                <a:gd name="T4" fmla="*/ 0 w 4"/>
                <a:gd name="T5" fmla="*/ 0 h 3"/>
                <a:gd name="T6" fmla="*/ 2 w 4"/>
                <a:gd name="T7" fmla="*/ 3 h 3"/>
              </a:gdLst>
              <a:ahLst/>
              <a:cxnLst>
                <a:cxn ang="0">
                  <a:pos x="T0" y="T1"/>
                </a:cxn>
                <a:cxn ang="0">
                  <a:pos x="T2" y="T3"/>
                </a:cxn>
                <a:cxn ang="0">
                  <a:pos x="T4" y="T5"/>
                </a:cxn>
                <a:cxn ang="0">
                  <a:pos x="T6" y="T7"/>
                </a:cxn>
              </a:cxnLst>
              <a:rect l="0" t="0" r="r" b="b"/>
              <a:pathLst>
                <a:path w="4" h="3">
                  <a:moveTo>
                    <a:pt x="2" y="3"/>
                  </a:moveTo>
                  <a:lnTo>
                    <a:pt x="4" y="0"/>
                  </a:lnTo>
                  <a:lnTo>
                    <a:pt x="0" y="0"/>
                  </a:lnTo>
                  <a:lnTo>
                    <a:pt x="2"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7" name="Freeform 390">
              <a:extLst>
                <a:ext uri="{FF2B5EF4-FFF2-40B4-BE49-F238E27FC236}">
                  <a16:creationId xmlns:a16="http://schemas.microsoft.com/office/drawing/2014/main" id="{97E2317B-6289-33D8-FF29-5A5DD697BF0C}"/>
                </a:ext>
              </a:extLst>
            </p:cNvPr>
            <p:cNvSpPr>
              <a:spLocks/>
            </p:cNvSpPr>
            <p:nvPr/>
          </p:nvSpPr>
          <p:spPr bwMode="gray">
            <a:xfrm>
              <a:off x="10545378" y="787857"/>
              <a:ext cx="48546" cy="46747"/>
            </a:xfrm>
            <a:custGeom>
              <a:avLst/>
              <a:gdLst>
                <a:gd name="T0" fmla="*/ 45 w 81"/>
                <a:gd name="T1" fmla="*/ 75 h 78"/>
                <a:gd name="T2" fmla="*/ 64 w 81"/>
                <a:gd name="T3" fmla="*/ 57 h 78"/>
                <a:gd name="T4" fmla="*/ 57 w 81"/>
                <a:gd name="T5" fmla="*/ 57 h 78"/>
                <a:gd name="T6" fmla="*/ 69 w 81"/>
                <a:gd name="T7" fmla="*/ 31 h 78"/>
                <a:gd name="T8" fmla="*/ 81 w 81"/>
                <a:gd name="T9" fmla="*/ 24 h 78"/>
                <a:gd name="T10" fmla="*/ 55 w 81"/>
                <a:gd name="T11" fmla="*/ 3 h 78"/>
                <a:gd name="T12" fmla="*/ 47 w 81"/>
                <a:gd name="T13" fmla="*/ 26 h 78"/>
                <a:gd name="T14" fmla="*/ 36 w 81"/>
                <a:gd name="T15" fmla="*/ 21 h 78"/>
                <a:gd name="T16" fmla="*/ 20 w 81"/>
                <a:gd name="T17" fmla="*/ 32 h 78"/>
                <a:gd name="T18" fmla="*/ 24 w 81"/>
                <a:gd name="T19" fmla="*/ 44 h 78"/>
                <a:gd name="T20" fmla="*/ 9 w 81"/>
                <a:gd name="T21" fmla="*/ 39 h 78"/>
                <a:gd name="T22" fmla="*/ 5 w 81"/>
                <a:gd name="T23" fmla="*/ 51 h 78"/>
                <a:gd name="T24" fmla="*/ 8 w 81"/>
                <a:gd name="T25" fmla="*/ 62 h 78"/>
                <a:gd name="T26" fmla="*/ 1 w 81"/>
                <a:gd name="T27" fmla="*/ 58 h 78"/>
                <a:gd name="T28" fmla="*/ 0 w 81"/>
                <a:gd name="T29" fmla="*/ 73 h 78"/>
                <a:gd name="T30" fmla="*/ 45 w 81"/>
                <a:gd name="T31"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78">
                  <a:moveTo>
                    <a:pt x="45" y="75"/>
                  </a:moveTo>
                  <a:cubicBezTo>
                    <a:pt x="64" y="69"/>
                    <a:pt x="64" y="57"/>
                    <a:pt x="64" y="57"/>
                  </a:cubicBezTo>
                  <a:cubicBezTo>
                    <a:pt x="57" y="57"/>
                    <a:pt x="57" y="57"/>
                    <a:pt x="57" y="57"/>
                  </a:cubicBezTo>
                  <a:cubicBezTo>
                    <a:pt x="57" y="57"/>
                    <a:pt x="61" y="34"/>
                    <a:pt x="69" y="31"/>
                  </a:cubicBezTo>
                  <a:cubicBezTo>
                    <a:pt x="73" y="27"/>
                    <a:pt x="81" y="24"/>
                    <a:pt x="81" y="24"/>
                  </a:cubicBezTo>
                  <a:cubicBezTo>
                    <a:pt x="81" y="24"/>
                    <a:pt x="74" y="0"/>
                    <a:pt x="55" y="3"/>
                  </a:cubicBezTo>
                  <a:cubicBezTo>
                    <a:pt x="41" y="3"/>
                    <a:pt x="47" y="26"/>
                    <a:pt x="47" y="26"/>
                  </a:cubicBezTo>
                  <a:cubicBezTo>
                    <a:pt x="36" y="21"/>
                    <a:pt x="36" y="21"/>
                    <a:pt x="36" y="21"/>
                  </a:cubicBezTo>
                  <a:cubicBezTo>
                    <a:pt x="20" y="32"/>
                    <a:pt x="20" y="32"/>
                    <a:pt x="20" y="32"/>
                  </a:cubicBezTo>
                  <a:cubicBezTo>
                    <a:pt x="24" y="44"/>
                    <a:pt x="24" y="44"/>
                    <a:pt x="24" y="44"/>
                  </a:cubicBezTo>
                  <a:cubicBezTo>
                    <a:pt x="9" y="39"/>
                    <a:pt x="9" y="39"/>
                    <a:pt x="9" y="39"/>
                  </a:cubicBezTo>
                  <a:cubicBezTo>
                    <a:pt x="5" y="51"/>
                    <a:pt x="5" y="51"/>
                    <a:pt x="5" y="51"/>
                  </a:cubicBezTo>
                  <a:cubicBezTo>
                    <a:pt x="8" y="62"/>
                    <a:pt x="8" y="62"/>
                    <a:pt x="8" y="62"/>
                  </a:cubicBezTo>
                  <a:cubicBezTo>
                    <a:pt x="1" y="58"/>
                    <a:pt x="1" y="58"/>
                    <a:pt x="1" y="58"/>
                  </a:cubicBezTo>
                  <a:cubicBezTo>
                    <a:pt x="0" y="73"/>
                    <a:pt x="0" y="73"/>
                    <a:pt x="0" y="73"/>
                  </a:cubicBezTo>
                  <a:cubicBezTo>
                    <a:pt x="0" y="73"/>
                    <a:pt x="26" y="78"/>
                    <a:pt x="45" y="7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8" name="Freeform 391">
              <a:extLst>
                <a:ext uri="{FF2B5EF4-FFF2-40B4-BE49-F238E27FC236}">
                  <a16:creationId xmlns:a16="http://schemas.microsoft.com/office/drawing/2014/main" id="{82EA72D1-2E55-DC56-4EEC-358C408B7FE5}"/>
                </a:ext>
              </a:extLst>
            </p:cNvPr>
            <p:cNvSpPr>
              <a:spLocks/>
            </p:cNvSpPr>
            <p:nvPr/>
          </p:nvSpPr>
          <p:spPr bwMode="gray">
            <a:xfrm>
              <a:off x="10484246" y="823817"/>
              <a:ext cx="68323" cy="84506"/>
            </a:xfrm>
            <a:custGeom>
              <a:avLst/>
              <a:gdLst>
                <a:gd name="T0" fmla="*/ 6 w 113"/>
                <a:gd name="T1" fmla="*/ 135 h 143"/>
                <a:gd name="T2" fmla="*/ 36 w 113"/>
                <a:gd name="T3" fmla="*/ 136 h 143"/>
                <a:gd name="T4" fmla="*/ 57 w 113"/>
                <a:gd name="T5" fmla="*/ 99 h 143"/>
                <a:gd name="T6" fmla="*/ 94 w 113"/>
                <a:gd name="T7" fmla="*/ 105 h 143"/>
                <a:gd name="T8" fmla="*/ 88 w 113"/>
                <a:gd name="T9" fmla="*/ 78 h 143"/>
                <a:gd name="T10" fmla="*/ 104 w 113"/>
                <a:gd name="T11" fmla="*/ 55 h 143"/>
                <a:gd name="T12" fmla="*/ 87 w 113"/>
                <a:gd name="T13" fmla="*/ 13 h 143"/>
                <a:gd name="T14" fmla="*/ 37 w 113"/>
                <a:gd name="T15" fmla="*/ 33 h 143"/>
                <a:gd name="T16" fmla="*/ 55 w 113"/>
                <a:gd name="T17" fmla="*/ 57 h 143"/>
                <a:gd name="T18" fmla="*/ 40 w 113"/>
                <a:gd name="T19" fmla="*/ 49 h 143"/>
                <a:gd name="T20" fmla="*/ 10 w 113"/>
                <a:gd name="T21" fmla="*/ 55 h 143"/>
                <a:gd name="T22" fmla="*/ 9 w 113"/>
                <a:gd name="T23" fmla="*/ 70 h 143"/>
                <a:gd name="T24" fmla="*/ 24 w 113"/>
                <a:gd name="T25" fmla="*/ 78 h 143"/>
                <a:gd name="T26" fmla="*/ 1 w 113"/>
                <a:gd name="T27" fmla="*/ 89 h 143"/>
                <a:gd name="T28" fmla="*/ 4 w 113"/>
                <a:gd name="T29" fmla="*/ 97 h 143"/>
                <a:gd name="T30" fmla="*/ 23 w 113"/>
                <a:gd name="T31" fmla="*/ 105 h 143"/>
                <a:gd name="T32" fmla="*/ 0 w 113"/>
                <a:gd name="T33" fmla="*/ 123 h 143"/>
                <a:gd name="T34" fmla="*/ 6 w 113"/>
                <a:gd name="T35" fmla="*/ 13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143">
                  <a:moveTo>
                    <a:pt x="6" y="135"/>
                  </a:moveTo>
                  <a:cubicBezTo>
                    <a:pt x="6" y="135"/>
                    <a:pt x="25" y="143"/>
                    <a:pt x="36" y="136"/>
                  </a:cubicBezTo>
                  <a:cubicBezTo>
                    <a:pt x="57" y="99"/>
                    <a:pt x="57" y="99"/>
                    <a:pt x="57" y="99"/>
                  </a:cubicBezTo>
                  <a:cubicBezTo>
                    <a:pt x="94" y="105"/>
                    <a:pt x="94" y="105"/>
                    <a:pt x="94" y="105"/>
                  </a:cubicBezTo>
                  <a:cubicBezTo>
                    <a:pt x="88" y="78"/>
                    <a:pt x="88" y="78"/>
                    <a:pt x="88" y="78"/>
                  </a:cubicBezTo>
                  <a:cubicBezTo>
                    <a:pt x="104" y="55"/>
                    <a:pt x="104" y="55"/>
                    <a:pt x="104" y="55"/>
                  </a:cubicBezTo>
                  <a:cubicBezTo>
                    <a:pt x="104" y="55"/>
                    <a:pt x="113" y="21"/>
                    <a:pt x="87" y="13"/>
                  </a:cubicBezTo>
                  <a:cubicBezTo>
                    <a:pt x="61" y="0"/>
                    <a:pt x="37" y="33"/>
                    <a:pt x="37" y="33"/>
                  </a:cubicBezTo>
                  <a:cubicBezTo>
                    <a:pt x="55" y="57"/>
                    <a:pt x="55" y="57"/>
                    <a:pt x="55" y="57"/>
                  </a:cubicBezTo>
                  <a:cubicBezTo>
                    <a:pt x="40" y="49"/>
                    <a:pt x="40" y="49"/>
                    <a:pt x="40" y="49"/>
                  </a:cubicBezTo>
                  <a:cubicBezTo>
                    <a:pt x="40" y="49"/>
                    <a:pt x="10" y="51"/>
                    <a:pt x="10" y="55"/>
                  </a:cubicBezTo>
                  <a:cubicBezTo>
                    <a:pt x="9" y="70"/>
                    <a:pt x="9" y="70"/>
                    <a:pt x="9" y="70"/>
                  </a:cubicBezTo>
                  <a:cubicBezTo>
                    <a:pt x="24" y="78"/>
                    <a:pt x="24" y="78"/>
                    <a:pt x="24" y="78"/>
                  </a:cubicBezTo>
                  <a:cubicBezTo>
                    <a:pt x="1" y="89"/>
                    <a:pt x="1" y="89"/>
                    <a:pt x="1" y="89"/>
                  </a:cubicBezTo>
                  <a:cubicBezTo>
                    <a:pt x="4" y="97"/>
                    <a:pt x="4" y="97"/>
                    <a:pt x="4" y="97"/>
                  </a:cubicBezTo>
                  <a:cubicBezTo>
                    <a:pt x="23" y="105"/>
                    <a:pt x="23" y="105"/>
                    <a:pt x="23" y="105"/>
                  </a:cubicBezTo>
                  <a:cubicBezTo>
                    <a:pt x="0" y="123"/>
                    <a:pt x="0" y="123"/>
                    <a:pt x="0" y="123"/>
                  </a:cubicBezTo>
                  <a:lnTo>
                    <a:pt x="6" y="1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9" name="Freeform 392">
              <a:extLst>
                <a:ext uri="{FF2B5EF4-FFF2-40B4-BE49-F238E27FC236}">
                  <a16:creationId xmlns:a16="http://schemas.microsoft.com/office/drawing/2014/main" id="{6CB4D956-4D2F-4B8B-E0ED-632B46C0D89F}"/>
                </a:ext>
              </a:extLst>
            </p:cNvPr>
            <p:cNvSpPr>
              <a:spLocks/>
            </p:cNvSpPr>
            <p:nvPr/>
          </p:nvSpPr>
          <p:spPr bwMode="gray">
            <a:xfrm>
              <a:off x="10236126" y="1318261"/>
              <a:ext cx="32364" cy="23374"/>
            </a:xfrm>
            <a:custGeom>
              <a:avLst/>
              <a:gdLst>
                <a:gd name="T0" fmla="*/ 28 w 54"/>
                <a:gd name="T1" fmla="*/ 0 h 38"/>
                <a:gd name="T2" fmla="*/ 4 w 54"/>
                <a:gd name="T3" fmla="*/ 18 h 38"/>
                <a:gd name="T4" fmla="*/ 11 w 54"/>
                <a:gd name="T5" fmla="*/ 38 h 38"/>
                <a:gd name="T6" fmla="*/ 30 w 54"/>
                <a:gd name="T7" fmla="*/ 20 h 38"/>
                <a:gd name="T8" fmla="*/ 50 w 54"/>
                <a:gd name="T9" fmla="*/ 9 h 38"/>
                <a:gd name="T10" fmla="*/ 54 w 54"/>
                <a:gd name="T11" fmla="*/ 2 h 38"/>
                <a:gd name="T12" fmla="*/ 31 w 54"/>
                <a:gd name="T13" fmla="*/ 8 h 38"/>
                <a:gd name="T14" fmla="*/ 28 w 54"/>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8">
                  <a:moveTo>
                    <a:pt x="28" y="0"/>
                  </a:moveTo>
                  <a:cubicBezTo>
                    <a:pt x="28" y="0"/>
                    <a:pt x="8" y="11"/>
                    <a:pt x="4" y="18"/>
                  </a:cubicBezTo>
                  <a:cubicBezTo>
                    <a:pt x="0" y="22"/>
                    <a:pt x="11" y="38"/>
                    <a:pt x="11" y="38"/>
                  </a:cubicBezTo>
                  <a:cubicBezTo>
                    <a:pt x="30" y="20"/>
                    <a:pt x="30" y="20"/>
                    <a:pt x="30" y="20"/>
                  </a:cubicBezTo>
                  <a:cubicBezTo>
                    <a:pt x="50" y="9"/>
                    <a:pt x="50" y="9"/>
                    <a:pt x="50" y="9"/>
                  </a:cubicBezTo>
                  <a:cubicBezTo>
                    <a:pt x="54" y="2"/>
                    <a:pt x="54" y="2"/>
                    <a:pt x="54" y="2"/>
                  </a:cubicBezTo>
                  <a:cubicBezTo>
                    <a:pt x="31" y="8"/>
                    <a:pt x="31" y="8"/>
                    <a:pt x="31" y="8"/>
                  </a:cubicBezTo>
                  <a:lnTo>
                    <a:pt x="2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0" name="Freeform 393">
              <a:extLst>
                <a:ext uri="{FF2B5EF4-FFF2-40B4-BE49-F238E27FC236}">
                  <a16:creationId xmlns:a16="http://schemas.microsoft.com/office/drawing/2014/main" id="{990E0891-F7BB-5165-172A-122E9DAF702A}"/>
                </a:ext>
              </a:extLst>
            </p:cNvPr>
            <p:cNvSpPr>
              <a:spLocks/>
            </p:cNvSpPr>
            <p:nvPr/>
          </p:nvSpPr>
          <p:spPr bwMode="gray">
            <a:xfrm>
              <a:off x="10272085" y="1284099"/>
              <a:ext cx="8991" cy="10788"/>
            </a:xfrm>
            <a:custGeom>
              <a:avLst/>
              <a:gdLst>
                <a:gd name="T0" fmla="*/ 0 w 5"/>
                <a:gd name="T1" fmla="*/ 6 h 6"/>
                <a:gd name="T2" fmla="*/ 5 w 5"/>
                <a:gd name="T3" fmla="*/ 1 h 6"/>
                <a:gd name="T4" fmla="*/ 2 w 5"/>
                <a:gd name="T5" fmla="*/ 0 h 6"/>
                <a:gd name="T6" fmla="*/ 0 w 5"/>
                <a:gd name="T7" fmla="*/ 6 h 6"/>
              </a:gdLst>
              <a:ahLst/>
              <a:cxnLst>
                <a:cxn ang="0">
                  <a:pos x="T0" y="T1"/>
                </a:cxn>
                <a:cxn ang="0">
                  <a:pos x="T2" y="T3"/>
                </a:cxn>
                <a:cxn ang="0">
                  <a:pos x="T4" y="T5"/>
                </a:cxn>
                <a:cxn ang="0">
                  <a:pos x="T6" y="T7"/>
                </a:cxn>
              </a:cxnLst>
              <a:rect l="0" t="0" r="r" b="b"/>
              <a:pathLst>
                <a:path w="5" h="6">
                  <a:moveTo>
                    <a:pt x="0" y="6"/>
                  </a:moveTo>
                  <a:lnTo>
                    <a:pt x="5" y="1"/>
                  </a:lnTo>
                  <a:lnTo>
                    <a:pt x="2"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1" name="Freeform 394">
              <a:extLst>
                <a:ext uri="{FF2B5EF4-FFF2-40B4-BE49-F238E27FC236}">
                  <a16:creationId xmlns:a16="http://schemas.microsoft.com/office/drawing/2014/main" id="{DA474D59-E801-CBCF-FE81-A5FD925B349A}"/>
                </a:ext>
              </a:extLst>
            </p:cNvPr>
            <p:cNvSpPr>
              <a:spLocks/>
            </p:cNvSpPr>
            <p:nvPr/>
          </p:nvSpPr>
          <p:spPr bwMode="gray">
            <a:xfrm>
              <a:off x="10579540" y="757292"/>
              <a:ext cx="48546" cy="39556"/>
            </a:xfrm>
            <a:custGeom>
              <a:avLst/>
              <a:gdLst>
                <a:gd name="T0" fmla="*/ 18 w 83"/>
                <a:gd name="T1" fmla="*/ 52 h 68"/>
                <a:gd name="T2" fmla="*/ 29 w 83"/>
                <a:gd name="T3" fmla="*/ 57 h 68"/>
                <a:gd name="T4" fmla="*/ 33 w 83"/>
                <a:gd name="T5" fmla="*/ 68 h 68"/>
                <a:gd name="T6" fmla="*/ 60 w 83"/>
                <a:gd name="T7" fmla="*/ 47 h 68"/>
                <a:gd name="T8" fmla="*/ 60 w 83"/>
                <a:gd name="T9" fmla="*/ 35 h 68"/>
                <a:gd name="T10" fmla="*/ 76 w 83"/>
                <a:gd name="T11" fmla="*/ 21 h 68"/>
                <a:gd name="T12" fmla="*/ 54 w 83"/>
                <a:gd name="T13" fmla="*/ 16 h 68"/>
                <a:gd name="T14" fmla="*/ 32 w 83"/>
                <a:gd name="T15" fmla="*/ 3 h 68"/>
                <a:gd name="T16" fmla="*/ 0 w 83"/>
                <a:gd name="T17" fmla="*/ 32 h 68"/>
                <a:gd name="T18" fmla="*/ 18 w 83"/>
                <a:gd name="T19"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68">
                  <a:moveTo>
                    <a:pt x="18" y="52"/>
                  </a:moveTo>
                  <a:cubicBezTo>
                    <a:pt x="26" y="57"/>
                    <a:pt x="29" y="57"/>
                    <a:pt x="29" y="57"/>
                  </a:cubicBezTo>
                  <a:cubicBezTo>
                    <a:pt x="33" y="68"/>
                    <a:pt x="33" y="68"/>
                    <a:pt x="33" y="68"/>
                  </a:cubicBezTo>
                  <a:cubicBezTo>
                    <a:pt x="33" y="68"/>
                    <a:pt x="59" y="62"/>
                    <a:pt x="60" y="47"/>
                  </a:cubicBezTo>
                  <a:cubicBezTo>
                    <a:pt x="60" y="35"/>
                    <a:pt x="60" y="35"/>
                    <a:pt x="60" y="35"/>
                  </a:cubicBezTo>
                  <a:cubicBezTo>
                    <a:pt x="60" y="35"/>
                    <a:pt x="83" y="29"/>
                    <a:pt x="76" y="21"/>
                  </a:cubicBezTo>
                  <a:cubicBezTo>
                    <a:pt x="73" y="13"/>
                    <a:pt x="54" y="16"/>
                    <a:pt x="54" y="16"/>
                  </a:cubicBezTo>
                  <a:cubicBezTo>
                    <a:pt x="54" y="16"/>
                    <a:pt x="47" y="0"/>
                    <a:pt x="32" y="3"/>
                  </a:cubicBezTo>
                  <a:cubicBezTo>
                    <a:pt x="20" y="7"/>
                    <a:pt x="0" y="32"/>
                    <a:pt x="0" y="32"/>
                  </a:cubicBezTo>
                  <a:cubicBezTo>
                    <a:pt x="0" y="32"/>
                    <a:pt x="11" y="48"/>
                    <a:pt x="18" y="5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2" name="Freeform 395">
              <a:extLst>
                <a:ext uri="{FF2B5EF4-FFF2-40B4-BE49-F238E27FC236}">
                  <a16:creationId xmlns:a16="http://schemas.microsoft.com/office/drawing/2014/main" id="{B55D3430-B28E-002F-DA85-9B1A414B5707}"/>
                </a:ext>
              </a:extLst>
            </p:cNvPr>
            <p:cNvSpPr>
              <a:spLocks/>
            </p:cNvSpPr>
            <p:nvPr/>
          </p:nvSpPr>
          <p:spPr bwMode="gray">
            <a:xfrm>
              <a:off x="10610105" y="744705"/>
              <a:ext cx="8991" cy="10788"/>
            </a:xfrm>
            <a:custGeom>
              <a:avLst/>
              <a:gdLst>
                <a:gd name="T0" fmla="*/ 0 w 5"/>
                <a:gd name="T1" fmla="*/ 0 h 6"/>
                <a:gd name="T2" fmla="*/ 0 w 5"/>
                <a:gd name="T3" fmla="*/ 4 h 6"/>
                <a:gd name="T4" fmla="*/ 5 w 5"/>
                <a:gd name="T5" fmla="*/ 6 h 6"/>
                <a:gd name="T6" fmla="*/ 0 w 5"/>
                <a:gd name="T7" fmla="*/ 0 h 6"/>
              </a:gdLst>
              <a:ahLst/>
              <a:cxnLst>
                <a:cxn ang="0">
                  <a:pos x="T0" y="T1"/>
                </a:cxn>
                <a:cxn ang="0">
                  <a:pos x="T2" y="T3"/>
                </a:cxn>
                <a:cxn ang="0">
                  <a:pos x="T4" y="T5"/>
                </a:cxn>
                <a:cxn ang="0">
                  <a:pos x="T6" y="T7"/>
                </a:cxn>
              </a:cxnLst>
              <a:rect l="0" t="0" r="r" b="b"/>
              <a:pathLst>
                <a:path w="5" h="6">
                  <a:moveTo>
                    <a:pt x="0" y="0"/>
                  </a:moveTo>
                  <a:lnTo>
                    <a:pt x="0" y="4"/>
                  </a:lnTo>
                  <a:lnTo>
                    <a:pt x="5" y="6"/>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3" name="Freeform 396">
              <a:extLst>
                <a:ext uri="{FF2B5EF4-FFF2-40B4-BE49-F238E27FC236}">
                  <a16:creationId xmlns:a16="http://schemas.microsoft.com/office/drawing/2014/main" id="{A62712F5-D124-4913-568F-F967B6B46DEE}"/>
                </a:ext>
              </a:extLst>
            </p:cNvPr>
            <p:cNvSpPr>
              <a:spLocks/>
            </p:cNvSpPr>
            <p:nvPr/>
          </p:nvSpPr>
          <p:spPr bwMode="gray">
            <a:xfrm>
              <a:off x="10593924" y="730322"/>
              <a:ext cx="12586" cy="23374"/>
            </a:xfrm>
            <a:custGeom>
              <a:avLst/>
              <a:gdLst>
                <a:gd name="T0" fmla="*/ 7 w 7"/>
                <a:gd name="T1" fmla="*/ 3 h 13"/>
                <a:gd name="T2" fmla="*/ 0 w 7"/>
                <a:gd name="T3" fmla="*/ 0 h 13"/>
                <a:gd name="T4" fmla="*/ 0 w 7"/>
                <a:gd name="T5" fmla="*/ 13 h 13"/>
                <a:gd name="T6" fmla="*/ 5 w 7"/>
                <a:gd name="T7" fmla="*/ 13 h 13"/>
                <a:gd name="T8" fmla="*/ 7 w 7"/>
                <a:gd name="T9" fmla="*/ 3 h 13"/>
              </a:gdLst>
              <a:ahLst/>
              <a:cxnLst>
                <a:cxn ang="0">
                  <a:pos x="T0" y="T1"/>
                </a:cxn>
                <a:cxn ang="0">
                  <a:pos x="T2" y="T3"/>
                </a:cxn>
                <a:cxn ang="0">
                  <a:pos x="T4" y="T5"/>
                </a:cxn>
                <a:cxn ang="0">
                  <a:pos x="T6" y="T7"/>
                </a:cxn>
                <a:cxn ang="0">
                  <a:pos x="T8" y="T9"/>
                </a:cxn>
              </a:cxnLst>
              <a:rect l="0" t="0" r="r" b="b"/>
              <a:pathLst>
                <a:path w="7" h="13">
                  <a:moveTo>
                    <a:pt x="7" y="3"/>
                  </a:moveTo>
                  <a:lnTo>
                    <a:pt x="0" y="0"/>
                  </a:lnTo>
                  <a:lnTo>
                    <a:pt x="0" y="13"/>
                  </a:lnTo>
                  <a:lnTo>
                    <a:pt x="5" y="13"/>
                  </a:lnTo>
                  <a:lnTo>
                    <a:pt x="7"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4" name="Freeform 397">
              <a:extLst>
                <a:ext uri="{FF2B5EF4-FFF2-40B4-BE49-F238E27FC236}">
                  <a16:creationId xmlns:a16="http://schemas.microsoft.com/office/drawing/2014/main" id="{7EA77CAC-8A15-D512-3515-4B4DE20F1FEE}"/>
                </a:ext>
              </a:extLst>
            </p:cNvPr>
            <p:cNvSpPr>
              <a:spLocks/>
            </p:cNvSpPr>
            <p:nvPr/>
          </p:nvSpPr>
          <p:spPr bwMode="gray">
            <a:xfrm>
              <a:off x="10270288" y="1257129"/>
              <a:ext cx="5395" cy="10788"/>
            </a:xfrm>
            <a:custGeom>
              <a:avLst/>
              <a:gdLst>
                <a:gd name="T0" fmla="*/ 1 w 3"/>
                <a:gd name="T1" fmla="*/ 6 h 6"/>
                <a:gd name="T2" fmla="*/ 3 w 3"/>
                <a:gd name="T3" fmla="*/ 2 h 6"/>
                <a:gd name="T4" fmla="*/ 0 w 3"/>
                <a:gd name="T5" fmla="*/ 0 h 6"/>
                <a:gd name="T6" fmla="*/ 1 w 3"/>
                <a:gd name="T7" fmla="*/ 6 h 6"/>
              </a:gdLst>
              <a:ahLst/>
              <a:cxnLst>
                <a:cxn ang="0">
                  <a:pos x="T0" y="T1"/>
                </a:cxn>
                <a:cxn ang="0">
                  <a:pos x="T2" y="T3"/>
                </a:cxn>
                <a:cxn ang="0">
                  <a:pos x="T4" y="T5"/>
                </a:cxn>
                <a:cxn ang="0">
                  <a:pos x="T6" y="T7"/>
                </a:cxn>
              </a:cxnLst>
              <a:rect l="0" t="0" r="r" b="b"/>
              <a:pathLst>
                <a:path w="3" h="6">
                  <a:moveTo>
                    <a:pt x="1" y="6"/>
                  </a:moveTo>
                  <a:lnTo>
                    <a:pt x="3" y="2"/>
                  </a:lnTo>
                  <a:lnTo>
                    <a:pt x="0"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5" name="Freeform 398">
              <a:extLst>
                <a:ext uri="{FF2B5EF4-FFF2-40B4-BE49-F238E27FC236}">
                  <a16:creationId xmlns:a16="http://schemas.microsoft.com/office/drawing/2014/main" id="{14A1FE3B-55FA-35C9-9C5E-3199ED8A974C}"/>
                </a:ext>
              </a:extLst>
            </p:cNvPr>
            <p:cNvSpPr>
              <a:spLocks/>
            </p:cNvSpPr>
            <p:nvPr/>
          </p:nvSpPr>
          <p:spPr bwMode="gray">
            <a:xfrm>
              <a:off x="10568752" y="750100"/>
              <a:ext cx="19778" cy="17980"/>
            </a:xfrm>
            <a:custGeom>
              <a:avLst/>
              <a:gdLst>
                <a:gd name="T0" fmla="*/ 11 w 11"/>
                <a:gd name="T1" fmla="*/ 5 h 10"/>
                <a:gd name="T2" fmla="*/ 6 w 11"/>
                <a:gd name="T3" fmla="*/ 0 h 10"/>
                <a:gd name="T4" fmla="*/ 6 w 11"/>
                <a:gd name="T5" fmla="*/ 6 h 10"/>
                <a:gd name="T6" fmla="*/ 0 w 11"/>
                <a:gd name="T7" fmla="*/ 3 h 10"/>
                <a:gd name="T8" fmla="*/ 2 w 11"/>
                <a:gd name="T9" fmla="*/ 10 h 10"/>
                <a:gd name="T10" fmla="*/ 11 w 11"/>
                <a:gd name="T11" fmla="*/ 5 h 10"/>
              </a:gdLst>
              <a:ahLst/>
              <a:cxnLst>
                <a:cxn ang="0">
                  <a:pos x="T0" y="T1"/>
                </a:cxn>
                <a:cxn ang="0">
                  <a:pos x="T2" y="T3"/>
                </a:cxn>
                <a:cxn ang="0">
                  <a:pos x="T4" y="T5"/>
                </a:cxn>
                <a:cxn ang="0">
                  <a:pos x="T6" y="T7"/>
                </a:cxn>
                <a:cxn ang="0">
                  <a:pos x="T8" y="T9"/>
                </a:cxn>
                <a:cxn ang="0">
                  <a:pos x="T10" y="T11"/>
                </a:cxn>
              </a:cxnLst>
              <a:rect l="0" t="0" r="r" b="b"/>
              <a:pathLst>
                <a:path w="11" h="10">
                  <a:moveTo>
                    <a:pt x="11" y="5"/>
                  </a:moveTo>
                  <a:lnTo>
                    <a:pt x="6" y="0"/>
                  </a:lnTo>
                  <a:lnTo>
                    <a:pt x="6" y="6"/>
                  </a:lnTo>
                  <a:lnTo>
                    <a:pt x="0" y="3"/>
                  </a:lnTo>
                  <a:lnTo>
                    <a:pt x="2" y="10"/>
                  </a:lnTo>
                  <a:lnTo>
                    <a:pt x="1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6" name="Freeform 399">
              <a:extLst>
                <a:ext uri="{FF2B5EF4-FFF2-40B4-BE49-F238E27FC236}">
                  <a16:creationId xmlns:a16="http://schemas.microsoft.com/office/drawing/2014/main" id="{B23A200C-3113-1752-90D0-13D54D0689FE}"/>
                </a:ext>
              </a:extLst>
            </p:cNvPr>
            <p:cNvSpPr>
              <a:spLocks/>
            </p:cNvSpPr>
            <p:nvPr/>
          </p:nvSpPr>
          <p:spPr bwMode="gray">
            <a:xfrm>
              <a:off x="10344004" y="1124079"/>
              <a:ext cx="26971" cy="10788"/>
            </a:xfrm>
            <a:custGeom>
              <a:avLst/>
              <a:gdLst>
                <a:gd name="T0" fmla="*/ 23 w 46"/>
                <a:gd name="T1" fmla="*/ 7 h 18"/>
                <a:gd name="T2" fmla="*/ 27 w 46"/>
                <a:gd name="T3" fmla="*/ 15 h 18"/>
                <a:gd name="T4" fmla="*/ 23 w 46"/>
                <a:gd name="T5" fmla="*/ 7 h 18"/>
              </a:gdLst>
              <a:ahLst/>
              <a:cxnLst>
                <a:cxn ang="0">
                  <a:pos x="T0" y="T1"/>
                </a:cxn>
                <a:cxn ang="0">
                  <a:pos x="T2" y="T3"/>
                </a:cxn>
                <a:cxn ang="0">
                  <a:pos x="T4" y="T5"/>
                </a:cxn>
              </a:cxnLst>
              <a:rect l="0" t="0" r="r" b="b"/>
              <a:pathLst>
                <a:path w="46" h="18">
                  <a:moveTo>
                    <a:pt x="23" y="7"/>
                  </a:moveTo>
                  <a:cubicBezTo>
                    <a:pt x="0" y="17"/>
                    <a:pt x="19" y="18"/>
                    <a:pt x="27" y="15"/>
                  </a:cubicBezTo>
                  <a:cubicBezTo>
                    <a:pt x="46" y="8"/>
                    <a:pt x="42" y="0"/>
                    <a:pt x="23"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7" name="Freeform 400">
              <a:extLst>
                <a:ext uri="{FF2B5EF4-FFF2-40B4-BE49-F238E27FC236}">
                  <a16:creationId xmlns:a16="http://schemas.microsoft.com/office/drawing/2014/main" id="{BED421BB-08A8-9EEE-08DA-D44887DE0B7C}"/>
                </a:ext>
              </a:extLst>
            </p:cNvPr>
            <p:cNvSpPr>
              <a:spLocks/>
            </p:cNvSpPr>
            <p:nvPr/>
          </p:nvSpPr>
          <p:spPr bwMode="gray">
            <a:xfrm>
              <a:off x="10442894" y="998221"/>
              <a:ext cx="12586" cy="8991"/>
            </a:xfrm>
            <a:custGeom>
              <a:avLst/>
              <a:gdLst>
                <a:gd name="T0" fmla="*/ 0 w 7"/>
                <a:gd name="T1" fmla="*/ 5 h 5"/>
                <a:gd name="T2" fmla="*/ 7 w 7"/>
                <a:gd name="T3" fmla="*/ 0 h 5"/>
                <a:gd name="T4" fmla="*/ 1 w 7"/>
                <a:gd name="T5" fmla="*/ 1 h 5"/>
                <a:gd name="T6" fmla="*/ 0 w 7"/>
                <a:gd name="T7" fmla="*/ 5 h 5"/>
              </a:gdLst>
              <a:ahLst/>
              <a:cxnLst>
                <a:cxn ang="0">
                  <a:pos x="T0" y="T1"/>
                </a:cxn>
                <a:cxn ang="0">
                  <a:pos x="T2" y="T3"/>
                </a:cxn>
                <a:cxn ang="0">
                  <a:pos x="T4" y="T5"/>
                </a:cxn>
                <a:cxn ang="0">
                  <a:pos x="T6" y="T7"/>
                </a:cxn>
              </a:cxnLst>
              <a:rect l="0" t="0" r="r" b="b"/>
              <a:pathLst>
                <a:path w="7" h="5">
                  <a:moveTo>
                    <a:pt x="0" y="5"/>
                  </a:moveTo>
                  <a:lnTo>
                    <a:pt x="7" y="0"/>
                  </a:lnTo>
                  <a:lnTo>
                    <a:pt x="1" y="1"/>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8" name="Freeform 401">
              <a:extLst>
                <a:ext uri="{FF2B5EF4-FFF2-40B4-BE49-F238E27FC236}">
                  <a16:creationId xmlns:a16="http://schemas.microsoft.com/office/drawing/2014/main" id="{AC1542A2-ADBA-BEFA-0850-13E7ADD3DC11}"/>
                </a:ext>
              </a:extLst>
            </p:cNvPr>
            <p:cNvSpPr>
              <a:spLocks/>
            </p:cNvSpPr>
            <p:nvPr/>
          </p:nvSpPr>
          <p:spPr bwMode="gray">
            <a:xfrm>
              <a:off x="10399743" y="1041372"/>
              <a:ext cx="8991" cy="10788"/>
            </a:xfrm>
            <a:custGeom>
              <a:avLst/>
              <a:gdLst>
                <a:gd name="T0" fmla="*/ 0 w 15"/>
                <a:gd name="T1" fmla="*/ 8 h 20"/>
                <a:gd name="T2" fmla="*/ 15 w 15"/>
                <a:gd name="T3" fmla="*/ 20 h 20"/>
                <a:gd name="T4" fmla="*/ 4 w 15"/>
                <a:gd name="T5" fmla="*/ 0 h 20"/>
                <a:gd name="T6" fmla="*/ 0 w 15"/>
                <a:gd name="T7" fmla="*/ 8 h 20"/>
              </a:gdLst>
              <a:ahLst/>
              <a:cxnLst>
                <a:cxn ang="0">
                  <a:pos x="T0" y="T1"/>
                </a:cxn>
                <a:cxn ang="0">
                  <a:pos x="T2" y="T3"/>
                </a:cxn>
                <a:cxn ang="0">
                  <a:pos x="T4" y="T5"/>
                </a:cxn>
                <a:cxn ang="0">
                  <a:pos x="T6" y="T7"/>
                </a:cxn>
              </a:cxnLst>
              <a:rect l="0" t="0" r="r" b="b"/>
              <a:pathLst>
                <a:path w="15" h="20">
                  <a:moveTo>
                    <a:pt x="0" y="8"/>
                  </a:moveTo>
                  <a:cubicBezTo>
                    <a:pt x="15" y="20"/>
                    <a:pt x="15" y="20"/>
                    <a:pt x="15" y="20"/>
                  </a:cubicBezTo>
                  <a:cubicBezTo>
                    <a:pt x="15" y="16"/>
                    <a:pt x="4" y="0"/>
                    <a:pt x="4" y="0"/>
                  </a:cubicBez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9" name="Freeform 402">
              <a:extLst>
                <a:ext uri="{FF2B5EF4-FFF2-40B4-BE49-F238E27FC236}">
                  <a16:creationId xmlns:a16="http://schemas.microsoft.com/office/drawing/2014/main" id="{E168F51A-CB1D-E1D9-F97E-409AFB896922}"/>
                </a:ext>
              </a:extLst>
            </p:cNvPr>
            <p:cNvSpPr>
              <a:spLocks/>
            </p:cNvSpPr>
            <p:nvPr/>
          </p:nvSpPr>
          <p:spPr bwMode="gray">
            <a:xfrm>
              <a:off x="10446490" y="962262"/>
              <a:ext cx="28768" cy="30566"/>
            </a:xfrm>
            <a:custGeom>
              <a:avLst/>
              <a:gdLst>
                <a:gd name="T0" fmla="*/ 12 w 49"/>
                <a:gd name="T1" fmla="*/ 42 h 53"/>
                <a:gd name="T2" fmla="*/ 0 w 49"/>
                <a:gd name="T3" fmla="*/ 53 h 53"/>
                <a:gd name="T4" fmla="*/ 4 w 49"/>
                <a:gd name="T5" fmla="*/ 53 h 53"/>
                <a:gd name="T6" fmla="*/ 23 w 49"/>
                <a:gd name="T7" fmla="*/ 46 h 53"/>
                <a:gd name="T8" fmla="*/ 31 w 49"/>
                <a:gd name="T9" fmla="*/ 20 h 53"/>
                <a:gd name="T10" fmla="*/ 12 w 49"/>
                <a:gd name="T11" fmla="*/ 42 h 53"/>
              </a:gdLst>
              <a:ahLst/>
              <a:cxnLst>
                <a:cxn ang="0">
                  <a:pos x="T0" y="T1"/>
                </a:cxn>
                <a:cxn ang="0">
                  <a:pos x="T2" y="T3"/>
                </a:cxn>
                <a:cxn ang="0">
                  <a:pos x="T4" y="T5"/>
                </a:cxn>
                <a:cxn ang="0">
                  <a:pos x="T6" y="T7"/>
                </a:cxn>
                <a:cxn ang="0">
                  <a:pos x="T8" y="T9"/>
                </a:cxn>
                <a:cxn ang="0">
                  <a:pos x="T10" y="T11"/>
                </a:cxn>
              </a:cxnLst>
              <a:rect l="0" t="0" r="r" b="b"/>
              <a:pathLst>
                <a:path w="49" h="53">
                  <a:moveTo>
                    <a:pt x="12" y="42"/>
                  </a:moveTo>
                  <a:cubicBezTo>
                    <a:pt x="0" y="53"/>
                    <a:pt x="0" y="53"/>
                    <a:pt x="0" y="53"/>
                  </a:cubicBezTo>
                  <a:cubicBezTo>
                    <a:pt x="4" y="53"/>
                    <a:pt x="4" y="53"/>
                    <a:pt x="4" y="53"/>
                  </a:cubicBezTo>
                  <a:cubicBezTo>
                    <a:pt x="23" y="46"/>
                    <a:pt x="23" y="46"/>
                    <a:pt x="23" y="46"/>
                  </a:cubicBezTo>
                  <a:cubicBezTo>
                    <a:pt x="23" y="46"/>
                    <a:pt x="49" y="40"/>
                    <a:pt x="31" y="20"/>
                  </a:cubicBezTo>
                  <a:cubicBezTo>
                    <a:pt x="10" y="0"/>
                    <a:pt x="12" y="42"/>
                    <a:pt x="12" y="4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0" name="Freeform 403">
              <a:extLst>
                <a:ext uri="{FF2B5EF4-FFF2-40B4-BE49-F238E27FC236}">
                  <a16:creationId xmlns:a16="http://schemas.microsoft.com/office/drawing/2014/main" id="{B1888CDC-2B29-B394-D69C-A696DBE2C896}"/>
                </a:ext>
              </a:extLst>
            </p:cNvPr>
            <p:cNvSpPr>
              <a:spLocks/>
            </p:cNvSpPr>
            <p:nvPr/>
          </p:nvSpPr>
          <p:spPr bwMode="gray">
            <a:xfrm>
              <a:off x="10293662" y="1213978"/>
              <a:ext cx="8991" cy="7192"/>
            </a:xfrm>
            <a:custGeom>
              <a:avLst/>
              <a:gdLst>
                <a:gd name="T0" fmla="*/ 0 w 5"/>
                <a:gd name="T1" fmla="*/ 4 h 4"/>
                <a:gd name="T2" fmla="*/ 5 w 5"/>
                <a:gd name="T3" fmla="*/ 3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lnTo>
                    <a:pt x="5" y="3"/>
                  </a:lnTo>
                  <a:lnTo>
                    <a:pt x="3"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1" name="Freeform 404">
              <a:extLst>
                <a:ext uri="{FF2B5EF4-FFF2-40B4-BE49-F238E27FC236}">
                  <a16:creationId xmlns:a16="http://schemas.microsoft.com/office/drawing/2014/main" id="{182BE5DE-7196-0625-7690-A91EE9C78691}"/>
                </a:ext>
              </a:extLst>
            </p:cNvPr>
            <p:cNvSpPr>
              <a:spLocks/>
            </p:cNvSpPr>
            <p:nvPr/>
          </p:nvSpPr>
          <p:spPr bwMode="gray">
            <a:xfrm>
              <a:off x="10392550" y="1052160"/>
              <a:ext cx="16183" cy="8991"/>
            </a:xfrm>
            <a:custGeom>
              <a:avLst/>
              <a:gdLst>
                <a:gd name="T0" fmla="*/ 0 w 9"/>
                <a:gd name="T1" fmla="*/ 5 h 5"/>
                <a:gd name="T2" fmla="*/ 9 w 9"/>
                <a:gd name="T3" fmla="*/ 4 h 5"/>
                <a:gd name="T4" fmla="*/ 9 w 9"/>
                <a:gd name="T5" fmla="*/ 3 h 5"/>
                <a:gd name="T6" fmla="*/ 0 w 9"/>
                <a:gd name="T7" fmla="*/ 0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4"/>
                  </a:lnTo>
                  <a:lnTo>
                    <a:pt x="9" y="3"/>
                  </a:lnTo>
                  <a:lnTo>
                    <a:pt x="0"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2" name="Freeform 405">
              <a:extLst>
                <a:ext uri="{FF2B5EF4-FFF2-40B4-BE49-F238E27FC236}">
                  <a16:creationId xmlns:a16="http://schemas.microsoft.com/office/drawing/2014/main" id="{BEA541AC-E6C1-C242-8AD6-1C08DCD66322}"/>
                </a:ext>
              </a:extLst>
            </p:cNvPr>
            <p:cNvSpPr>
              <a:spLocks/>
            </p:cNvSpPr>
            <p:nvPr/>
          </p:nvSpPr>
          <p:spPr bwMode="gray">
            <a:xfrm>
              <a:off x="10617297" y="730322"/>
              <a:ext cx="26971" cy="32364"/>
            </a:xfrm>
            <a:custGeom>
              <a:avLst/>
              <a:gdLst>
                <a:gd name="T0" fmla="*/ 21 w 47"/>
                <a:gd name="T1" fmla="*/ 51 h 56"/>
                <a:gd name="T2" fmla="*/ 44 w 47"/>
                <a:gd name="T3" fmla="*/ 37 h 56"/>
                <a:gd name="T4" fmla="*/ 27 w 47"/>
                <a:gd name="T5" fmla="*/ 13 h 56"/>
                <a:gd name="T6" fmla="*/ 22 w 47"/>
                <a:gd name="T7" fmla="*/ 28 h 56"/>
                <a:gd name="T8" fmla="*/ 8 w 47"/>
                <a:gd name="T9" fmla="*/ 0 h 56"/>
                <a:gd name="T10" fmla="*/ 0 w 47"/>
                <a:gd name="T11" fmla="*/ 12 h 56"/>
                <a:gd name="T12" fmla="*/ 14 w 47"/>
                <a:gd name="T13" fmla="*/ 39 h 56"/>
                <a:gd name="T14" fmla="*/ 21 w 47"/>
                <a:gd name="T15" fmla="*/ 51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6">
                  <a:moveTo>
                    <a:pt x="21" y="51"/>
                  </a:moveTo>
                  <a:cubicBezTo>
                    <a:pt x="43" y="56"/>
                    <a:pt x="47" y="52"/>
                    <a:pt x="44" y="37"/>
                  </a:cubicBezTo>
                  <a:cubicBezTo>
                    <a:pt x="37" y="25"/>
                    <a:pt x="27" y="13"/>
                    <a:pt x="27" y="13"/>
                  </a:cubicBezTo>
                  <a:cubicBezTo>
                    <a:pt x="22" y="28"/>
                    <a:pt x="22" y="28"/>
                    <a:pt x="22" y="28"/>
                  </a:cubicBezTo>
                  <a:cubicBezTo>
                    <a:pt x="8" y="0"/>
                    <a:pt x="8" y="0"/>
                    <a:pt x="8" y="0"/>
                  </a:cubicBezTo>
                  <a:cubicBezTo>
                    <a:pt x="0" y="12"/>
                    <a:pt x="0" y="12"/>
                    <a:pt x="0" y="12"/>
                  </a:cubicBezTo>
                  <a:cubicBezTo>
                    <a:pt x="14" y="39"/>
                    <a:pt x="14" y="39"/>
                    <a:pt x="14" y="39"/>
                  </a:cubicBezTo>
                  <a:cubicBezTo>
                    <a:pt x="14" y="39"/>
                    <a:pt x="6" y="46"/>
                    <a:pt x="21" y="5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3" name="Freeform 407">
              <a:extLst>
                <a:ext uri="{FF2B5EF4-FFF2-40B4-BE49-F238E27FC236}">
                  <a16:creationId xmlns:a16="http://schemas.microsoft.com/office/drawing/2014/main" id="{50A42261-53E1-2173-3A35-094ECB4528C0}"/>
                </a:ext>
              </a:extLst>
            </p:cNvPr>
            <p:cNvSpPr>
              <a:spLocks/>
            </p:cNvSpPr>
            <p:nvPr/>
          </p:nvSpPr>
          <p:spPr bwMode="gray">
            <a:xfrm>
              <a:off x="10293663" y="1203189"/>
              <a:ext cx="16183" cy="7192"/>
            </a:xfrm>
            <a:custGeom>
              <a:avLst/>
              <a:gdLst>
                <a:gd name="T0" fmla="*/ 0 w 9"/>
                <a:gd name="T1" fmla="*/ 3 h 4"/>
                <a:gd name="T2" fmla="*/ 9 w 9"/>
                <a:gd name="T3" fmla="*/ 4 h 4"/>
                <a:gd name="T4" fmla="*/ 9 w 9"/>
                <a:gd name="T5" fmla="*/ 1 h 4"/>
                <a:gd name="T6" fmla="*/ 4 w 9"/>
                <a:gd name="T7" fmla="*/ 0 h 4"/>
                <a:gd name="T8" fmla="*/ 0 w 9"/>
                <a:gd name="T9" fmla="*/ 3 h 4"/>
              </a:gdLst>
              <a:ahLst/>
              <a:cxnLst>
                <a:cxn ang="0">
                  <a:pos x="T0" y="T1"/>
                </a:cxn>
                <a:cxn ang="0">
                  <a:pos x="T2" y="T3"/>
                </a:cxn>
                <a:cxn ang="0">
                  <a:pos x="T4" y="T5"/>
                </a:cxn>
                <a:cxn ang="0">
                  <a:pos x="T6" y="T7"/>
                </a:cxn>
                <a:cxn ang="0">
                  <a:pos x="T8" y="T9"/>
                </a:cxn>
              </a:cxnLst>
              <a:rect l="0" t="0" r="r" b="b"/>
              <a:pathLst>
                <a:path w="9" h="4">
                  <a:moveTo>
                    <a:pt x="0" y="3"/>
                  </a:moveTo>
                  <a:lnTo>
                    <a:pt x="9" y="4"/>
                  </a:lnTo>
                  <a:lnTo>
                    <a:pt x="9" y="1"/>
                  </a:lnTo>
                  <a:lnTo>
                    <a:pt x="4"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4" name="Freeform 408">
              <a:extLst>
                <a:ext uri="{FF2B5EF4-FFF2-40B4-BE49-F238E27FC236}">
                  <a16:creationId xmlns:a16="http://schemas.microsoft.com/office/drawing/2014/main" id="{B692B191-9E12-9447-2904-5D0106425FF2}"/>
                </a:ext>
              </a:extLst>
            </p:cNvPr>
            <p:cNvSpPr>
              <a:spLocks/>
            </p:cNvSpPr>
            <p:nvPr/>
          </p:nvSpPr>
          <p:spPr bwMode="gray">
            <a:xfrm>
              <a:off x="10338611" y="1156442"/>
              <a:ext cx="16183" cy="23374"/>
            </a:xfrm>
            <a:custGeom>
              <a:avLst/>
              <a:gdLst>
                <a:gd name="T0" fmla="*/ 5 w 9"/>
                <a:gd name="T1" fmla="*/ 5 h 13"/>
                <a:gd name="T2" fmla="*/ 1 w 9"/>
                <a:gd name="T3" fmla="*/ 3 h 13"/>
                <a:gd name="T4" fmla="*/ 0 w 9"/>
                <a:gd name="T5" fmla="*/ 9 h 13"/>
                <a:gd name="T6" fmla="*/ 3 w 9"/>
                <a:gd name="T7" fmla="*/ 10 h 13"/>
                <a:gd name="T8" fmla="*/ 3 w 9"/>
                <a:gd name="T9" fmla="*/ 13 h 13"/>
                <a:gd name="T10" fmla="*/ 4 w 9"/>
                <a:gd name="T11" fmla="*/ 13 h 13"/>
                <a:gd name="T12" fmla="*/ 9 w 9"/>
                <a:gd name="T13" fmla="*/ 2 h 13"/>
                <a:gd name="T14" fmla="*/ 6 w 9"/>
                <a:gd name="T15" fmla="*/ 0 h 13"/>
                <a:gd name="T16" fmla="*/ 5 w 9"/>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3">
                  <a:moveTo>
                    <a:pt x="5" y="5"/>
                  </a:moveTo>
                  <a:lnTo>
                    <a:pt x="1" y="3"/>
                  </a:lnTo>
                  <a:lnTo>
                    <a:pt x="0" y="9"/>
                  </a:lnTo>
                  <a:lnTo>
                    <a:pt x="3" y="10"/>
                  </a:lnTo>
                  <a:lnTo>
                    <a:pt x="3" y="13"/>
                  </a:lnTo>
                  <a:lnTo>
                    <a:pt x="4" y="13"/>
                  </a:lnTo>
                  <a:lnTo>
                    <a:pt x="9" y="2"/>
                  </a:lnTo>
                  <a:lnTo>
                    <a:pt x="6"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5" name="Freeform 409">
              <a:extLst>
                <a:ext uri="{FF2B5EF4-FFF2-40B4-BE49-F238E27FC236}">
                  <a16:creationId xmlns:a16="http://schemas.microsoft.com/office/drawing/2014/main" id="{439381CB-E3E6-E3DB-2B30-5C2F900E5286}"/>
                </a:ext>
              </a:extLst>
            </p:cNvPr>
            <p:cNvSpPr>
              <a:spLocks/>
            </p:cNvSpPr>
            <p:nvPr/>
          </p:nvSpPr>
          <p:spPr bwMode="gray">
            <a:xfrm>
              <a:off x="10802489" y="608060"/>
              <a:ext cx="25171" cy="17980"/>
            </a:xfrm>
            <a:custGeom>
              <a:avLst/>
              <a:gdLst>
                <a:gd name="T0" fmla="*/ 23 w 41"/>
                <a:gd name="T1" fmla="*/ 1 h 28"/>
                <a:gd name="T2" fmla="*/ 18 w 41"/>
                <a:gd name="T3" fmla="*/ 28 h 28"/>
                <a:gd name="T4" fmla="*/ 23 w 41"/>
                <a:gd name="T5" fmla="*/ 1 h 28"/>
              </a:gdLst>
              <a:ahLst/>
              <a:cxnLst>
                <a:cxn ang="0">
                  <a:pos x="T0" y="T1"/>
                </a:cxn>
                <a:cxn ang="0">
                  <a:pos x="T2" y="T3"/>
                </a:cxn>
                <a:cxn ang="0">
                  <a:pos x="T4" y="T5"/>
                </a:cxn>
              </a:cxnLst>
              <a:rect l="0" t="0" r="r" b="b"/>
              <a:pathLst>
                <a:path w="41" h="28">
                  <a:moveTo>
                    <a:pt x="23" y="1"/>
                  </a:moveTo>
                  <a:cubicBezTo>
                    <a:pt x="0" y="0"/>
                    <a:pt x="18" y="28"/>
                    <a:pt x="18" y="28"/>
                  </a:cubicBezTo>
                  <a:cubicBezTo>
                    <a:pt x="37" y="25"/>
                    <a:pt x="41" y="2"/>
                    <a:pt x="23"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6" name="Freeform 410">
              <a:extLst>
                <a:ext uri="{FF2B5EF4-FFF2-40B4-BE49-F238E27FC236}">
                  <a16:creationId xmlns:a16="http://schemas.microsoft.com/office/drawing/2014/main" id="{72E4B5A9-BA95-E85B-9B5C-7198CA533372}"/>
                </a:ext>
              </a:extLst>
            </p:cNvPr>
            <p:cNvSpPr>
              <a:spLocks/>
            </p:cNvSpPr>
            <p:nvPr/>
          </p:nvSpPr>
          <p:spPr bwMode="gray">
            <a:xfrm>
              <a:off x="10840247" y="591877"/>
              <a:ext cx="14383" cy="12586"/>
            </a:xfrm>
            <a:custGeom>
              <a:avLst/>
              <a:gdLst>
                <a:gd name="T0" fmla="*/ 6 w 8"/>
                <a:gd name="T1" fmla="*/ 0 h 7"/>
                <a:gd name="T2" fmla="*/ 0 w 8"/>
                <a:gd name="T3" fmla="*/ 4 h 7"/>
                <a:gd name="T4" fmla="*/ 8 w 8"/>
                <a:gd name="T5" fmla="*/ 7 h 7"/>
                <a:gd name="T6" fmla="*/ 6 w 8"/>
                <a:gd name="T7" fmla="*/ 0 h 7"/>
              </a:gdLst>
              <a:ahLst/>
              <a:cxnLst>
                <a:cxn ang="0">
                  <a:pos x="T0" y="T1"/>
                </a:cxn>
                <a:cxn ang="0">
                  <a:pos x="T2" y="T3"/>
                </a:cxn>
                <a:cxn ang="0">
                  <a:pos x="T4" y="T5"/>
                </a:cxn>
                <a:cxn ang="0">
                  <a:pos x="T6" y="T7"/>
                </a:cxn>
              </a:cxnLst>
              <a:rect l="0" t="0" r="r" b="b"/>
              <a:pathLst>
                <a:path w="8" h="7">
                  <a:moveTo>
                    <a:pt x="6" y="0"/>
                  </a:moveTo>
                  <a:lnTo>
                    <a:pt x="0" y="4"/>
                  </a:lnTo>
                  <a:lnTo>
                    <a:pt x="8" y="7"/>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7" name="Freeform 411">
              <a:extLst>
                <a:ext uri="{FF2B5EF4-FFF2-40B4-BE49-F238E27FC236}">
                  <a16:creationId xmlns:a16="http://schemas.microsoft.com/office/drawing/2014/main" id="{A0AB322F-5CAF-A1C4-5AA1-30FF3CF3B3DE}"/>
                </a:ext>
              </a:extLst>
            </p:cNvPr>
            <p:cNvSpPr>
              <a:spLocks/>
            </p:cNvSpPr>
            <p:nvPr/>
          </p:nvSpPr>
          <p:spPr bwMode="gray">
            <a:xfrm>
              <a:off x="10869015" y="575695"/>
              <a:ext cx="46747" cy="37758"/>
            </a:xfrm>
            <a:custGeom>
              <a:avLst/>
              <a:gdLst>
                <a:gd name="T0" fmla="*/ 3 w 79"/>
                <a:gd name="T1" fmla="*/ 48 h 61"/>
                <a:gd name="T2" fmla="*/ 14 w 79"/>
                <a:gd name="T3" fmla="*/ 41 h 61"/>
                <a:gd name="T4" fmla="*/ 14 w 79"/>
                <a:gd name="T5" fmla="*/ 52 h 61"/>
                <a:gd name="T6" fmla="*/ 36 w 79"/>
                <a:gd name="T7" fmla="*/ 61 h 61"/>
                <a:gd name="T8" fmla="*/ 78 w 79"/>
                <a:gd name="T9" fmla="*/ 40 h 61"/>
                <a:gd name="T10" fmla="*/ 79 w 79"/>
                <a:gd name="T11" fmla="*/ 25 h 61"/>
                <a:gd name="T12" fmla="*/ 56 w 79"/>
                <a:gd name="T13" fmla="*/ 39 h 61"/>
                <a:gd name="T14" fmla="*/ 45 w 79"/>
                <a:gd name="T15" fmla="*/ 31 h 61"/>
                <a:gd name="T16" fmla="*/ 64 w 79"/>
                <a:gd name="T17" fmla="*/ 16 h 61"/>
                <a:gd name="T18" fmla="*/ 54 w 79"/>
                <a:gd name="T19" fmla="*/ 4 h 61"/>
                <a:gd name="T20" fmla="*/ 46 w 79"/>
                <a:gd name="T21" fmla="*/ 15 h 61"/>
                <a:gd name="T22" fmla="*/ 39 w 79"/>
                <a:gd name="T23" fmla="*/ 0 h 61"/>
                <a:gd name="T24" fmla="*/ 27 w 79"/>
                <a:gd name="T25" fmla="*/ 7 h 61"/>
                <a:gd name="T26" fmla="*/ 30 w 79"/>
                <a:gd name="T27" fmla="*/ 22 h 61"/>
                <a:gd name="T28" fmla="*/ 0 w 79"/>
                <a:gd name="T29" fmla="*/ 29 h 61"/>
                <a:gd name="T30" fmla="*/ 3 w 79"/>
                <a:gd name="T31"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61">
                  <a:moveTo>
                    <a:pt x="3" y="48"/>
                  </a:moveTo>
                  <a:cubicBezTo>
                    <a:pt x="7" y="48"/>
                    <a:pt x="14" y="41"/>
                    <a:pt x="14" y="41"/>
                  </a:cubicBezTo>
                  <a:cubicBezTo>
                    <a:pt x="14" y="52"/>
                    <a:pt x="14" y="52"/>
                    <a:pt x="14" y="52"/>
                  </a:cubicBezTo>
                  <a:cubicBezTo>
                    <a:pt x="36" y="61"/>
                    <a:pt x="36" y="61"/>
                    <a:pt x="36" y="61"/>
                  </a:cubicBezTo>
                  <a:cubicBezTo>
                    <a:pt x="78" y="40"/>
                    <a:pt x="78" y="40"/>
                    <a:pt x="78" y="40"/>
                  </a:cubicBezTo>
                  <a:cubicBezTo>
                    <a:pt x="79" y="25"/>
                    <a:pt x="79" y="25"/>
                    <a:pt x="79" y="25"/>
                  </a:cubicBezTo>
                  <a:cubicBezTo>
                    <a:pt x="56" y="39"/>
                    <a:pt x="56" y="39"/>
                    <a:pt x="56" y="39"/>
                  </a:cubicBezTo>
                  <a:cubicBezTo>
                    <a:pt x="45" y="31"/>
                    <a:pt x="45" y="31"/>
                    <a:pt x="45" y="31"/>
                  </a:cubicBezTo>
                  <a:cubicBezTo>
                    <a:pt x="64" y="16"/>
                    <a:pt x="64" y="16"/>
                    <a:pt x="64" y="16"/>
                  </a:cubicBezTo>
                  <a:cubicBezTo>
                    <a:pt x="54" y="4"/>
                    <a:pt x="54" y="4"/>
                    <a:pt x="54" y="4"/>
                  </a:cubicBezTo>
                  <a:cubicBezTo>
                    <a:pt x="46" y="15"/>
                    <a:pt x="46" y="15"/>
                    <a:pt x="46" y="15"/>
                  </a:cubicBezTo>
                  <a:cubicBezTo>
                    <a:pt x="39" y="0"/>
                    <a:pt x="39" y="0"/>
                    <a:pt x="39" y="0"/>
                  </a:cubicBezTo>
                  <a:cubicBezTo>
                    <a:pt x="27" y="7"/>
                    <a:pt x="27" y="7"/>
                    <a:pt x="27" y="7"/>
                  </a:cubicBezTo>
                  <a:cubicBezTo>
                    <a:pt x="30" y="22"/>
                    <a:pt x="30" y="22"/>
                    <a:pt x="30" y="22"/>
                  </a:cubicBezTo>
                  <a:cubicBezTo>
                    <a:pt x="0" y="29"/>
                    <a:pt x="0" y="29"/>
                    <a:pt x="0" y="29"/>
                  </a:cubicBezTo>
                  <a:lnTo>
                    <a:pt x="3" y="4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8" name="Freeform 412">
              <a:extLst>
                <a:ext uri="{FF2B5EF4-FFF2-40B4-BE49-F238E27FC236}">
                  <a16:creationId xmlns:a16="http://schemas.microsoft.com/office/drawing/2014/main" id="{2B3DB228-D859-585C-07E4-01F3464E0A76}"/>
                </a:ext>
              </a:extLst>
            </p:cNvPr>
            <p:cNvSpPr>
              <a:spLocks/>
            </p:cNvSpPr>
            <p:nvPr/>
          </p:nvSpPr>
          <p:spPr bwMode="gray">
            <a:xfrm>
              <a:off x="11117136" y="703351"/>
              <a:ext cx="12586" cy="25171"/>
            </a:xfrm>
            <a:custGeom>
              <a:avLst/>
              <a:gdLst>
                <a:gd name="T0" fmla="*/ 0 w 7"/>
                <a:gd name="T1" fmla="*/ 3 h 14"/>
                <a:gd name="T2" fmla="*/ 1 w 7"/>
                <a:gd name="T3" fmla="*/ 14 h 14"/>
                <a:gd name="T4" fmla="*/ 7 w 7"/>
                <a:gd name="T5" fmla="*/ 11 h 14"/>
                <a:gd name="T6" fmla="*/ 4 w 7"/>
                <a:gd name="T7" fmla="*/ 0 h 14"/>
                <a:gd name="T8" fmla="*/ 0 w 7"/>
                <a:gd name="T9" fmla="*/ 3 h 14"/>
              </a:gdLst>
              <a:ahLst/>
              <a:cxnLst>
                <a:cxn ang="0">
                  <a:pos x="T0" y="T1"/>
                </a:cxn>
                <a:cxn ang="0">
                  <a:pos x="T2" y="T3"/>
                </a:cxn>
                <a:cxn ang="0">
                  <a:pos x="T4" y="T5"/>
                </a:cxn>
                <a:cxn ang="0">
                  <a:pos x="T6" y="T7"/>
                </a:cxn>
                <a:cxn ang="0">
                  <a:pos x="T8" y="T9"/>
                </a:cxn>
              </a:cxnLst>
              <a:rect l="0" t="0" r="r" b="b"/>
              <a:pathLst>
                <a:path w="7" h="14">
                  <a:moveTo>
                    <a:pt x="0" y="3"/>
                  </a:moveTo>
                  <a:lnTo>
                    <a:pt x="1" y="14"/>
                  </a:lnTo>
                  <a:lnTo>
                    <a:pt x="7" y="11"/>
                  </a:lnTo>
                  <a:lnTo>
                    <a:pt x="4"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9" name="Freeform 413">
              <a:extLst>
                <a:ext uri="{FF2B5EF4-FFF2-40B4-BE49-F238E27FC236}">
                  <a16:creationId xmlns:a16="http://schemas.microsoft.com/office/drawing/2014/main" id="{97A6490C-ECCB-5C5D-DE4A-E9825320DD4B}"/>
                </a:ext>
              </a:extLst>
            </p:cNvPr>
            <p:cNvSpPr>
              <a:spLocks/>
            </p:cNvSpPr>
            <p:nvPr/>
          </p:nvSpPr>
          <p:spPr bwMode="gray">
            <a:xfrm>
              <a:off x="10748550" y="699755"/>
              <a:ext cx="32364" cy="23374"/>
            </a:xfrm>
            <a:custGeom>
              <a:avLst/>
              <a:gdLst>
                <a:gd name="T0" fmla="*/ 7 w 55"/>
                <a:gd name="T1" fmla="*/ 24 h 41"/>
                <a:gd name="T2" fmla="*/ 25 w 55"/>
                <a:gd name="T3" fmla="*/ 36 h 41"/>
                <a:gd name="T4" fmla="*/ 52 w 55"/>
                <a:gd name="T5" fmla="*/ 26 h 41"/>
                <a:gd name="T6" fmla="*/ 7 w 55"/>
                <a:gd name="T7" fmla="*/ 24 h 41"/>
              </a:gdLst>
              <a:ahLst/>
              <a:cxnLst>
                <a:cxn ang="0">
                  <a:pos x="T0" y="T1"/>
                </a:cxn>
                <a:cxn ang="0">
                  <a:pos x="T2" y="T3"/>
                </a:cxn>
                <a:cxn ang="0">
                  <a:pos x="T4" y="T5"/>
                </a:cxn>
                <a:cxn ang="0">
                  <a:pos x="T6" y="T7"/>
                </a:cxn>
              </a:cxnLst>
              <a:rect l="0" t="0" r="r" b="b"/>
              <a:pathLst>
                <a:path w="55" h="41">
                  <a:moveTo>
                    <a:pt x="7" y="24"/>
                  </a:moveTo>
                  <a:cubicBezTo>
                    <a:pt x="6" y="35"/>
                    <a:pt x="25" y="36"/>
                    <a:pt x="25" y="36"/>
                  </a:cubicBezTo>
                  <a:cubicBezTo>
                    <a:pt x="25" y="36"/>
                    <a:pt x="55" y="41"/>
                    <a:pt x="52" y="26"/>
                  </a:cubicBezTo>
                  <a:cubicBezTo>
                    <a:pt x="52" y="10"/>
                    <a:pt x="0" y="0"/>
                    <a:pt x="7"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0" name="Freeform 414">
              <a:extLst>
                <a:ext uri="{FF2B5EF4-FFF2-40B4-BE49-F238E27FC236}">
                  <a16:creationId xmlns:a16="http://schemas.microsoft.com/office/drawing/2014/main" id="{9CF21185-2667-BD67-6AC0-7E321FD04EC8}"/>
                </a:ext>
              </a:extLst>
            </p:cNvPr>
            <p:cNvSpPr>
              <a:spLocks/>
            </p:cNvSpPr>
            <p:nvPr/>
          </p:nvSpPr>
          <p:spPr bwMode="gray">
            <a:xfrm>
              <a:off x="10459076" y="910120"/>
              <a:ext cx="17980" cy="17980"/>
            </a:xfrm>
            <a:custGeom>
              <a:avLst/>
              <a:gdLst>
                <a:gd name="T0" fmla="*/ 11 w 30"/>
                <a:gd name="T1" fmla="*/ 24 h 32"/>
                <a:gd name="T2" fmla="*/ 29 w 30"/>
                <a:gd name="T3" fmla="*/ 32 h 32"/>
                <a:gd name="T4" fmla="*/ 30 w 30"/>
                <a:gd name="T5" fmla="*/ 13 h 32"/>
                <a:gd name="T6" fmla="*/ 4 w 30"/>
                <a:gd name="T7" fmla="*/ 0 h 32"/>
                <a:gd name="T8" fmla="*/ 0 w 30"/>
                <a:gd name="T9" fmla="*/ 8 h 32"/>
                <a:gd name="T10" fmla="*/ 11 w 30"/>
                <a:gd name="T11" fmla="*/ 24 h 32"/>
              </a:gdLst>
              <a:ahLst/>
              <a:cxnLst>
                <a:cxn ang="0">
                  <a:pos x="T0" y="T1"/>
                </a:cxn>
                <a:cxn ang="0">
                  <a:pos x="T2" y="T3"/>
                </a:cxn>
                <a:cxn ang="0">
                  <a:pos x="T4" y="T5"/>
                </a:cxn>
                <a:cxn ang="0">
                  <a:pos x="T6" y="T7"/>
                </a:cxn>
                <a:cxn ang="0">
                  <a:pos x="T8" y="T9"/>
                </a:cxn>
                <a:cxn ang="0">
                  <a:pos x="T10" y="T11"/>
                </a:cxn>
              </a:cxnLst>
              <a:rect l="0" t="0" r="r" b="b"/>
              <a:pathLst>
                <a:path w="30" h="32">
                  <a:moveTo>
                    <a:pt x="11" y="24"/>
                  </a:moveTo>
                  <a:cubicBezTo>
                    <a:pt x="21" y="32"/>
                    <a:pt x="29" y="32"/>
                    <a:pt x="29" y="32"/>
                  </a:cubicBezTo>
                  <a:cubicBezTo>
                    <a:pt x="30" y="13"/>
                    <a:pt x="30" y="13"/>
                    <a:pt x="30" y="13"/>
                  </a:cubicBezTo>
                  <a:cubicBezTo>
                    <a:pt x="4" y="0"/>
                    <a:pt x="4" y="0"/>
                    <a:pt x="4" y="0"/>
                  </a:cubicBezTo>
                  <a:cubicBezTo>
                    <a:pt x="0" y="8"/>
                    <a:pt x="0" y="8"/>
                    <a:pt x="0" y="8"/>
                  </a:cubicBezTo>
                  <a:cubicBezTo>
                    <a:pt x="0" y="8"/>
                    <a:pt x="3" y="23"/>
                    <a:pt x="11"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1" name="Freeform 415">
              <a:extLst>
                <a:ext uri="{FF2B5EF4-FFF2-40B4-BE49-F238E27FC236}">
                  <a16:creationId xmlns:a16="http://schemas.microsoft.com/office/drawing/2014/main" id="{3BBF8570-DA4D-56AA-86EB-EFF33BF4241E}"/>
                </a:ext>
              </a:extLst>
            </p:cNvPr>
            <p:cNvSpPr>
              <a:spLocks/>
            </p:cNvSpPr>
            <p:nvPr/>
          </p:nvSpPr>
          <p:spPr bwMode="gray">
            <a:xfrm>
              <a:off x="9707522" y="2222643"/>
              <a:ext cx="17980" cy="12586"/>
            </a:xfrm>
            <a:custGeom>
              <a:avLst/>
              <a:gdLst>
                <a:gd name="T0" fmla="*/ 10 w 10"/>
                <a:gd name="T1" fmla="*/ 3 h 7"/>
                <a:gd name="T2" fmla="*/ 0 w 10"/>
                <a:gd name="T3" fmla="*/ 0 h 7"/>
                <a:gd name="T4" fmla="*/ 9 w 10"/>
                <a:gd name="T5" fmla="*/ 7 h 7"/>
                <a:gd name="T6" fmla="*/ 10 w 10"/>
                <a:gd name="T7" fmla="*/ 3 h 7"/>
              </a:gdLst>
              <a:ahLst/>
              <a:cxnLst>
                <a:cxn ang="0">
                  <a:pos x="T0" y="T1"/>
                </a:cxn>
                <a:cxn ang="0">
                  <a:pos x="T2" y="T3"/>
                </a:cxn>
                <a:cxn ang="0">
                  <a:pos x="T4" y="T5"/>
                </a:cxn>
                <a:cxn ang="0">
                  <a:pos x="T6" y="T7"/>
                </a:cxn>
              </a:cxnLst>
              <a:rect l="0" t="0" r="r" b="b"/>
              <a:pathLst>
                <a:path w="10" h="7">
                  <a:moveTo>
                    <a:pt x="10" y="3"/>
                  </a:moveTo>
                  <a:lnTo>
                    <a:pt x="0" y="0"/>
                  </a:lnTo>
                  <a:lnTo>
                    <a:pt x="9" y="7"/>
                  </a:lnTo>
                  <a:lnTo>
                    <a:pt x="1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2" name="Freeform 416">
              <a:extLst>
                <a:ext uri="{FF2B5EF4-FFF2-40B4-BE49-F238E27FC236}">
                  <a16:creationId xmlns:a16="http://schemas.microsoft.com/office/drawing/2014/main" id="{BFAAF8A5-59EC-4F8C-468A-2B6828DFDDD7}"/>
                </a:ext>
              </a:extLst>
            </p:cNvPr>
            <p:cNvSpPr>
              <a:spLocks/>
            </p:cNvSpPr>
            <p:nvPr/>
          </p:nvSpPr>
          <p:spPr bwMode="gray">
            <a:xfrm>
              <a:off x="9756066" y="2085996"/>
              <a:ext cx="8991" cy="14383"/>
            </a:xfrm>
            <a:custGeom>
              <a:avLst/>
              <a:gdLst>
                <a:gd name="T0" fmla="*/ 5 w 5"/>
                <a:gd name="T1" fmla="*/ 4 h 8"/>
                <a:gd name="T2" fmla="*/ 2 w 5"/>
                <a:gd name="T3" fmla="*/ 0 h 8"/>
                <a:gd name="T4" fmla="*/ 0 w 5"/>
                <a:gd name="T5" fmla="*/ 3 h 8"/>
                <a:gd name="T6" fmla="*/ 1 w 5"/>
                <a:gd name="T7" fmla="*/ 8 h 8"/>
                <a:gd name="T8" fmla="*/ 5 w 5"/>
                <a:gd name="T9" fmla="*/ 4 h 8"/>
              </a:gdLst>
              <a:ahLst/>
              <a:cxnLst>
                <a:cxn ang="0">
                  <a:pos x="T0" y="T1"/>
                </a:cxn>
                <a:cxn ang="0">
                  <a:pos x="T2" y="T3"/>
                </a:cxn>
                <a:cxn ang="0">
                  <a:pos x="T4" y="T5"/>
                </a:cxn>
                <a:cxn ang="0">
                  <a:pos x="T6" y="T7"/>
                </a:cxn>
                <a:cxn ang="0">
                  <a:pos x="T8" y="T9"/>
                </a:cxn>
              </a:cxnLst>
              <a:rect l="0" t="0" r="r" b="b"/>
              <a:pathLst>
                <a:path w="5" h="8">
                  <a:moveTo>
                    <a:pt x="5" y="4"/>
                  </a:moveTo>
                  <a:lnTo>
                    <a:pt x="2" y="0"/>
                  </a:lnTo>
                  <a:lnTo>
                    <a:pt x="0" y="3"/>
                  </a:lnTo>
                  <a:lnTo>
                    <a:pt x="1" y="8"/>
                  </a:lnTo>
                  <a:lnTo>
                    <a:pt x="5"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3" name="Freeform 417">
              <a:extLst>
                <a:ext uri="{FF2B5EF4-FFF2-40B4-BE49-F238E27FC236}">
                  <a16:creationId xmlns:a16="http://schemas.microsoft.com/office/drawing/2014/main" id="{C8B9B8EE-43D9-F8AD-AD3B-AFF14F70C0D2}"/>
                </a:ext>
              </a:extLst>
            </p:cNvPr>
            <p:cNvSpPr>
              <a:spLocks/>
            </p:cNvSpPr>
            <p:nvPr/>
          </p:nvSpPr>
          <p:spPr bwMode="gray">
            <a:xfrm>
              <a:off x="10453682" y="1032382"/>
              <a:ext cx="10788" cy="7192"/>
            </a:xfrm>
            <a:custGeom>
              <a:avLst/>
              <a:gdLst>
                <a:gd name="T0" fmla="*/ 1 w 6"/>
                <a:gd name="T1" fmla="*/ 0 h 4"/>
                <a:gd name="T2" fmla="*/ 0 w 6"/>
                <a:gd name="T3" fmla="*/ 4 h 4"/>
                <a:gd name="T4" fmla="*/ 6 w 6"/>
                <a:gd name="T5" fmla="*/ 4 h 4"/>
                <a:gd name="T6" fmla="*/ 1 w 6"/>
                <a:gd name="T7" fmla="*/ 0 h 4"/>
              </a:gdLst>
              <a:ahLst/>
              <a:cxnLst>
                <a:cxn ang="0">
                  <a:pos x="T0" y="T1"/>
                </a:cxn>
                <a:cxn ang="0">
                  <a:pos x="T2" y="T3"/>
                </a:cxn>
                <a:cxn ang="0">
                  <a:pos x="T4" y="T5"/>
                </a:cxn>
                <a:cxn ang="0">
                  <a:pos x="T6" y="T7"/>
                </a:cxn>
              </a:cxnLst>
              <a:rect l="0" t="0" r="r" b="b"/>
              <a:pathLst>
                <a:path w="6" h="4">
                  <a:moveTo>
                    <a:pt x="1" y="0"/>
                  </a:moveTo>
                  <a:lnTo>
                    <a:pt x="0" y="4"/>
                  </a:lnTo>
                  <a:lnTo>
                    <a:pt x="6" y="4"/>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4" name="Freeform 418">
              <a:extLst>
                <a:ext uri="{FF2B5EF4-FFF2-40B4-BE49-F238E27FC236}">
                  <a16:creationId xmlns:a16="http://schemas.microsoft.com/office/drawing/2014/main" id="{D165AB4D-3681-F80B-E32C-B9AD99A1CDAA}"/>
                </a:ext>
              </a:extLst>
            </p:cNvPr>
            <p:cNvSpPr>
              <a:spLocks/>
            </p:cNvSpPr>
            <p:nvPr/>
          </p:nvSpPr>
          <p:spPr bwMode="gray">
            <a:xfrm>
              <a:off x="10673035" y="760887"/>
              <a:ext cx="16183" cy="8991"/>
            </a:xfrm>
            <a:custGeom>
              <a:avLst/>
              <a:gdLst>
                <a:gd name="T0" fmla="*/ 0 w 27"/>
                <a:gd name="T1" fmla="*/ 15 h 15"/>
                <a:gd name="T2" fmla="*/ 27 w 27"/>
                <a:gd name="T3" fmla="*/ 12 h 15"/>
                <a:gd name="T4" fmla="*/ 12 w 27"/>
                <a:gd name="T5" fmla="*/ 0 h 15"/>
                <a:gd name="T6" fmla="*/ 0 w 27"/>
                <a:gd name="T7" fmla="*/ 15 h 15"/>
              </a:gdLst>
              <a:ahLst/>
              <a:cxnLst>
                <a:cxn ang="0">
                  <a:pos x="T0" y="T1"/>
                </a:cxn>
                <a:cxn ang="0">
                  <a:pos x="T2" y="T3"/>
                </a:cxn>
                <a:cxn ang="0">
                  <a:pos x="T4" y="T5"/>
                </a:cxn>
                <a:cxn ang="0">
                  <a:pos x="T6" y="T7"/>
                </a:cxn>
              </a:cxnLst>
              <a:rect l="0" t="0" r="r" b="b"/>
              <a:pathLst>
                <a:path w="27" h="15">
                  <a:moveTo>
                    <a:pt x="0" y="15"/>
                  </a:moveTo>
                  <a:cubicBezTo>
                    <a:pt x="27" y="12"/>
                    <a:pt x="27" y="12"/>
                    <a:pt x="27" y="12"/>
                  </a:cubicBezTo>
                  <a:cubicBezTo>
                    <a:pt x="12" y="0"/>
                    <a:pt x="12" y="0"/>
                    <a:pt x="12" y="0"/>
                  </a:cubicBezTo>
                  <a:cubicBezTo>
                    <a:pt x="12" y="0"/>
                    <a:pt x="4" y="11"/>
                    <a:pt x="0"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5" name="Freeform 419">
              <a:extLst>
                <a:ext uri="{FF2B5EF4-FFF2-40B4-BE49-F238E27FC236}">
                  <a16:creationId xmlns:a16="http://schemas.microsoft.com/office/drawing/2014/main" id="{4D6C8608-86F3-C109-7BE9-377AF9260A32}"/>
                </a:ext>
              </a:extLst>
            </p:cNvPr>
            <p:cNvSpPr>
              <a:spLocks/>
            </p:cNvSpPr>
            <p:nvPr/>
          </p:nvSpPr>
          <p:spPr bwMode="gray">
            <a:xfrm>
              <a:off x="10798893" y="640422"/>
              <a:ext cx="32364" cy="39556"/>
            </a:xfrm>
            <a:custGeom>
              <a:avLst/>
              <a:gdLst>
                <a:gd name="T0" fmla="*/ 28 w 55"/>
                <a:gd name="T1" fmla="*/ 65 h 66"/>
                <a:gd name="T2" fmla="*/ 38 w 55"/>
                <a:gd name="T3" fmla="*/ 20 h 66"/>
                <a:gd name="T4" fmla="*/ 10 w 55"/>
                <a:gd name="T5" fmla="*/ 46 h 66"/>
                <a:gd name="T6" fmla="*/ 28 w 55"/>
                <a:gd name="T7" fmla="*/ 65 h 66"/>
              </a:gdLst>
              <a:ahLst/>
              <a:cxnLst>
                <a:cxn ang="0">
                  <a:pos x="T0" y="T1"/>
                </a:cxn>
                <a:cxn ang="0">
                  <a:pos x="T2" y="T3"/>
                </a:cxn>
                <a:cxn ang="0">
                  <a:pos x="T4" y="T5"/>
                </a:cxn>
                <a:cxn ang="0">
                  <a:pos x="T6" y="T7"/>
                </a:cxn>
              </a:cxnLst>
              <a:rect l="0" t="0" r="r" b="b"/>
              <a:pathLst>
                <a:path w="55" h="66">
                  <a:moveTo>
                    <a:pt x="28" y="65"/>
                  </a:moveTo>
                  <a:cubicBezTo>
                    <a:pt x="39" y="66"/>
                    <a:pt x="55" y="40"/>
                    <a:pt x="38" y="20"/>
                  </a:cubicBezTo>
                  <a:cubicBezTo>
                    <a:pt x="16" y="0"/>
                    <a:pt x="0" y="18"/>
                    <a:pt x="10" y="46"/>
                  </a:cubicBezTo>
                  <a:cubicBezTo>
                    <a:pt x="10" y="46"/>
                    <a:pt x="17" y="65"/>
                    <a:pt x="28" y="6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6" name="Freeform 420">
              <a:extLst>
                <a:ext uri="{FF2B5EF4-FFF2-40B4-BE49-F238E27FC236}">
                  <a16:creationId xmlns:a16="http://schemas.microsoft.com/office/drawing/2014/main" id="{B3E2C1BE-C82D-9EB4-0FAA-E48A8A2BD785}"/>
                </a:ext>
              </a:extLst>
            </p:cNvPr>
            <p:cNvSpPr>
              <a:spLocks/>
            </p:cNvSpPr>
            <p:nvPr/>
          </p:nvSpPr>
          <p:spPr bwMode="gray">
            <a:xfrm>
              <a:off x="10617298" y="768078"/>
              <a:ext cx="25171" cy="21576"/>
            </a:xfrm>
            <a:custGeom>
              <a:avLst/>
              <a:gdLst>
                <a:gd name="T0" fmla="*/ 4 w 14"/>
                <a:gd name="T1" fmla="*/ 6 h 12"/>
                <a:gd name="T2" fmla="*/ 0 w 14"/>
                <a:gd name="T3" fmla="*/ 12 h 12"/>
                <a:gd name="T4" fmla="*/ 8 w 14"/>
                <a:gd name="T5" fmla="*/ 12 h 12"/>
                <a:gd name="T6" fmla="*/ 14 w 14"/>
                <a:gd name="T7" fmla="*/ 0 h 12"/>
                <a:gd name="T8" fmla="*/ 10 w 14"/>
                <a:gd name="T9" fmla="*/ 0 h 12"/>
                <a:gd name="T10" fmla="*/ 4 w 14"/>
                <a:gd name="T11" fmla="*/ 6 h 12"/>
              </a:gdLst>
              <a:ahLst/>
              <a:cxnLst>
                <a:cxn ang="0">
                  <a:pos x="T0" y="T1"/>
                </a:cxn>
                <a:cxn ang="0">
                  <a:pos x="T2" y="T3"/>
                </a:cxn>
                <a:cxn ang="0">
                  <a:pos x="T4" y="T5"/>
                </a:cxn>
                <a:cxn ang="0">
                  <a:pos x="T6" y="T7"/>
                </a:cxn>
                <a:cxn ang="0">
                  <a:pos x="T8" y="T9"/>
                </a:cxn>
                <a:cxn ang="0">
                  <a:pos x="T10" y="T11"/>
                </a:cxn>
              </a:cxnLst>
              <a:rect l="0" t="0" r="r" b="b"/>
              <a:pathLst>
                <a:path w="14" h="12">
                  <a:moveTo>
                    <a:pt x="4" y="6"/>
                  </a:moveTo>
                  <a:lnTo>
                    <a:pt x="0" y="12"/>
                  </a:lnTo>
                  <a:lnTo>
                    <a:pt x="8" y="12"/>
                  </a:lnTo>
                  <a:lnTo>
                    <a:pt x="14" y="0"/>
                  </a:lnTo>
                  <a:lnTo>
                    <a:pt x="10" y="0"/>
                  </a:lnTo>
                  <a:lnTo>
                    <a:pt x="4"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7" name="Freeform 421">
              <a:extLst>
                <a:ext uri="{FF2B5EF4-FFF2-40B4-BE49-F238E27FC236}">
                  <a16:creationId xmlns:a16="http://schemas.microsoft.com/office/drawing/2014/main" id="{074D30AD-396E-57BD-23FE-8177088C88A6}"/>
                </a:ext>
              </a:extLst>
            </p:cNvPr>
            <p:cNvSpPr>
              <a:spLocks/>
            </p:cNvSpPr>
            <p:nvPr/>
          </p:nvSpPr>
          <p:spPr bwMode="gray">
            <a:xfrm>
              <a:off x="10486046" y="926300"/>
              <a:ext cx="21576" cy="17980"/>
            </a:xfrm>
            <a:custGeom>
              <a:avLst/>
              <a:gdLst>
                <a:gd name="T0" fmla="*/ 0 w 34"/>
                <a:gd name="T1" fmla="*/ 30 h 30"/>
                <a:gd name="T2" fmla="*/ 15 w 34"/>
                <a:gd name="T3" fmla="*/ 27 h 30"/>
                <a:gd name="T4" fmla="*/ 34 w 34"/>
                <a:gd name="T5" fmla="*/ 20 h 30"/>
                <a:gd name="T6" fmla="*/ 17 w 34"/>
                <a:gd name="T7" fmla="*/ 0 h 30"/>
                <a:gd name="T8" fmla="*/ 0 w 34"/>
                <a:gd name="T9" fmla="*/ 30 h 30"/>
              </a:gdLst>
              <a:ahLst/>
              <a:cxnLst>
                <a:cxn ang="0">
                  <a:pos x="T0" y="T1"/>
                </a:cxn>
                <a:cxn ang="0">
                  <a:pos x="T2" y="T3"/>
                </a:cxn>
                <a:cxn ang="0">
                  <a:pos x="T4" y="T5"/>
                </a:cxn>
                <a:cxn ang="0">
                  <a:pos x="T6" y="T7"/>
                </a:cxn>
                <a:cxn ang="0">
                  <a:pos x="T8" y="T9"/>
                </a:cxn>
              </a:cxnLst>
              <a:rect l="0" t="0" r="r" b="b"/>
              <a:pathLst>
                <a:path w="34" h="30">
                  <a:moveTo>
                    <a:pt x="0" y="30"/>
                  </a:moveTo>
                  <a:cubicBezTo>
                    <a:pt x="0" y="30"/>
                    <a:pt x="12" y="30"/>
                    <a:pt x="15" y="27"/>
                  </a:cubicBezTo>
                  <a:cubicBezTo>
                    <a:pt x="23" y="27"/>
                    <a:pt x="34" y="20"/>
                    <a:pt x="34" y="20"/>
                  </a:cubicBezTo>
                  <a:cubicBezTo>
                    <a:pt x="17" y="0"/>
                    <a:pt x="17" y="0"/>
                    <a:pt x="17" y="0"/>
                  </a:cubicBezTo>
                  <a:lnTo>
                    <a:pt x="0" y="3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8" name="Freeform 422">
              <a:extLst>
                <a:ext uri="{FF2B5EF4-FFF2-40B4-BE49-F238E27FC236}">
                  <a16:creationId xmlns:a16="http://schemas.microsoft.com/office/drawing/2014/main" id="{3513B718-2BBC-8040-D62B-1CFB5BE31988}"/>
                </a:ext>
              </a:extLst>
            </p:cNvPr>
            <p:cNvSpPr>
              <a:spLocks/>
            </p:cNvSpPr>
            <p:nvPr/>
          </p:nvSpPr>
          <p:spPr bwMode="gray">
            <a:xfrm>
              <a:off x="10502227" y="915513"/>
              <a:ext cx="21576" cy="21576"/>
            </a:xfrm>
            <a:custGeom>
              <a:avLst/>
              <a:gdLst>
                <a:gd name="T0" fmla="*/ 18 w 36"/>
                <a:gd name="T1" fmla="*/ 5 h 36"/>
                <a:gd name="T2" fmla="*/ 0 w 36"/>
                <a:gd name="T3" fmla="*/ 8 h 36"/>
                <a:gd name="T4" fmla="*/ 14 w 36"/>
                <a:gd name="T5" fmla="*/ 31 h 36"/>
                <a:gd name="T6" fmla="*/ 33 w 36"/>
                <a:gd name="T7" fmla="*/ 17 h 36"/>
                <a:gd name="T8" fmla="*/ 18 w 36"/>
                <a:gd name="T9" fmla="*/ 5 h 36"/>
              </a:gdLst>
              <a:ahLst/>
              <a:cxnLst>
                <a:cxn ang="0">
                  <a:pos x="T0" y="T1"/>
                </a:cxn>
                <a:cxn ang="0">
                  <a:pos x="T2" y="T3"/>
                </a:cxn>
                <a:cxn ang="0">
                  <a:pos x="T4" y="T5"/>
                </a:cxn>
                <a:cxn ang="0">
                  <a:pos x="T6" y="T7"/>
                </a:cxn>
                <a:cxn ang="0">
                  <a:pos x="T8" y="T9"/>
                </a:cxn>
              </a:cxnLst>
              <a:rect l="0" t="0" r="r" b="b"/>
              <a:pathLst>
                <a:path w="36" h="36">
                  <a:moveTo>
                    <a:pt x="18" y="5"/>
                  </a:moveTo>
                  <a:cubicBezTo>
                    <a:pt x="7" y="0"/>
                    <a:pt x="0" y="8"/>
                    <a:pt x="0" y="8"/>
                  </a:cubicBezTo>
                  <a:cubicBezTo>
                    <a:pt x="0" y="8"/>
                    <a:pt x="2" y="31"/>
                    <a:pt x="14" y="31"/>
                  </a:cubicBezTo>
                  <a:cubicBezTo>
                    <a:pt x="21" y="36"/>
                    <a:pt x="36" y="21"/>
                    <a:pt x="33" y="17"/>
                  </a:cubicBezTo>
                  <a:cubicBezTo>
                    <a:pt x="30" y="9"/>
                    <a:pt x="26" y="5"/>
                    <a:pt x="18"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9" name="Freeform 423">
              <a:extLst>
                <a:ext uri="{FF2B5EF4-FFF2-40B4-BE49-F238E27FC236}">
                  <a16:creationId xmlns:a16="http://schemas.microsoft.com/office/drawing/2014/main" id="{3F06FFF5-8125-E723-0BFD-137E4C915E0D}"/>
                </a:ext>
              </a:extLst>
            </p:cNvPr>
            <p:cNvSpPr>
              <a:spLocks/>
            </p:cNvSpPr>
            <p:nvPr/>
          </p:nvSpPr>
          <p:spPr bwMode="gray">
            <a:xfrm>
              <a:off x="10655056" y="723129"/>
              <a:ext cx="28768" cy="39556"/>
            </a:xfrm>
            <a:custGeom>
              <a:avLst/>
              <a:gdLst>
                <a:gd name="T0" fmla="*/ 15 w 46"/>
                <a:gd name="T1" fmla="*/ 61 h 65"/>
                <a:gd name="T2" fmla="*/ 36 w 46"/>
                <a:gd name="T3" fmla="*/ 20 h 65"/>
                <a:gd name="T4" fmla="*/ 5 w 46"/>
                <a:gd name="T5" fmla="*/ 37 h 65"/>
                <a:gd name="T6" fmla="*/ 15 w 46"/>
                <a:gd name="T7" fmla="*/ 61 h 65"/>
              </a:gdLst>
              <a:ahLst/>
              <a:cxnLst>
                <a:cxn ang="0">
                  <a:pos x="T0" y="T1"/>
                </a:cxn>
                <a:cxn ang="0">
                  <a:pos x="T2" y="T3"/>
                </a:cxn>
                <a:cxn ang="0">
                  <a:pos x="T4" y="T5"/>
                </a:cxn>
                <a:cxn ang="0">
                  <a:pos x="T6" y="T7"/>
                </a:cxn>
              </a:cxnLst>
              <a:rect l="0" t="0" r="r" b="b"/>
              <a:pathLst>
                <a:path w="46" h="65">
                  <a:moveTo>
                    <a:pt x="15" y="61"/>
                  </a:moveTo>
                  <a:cubicBezTo>
                    <a:pt x="33" y="65"/>
                    <a:pt x="46" y="39"/>
                    <a:pt x="36" y="20"/>
                  </a:cubicBezTo>
                  <a:cubicBezTo>
                    <a:pt x="29" y="0"/>
                    <a:pt x="10" y="15"/>
                    <a:pt x="5" y="37"/>
                  </a:cubicBezTo>
                  <a:cubicBezTo>
                    <a:pt x="0" y="56"/>
                    <a:pt x="15" y="61"/>
                    <a:pt x="15"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0" name="Freeform 424">
              <a:extLst>
                <a:ext uri="{FF2B5EF4-FFF2-40B4-BE49-F238E27FC236}">
                  <a16:creationId xmlns:a16="http://schemas.microsoft.com/office/drawing/2014/main" id="{F62F3018-DE33-1891-3F05-840C7D0DC87D}"/>
                </a:ext>
              </a:extLst>
            </p:cNvPr>
            <p:cNvSpPr>
              <a:spLocks/>
            </p:cNvSpPr>
            <p:nvPr/>
          </p:nvSpPr>
          <p:spPr bwMode="gray">
            <a:xfrm>
              <a:off x="10665842" y="775270"/>
              <a:ext cx="8991" cy="16183"/>
            </a:xfrm>
            <a:custGeom>
              <a:avLst/>
              <a:gdLst>
                <a:gd name="T0" fmla="*/ 1 w 5"/>
                <a:gd name="T1" fmla="*/ 2 h 9"/>
                <a:gd name="T2" fmla="*/ 0 w 5"/>
                <a:gd name="T3" fmla="*/ 9 h 9"/>
                <a:gd name="T4" fmla="*/ 5 w 5"/>
                <a:gd name="T5" fmla="*/ 7 h 9"/>
                <a:gd name="T6" fmla="*/ 4 w 5"/>
                <a:gd name="T7" fmla="*/ 0 h 9"/>
                <a:gd name="T8" fmla="*/ 1 w 5"/>
                <a:gd name="T9" fmla="*/ 2 h 9"/>
              </a:gdLst>
              <a:ahLst/>
              <a:cxnLst>
                <a:cxn ang="0">
                  <a:pos x="T0" y="T1"/>
                </a:cxn>
                <a:cxn ang="0">
                  <a:pos x="T2" y="T3"/>
                </a:cxn>
                <a:cxn ang="0">
                  <a:pos x="T4" y="T5"/>
                </a:cxn>
                <a:cxn ang="0">
                  <a:pos x="T6" y="T7"/>
                </a:cxn>
                <a:cxn ang="0">
                  <a:pos x="T8" y="T9"/>
                </a:cxn>
              </a:cxnLst>
              <a:rect l="0" t="0" r="r" b="b"/>
              <a:pathLst>
                <a:path w="5" h="9">
                  <a:moveTo>
                    <a:pt x="1" y="2"/>
                  </a:moveTo>
                  <a:lnTo>
                    <a:pt x="0" y="9"/>
                  </a:lnTo>
                  <a:lnTo>
                    <a:pt x="5" y="7"/>
                  </a:lnTo>
                  <a:lnTo>
                    <a:pt x="4" y="0"/>
                  </a:lnTo>
                  <a:lnTo>
                    <a:pt x="1"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1" name="Freeform 425">
              <a:extLst>
                <a:ext uri="{FF2B5EF4-FFF2-40B4-BE49-F238E27FC236}">
                  <a16:creationId xmlns:a16="http://schemas.microsoft.com/office/drawing/2014/main" id="{8F1FEE6B-686D-BE99-15DA-353E3B5CF5C0}"/>
                </a:ext>
              </a:extLst>
            </p:cNvPr>
            <p:cNvSpPr>
              <a:spLocks/>
            </p:cNvSpPr>
            <p:nvPr/>
          </p:nvSpPr>
          <p:spPr bwMode="gray">
            <a:xfrm>
              <a:off x="10771925" y="663796"/>
              <a:ext cx="34162" cy="48546"/>
            </a:xfrm>
            <a:custGeom>
              <a:avLst/>
              <a:gdLst>
                <a:gd name="T0" fmla="*/ 12 w 19"/>
                <a:gd name="T1" fmla="*/ 7 h 27"/>
                <a:gd name="T2" fmla="*/ 9 w 19"/>
                <a:gd name="T3" fmla="*/ 12 h 27"/>
                <a:gd name="T4" fmla="*/ 7 w 19"/>
                <a:gd name="T5" fmla="*/ 10 h 27"/>
                <a:gd name="T6" fmla="*/ 0 w 19"/>
                <a:gd name="T7" fmla="*/ 20 h 27"/>
                <a:gd name="T8" fmla="*/ 6 w 19"/>
                <a:gd name="T9" fmla="*/ 23 h 27"/>
                <a:gd name="T10" fmla="*/ 8 w 19"/>
                <a:gd name="T11" fmla="*/ 21 h 27"/>
                <a:gd name="T12" fmla="*/ 7 w 19"/>
                <a:gd name="T13" fmla="*/ 27 h 27"/>
                <a:gd name="T14" fmla="*/ 12 w 19"/>
                <a:gd name="T15" fmla="*/ 27 h 27"/>
                <a:gd name="T16" fmla="*/ 19 w 19"/>
                <a:gd name="T17" fmla="*/ 12 h 27"/>
                <a:gd name="T18" fmla="*/ 15 w 19"/>
                <a:gd name="T19" fmla="*/ 0 h 27"/>
                <a:gd name="T20" fmla="*/ 10 w 19"/>
                <a:gd name="T21" fmla="*/ 2 h 27"/>
                <a:gd name="T22" fmla="*/ 12 w 19"/>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2" y="7"/>
                  </a:moveTo>
                  <a:lnTo>
                    <a:pt x="9" y="12"/>
                  </a:lnTo>
                  <a:lnTo>
                    <a:pt x="7" y="10"/>
                  </a:lnTo>
                  <a:lnTo>
                    <a:pt x="0" y="20"/>
                  </a:lnTo>
                  <a:lnTo>
                    <a:pt x="6" y="23"/>
                  </a:lnTo>
                  <a:lnTo>
                    <a:pt x="8" y="21"/>
                  </a:lnTo>
                  <a:lnTo>
                    <a:pt x="7" y="27"/>
                  </a:lnTo>
                  <a:lnTo>
                    <a:pt x="12" y="27"/>
                  </a:lnTo>
                  <a:lnTo>
                    <a:pt x="19" y="12"/>
                  </a:lnTo>
                  <a:lnTo>
                    <a:pt x="15" y="0"/>
                  </a:lnTo>
                  <a:lnTo>
                    <a:pt x="10" y="2"/>
                  </a:lnTo>
                  <a:lnTo>
                    <a:pt x="12"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2" name="Freeform 426">
              <a:extLst>
                <a:ext uri="{FF2B5EF4-FFF2-40B4-BE49-F238E27FC236}">
                  <a16:creationId xmlns:a16="http://schemas.microsoft.com/office/drawing/2014/main" id="{A9201434-7961-DE98-D3E0-FA58FFEB38CF}"/>
                </a:ext>
              </a:extLst>
            </p:cNvPr>
            <p:cNvSpPr>
              <a:spLocks/>
            </p:cNvSpPr>
            <p:nvPr/>
          </p:nvSpPr>
          <p:spPr bwMode="gray">
            <a:xfrm>
              <a:off x="10728772" y="638624"/>
              <a:ext cx="68323" cy="57535"/>
            </a:xfrm>
            <a:custGeom>
              <a:avLst/>
              <a:gdLst>
                <a:gd name="T0" fmla="*/ 7 w 114"/>
                <a:gd name="T1" fmla="*/ 72 h 99"/>
                <a:gd name="T2" fmla="*/ 25 w 114"/>
                <a:gd name="T3" fmla="*/ 72 h 99"/>
                <a:gd name="T4" fmla="*/ 13 w 114"/>
                <a:gd name="T5" fmla="*/ 91 h 99"/>
                <a:gd name="T6" fmla="*/ 70 w 114"/>
                <a:gd name="T7" fmla="*/ 82 h 99"/>
                <a:gd name="T8" fmla="*/ 86 w 114"/>
                <a:gd name="T9" fmla="*/ 49 h 99"/>
                <a:gd name="T10" fmla="*/ 114 w 114"/>
                <a:gd name="T11" fmla="*/ 15 h 99"/>
                <a:gd name="T12" fmla="*/ 100 w 114"/>
                <a:gd name="T13" fmla="*/ 0 h 99"/>
                <a:gd name="T14" fmla="*/ 73 w 114"/>
                <a:gd name="T15" fmla="*/ 10 h 99"/>
                <a:gd name="T16" fmla="*/ 75 w 114"/>
                <a:gd name="T17" fmla="*/ 40 h 99"/>
                <a:gd name="T18" fmla="*/ 57 w 114"/>
                <a:gd name="T19" fmla="*/ 24 h 99"/>
                <a:gd name="T20" fmla="*/ 50 w 114"/>
                <a:gd name="T21" fmla="*/ 32 h 99"/>
                <a:gd name="T22" fmla="*/ 63 w 114"/>
                <a:gd name="T23" fmla="*/ 55 h 99"/>
                <a:gd name="T24" fmla="*/ 38 w 114"/>
                <a:gd name="T25" fmla="*/ 39 h 99"/>
                <a:gd name="T26" fmla="*/ 23 w 114"/>
                <a:gd name="T27" fmla="*/ 38 h 99"/>
                <a:gd name="T28" fmla="*/ 26 w 114"/>
                <a:gd name="T29" fmla="*/ 57 h 99"/>
                <a:gd name="T30" fmla="*/ 0 w 114"/>
                <a:gd name="T31" fmla="*/ 60 h 99"/>
                <a:gd name="T32" fmla="*/ 7 w 114"/>
                <a:gd name="T33" fmla="*/ 7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99">
                  <a:moveTo>
                    <a:pt x="7" y="72"/>
                  </a:moveTo>
                  <a:cubicBezTo>
                    <a:pt x="25" y="72"/>
                    <a:pt x="25" y="72"/>
                    <a:pt x="25" y="72"/>
                  </a:cubicBezTo>
                  <a:cubicBezTo>
                    <a:pt x="13" y="91"/>
                    <a:pt x="13" y="91"/>
                    <a:pt x="13" y="91"/>
                  </a:cubicBezTo>
                  <a:cubicBezTo>
                    <a:pt x="20" y="99"/>
                    <a:pt x="39" y="96"/>
                    <a:pt x="70" y="82"/>
                  </a:cubicBezTo>
                  <a:cubicBezTo>
                    <a:pt x="96" y="68"/>
                    <a:pt x="86" y="49"/>
                    <a:pt x="86" y="49"/>
                  </a:cubicBezTo>
                  <a:cubicBezTo>
                    <a:pt x="114" y="15"/>
                    <a:pt x="114" y="15"/>
                    <a:pt x="114" y="15"/>
                  </a:cubicBezTo>
                  <a:cubicBezTo>
                    <a:pt x="100" y="0"/>
                    <a:pt x="100" y="0"/>
                    <a:pt x="100" y="0"/>
                  </a:cubicBezTo>
                  <a:cubicBezTo>
                    <a:pt x="73" y="10"/>
                    <a:pt x="73" y="10"/>
                    <a:pt x="73" y="10"/>
                  </a:cubicBezTo>
                  <a:cubicBezTo>
                    <a:pt x="75" y="40"/>
                    <a:pt x="75" y="40"/>
                    <a:pt x="75" y="40"/>
                  </a:cubicBezTo>
                  <a:cubicBezTo>
                    <a:pt x="57" y="24"/>
                    <a:pt x="57" y="24"/>
                    <a:pt x="57" y="24"/>
                  </a:cubicBezTo>
                  <a:cubicBezTo>
                    <a:pt x="50" y="32"/>
                    <a:pt x="50" y="32"/>
                    <a:pt x="50" y="32"/>
                  </a:cubicBezTo>
                  <a:cubicBezTo>
                    <a:pt x="63" y="55"/>
                    <a:pt x="63" y="55"/>
                    <a:pt x="63" y="55"/>
                  </a:cubicBezTo>
                  <a:cubicBezTo>
                    <a:pt x="38" y="39"/>
                    <a:pt x="38" y="39"/>
                    <a:pt x="38" y="39"/>
                  </a:cubicBezTo>
                  <a:cubicBezTo>
                    <a:pt x="23" y="38"/>
                    <a:pt x="23" y="38"/>
                    <a:pt x="23" y="38"/>
                  </a:cubicBezTo>
                  <a:cubicBezTo>
                    <a:pt x="26" y="57"/>
                    <a:pt x="26" y="57"/>
                    <a:pt x="26" y="57"/>
                  </a:cubicBezTo>
                  <a:cubicBezTo>
                    <a:pt x="0" y="60"/>
                    <a:pt x="0" y="60"/>
                    <a:pt x="0" y="60"/>
                  </a:cubicBezTo>
                  <a:lnTo>
                    <a:pt x="7" y="7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3" name="Freeform 427">
              <a:extLst>
                <a:ext uri="{FF2B5EF4-FFF2-40B4-BE49-F238E27FC236}">
                  <a16:creationId xmlns:a16="http://schemas.microsoft.com/office/drawing/2014/main" id="{D2544323-5613-2A1D-1D6C-02FE2E299915}"/>
                </a:ext>
              </a:extLst>
            </p:cNvPr>
            <p:cNvSpPr>
              <a:spLocks/>
            </p:cNvSpPr>
            <p:nvPr/>
          </p:nvSpPr>
          <p:spPr bwMode="gray">
            <a:xfrm>
              <a:off x="9937663" y="1649087"/>
              <a:ext cx="23374" cy="17980"/>
            </a:xfrm>
            <a:custGeom>
              <a:avLst/>
              <a:gdLst>
                <a:gd name="T0" fmla="*/ 10 w 41"/>
                <a:gd name="T1" fmla="*/ 21 h 29"/>
                <a:gd name="T2" fmla="*/ 25 w 41"/>
                <a:gd name="T3" fmla="*/ 29 h 29"/>
                <a:gd name="T4" fmla="*/ 40 w 41"/>
                <a:gd name="T5" fmla="*/ 26 h 29"/>
                <a:gd name="T6" fmla="*/ 26 w 41"/>
                <a:gd name="T7" fmla="*/ 3 h 29"/>
                <a:gd name="T8" fmla="*/ 0 w 41"/>
                <a:gd name="T9" fmla="*/ 5 h 29"/>
                <a:gd name="T10" fmla="*/ 3 w 41"/>
                <a:gd name="T11" fmla="*/ 21 h 29"/>
                <a:gd name="T12" fmla="*/ 10 w 41"/>
                <a:gd name="T13" fmla="*/ 21 h 29"/>
              </a:gdLst>
              <a:ahLst/>
              <a:cxnLst>
                <a:cxn ang="0">
                  <a:pos x="T0" y="T1"/>
                </a:cxn>
                <a:cxn ang="0">
                  <a:pos x="T2" y="T3"/>
                </a:cxn>
                <a:cxn ang="0">
                  <a:pos x="T4" y="T5"/>
                </a:cxn>
                <a:cxn ang="0">
                  <a:pos x="T6" y="T7"/>
                </a:cxn>
                <a:cxn ang="0">
                  <a:pos x="T8" y="T9"/>
                </a:cxn>
                <a:cxn ang="0">
                  <a:pos x="T10" y="T11"/>
                </a:cxn>
                <a:cxn ang="0">
                  <a:pos x="T12" y="T13"/>
                </a:cxn>
              </a:cxnLst>
              <a:rect l="0" t="0" r="r" b="b"/>
              <a:pathLst>
                <a:path w="41" h="29">
                  <a:moveTo>
                    <a:pt x="10" y="21"/>
                  </a:moveTo>
                  <a:cubicBezTo>
                    <a:pt x="25" y="29"/>
                    <a:pt x="25" y="29"/>
                    <a:pt x="25" y="29"/>
                  </a:cubicBezTo>
                  <a:cubicBezTo>
                    <a:pt x="40" y="26"/>
                    <a:pt x="40" y="26"/>
                    <a:pt x="40" y="26"/>
                  </a:cubicBezTo>
                  <a:cubicBezTo>
                    <a:pt x="40" y="26"/>
                    <a:pt x="41" y="0"/>
                    <a:pt x="26" y="3"/>
                  </a:cubicBezTo>
                  <a:cubicBezTo>
                    <a:pt x="7" y="2"/>
                    <a:pt x="0" y="5"/>
                    <a:pt x="0" y="5"/>
                  </a:cubicBezTo>
                  <a:cubicBezTo>
                    <a:pt x="3" y="21"/>
                    <a:pt x="3" y="21"/>
                    <a:pt x="3" y="21"/>
                  </a:cubicBezTo>
                  <a:lnTo>
                    <a:pt x="10"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4" name="Freeform 428">
              <a:extLst>
                <a:ext uri="{FF2B5EF4-FFF2-40B4-BE49-F238E27FC236}">
                  <a16:creationId xmlns:a16="http://schemas.microsoft.com/office/drawing/2014/main" id="{F7DF09AA-30C4-0F77-E3CC-772A22D97F22}"/>
                </a:ext>
              </a:extLst>
            </p:cNvPr>
            <p:cNvSpPr>
              <a:spLocks/>
            </p:cNvSpPr>
            <p:nvPr/>
          </p:nvSpPr>
          <p:spPr bwMode="gray">
            <a:xfrm>
              <a:off x="10315238" y="996422"/>
              <a:ext cx="43151" cy="37758"/>
            </a:xfrm>
            <a:custGeom>
              <a:avLst/>
              <a:gdLst>
                <a:gd name="T0" fmla="*/ 22 w 73"/>
                <a:gd name="T1" fmla="*/ 61 h 64"/>
                <a:gd name="T2" fmla="*/ 27 w 73"/>
                <a:gd name="T3" fmla="*/ 42 h 64"/>
                <a:gd name="T4" fmla="*/ 65 w 73"/>
                <a:gd name="T5" fmla="*/ 24 h 64"/>
                <a:gd name="T6" fmla="*/ 51 w 73"/>
                <a:gd name="T7" fmla="*/ 1 h 64"/>
                <a:gd name="T8" fmla="*/ 50 w 73"/>
                <a:gd name="T9" fmla="*/ 20 h 64"/>
                <a:gd name="T10" fmla="*/ 36 w 73"/>
                <a:gd name="T11" fmla="*/ 0 h 64"/>
                <a:gd name="T12" fmla="*/ 21 w 73"/>
                <a:gd name="T13" fmla="*/ 15 h 64"/>
                <a:gd name="T14" fmla="*/ 9 w 73"/>
                <a:gd name="T15" fmla="*/ 18 h 64"/>
                <a:gd name="T16" fmla="*/ 9 w 73"/>
                <a:gd name="T17" fmla="*/ 29 h 64"/>
                <a:gd name="T18" fmla="*/ 1 w 73"/>
                <a:gd name="T19" fmla="*/ 33 h 64"/>
                <a:gd name="T20" fmla="*/ 1 w 73"/>
                <a:gd name="T21" fmla="*/ 44 h 64"/>
                <a:gd name="T22" fmla="*/ 4 w 73"/>
                <a:gd name="T23" fmla="*/ 48 h 64"/>
                <a:gd name="T24" fmla="*/ 0 w 73"/>
                <a:gd name="T25" fmla="*/ 63 h 64"/>
                <a:gd name="T26" fmla="*/ 22 w 73"/>
                <a:gd name="T2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64">
                  <a:moveTo>
                    <a:pt x="22" y="61"/>
                  </a:moveTo>
                  <a:cubicBezTo>
                    <a:pt x="34" y="57"/>
                    <a:pt x="27" y="42"/>
                    <a:pt x="27" y="42"/>
                  </a:cubicBezTo>
                  <a:cubicBezTo>
                    <a:pt x="27" y="42"/>
                    <a:pt x="54" y="28"/>
                    <a:pt x="65" y="24"/>
                  </a:cubicBezTo>
                  <a:cubicBezTo>
                    <a:pt x="73" y="21"/>
                    <a:pt x="59" y="1"/>
                    <a:pt x="51" y="1"/>
                  </a:cubicBezTo>
                  <a:cubicBezTo>
                    <a:pt x="40" y="0"/>
                    <a:pt x="58" y="16"/>
                    <a:pt x="50" y="20"/>
                  </a:cubicBezTo>
                  <a:cubicBezTo>
                    <a:pt x="43" y="23"/>
                    <a:pt x="36" y="0"/>
                    <a:pt x="36" y="0"/>
                  </a:cubicBezTo>
                  <a:cubicBezTo>
                    <a:pt x="21" y="15"/>
                    <a:pt x="21" y="15"/>
                    <a:pt x="21" y="15"/>
                  </a:cubicBezTo>
                  <a:cubicBezTo>
                    <a:pt x="9" y="18"/>
                    <a:pt x="9" y="18"/>
                    <a:pt x="9" y="18"/>
                  </a:cubicBezTo>
                  <a:cubicBezTo>
                    <a:pt x="9" y="29"/>
                    <a:pt x="9" y="29"/>
                    <a:pt x="9" y="29"/>
                  </a:cubicBezTo>
                  <a:cubicBezTo>
                    <a:pt x="1" y="33"/>
                    <a:pt x="1" y="33"/>
                    <a:pt x="1" y="33"/>
                  </a:cubicBezTo>
                  <a:cubicBezTo>
                    <a:pt x="1" y="44"/>
                    <a:pt x="1" y="44"/>
                    <a:pt x="1" y="44"/>
                  </a:cubicBezTo>
                  <a:cubicBezTo>
                    <a:pt x="4" y="48"/>
                    <a:pt x="4" y="48"/>
                    <a:pt x="4" y="48"/>
                  </a:cubicBezTo>
                  <a:cubicBezTo>
                    <a:pt x="0" y="63"/>
                    <a:pt x="0" y="63"/>
                    <a:pt x="0" y="63"/>
                  </a:cubicBezTo>
                  <a:cubicBezTo>
                    <a:pt x="0" y="63"/>
                    <a:pt x="15" y="64"/>
                    <a:pt x="22"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5" name="Freeform 429">
              <a:extLst>
                <a:ext uri="{FF2B5EF4-FFF2-40B4-BE49-F238E27FC236}">
                  <a16:creationId xmlns:a16="http://schemas.microsoft.com/office/drawing/2014/main" id="{520FFAEE-10E1-906C-4271-9DCE7E09C1D3}"/>
                </a:ext>
              </a:extLst>
            </p:cNvPr>
            <p:cNvSpPr>
              <a:spLocks/>
            </p:cNvSpPr>
            <p:nvPr/>
          </p:nvSpPr>
          <p:spPr bwMode="gray">
            <a:xfrm>
              <a:off x="10275682" y="1021594"/>
              <a:ext cx="37758" cy="50344"/>
            </a:xfrm>
            <a:custGeom>
              <a:avLst/>
              <a:gdLst>
                <a:gd name="T0" fmla="*/ 4 w 64"/>
                <a:gd name="T1" fmla="*/ 85 h 85"/>
                <a:gd name="T2" fmla="*/ 23 w 64"/>
                <a:gd name="T3" fmla="*/ 71 h 85"/>
                <a:gd name="T4" fmla="*/ 24 w 64"/>
                <a:gd name="T5" fmla="*/ 56 h 85"/>
                <a:gd name="T6" fmla="*/ 40 w 64"/>
                <a:gd name="T7" fmla="*/ 41 h 85"/>
                <a:gd name="T8" fmla="*/ 63 w 64"/>
                <a:gd name="T9" fmla="*/ 19 h 85"/>
                <a:gd name="T10" fmla="*/ 53 w 64"/>
                <a:gd name="T11" fmla="*/ 4 h 85"/>
                <a:gd name="T12" fmla="*/ 37 w 64"/>
                <a:gd name="T13" fmla="*/ 30 h 85"/>
                <a:gd name="T14" fmla="*/ 30 w 64"/>
                <a:gd name="T15" fmla="*/ 18 h 85"/>
                <a:gd name="T16" fmla="*/ 9 w 64"/>
                <a:gd name="T17" fmla="*/ 55 h 85"/>
                <a:gd name="T18" fmla="*/ 8 w 64"/>
                <a:gd name="T19" fmla="*/ 74 h 85"/>
                <a:gd name="T20" fmla="*/ 4 w 64"/>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5">
                  <a:moveTo>
                    <a:pt x="4" y="85"/>
                  </a:moveTo>
                  <a:cubicBezTo>
                    <a:pt x="4" y="85"/>
                    <a:pt x="19" y="82"/>
                    <a:pt x="23" y="71"/>
                  </a:cubicBezTo>
                  <a:cubicBezTo>
                    <a:pt x="24" y="63"/>
                    <a:pt x="20" y="56"/>
                    <a:pt x="24" y="56"/>
                  </a:cubicBezTo>
                  <a:cubicBezTo>
                    <a:pt x="28" y="56"/>
                    <a:pt x="40" y="41"/>
                    <a:pt x="40" y="41"/>
                  </a:cubicBezTo>
                  <a:cubicBezTo>
                    <a:pt x="40" y="41"/>
                    <a:pt x="62" y="39"/>
                    <a:pt x="63" y="19"/>
                  </a:cubicBezTo>
                  <a:cubicBezTo>
                    <a:pt x="64" y="0"/>
                    <a:pt x="53" y="4"/>
                    <a:pt x="53" y="4"/>
                  </a:cubicBezTo>
                  <a:cubicBezTo>
                    <a:pt x="37" y="30"/>
                    <a:pt x="37" y="30"/>
                    <a:pt x="37" y="30"/>
                  </a:cubicBezTo>
                  <a:cubicBezTo>
                    <a:pt x="30" y="18"/>
                    <a:pt x="30" y="18"/>
                    <a:pt x="30" y="18"/>
                  </a:cubicBezTo>
                  <a:cubicBezTo>
                    <a:pt x="30" y="18"/>
                    <a:pt x="10" y="44"/>
                    <a:pt x="9" y="55"/>
                  </a:cubicBezTo>
                  <a:cubicBezTo>
                    <a:pt x="5" y="63"/>
                    <a:pt x="8" y="70"/>
                    <a:pt x="8" y="74"/>
                  </a:cubicBezTo>
                  <a:cubicBezTo>
                    <a:pt x="8" y="78"/>
                    <a:pt x="0" y="81"/>
                    <a:pt x="4" y="8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6" name="Freeform 430">
              <a:extLst>
                <a:ext uri="{FF2B5EF4-FFF2-40B4-BE49-F238E27FC236}">
                  <a16:creationId xmlns:a16="http://schemas.microsoft.com/office/drawing/2014/main" id="{4721D7A0-49E4-47B3-7C20-590CE626E05E}"/>
                </a:ext>
              </a:extLst>
            </p:cNvPr>
            <p:cNvSpPr>
              <a:spLocks/>
            </p:cNvSpPr>
            <p:nvPr/>
          </p:nvSpPr>
          <p:spPr bwMode="gray">
            <a:xfrm>
              <a:off x="10137238" y="1456704"/>
              <a:ext cx="30566" cy="19778"/>
            </a:xfrm>
            <a:custGeom>
              <a:avLst/>
              <a:gdLst>
                <a:gd name="T0" fmla="*/ 30 w 52"/>
                <a:gd name="T1" fmla="*/ 19 h 34"/>
                <a:gd name="T2" fmla="*/ 26 w 52"/>
                <a:gd name="T3" fmla="*/ 26 h 34"/>
                <a:gd name="T4" fmla="*/ 33 w 52"/>
                <a:gd name="T5" fmla="*/ 34 h 34"/>
                <a:gd name="T6" fmla="*/ 52 w 52"/>
                <a:gd name="T7" fmla="*/ 20 h 34"/>
                <a:gd name="T8" fmla="*/ 27 w 52"/>
                <a:gd name="T9" fmla="*/ 3 h 34"/>
                <a:gd name="T10" fmla="*/ 0 w 52"/>
                <a:gd name="T11" fmla="*/ 21 h 34"/>
                <a:gd name="T12" fmla="*/ 11 w 52"/>
                <a:gd name="T13" fmla="*/ 29 h 34"/>
                <a:gd name="T14" fmla="*/ 30 w 52"/>
                <a:gd name="T15" fmla="*/ 19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4">
                  <a:moveTo>
                    <a:pt x="30" y="19"/>
                  </a:moveTo>
                  <a:cubicBezTo>
                    <a:pt x="34" y="19"/>
                    <a:pt x="26" y="26"/>
                    <a:pt x="26" y="26"/>
                  </a:cubicBezTo>
                  <a:cubicBezTo>
                    <a:pt x="33" y="34"/>
                    <a:pt x="33" y="34"/>
                    <a:pt x="33" y="34"/>
                  </a:cubicBezTo>
                  <a:cubicBezTo>
                    <a:pt x="52" y="20"/>
                    <a:pt x="52" y="20"/>
                    <a:pt x="52" y="20"/>
                  </a:cubicBezTo>
                  <a:cubicBezTo>
                    <a:pt x="52" y="20"/>
                    <a:pt x="46" y="0"/>
                    <a:pt x="27" y="3"/>
                  </a:cubicBezTo>
                  <a:cubicBezTo>
                    <a:pt x="12" y="6"/>
                    <a:pt x="0" y="21"/>
                    <a:pt x="0" y="21"/>
                  </a:cubicBezTo>
                  <a:cubicBezTo>
                    <a:pt x="11" y="29"/>
                    <a:pt x="11" y="29"/>
                    <a:pt x="11" y="29"/>
                  </a:cubicBezTo>
                  <a:cubicBezTo>
                    <a:pt x="11" y="29"/>
                    <a:pt x="26" y="15"/>
                    <a:pt x="30"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7" name="Freeform 431">
              <a:extLst>
                <a:ext uri="{FF2B5EF4-FFF2-40B4-BE49-F238E27FC236}">
                  <a16:creationId xmlns:a16="http://schemas.microsoft.com/office/drawing/2014/main" id="{DB99DB00-ED0E-9B17-66D4-D9C1D9AF4A3A}"/>
                </a:ext>
              </a:extLst>
            </p:cNvPr>
            <p:cNvSpPr>
              <a:spLocks/>
            </p:cNvSpPr>
            <p:nvPr/>
          </p:nvSpPr>
          <p:spPr bwMode="gray">
            <a:xfrm>
              <a:off x="10352995" y="983836"/>
              <a:ext cx="46747" cy="39556"/>
            </a:xfrm>
            <a:custGeom>
              <a:avLst/>
              <a:gdLst>
                <a:gd name="T0" fmla="*/ 0 w 78"/>
                <a:gd name="T1" fmla="*/ 66 h 66"/>
                <a:gd name="T2" fmla="*/ 35 w 78"/>
                <a:gd name="T3" fmla="*/ 52 h 66"/>
                <a:gd name="T4" fmla="*/ 39 w 78"/>
                <a:gd name="T5" fmla="*/ 29 h 66"/>
                <a:gd name="T6" fmla="*/ 46 w 78"/>
                <a:gd name="T7" fmla="*/ 45 h 66"/>
                <a:gd name="T8" fmla="*/ 78 w 78"/>
                <a:gd name="T9" fmla="*/ 0 h 66"/>
                <a:gd name="T10" fmla="*/ 59 w 78"/>
                <a:gd name="T11" fmla="*/ 0 h 66"/>
                <a:gd name="T12" fmla="*/ 59 w 78"/>
                <a:gd name="T13" fmla="*/ 19 h 66"/>
                <a:gd name="T14" fmla="*/ 44 w 78"/>
                <a:gd name="T15" fmla="*/ 6 h 66"/>
                <a:gd name="T16" fmla="*/ 18 w 78"/>
                <a:gd name="T17" fmla="*/ 17 h 66"/>
                <a:gd name="T18" fmla="*/ 21 w 78"/>
                <a:gd name="T19" fmla="*/ 32 h 66"/>
                <a:gd name="T20" fmla="*/ 10 w 78"/>
                <a:gd name="T21" fmla="*/ 28 h 66"/>
                <a:gd name="T22" fmla="*/ 9 w 78"/>
                <a:gd name="T23" fmla="*/ 47 h 66"/>
                <a:gd name="T24" fmla="*/ 0 w 78"/>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66">
                  <a:moveTo>
                    <a:pt x="0" y="66"/>
                  </a:moveTo>
                  <a:cubicBezTo>
                    <a:pt x="35" y="52"/>
                    <a:pt x="35" y="52"/>
                    <a:pt x="35" y="52"/>
                  </a:cubicBezTo>
                  <a:cubicBezTo>
                    <a:pt x="39" y="29"/>
                    <a:pt x="39" y="29"/>
                    <a:pt x="39" y="29"/>
                  </a:cubicBezTo>
                  <a:cubicBezTo>
                    <a:pt x="46" y="45"/>
                    <a:pt x="46" y="45"/>
                    <a:pt x="46" y="45"/>
                  </a:cubicBezTo>
                  <a:cubicBezTo>
                    <a:pt x="78" y="0"/>
                    <a:pt x="78" y="0"/>
                    <a:pt x="78" y="0"/>
                  </a:cubicBezTo>
                  <a:cubicBezTo>
                    <a:pt x="78" y="0"/>
                    <a:pt x="59" y="3"/>
                    <a:pt x="59" y="0"/>
                  </a:cubicBezTo>
                  <a:cubicBezTo>
                    <a:pt x="59" y="19"/>
                    <a:pt x="59" y="19"/>
                    <a:pt x="59" y="19"/>
                  </a:cubicBezTo>
                  <a:cubicBezTo>
                    <a:pt x="44" y="6"/>
                    <a:pt x="44" y="6"/>
                    <a:pt x="44" y="6"/>
                  </a:cubicBezTo>
                  <a:cubicBezTo>
                    <a:pt x="18" y="17"/>
                    <a:pt x="18" y="17"/>
                    <a:pt x="18" y="17"/>
                  </a:cubicBezTo>
                  <a:cubicBezTo>
                    <a:pt x="21" y="32"/>
                    <a:pt x="21" y="32"/>
                    <a:pt x="21" y="32"/>
                  </a:cubicBezTo>
                  <a:cubicBezTo>
                    <a:pt x="10" y="28"/>
                    <a:pt x="10" y="28"/>
                    <a:pt x="10" y="28"/>
                  </a:cubicBezTo>
                  <a:cubicBezTo>
                    <a:pt x="10" y="28"/>
                    <a:pt x="13" y="39"/>
                    <a:pt x="9" y="47"/>
                  </a:cubicBezTo>
                  <a:cubicBezTo>
                    <a:pt x="8" y="54"/>
                    <a:pt x="0" y="66"/>
                    <a:pt x="0" y="6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8" name="Freeform 432">
              <a:extLst>
                <a:ext uri="{FF2B5EF4-FFF2-40B4-BE49-F238E27FC236}">
                  <a16:creationId xmlns:a16="http://schemas.microsoft.com/office/drawing/2014/main" id="{2EBE0D5E-165B-A0A5-6F0E-643C90B9EB22}"/>
                </a:ext>
              </a:extLst>
            </p:cNvPr>
            <p:cNvSpPr>
              <a:spLocks/>
            </p:cNvSpPr>
            <p:nvPr/>
          </p:nvSpPr>
          <p:spPr bwMode="gray">
            <a:xfrm>
              <a:off x="10264895" y="1089917"/>
              <a:ext cx="12586" cy="12586"/>
            </a:xfrm>
            <a:custGeom>
              <a:avLst/>
              <a:gdLst>
                <a:gd name="T0" fmla="*/ 3 w 7"/>
                <a:gd name="T1" fmla="*/ 0 h 7"/>
                <a:gd name="T2" fmla="*/ 0 w 7"/>
                <a:gd name="T3" fmla="*/ 7 h 7"/>
                <a:gd name="T4" fmla="*/ 7 w 7"/>
                <a:gd name="T5" fmla="*/ 4 h 7"/>
                <a:gd name="T6" fmla="*/ 3 w 7"/>
                <a:gd name="T7" fmla="*/ 0 h 7"/>
              </a:gdLst>
              <a:ahLst/>
              <a:cxnLst>
                <a:cxn ang="0">
                  <a:pos x="T0" y="T1"/>
                </a:cxn>
                <a:cxn ang="0">
                  <a:pos x="T2" y="T3"/>
                </a:cxn>
                <a:cxn ang="0">
                  <a:pos x="T4" y="T5"/>
                </a:cxn>
                <a:cxn ang="0">
                  <a:pos x="T6" y="T7"/>
                </a:cxn>
              </a:cxnLst>
              <a:rect l="0" t="0" r="r" b="b"/>
              <a:pathLst>
                <a:path w="7" h="7">
                  <a:moveTo>
                    <a:pt x="3" y="0"/>
                  </a:moveTo>
                  <a:lnTo>
                    <a:pt x="0" y="7"/>
                  </a:lnTo>
                  <a:lnTo>
                    <a:pt x="7"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9" name="Freeform 433">
              <a:extLst>
                <a:ext uri="{FF2B5EF4-FFF2-40B4-BE49-F238E27FC236}">
                  <a16:creationId xmlns:a16="http://schemas.microsoft.com/office/drawing/2014/main" id="{A7A629B0-B808-981C-BEC1-5F2F7AA66252}"/>
                </a:ext>
              </a:extLst>
            </p:cNvPr>
            <p:cNvSpPr>
              <a:spLocks/>
            </p:cNvSpPr>
            <p:nvPr/>
          </p:nvSpPr>
          <p:spPr bwMode="gray">
            <a:xfrm>
              <a:off x="10367378" y="971251"/>
              <a:ext cx="32364" cy="10788"/>
            </a:xfrm>
            <a:custGeom>
              <a:avLst/>
              <a:gdLst>
                <a:gd name="T0" fmla="*/ 26 w 56"/>
                <a:gd name="T1" fmla="*/ 16 h 18"/>
                <a:gd name="T2" fmla="*/ 27 w 56"/>
                <a:gd name="T3" fmla="*/ 1 h 18"/>
                <a:gd name="T4" fmla="*/ 26 w 56"/>
                <a:gd name="T5" fmla="*/ 16 h 18"/>
              </a:gdLst>
              <a:ahLst/>
              <a:cxnLst>
                <a:cxn ang="0">
                  <a:pos x="T0" y="T1"/>
                </a:cxn>
                <a:cxn ang="0">
                  <a:pos x="T2" y="T3"/>
                </a:cxn>
                <a:cxn ang="0">
                  <a:pos x="T4" y="T5"/>
                </a:cxn>
              </a:cxnLst>
              <a:rect l="0" t="0" r="r" b="b"/>
              <a:pathLst>
                <a:path w="56" h="18">
                  <a:moveTo>
                    <a:pt x="26" y="16"/>
                  </a:moveTo>
                  <a:cubicBezTo>
                    <a:pt x="56" y="18"/>
                    <a:pt x="46" y="2"/>
                    <a:pt x="27" y="1"/>
                  </a:cubicBezTo>
                  <a:cubicBezTo>
                    <a:pt x="5" y="0"/>
                    <a:pt x="0" y="15"/>
                    <a:pt x="26"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0" name="Freeform 434">
              <a:extLst>
                <a:ext uri="{FF2B5EF4-FFF2-40B4-BE49-F238E27FC236}">
                  <a16:creationId xmlns:a16="http://schemas.microsoft.com/office/drawing/2014/main" id="{EA290853-F6EC-CD37-D573-BD8D593ACFEA}"/>
                </a:ext>
              </a:extLst>
            </p:cNvPr>
            <p:cNvSpPr>
              <a:spLocks/>
            </p:cNvSpPr>
            <p:nvPr/>
          </p:nvSpPr>
          <p:spPr bwMode="gray">
            <a:xfrm>
              <a:off x="10180389" y="1436926"/>
              <a:ext cx="16183" cy="14383"/>
            </a:xfrm>
            <a:custGeom>
              <a:avLst/>
              <a:gdLst>
                <a:gd name="T0" fmla="*/ 26 w 26"/>
                <a:gd name="T1" fmla="*/ 4 h 23"/>
                <a:gd name="T2" fmla="*/ 11 w 26"/>
                <a:gd name="T3" fmla="*/ 4 h 23"/>
                <a:gd name="T4" fmla="*/ 7 w 26"/>
                <a:gd name="T5" fmla="*/ 23 h 23"/>
                <a:gd name="T6" fmla="*/ 26 w 26"/>
                <a:gd name="T7" fmla="*/ 4 h 23"/>
              </a:gdLst>
              <a:ahLst/>
              <a:cxnLst>
                <a:cxn ang="0">
                  <a:pos x="T0" y="T1"/>
                </a:cxn>
                <a:cxn ang="0">
                  <a:pos x="T2" y="T3"/>
                </a:cxn>
                <a:cxn ang="0">
                  <a:pos x="T4" y="T5"/>
                </a:cxn>
                <a:cxn ang="0">
                  <a:pos x="T6" y="T7"/>
                </a:cxn>
              </a:cxnLst>
              <a:rect l="0" t="0" r="r" b="b"/>
              <a:pathLst>
                <a:path w="26" h="23">
                  <a:moveTo>
                    <a:pt x="26" y="4"/>
                  </a:moveTo>
                  <a:cubicBezTo>
                    <a:pt x="26" y="4"/>
                    <a:pt x="19" y="0"/>
                    <a:pt x="11" y="4"/>
                  </a:cubicBezTo>
                  <a:cubicBezTo>
                    <a:pt x="0" y="11"/>
                    <a:pt x="7" y="23"/>
                    <a:pt x="7" y="23"/>
                  </a:cubicBezTo>
                  <a:lnTo>
                    <a:pt x="26"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1" name="Freeform 435">
              <a:extLst>
                <a:ext uri="{FF2B5EF4-FFF2-40B4-BE49-F238E27FC236}">
                  <a16:creationId xmlns:a16="http://schemas.microsoft.com/office/drawing/2014/main" id="{8A384FD0-48B3-346E-7152-62DCFE1CE0B9}"/>
                </a:ext>
              </a:extLst>
            </p:cNvPr>
            <p:cNvSpPr>
              <a:spLocks/>
            </p:cNvSpPr>
            <p:nvPr/>
          </p:nvSpPr>
          <p:spPr bwMode="gray">
            <a:xfrm>
              <a:off x="10261299" y="1280503"/>
              <a:ext cx="10788" cy="10788"/>
            </a:xfrm>
            <a:custGeom>
              <a:avLst/>
              <a:gdLst>
                <a:gd name="T0" fmla="*/ 6 w 6"/>
                <a:gd name="T1" fmla="*/ 2 h 6"/>
                <a:gd name="T2" fmla="*/ 1 w 6"/>
                <a:gd name="T3" fmla="*/ 0 h 6"/>
                <a:gd name="T4" fmla="*/ 0 w 6"/>
                <a:gd name="T5" fmla="*/ 4 h 6"/>
                <a:gd name="T6" fmla="*/ 2 w 6"/>
                <a:gd name="T7" fmla="*/ 6 h 6"/>
                <a:gd name="T8" fmla="*/ 6 w 6"/>
                <a:gd name="T9" fmla="*/ 2 h 6"/>
              </a:gdLst>
              <a:ahLst/>
              <a:cxnLst>
                <a:cxn ang="0">
                  <a:pos x="T0" y="T1"/>
                </a:cxn>
                <a:cxn ang="0">
                  <a:pos x="T2" y="T3"/>
                </a:cxn>
                <a:cxn ang="0">
                  <a:pos x="T4" y="T5"/>
                </a:cxn>
                <a:cxn ang="0">
                  <a:pos x="T6" y="T7"/>
                </a:cxn>
                <a:cxn ang="0">
                  <a:pos x="T8" y="T9"/>
                </a:cxn>
              </a:cxnLst>
              <a:rect l="0" t="0" r="r" b="b"/>
              <a:pathLst>
                <a:path w="6" h="6">
                  <a:moveTo>
                    <a:pt x="6" y="2"/>
                  </a:moveTo>
                  <a:lnTo>
                    <a:pt x="1" y="0"/>
                  </a:lnTo>
                  <a:lnTo>
                    <a:pt x="0" y="4"/>
                  </a:lnTo>
                  <a:lnTo>
                    <a:pt x="2" y="6"/>
                  </a:lnTo>
                  <a:lnTo>
                    <a:pt x="6"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2" name="Freeform 436">
              <a:extLst>
                <a:ext uri="{FF2B5EF4-FFF2-40B4-BE49-F238E27FC236}">
                  <a16:creationId xmlns:a16="http://schemas.microsoft.com/office/drawing/2014/main" id="{ACB9301D-D0A3-3535-08F9-9AECB81FDF14}"/>
                </a:ext>
              </a:extLst>
            </p:cNvPr>
            <p:cNvSpPr>
              <a:spLocks/>
            </p:cNvSpPr>
            <p:nvPr/>
          </p:nvSpPr>
          <p:spPr bwMode="gray">
            <a:xfrm>
              <a:off x="10360187" y="906524"/>
              <a:ext cx="53939" cy="62930"/>
            </a:xfrm>
            <a:custGeom>
              <a:avLst/>
              <a:gdLst>
                <a:gd name="T0" fmla="*/ 34 w 88"/>
                <a:gd name="T1" fmla="*/ 90 h 106"/>
                <a:gd name="T2" fmla="*/ 57 w 88"/>
                <a:gd name="T3" fmla="*/ 75 h 106"/>
                <a:gd name="T4" fmla="*/ 38 w 88"/>
                <a:gd name="T5" fmla="*/ 97 h 106"/>
                <a:gd name="T6" fmla="*/ 49 w 88"/>
                <a:gd name="T7" fmla="*/ 106 h 106"/>
                <a:gd name="T8" fmla="*/ 87 w 88"/>
                <a:gd name="T9" fmla="*/ 73 h 106"/>
                <a:gd name="T10" fmla="*/ 81 w 88"/>
                <a:gd name="T11" fmla="*/ 57 h 106"/>
                <a:gd name="T12" fmla="*/ 88 w 88"/>
                <a:gd name="T13" fmla="*/ 50 h 106"/>
                <a:gd name="T14" fmla="*/ 72 w 88"/>
                <a:gd name="T15" fmla="*/ 0 h 106"/>
                <a:gd name="T16" fmla="*/ 50 w 88"/>
                <a:gd name="T17" fmla="*/ 2 h 106"/>
                <a:gd name="T18" fmla="*/ 63 w 88"/>
                <a:gd name="T19" fmla="*/ 41 h 106"/>
                <a:gd name="T20" fmla="*/ 51 w 88"/>
                <a:gd name="T21" fmla="*/ 41 h 106"/>
                <a:gd name="T22" fmla="*/ 51 w 88"/>
                <a:gd name="T23" fmla="*/ 60 h 106"/>
                <a:gd name="T24" fmla="*/ 25 w 88"/>
                <a:gd name="T25" fmla="*/ 51 h 106"/>
                <a:gd name="T26" fmla="*/ 8 w 88"/>
                <a:gd name="T27" fmla="*/ 81 h 106"/>
                <a:gd name="T28" fmla="*/ 34 w 88"/>
                <a:gd name="T29" fmla="*/ 9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06">
                  <a:moveTo>
                    <a:pt x="34" y="90"/>
                  </a:moveTo>
                  <a:cubicBezTo>
                    <a:pt x="46" y="83"/>
                    <a:pt x="57" y="75"/>
                    <a:pt x="57" y="75"/>
                  </a:cubicBezTo>
                  <a:cubicBezTo>
                    <a:pt x="38" y="97"/>
                    <a:pt x="38" y="97"/>
                    <a:pt x="38" y="97"/>
                  </a:cubicBezTo>
                  <a:cubicBezTo>
                    <a:pt x="49" y="106"/>
                    <a:pt x="49" y="106"/>
                    <a:pt x="49" y="106"/>
                  </a:cubicBezTo>
                  <a:cubicBezTo>
                    <a:pt x="87" y="73"/>
                    <a:pt x="87" y="73"/>
                    <a:pt x="87" y="73"/>
                  </a:cubicBezTo>
                  <a:cubicBezTo>
                    <a:pt x="81" y="57"/>
                    <a:pt x="81" y="57"/>
                    <a:pt x="81" y="57"/>
                  </a:cubicBezTo>
                  <a:cubicBezTo>
                    <a:pt x="88" y="50"/>
                    <a:pt x="88" y="50"/>
                    <a:pt x="88" y="50"/>
                  </a:cubicBezTo>
                  <a:cubicBezTo>
                    <a:pt x="72" y="0"/>
                    <a:pt x="72" y="0"/>
                    <a:pt x="72" y="0"/>
                  </a:cubicBezTo>
                  <a:cubicBezTo>
                    <a:pt x="50" y="2"/>
                    <a:pt x="50" y="2"/>
                    <a:pt x="50" y="2"/>
                  </a:cubicBezTo>
                  <a:cubicBezTo>
                    <a:pt x="63" y="41"/>
                    <a:pt x="63" y="41"/>
                    <a:pt x="63" y="41"/>
                  </a:cubicBezTo>
                  <a:cubicBezTo>
                    <a:pt x="51" y="41"/>
                    <a:pt x="51" y="41"/>
                    <a:pt x="51" y="41"/>
                  </a:cubicBezTo>
                  <a:cubicBezTo>
                    <a:pt x="51" y="60"/>
                    <a:pt x="51" y="60"/>
                    <a:pt x="51" y="60"/>
                  </a:cubicBezTo>
                  <a:cubicBezTo>
                    <a:pt x="25" y="51"/>
                    <a:pt x="25" y="51"/>
                    <a:pt x="25" y="51"/>
                  </a:cubicBezTo>
                  <a:cubicBezTo>
                    <a:pt x="25" y="51"/>
                    <a:pt x="13" y="69"/>
                    <a:pt x="8" y="81"/>
                  </a:cubicBezTo>
                  <a:cubicBezTo>
                    <a:pt x="0" y="96"/>
                    <a:pt x="19" y="93"/>
                    <a:pt x="34" y="9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3" name="Freeform 437">
              <a:extLst>
                <a:ext uri="{FF2B5EF4-FFF2-40B4-BE49-F238E27FC236}">
                  <a16:creationId xmlns:a16="http://schemas.microsoft.com/office/drawing/2014/main" id="{07B6C25C-56E6-76D4-3461-A5CCF121D3BF}"/>
                </a:ext>
              </a:extLst>
            </p:cNvPr>
            <p:cNvSpPr>
              <a:spLocks/>
            </p:cNvSpPr>
            <p:nvPr/>
          </p:nvSpPr>
          <p:spPr bwMode="gray">
            <a:xfrm>
              <a:off x="10212753" y="1390179"/>
              <a:ext cx="7192" cy="14383"/>
            </a:xfrm>
            <a:custGeom>
              <a:avLst/>
              <a:gdLst>
                <a:gd name="T0" fmla="*/ 0 w 4"/>
                <a:gd name="T1" fmla="*/ 8 h 8"/>
                <a:gd name="T2" fmla="*/ 3 w 4"/>
                <a:gd name="T3" fmla="*/ 8 h 8"/>
                <a:gd name="T4" fmla="*/ 4 w 4"/>
                <a:gd name="T5" fmla="*/ 5 h 8"/>
                <a:gd name="T6" fmla="*/ 3 w 4"/>
                <a:gd name="T7" fmla="*/ 0 h 8"/>
                <a:gd name="T8" fmla="*/ 0 w 4"/>
                <a:gd name="T9" fmla="*/ 8 h 8"/>
              </a:gdLst>
              <a:ahLst/>
              <a:cxnLst>
                <a:cxn ang="0">
                  <a:pos x="T0" y="T1"/>
                </a:cxn>
                <a:cxn ang="0">
                  <a:pos x="T2" y="T3"/>
                </a:cxn>
                <a:cxn ang="0">
                  <a:pos x="T4" y="T5"/>
                </a:cxn>
                <a:cxn ang="0">
                  <a:pos x="T6" y="T7"/>
                </a:cxn>
                <a:cxn ang="0">
                  <a:pos x="T8" y="T9"/>
                </a:cxn>
              </a:cxnLst>
              <a:rect l="0" t="0" r="r" b="b"/>
              <a:pathLst>
                <a:path w="4" h="8">
                  <a:moveTo>
                    <a:pt x="0" y="8"/>
                  </a:moveTo>
                  <a:lnTo>
                    <a:pt x="3" y="8"/>
                  </a:lnTo>
                  <a:lnTo>
                    <a:pt x="4" y="5"/>
                  </a:lnTo>
                  <a:lnTo>
                    <a:pt x="3" y="0"/>
                  </a:ln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4" name="Freeform 438">
              <a:extLst>
                <a:ext uri="{FF2B5EF4-FFF2-40B4-BE49-F238E27FC236}">
                  <a16:creationId xmlns:a16="http://schemas.microsoft.com/office/drawing/2014/main" id="{2B7FEC29-FBF3-EF5B-8BBC-C2AFFD16D6CF}"/>
                </a:ext>
              </a:extLst>
            </p:cNvPr>
            <p:cNvSpPr>
              <a:spLocks/>
            </p:cNvSpPr>
            <p:nvPr/>
          </p:nvSpPr>
          <p:spPr bwMode="gray">
            <a:xfrm>
              <a:off x="10237924" y="1289492"/>
              <a:ext cx="17980" cy="26971"/>
            </a:xfrm>
            <a:custGeom>
              <a:avLst/>
              <a:gdLst>
                <a:gd name="T0" fmla="*/ 9 w 10"/>
                <a:gd name="T1" fmla="*/ 11 h 15"/>
                <a:gd name="T2" fmla="*/ 10 w 10"/>
                <a:gd name="T3" fmla="*/ 8 h 15"/>
                <a:gd name="T4" fmla="*/ 8 w 10"/>
                <a:gd name="T5" fmla="*/ 6 h 15"/>
                <a:gd name="T6" fmla="*/ 10 w 10"/>
                <a:gd name="T7" fmla="*/ 4 h 15"/>
                <a:gd name="T8" fmla="*/ 9 w 10"/>
                <a:gd name="T9" fmla="*/ 0 h 15"/>
                <a:gd name="T10" fmla="*/ 4 w 10"/>
                <a:gd name="T11" fmla="*/ 2 h 15"/>
                <a:gd name="T12" fmla="*/ 4 w 10"/>
                <a:gd name="T13" fmla="*/ 5 h 15"/>
                <a:gd name="T14" fmla="*/ 0 w 10"/>
                <a:gd name="T15" fmla="*/ 11 h 15"/>
                <a:gd name="T16" fmla="*/ 1 w 10"/>
                <a:gd name="T17" fmla="*/ 15 h 15"/>
                <a:gd name="T18" fmla="*/ 9 w 10"/>
                <a:gd name="T1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9" y="11"/>
                  </a:moveTo>
                  <a:lnTo>
                    <a:pt x="10" y="8"/>
                  </a:lnTo>
                  <a:lnTo>
                    <a:pt x="8" y="6"/>
                  </a:lnTo>
                  <a:lnTo>
                    <a:pt x="10" y="4"/>
                  </a:lnTo>
                  <a:lnTo>
                    <a:pt x="9" y="0"/>
                  </a:lnTo>
                  <a:lnTo>
                    <a:pt x="4" y="2"/>
                  </a:lnTo>
                  <a:lnTo>
                    <a:pt x="4" y="5"/>
                  </a:lnTo>
                  <a:lnTo>
                    <a:pt x="0" y="11"/>
                  </a:lnTo>
                  <a:lnTo>
                    <a:pt x="1" y="15"/>
                  </a:lnTo>
                  <a:lnTo>
                    <a:pt x="9"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5" name="Freeform 439">
              <a:extLst>
                <a:ext uri="{FF2B5EF4-FFF2-40B4-BE49-F238E27FC236}">
                  <a16:creationId xmlns:a16="http://schemas.microsoft.com/office/drawing/2014/main" id="{92FCD83A-5FAA-4D5A-7D58-146E31031E2E}"/>
                </a:ext>
              </a:extLst>
            </p:cNvPr>
            <p:cNvSpPr>
              <a:spLocks/>
            </p:cNvSpPr>
            <p:nvPr/>
          </p:nvSpPr>
          <p:spPr bwMode="gray">
            <a:xfrm>
              <a:off x="10252308" y="1237352"/>
              <a:ext cx="8991" cy="8991"/>
            </a:xfrm>
            <a:custGeom>
              <a:avLst/>
              <a:gdLst>
                <a:gd name="T0" fmla="*/ 5 w 5"/>
                <a:gd name="T1" fmla="*/ 1 h 5"/>
                <a:gd name="T2" fmla="*/ 1 w 5"/>
                <a:gd name="T3" fmla="*/ 0 h 5"/>
                <a:gd name="T4" fmla="*/ 0 w 5"/>
                <a:gd name="T5" fmla="*/ 5 h 5"/>
                <a:gd name="T6" fmla="*/ 4 w 5"/>
                <a:gd name="T7" fmla="*/ 4 h 5"/>
                <a:gd name="T8" fmla="*/ 5 w 5"/>
                <a:gd name="T9" fmla="*/ 1 h 5"/>
              </a:gdLst>
              <a:ahLst/>
              <a:cxnLst>
                <a:cxn ang="0">
                  <a:pos x="T0" y="T1"/>
                </a:cxn>
                <a:cxn ang="0">
                  <a:pos x="T2" y="T3"/>
                </a:cxn>
                <a:cxn ang="0">
                  <a:pos x="T4" y="T5"/>
                </a:cxn>
                <a:cxn ang="0">
                  <a:pos x="T6" y="T7"/>
                </a:cxn>
                <a:cxn ang="0">
                  <a:pos x="T8" y="T9"/>
                </a:cxn>
              </a:cxnLst>
              <a:rect l="0" t="0" r="r" b="b"/>
              <a:pathLst>
                <a:path w="5" h="5">
                  <a:moveTo>
                    <a:pt x="5" y="1"/>
                  </a:moveTo>
                  <a:lnTo>
                    <a:pt x="1" y="0"/>
                  </a:lnTo>
                  <a:lnTo>
                    <a:pt x="0" y="5"/>
                  </a:lnTo>
                  <a:lnTo>
                    <a:pt x="4" y="4"/>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6" name="Freeform 440">
              <a:extLst>
                <a:ext uri="{FF2B5EF4-FFF2-40B4-BE49-F238E27FC236}">
                  <a16:creationId xmlns:a16="http://schemas.microsoft.com/office/drawing/2014/main" id="{00C56434-D0E9-4B8A-EEC4-F6FBE5D204DF}"/>
                </a:ext>
              </a:extLst>
            </p:cNvPr>
            <p:cNvSpPr>
              <a:spLocks/>
            </p:cNvSpPr>
            <p:nvPr/>
          </p:nvSpPr>
          <p:spPr bwMode="gray">
            <a:xfrm>
              <a:off x="10014975" y="1627512"/>
              <a:ext cx="14383" cy="5395"/>
            </a:xfrm>
            <a:custGeom>
              <a:avLst/>
              <a:gdLst>
                <a:gd name="T0" fmla="*/ 8 w 8"/>
                <a:gd name="T1" fmla="*/ 0 h 3"/>
                <a:gd name="T2" fmla="*/ 2 w 8"/>
                <a:gd name="T3" fmla="*/ 1 h 3"/>
                <a:gd name="T4" fmla="*/ 0 w 8"/>
                <a:gd name="T5" fmla="*/ 2 h 3"/>
                <a:gd name="T6" fmla="*/ 8 w 8"/>
                <a:gd name="T7" fmla="*/ 3 h 3"/>
                <a:gd name="T8" fmla="*/ 8 w 8"/>
                <a:gd name="T9" fmla="*/ 0 h 3"/>
              </a:gdLst>
              <a:ahLst/>
              <a:cxnLst>
                <a:cxn ang="0">
                  <a:pos x="T0" y="T1"/>
                </a:cxn>
                <a:cxn ang="0">
                  <a:pos x="T2" y="T3"/>
                </a:cxn>
                <a:cxn ang="0">
                  <a:pos x="T4" y="T5"/>
                </a:cxn>
                <a:cxn ang="0">
                  <a:pos x="T6" y="T7"/>
                </a:cxn>
                <a:cxn ang="0">
                  <a:pos x="T8" y="T9"/>
                </a:cxn>
              </a:cxnLst>
              <a:rect l="0" t="0" r="r" b="b"/>
              <a:pathLst>
                <a:path w="8" h="3">
                  <a:moveTo>
                    <a:pt x="8" y="0"/>
                  </a:moveTo>
                  <a:lnTo>
                    <a:pt x="2" y="1"/>
                  </a:lnTo>
                  <a:lnTo>
                    <a:pt x="0" y="2"/>
                  </a:lnTo>
                  <a:lnTo>
                    <a:pt x="8" y="3"/>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7" name="Freeform 441">
              <a:extLst>
                <a:ext uri="{FF2B5EF4-FFF2-40B4-BE49-F238E27FC236}">
                  <a16:creationId xmlns:a16="http://schemas.microsoft.com/office/drawing/2014/main" id="{E6854284-09D4-8AFA-336F-2E8AF6CEF7A6}"/>
                </a:ext>
              </a:extLst>
            </p:cNvPr>
            <p:cNvSpPr>
              <a:spLocks/>
            </p:cNvSpPr>
            <p:nvPr/>
          </p:nvSpPr>
          <p:spPr bwMode="gray">
            <a:xfrm>
              <a:off x="9970026" y="1629310"/>
              <a:ext cx="55738" cy="30566"/>
            </a:xfrm>
            <a:custGeom>
              <a:avLst/>
              <a:gdLst>
                <a:gd name="T0" fmla="*/ 50 w 95"/>
                <a:gd name="T1" fmla="*/ 38 h 51"/>
                <a:gd name="T2" fmla="*/ 88 w 95"/>
                <a:gd name="T3" fmla="*/ 17 h 51"/>
                <a:gd name="T4" fmla="*/ 70 w 95"/>
                <a:gd name="T5" fmla="*/ 12 h 51"/>
                <a:gd name="T6" fmla="*/ 70 w 95"/>
                <a:gd name="T7" fmla="*/ 0 h 51"/>
                <a:gd name="T8" fmla="*/ 44 w 95"/>
                <a:gd name="T9" fmla="*/ 3 h 51"/>
                <a:gd name="T10" fmla="*/ 25 w 95"/>
                <a:gd name="T11" fmla="*/ 13 h 51"/>
                <a:gd name="T12" fmla="*/ 1 w 95"/>
                <a:gd name="T13" fmla="*/ 31 h 51"/>
                <a:gd name="T14" fmla="*/ 50 w 95"/>
                <a:gd name="T15" fmla="*/ 38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51">
                  <a:moveTo>
                    <a:pt x="50" y="38"/>
                  </a:moveTo>
                  <a:cubicBezTo>
                    <a:pt x="80" y="31"/>
                    <a:pt x="95" y="21"/>
                    <a:pt x="88" y="17"/>
                  </a:cubicBezTo>
                  <a:cubicBezTo>
                    <a:pt x="81" y="12"/>
                    <a:pt x="70" y="12"/>
                    <a:pt x="70" y="12"/>
                  </a:cubicBezTo>
                  <a:cubicBezTo>
                    <a:pt x="70" y="0"/>
                    <a:pt x="70" y="0"/>
                    <a:pt x="70" y="0"/>
                  </a:cubicBezTo>
                  <a:cubicBezTo>
                    <a:pt x="70" y="0"/>
                    <a:pt x="59" y="0"/>
                    <a:pt x="44" y="3"/>
                  </a:cubicBezTo>
                  <a:cubicBezTo>
                    <a:pt x="29" y="2"/>
                    <a:pt x="25" y="13"/>
                    <a:pt x="25" y="13"/>
                  </a:cubicBezTo>
                  <a:cubicBezTo>
                    <a:pt x="25" y="13"/>
                    <a:pt x="2" y="20"/>
                    <a:pt x="1" y="31"/>
                  </a:cubicBezTo>
                  <a:cubicBezTo>
                    <a:pt x="0" y="51"/>
                    <a:pt x="23" y="40"/>
                    <a:pt x="50" y="3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8" name="Freeform 442">
              <a:extLst>
                <a:ext uri="{FF2B5EF4-FFF2-40B4-BE49-F238E27FC236}">
                  <a16:creationId xmlns:a16="http://schemas.microsoft.com/office/drawing/2014/main" id="{02060A7F-D338-6E22-2901-8E7706AEBF47}"/>
                </a:ext>
              </a:extLst>
            </p:cNvPr>
            <p:cNvSpPr>
              <a:spLocks/>
            </p:cNvSpPr>
            <p:nvPr/>
          </p:nvSpPr>
          <p:spPr bwMode="gray">
            <a:xfrm>
              <a:off x="10392550" y="911917"/>
              <a:ext cx="88101" cy="95293"/>
            </a:xfrm>
            <a:custGeom>
              <a:avLst/>
              <a:gdLst>
                <a:gd name="T0" fmla="*/ 110 w 148"/>
                <a:gd name="T1" fmla="*/ 56 h 159"/>
                <a:gd name="T2" fmla="*/ 94 w 148"/>
                <a:gd name="T3" fmla="*/ 59 h 159"/>
                <a:gd name="T4" fmla="*/ 66 w 148"/>
                <a:gd name="T5" fmla="*/ 100 h 159"/>
                <a:gd name="T6" fmla="*/ 91 w 148"/>
                <a:gd name="T7" fmla="*/ 44 h 159"/>
                <a:gd name="T8" fmla="*/ 84 w 148"/>
                <a:gd name="T9" fmla="*/ 40 h 159"/>
                <a:gd name="T10" fmla="*/ 74 w 148"/>
                <a:gd name="T11" fmla="*/ 9 h 159"/>
                <a:gd name="T12" fmla="*/ 54 w 148"/>
                <a:gd name="T13" fmla="*/ 42 h 159"/>
                <a:gd name="T14" fmla="*/ 47 w 148"/>
                <a:gd name="T15" fmla="*/ 46 h 159"/>
                <a:gd name="T16" fmla="*/ 49 w 148"/>
                <a:gd name="T17" fmla="*/ 84 h 159"/>
                <a:gd name="T18" fmla="*/ 21 w 148"/>
                <a:gd name="T19" fmla="*/ 102 h 159"/>
                <a:gd name="T20" fmla="*/ 24 w 148"/>
                <a:gd name="T21" fmla="*/ 117 h 159"/>
                <a:gd name="T22" fmla="*/ 0 w 148"/>
                <a:gd name="T23" fmla="*/ 158 h 159"/>
                <a:gd name="T24" fmla="*/ 11 w 148"/>
                <a:gd name="T25" fmla="*/ 159 h 159"/>
                <a:gd name="T26" fmla="*/ 47 w 148"/>
                <a:gd name="T27" fmla="*/ 126 h 159"/>
                <a:gd name="T28" fmla="*/ 34 w 148"/>
                <a:gd name="T29" fmla="*/ 144 h 159"/>
                <a:gd name="T30" fmla="*/ 57 w 148"/>
                <a:gd name="T31" fmla="*/ 149 h 159"/>
                <a:gd name="T32" fmla="*/ 65 w 148"/>
                <a:gd name="T33" fmla="*/ 131 h 159"/>
                <a:gd name="T34" fmla="*/ 76 w 148"/>
                <a:gd name="T35" fmla="*/ 139 h 159"/>
                <a:gd name="T36" fmla="*/ 100 w 148"/>
                <a:gd name="T37" fmla="*/ 98 h 159"/>
                <a:gd name="T38" fmla="*/ 127 w 148"/>
                <a:gd name="T39" fmla="*/ 91 h 159"/>
                <a:gd name="T40" fmla="*/ 143 w 148"/>
                <a:gd name="T41" fmla="*/ 58 h 159"/>
                <a:gd name="T42" fmla="*/ 111 w 148"/>
                <a:gd name="T43" fmla="*/ 22 h 159"/>
                <a:gd name="T44" fmla="*/ 96 w 148"/>
                <a:gd name="T45" fmla="*/ 36 h 159"/>
                <a:gd name="T46" fmla="*/ 110 w 148"/>
                <a:gd name="T47" fmla="*/ 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9">
                  <a:moveTo>
                    <a:pt x="110" y="56"/>
                  </a:moveTo>
                  <a:cubicBezTo>
                    <a:pt x="94" y="59"/>
                    <a:pt x="94" y="59"/>
                    <a:pt x="94" y="59"/>
                  </a:cubicBezTo>
                  <a:cubicBezTo>
                    <a:pt x="66" y="100"/>
                    <a:pt x="66" y="100"/>
                    <a:pt x="66" y="100"/>
                  </a:cubicBezTo>
                  <a:cubicBezTo>
                    <a:pt x="91" y="44"/>
                    <a:pt x="91" y="44"/>
                    <a:pt x="91" y="44"/>
                  </a:cubicBezTo>
                  <a:cubicBezTo>
                    <a:pt x="84" y="40"/>
                    <a:pt x="84" y="40"/>
                    <a:pt x="84" y="40"/>
                  </a:cubicBezTo>
                  <a:cubicBezTo>
                    <a:pt x="84" y="40"/>
                    <a:pt x="89" y="17"/>
                    <a:pt x="74" y="9"/>
                  </a:cubicBezTo>
                  <a:cubicBezTo>
                    <a:pt x="56" y="0"/>
                    <a:pt x="54" y="42"/>
                    <a:pt x="54" y="42"/>
                  </a:cubicBezTo>
                  <a:cubicBezTo>
                    <a:pt x="47" y="46"/>
                    <a:pt x="47" y="46"/>
                    <a:pt x="47" y="46"/>
                  </a:cubicBezTo>
                  <a:cubicBezTo>
                    <a:pt x="49" y="84"/>
                    <a:pt x="49" y="84"/>
                    <a:pt x="49" y="84"/>
                  </a:cubicBezTo>
                  <a:cubicBezTo>
                    <a:pt x="21" y="102"/>
                    <a:pt x="21" y="102"/>
                    <a:pt x="21" y="102"/>
                  </a:cubicBezTo>
                  <a:cubicBezTo>
                    <a:pt x="24" y="117"/>
                    <a:pt x="24" y="117"/>
                    <a:pt x="24" y="117"/>
                  </a:cubicBezTo>
                  <a:cubicBezTo>
                    <a:pt x="0" y="158"/>
                    <a:pt x="0" y="158"/>
                    <a:pt x="0" y="158"/>
                  </a:cubicBezTo>
                  <a:cubicBezTo>
                    <a:pt x="11" y="159"/>
                    <a:pt x="11" y="159"/>
                    <a:pt x="11" y="159"/>
                  </a:cubicBezTo>
                  <a:cubicBezTo>
                    <a:pt x="47" y="126"/>
                    <a:pt x="47" y="126"/>
                    <a:pt x="47" y="126"/>
                  </a:cubicBezTo>
                  <a:cubicBezTo>
                    <a:pt x="34" y="144"/>
                    <a:pt x="34" y="144"/>
                    <a:pt x="34" y="144"/>
                  </a:cubicBezTo>
                  <a:cubicBezTo>
                    <a:pt x="57" y="149"/>
                    <a:pt x="57" y="149"/>
                    <a:pt x="57" y="149"/>
                  </a:cubicBezTo>
                  <a:cubicBezTo>
                    <a:pt x="60" y="149"/>
                    <a:pt x="65" y="131"/>
                    <a:pt x="65" y="131"/>
                  </a:cubicBezTo>
                  <a:cubicBezTo>
                    <a:pt x="76" y="139"/>
                    <a:pt x="76" y="139"/>
                    <a:pt x="76" y="139"/>
                  </a:cubicBezTo>
                  <a:cubicBezTo>
                    <a:pt x="76" y="139"/>
                    <a:pt x="96" y="105"/>
                    <a:pt x="100" y="98"/>
                  </a:cubicBezTo>
                  <a:cubicBezTo>
                    <a:pt x="104" y="90"/>
                    <a:pt x="127" y="91"/>
                    <a:pt x="127" y="91"/>
                  </a:cubicBezTo>
                  <a:cubicBezTo>
                    <a:pt x="127" y="91"/>
                    <a:pt x="139" y="77"/>
                    <a:pt x="143" y="58"/>
                  </a:cubicBezTo>
                  <a:cubicBezTo>
                    <a:pt x="148" y="43"/>
                    <a:pt x="111" y="22"/>
                    <a:pt x="111" y="22"/>
                  </a:cubicBezTo>
                  <a:cubicBezTo>
                    <a:pt x="96" y="36"/>
                    <a:pt x="96" y="36"/>
                    <a:pt x="96" y="36"/>
                  </a:cubicBezTo>
                  <a:lnTo>
                    <a:pt x="110" y="5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9" name="Freeform 443">
              <a:extLst>
                <a:ext uri="{FF2B5EF4-FFF2-40B4-BE49-F238E27FC236}">
                  <a16:creationId xmlns:a16="http://schemas.microsoft.com/office/drawing/2014/main" id="{FE9AD3F4-D36A-6BFD-663D-07460B350414}"/>
                </a:ext>
              </a:extLst>
            </p:cNvPr>
            <p:cNvSpPr>
              <a:spLocks/>
            </p:cNvSpPr>
            <p:nvPr/>
          </p:nvSpPr>
          <p:spPr bwMode="gray">
            <a:xfrm>
              <a:off x="10412329" y="857978"/>
              <a:ext cx="53939" cy="70122"/>
            </a:xfrm>
            <a:custGeom>
              <a:avLst/>
              <a:gdLst>
                <a:gd name="T0" fmla="*/ 15 w 91"/>
                <a:gd name="T1" fmla="*/ 115 h 118"/>
                <a:gd name="T2" fmla="*/ 15 w 91"/>
                <a:gd name="T3" fmla="*/ 96 h 118"/>
                <a:gd name="T4" fmla="*/ 30 w 91"/>
                <a:gd name="T5" fmla="*/ 96 h 118"/>
                <a:gd name="T6" fmla="*/ 62 w 91"/>
                <a:gd name="T7" fmla="*/ 56 h 118"/>
                <a:gd name="T8" fmla="*/ 56 w 91"/>
                <a:gd name="T9" fmla="*/ 29 h 118"/>
                <a:gd name="T10" fmla="*/ 4 w 91"/>
                <a:gd name="T11" fmla="*/ 106 h 118"/>
                <a:gd name="T12" fmla="*/ 15 w 91"/>
                <a:gd name="T13" fmla="*/ 115 h 118"/>
              </a:gdLst>
              <a:ahLst/>
              <a:cxnLst>
                <a:cxn ang="0">
                  <a:pos x="T0" y="T1"/>
                </a:cxn>
                <a:cxn ang="0">
                  <a:pos x="T2" y="T3"/>
                </a:cxn>
                <a:cxn ang="0">
                  <a:pos x="T4" y="T5"/>
                </a:cxn>
                <a:cxn ang="0">
                  <a:pos x="T6" y="T7"/>
                </a:cxn>
                <a:cxn ang="0">
                  <a:pos x="T8" y="T9"/>
                </a:cxn>
                <a:cxn ang="0">
                  <a:pos x="T10" y="T11"/>
                </a:cxn>
                <a:cxn ang="0">
                  <a:pos x="T12" y="T13"/>
                </a:cxn>
              </a:cxnLst>
              <a:rect l="0" t="0" r="r" b="b"/>
              <a:pathLst>
                <a:path w="91" h="118">
                  <a:moveTo>
                    <a:pt x="15" y="115"/>
                  </a:moveTo>
                  <a:cubicBezTo>
                    <a:pt x="15" y="96"/>
                    <a:pt x="15" y="96"/>
                    <a:pt x="15" y="96"/>
                  </a:cubicBezTo>
                  <a:cubicBezTo>
                    <a:pt x="30" y="96"/>
                    <a:pt x="30" y="96"/>
                    <a:pt x="30" y="96"/>
                  </a:cubicBezTo>
                  <a:cubicBezTo>
                    <a:pt x="62" y="56"/>
                    <a:pt x="62" y="56"/>
                    <a:pt x="62" y="56"/>
                  </a:cubicBezTo>
                  <a:cubicBezTo>
                    <a:pt x="62" y="56"/>
                    <a:pt x="91" y="0"/>
                    <a:pt x="56" y="29"/>
                  </a:cubicBezTo>
                  <a:cubicBezTo>
                    <a:pt x="21" y="54"/>
                    <a:pt x="0" y="95"/>
                    <a:pt x="4" y="106"/>
                  </a:cubicBezTo>
                  <a:cubicBezTo>
                    <a:pt x="7" y="118"/>
                    <a:pt x="15" y="115"/>
                    <a:pt x="15" y="1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0" name="Freeform 444">
              <a:extLst>
                <a:ext uri="{FF2B5EF4-FFF2-40B4-BE49-F238E27FC236}">
                  <a16:creationId xmlns:a16="http://schemas.microsoft.com/office/drawing/2014/main" id="{CBAF2186-A45F-2EB9-E763-476C81BCFFF0}"/>
                </a:ext>
              </a:extLst>
            </p:cNvPr>
            <p:cNvSpPr>
              <a:spLocks/>
            </p:cNvSpPr>
            <p:nvPr/>
          </p:nvSpPr>
          <p:spPr bwMode="gray">
            <a:xfrm>
              <a:off x="9925076" y="1688643"/>
              <a:ext cx="8991" cy="8991"/>
            </a:xfrm>
            <a:custGeom>
              <a:avLst/>
              <a:gdLst>
                <a:gd name="T0" fmla="*/ 3 w 5"/>
                <a:gd name="T1" fmla="*/ 0 h 5"/>
                <a:gd name="T2" fmla="*/ 0 w 5"/>
                <a:gd name="T3" fmla="*/ 5 h 5"/>
                <a:gd name="T4" fmla="*/ 5 w 5"/>
                <a:gd name="T5" fmla="*/ 4 h 5"/>
                <a:gd name="T6" fmla="*/ 3 w 5"/>
                <a:gd name="T7" fmla="*/ 0 h 5"/>
              </a:gdLst>
              <a:ahLst/>
              <a:cxnLst>
                <a:cxn ang="0">
                  <a:pos x="T0" y="T1"/>
                </a:cxn>
                <a:cxn ang="0">
                  <a:pos x="T2" y="T3"/>
                </a:cxn>
                <a:cxn ang="0">
                  <a:pos x="T4" y="T5"/>
                </a:cxn>
                <a:cxn ang="0">
                  <a:pos x="T6" y="T7"/>
                </a:cxn>
              </a:cxnLst>
              <a:rect l="0" t="0" r="r" b="b"/>
              <a:pathLst>
                <a:path w="5" h="5">
                  <a:moveTo>
                    <a:pt x="3" y="0"/>
                  </a:moveTo>
                  <a:lnTo>
                    <a:pt x="0" y="5"/>
                  </a:lnTo>
                  <a:lnTo>
                    <a:pt x="5"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1" name="Freeform 445">
              <a:extLst>
                <a:ext uri="{FF2B5EF4-FFF2-40B4-BE49-F238E27FC236}">
                  <a16:creationId xmlns:a16="http://schemas.microsoft.com/office/drawing/2014/main" id="{81194401-675E-930E-A071-0E404939015A}"/>
                </a:ext>
              </a:extLst>
            </p:cNvPr>
            <p:cNvSpPr>
              <a:spLocks/>
            </p:cNvSpPr>
            <p:nvPr/>
          </p:nvSpPr>
          <p:spPr bwMode="gray">
            <a:xfrm>
              <a:off x="9961036" y="1677855"/>
              <a:ext cx="16183" cy="16183"/>
            </a:xfrm>
            <a:custGeom>
              <a:avLst/>
              <a:gdLst>
                <a:gd name="T0" fmla="*/ 5 w 9"/>
                <a:gd name="T1" fmla="*/ 9 h 9"/>
                <a:gd name="T2" fmla="*/ 9 w 9"/>
                <a:gd name="T3" fmla="*/ 6 h 9"/>
                <a:gd name="T4" fmla="*/ 7 w 9"/>
                <a:gd name="T5" fmla="*/ 1 h 9"/>
                <a:gd name="T6" fmla="*/ 5 w 9"/>
                <a:gd name="T7" fmla="*/ 2 h 9"/>
                <a:gd name="T8" fmla="*/ 2 w 9"/>
                <a:gd name="T9" fmla="*/ 0 h 9"/>
                <a:gd name="T10" fmla="*/ 0 w 9"/>
                <a:gd name="T11" fmla="*/ 1 h 9"/>
                <a:gd name="T12" fmla="*/ 5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5" y="9"/>
                  </a:moveTo>
                  <a:lnTo>
                    <a:pt x="9" y="6"/>
                  </a:lnTo>
                  <a:lnTo>
                    <a:pt x="7" y="1"/>
                  </a:lnTo>
                  <a:lnTo>
                    <a:pt x="5" y="2"/>
                  </a:lnTo>
                  <a:lnTo>
                    <a:pt x="2" y="0"/>
                  </a:lnTo>
                  <a:lnTo>
                    <a:pt x="0" y="1"/>
                  </a:lnTo>
                  <a:lnTo>
                    <a:pt x="5"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2" name="Freeform 446">
              <a:extLst>
                <a:ext uri="{FF2B5EF4-FFF2-40B4-BE49-F238E27FC236}">
                  <a16:creationId xmlns:a16="http://schemas.microsoft.com/office/drawing/2014/main" id="{32B65B6E-D0D5-4A45-0D11-BC1421E6D8D0}"/>
                </a:ext>
              </a:extLst>
            </p:cNvPr>
            <p:cNvSpPr>
              <a:spLocks/>
            </p:cNvSpPr>
            <p:nvPr/>
          </p:nvSpPr>
          <p:spPr bwMode="gray">
            <a:xfrm>
              <a:off x="9691339" y="570301"/>
              <a:ext cx="1492321" cy="1823149"/>
            </a:xfrm>
            <a:custGeom>
              <a:avLst/>
              <a:gdLst>
                <a:gd name="T0" fmla="*/ 916 w 2502"/>
                <a:gd name="T1" fmla="*/ 2303 h 3059"/>
                <a:gd name="T2" fmla="*/ 1108 w 2502"/>
                <a:gd name="T3" fmla="*/ 1471 h 3059"/>
                <a:gd name="T4" fmla="*/ 1383 w 2502"/>
                <a:gd name="T5" fmla="*/ 773 h 3059"/>
                <a:gd name="T6" fmla="*/ 1748 w 2502"/>
                <a:gd name="T7" fmla="*/ 488 h 3059"/>
                <a:gd name="T8" fmla="*/ 2120 w 2502"/>
                <a:gd name="T9" fmla="*/ 280 h 3059"/>
                <a:gd name="T10" fmla="*/ 2490 w 2502"/>
                <a:gd name="T11" fmla="*/ 301 h 3059"/>
                <a:gd name="T12" fmla="*/ 2377 w 2502"/>
                <a:gd name="T13" fmla="*/ 300 h 3059"/>
                <a:gd name="T14" fmla="*/ 2461 w 2502"/>
                <a:gd name="T15" fmla="*/ 120 h 3059"/>
                <a:gd name="T16" fmla="*/ 2257 w 2502"/>
                <a:gd name="T17" fmla="*/ 141 h 3059"/>
                <a:gd name="T18" fmla="*/ 2223 w 2502"/>
                <a:gd name="T19" fmla="*/ 67 h 3059"/>
                <a:gd name="T20" fmla="*/ 2132 w 2502"/>
                <a:gd name="T21" fmla="*/ 93 h 3059"/>
                <a:gd name="T22" fmla="*/ 2044 w 2502"/>
                <a:gd name="T23" fmla="*/ 154 h 3059"/>
                <a:gd name="T24" fmla="*/ 1984 w 2502"/>
                <a:gd name="T25" fmla="*/ 71 h 3059"/>
                <a:gd name="T26" fmla="*/ 1907 w 2502"/>
                <a:gd name="T27" fmla="*/ 124 h 3059"/>
                <a:gd name="T28" fmla="*/ 1876 w 2502"/>
                <a:gd name="T29" fmla="*/ 306 h 3059"/>
                <a:gd name="T30" fmla="*/ 1700 w 2502"/>
                <a:gd name="T31" fmla="*/ 298 h 3059"/>
                <a:gd name="T32" fmla="*/ 1683 w 2502"/>
                <a:gd name="T33" fmla="*/ 355 h 3059"/>
                <a:gd name="T34" fmla="*/ 1616 w 2502"/>
                <a:gd name="T35" fmla="*/ 432 h 3059"/>
                <a:gd name="T36" fmla="*/ 1510 w 2502"/>
                <a:gd name="T37" fmla="*/ 442 h 3059"/>
                <a:gd name="T38" fmla="*/ 1445 w 2502"/>
                <a:gd name="T39" fmla="*/ 485 h 3059"/>
                <a:gd name="T40" fmla="*/ 1363 w 2502"/>
                <a:gd name="T41" fmla="*/ 642 h 3059"/>
                <a:gd name="T42" fmla="*/ 1379 w 2502"/>
                <a:gd name="T43" fmla="*/ 703 h 3059"/>
                <a:gd name="T44" fmla="*/ 1283 w 2502"/>
                <a:gd name="T45" fmla="*/ 749 h 3059"/>
                <a:gd name="T46" fmla="*/ 1209 w 2502"/>
                <a:gd name="T47" fmla="*/ 806 h 3059"/>
                <a:gd name="T48" fmla="*/ 1167 w 2502"/>
                <a:gd name="T49" fmla="*/ 839 h 3059"/>
                <a:gd name="T50" fmla="*/ 1226 w 2502"/>
                <a:gd name="T51" fmla="*/ 937 h 3059"/>
                <a:gd name="T52" fmla="*/ 1220 w 2502"/>
                <a:gd name="T53" fmla="*/ 975 h 3059"/>
                <a:gd name="T54" fmla="*/ 1020 w 2502"/>
                <a:gd name="T55" fmla="*/ 1096 h 3059"/>
                <a:gd name="T56" fmla="*/ 995 w 2502"/>
                <a:gd name="T57" fmla="*/ 1159 h 3059"/>
                <a:gd name="T58" fmla="*/ 999 w 2502"/>
                <a:gd name="T59" fmla="*/ 1221 h 3059"/>
                <a:gd name="T60" fmla="*/ 895 w 2502"/>
                <a:gd name="T61" fmla="*/ 1384 h 3059"/>
                <a:gd name="T62" fmla="*/ 906 w 2502"/>
                <a:gd name="T63" fmla="*/ 1473 h 3059"/>
                <a:gd name="T64" fmla="*/ 785 w 2502"/>
                <a:gd name="T65" fmla="*/ 1563 h 3059"/>
                <a:gd name="T66" fmla="*/ 651 w 2502"/>
                <a:gd name="T67" fmla="*/ 1709 h 3059"/>
                <a:gd name="T68" fmla="*/ 786 w 2502"/>
                <a:gd name="T69" fmla="*/ 1704 h 3059"/>
                <a:gd name="T70" fmla="*/ 622 w 2502"/>
                <a:gd name="T71" fmla="*/ 1780 h 3059"/>
                <a:gd name="T72" fmla="*/ 488 w 2502"/>
                <a:gd name="T73" fmla="*/ 1847 h 3059"/>
                <a:gd name="T74" fmla="*/ 433 w 2502"/>
                <a:gd name="T75" fmla="*/ 1894 h 3059"/>
                <a:gd name="T76" fmla="*/ 339 w 2502"/>
                <a:gd name="T77" fmla="*/ 1908 h 3059"/>
                <a:gd name="T78" fmla="*/ 376 w 2502"/>
                <a:gd name="T79" fmla="*/ 2013 h 3059"/>
                <a:gd name="T80" fmla="*/ 324 w 2502"/>
                <a:gd name="T81" fmla="*/ 2072 h 3059"/>
                <a:gd name="T82" fmla="*/ 234 w 2502"/>
                <a:gd name="T83" fmla="*/ 2079 h 3059"/>
                <a:gd name="T84" fmla="*/ 128 w 2502"/>
                <a:gd name="T85" fmla="*/ 2105 h 3059"/>
                <a:gd name="T86" fmla="*/ 241 w 2502"/>
                <a:gd name="T87" fmla="*/ 2168 h 3059"/>
                <a:gd name="T88" fmla="*/ 66 w 2502"/>
                <a:gd name="T89" fmla="*/ 2228 h 3059"/>
                <a:gd name="T90" fmla="*/ 174 w 2502"/>
                <a:gd name="T91" fmla="*/ 2318 h 3059"/>
                <a:gd name="T92" fmla="*/ 331 w 2502"/>
                <a:gd name="T93" fmla="*/ 2260 h 3059"/>
                <a:gd name="T94" fmla="*/ 247 w 2502"/>
                <a:gd name="T95" fmla="*/ 2378 h 3059"/>
                <a:gd name="T96" fmla="*/ 35 w 2502"/>
                <a:gd name="T97" fmla="*/ 2341 h 3059"/>
                <a:gd name="T98" fmla="*/ 96 w 2502"/>
                <a:gd name="T99" fmla="*/ 2474 h 3059"/>
                <a:gd name="T100" fmla="*/ 77 w 2502"/>
                <a:gd name="T101" fmla="*/ 2573 h 3059"/>
                <a:gd name="T102" fmla="*/ 203 w 2502"/>
                <a:gd name="T103" fmla="*/ 2506 h 3059"/>
                <a:gd name="T104" fmla="*/ 107 w 2502"/>
                <a:gd name="T105" fmla="*/ 2639 h 3059"/>
                <a:gd name="T106" fmla="*/ 9 w 2502"/>
                <a:gd name="T107" fmla="*/ 2738 h 3059"/>
                <a:gd name="T108" fmla="*/ 100 w 2502"/>
                <a:gd name="T109" fmla="*/ 2708 h 3059"/>
                <a:gd name="T110" fmla="*/ 106 w 2502"/>
                <a:gd name="T111" fmla="*/ 2750 h 3059"/>
                <a:gd name="T112" fmla="*/ 29 w 2502"/>
                <a:gd name="T113" fmla="*/ 2804 h 3059"/>
                <a:gd name="T114" fmla="*/ 179 w 2502"/>
                <a:gd name="T115" fmla="*/ 3033 h 3059"/>
                <a:gd name="T116" fmla="*/ 507 w 2502"/>
                <a:gd name="T117" fmla="*/ 2823 h 3059"/>
                <a:gd name="T118" fmla="*/ 618 w 2502"/>
                <a:gd name="T119" fmla="*/ 2694 h 3059"/>
                <a:gd name="T120" fmla="*/ 701 w 2502"/>
                <a:gd name="T121" fmla="*/ 2825 h 3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02" h="3059">
                  <a:moveTo>
                    <a:pt x="734" y="2845"/>
                  </a:moveTo>
                  <a:cubicBezTo>
                    <a:pt x="737" y="2864"/>
                    <a:pt x="724" y="2894"/>
                    <a:pt x="739" y="2895"/>
                  </a:cubicBezTo>
                  <a:cubicBezTo>
                    <a:pt x="754" y="2896"/>
                    <a:pt x="759" y="2877"/>
                    <a:pt x="767" y="2851"/>
                  </a:cubicBezTo>
                  <a:cubicBezTo>
                    <a:pt x="776" y="2828"/>
                    <a:pt x="789" y="2798"/>
                    <a:pt x="789" y="2798"/>
                  </a:cubicBezTo>
                  <a:cubicBezTo>
                    <a:pt x="789" y="2798"/>
                    <a:pt x="762" y="2732"/>
                    <a:pt x="773" y="2725"/>
                  </a:cubicBezTo>
                  <a:cubicBezTo>
                    <a:pt x="781" y="2714"/>
                    <a:pt x="800" y="2718"/>
                    <a:pt x="800" y="2703"/>
                  </a:cubicBezTo>
                  <a:cubicBezTo>
                    <a:pt x="805" y="2684"/>
                    <a:pt x="783" y="2679"/>
                    <a:pt x="798" y="2669"/>
                  </a:cubicBezTo>
                  <a:cubicBezTo>
                    <a:pt x="814" y="2658"/>
                    <a:pt x="850" y="2679"/>
                    <a:pt x="867" y="2637"/>
                  </a:cubicBezTo>
                  <a:cubicBezTo>
                    <a:pt x="880" y="2592"/>
                    <a:pt x="866" y="2580"/>
                    <a:pt x="870" y="2565"/>
                  </a:cubicBezTo>
                  <a:cubicBezTo>
                    <a:pt x="875" y="2550"/>
                    <a:pt x="904" y="2563"/>
                    <a:pt x="894" y="2535"/>
                  </a:cubicBezTo>
                  <a:cubicBezTo>
                    <a:pt x="888" y="2508"/>
                    <a:pt x="868" y="2458"/>
                    <a:pt x="868" y="2458"/>
                  </a:cubicBezTo>
                  <a:cubicBezTo>
                    <a:pt x="862" y="2427"/>
                    <a:pt x="862" y="2427"/>
                    <a:pt x="862" y="2427"/>
                  </a:cubicBezTo>
                  <a:cubicBezTo>
                    <a:pt x="848" y="2403"/>
                    <a:pt x="848" y="2403"/>
                    <a:pt x="848" y="2403"/>
                  </a:cubicBezTo>
                  <a:cubicBezTo>
                    <a:pt x="878" y="2393"/>
                    <a:pt x="878" y="2393"/>
                    <a:pt x="878" y="2393"/>
                  </a:cubicBezTo>
                  <a:cubicBezTo>
                    <a:pt x="878" y="2393"/>
                    <a:pt x="907" y="2417"/>
                    <a:pt x="916" y="2376"/>
                  </a:cubicBezTo>
                  <a:cubicBezTo>
                    <a:pt x="930" y="2334"/>
                    <a:pt x="927" y="2319"/>
                    <a:pt x="916" y="2303"/>
                  </a:cubicBezTo>
                  <a:cubicBezTo>
                    <a:pt x="902" y="2291"/>
                    <a:pt x="884" y="2279"/>
                    <a:pt x="884" y="2279"/>
                  </a:cubicBezTo>
                  <a:cubicBezTo>
                    <a:pt x="851" y="2243"/>
                    <a:pt x="851" y="2243"/>
                    <a:pt x="851" y="2243"/>
                  </a:cubicBezTo>
                  <a:cubicBezTo>
                    <a:pt x="876" y="2118"/>
                    <a:pt x="876" y="2118"/>
                    <a:pt x="876" y="2118"/>
                  </a:cubicBezTo>
                  <a:cubicBezTo>
                    <a:pt x="853" y="2036"/>
                    <a:pt x="853" y="2036"/>
                    <a:pt x="853" y="2036"/>
                  </a:cubicBezTo>
                  <a:cubicBezTo>
                    <a:pt x="866" y="2006"/>
                    <a:pt x="866" y="2006"/>
                    <a:pt x="866" y="2006"/>
                  </a:cubicBezTo>
                  <a:cubicBezTo>
                    <a:pt x="857" y="1968"/>
                    <a:pt x="857" y="1968"/>
                    <a:pt x="857" y="1968"/>
                  </a:cubicBezTo>
                  <a:cubicBezTo>
                    <a:pt x="873" y="1945"/>
                    <a:pt x="873" y="1945"/>
                    <a:pt x="873" y="1945"/>
                  </a:cubicBezTo>
                  <a:cubicBezTo>
                    <a:pt x="849" y="1879"/>
                    <a:pt x="849" y="1879"/>
                    <a:pt x="849" y="1879"/>
                  </a:cubicBezTo>
                  <a:cubicBezTo>
                    <a:pt x="881" y="1839"/>
                    <a:pt x="881" y="1839"/>
                    <a:pt x="881" y="1839"/>
                  </a:cubicBezTo>
                  <a:cubicBezTo>
                    <a:pt x="871" y="1808"/>
                    <a:pt x="871" y="1808"/>
                    <a:pt x="871" y="1808"/>
                  </a:cubicBezTo>
                  <a:cubicBezTo>
                    <a:pt x="871" y="1808"/>
                    <a:pt x="917" y="1710"/>
                    <a:pt x="959" y="1701"/>
                  </a:cubicBezTo>
                  <a:cubicBezTo>
                    <a:pt x="997" y="1691"/>
                    <a:pt x="1063" y="1717"/>
                    <a:pt x="1063" y="1717"/>
                  </a:cubicBezTo>
                  <a:cubicBezTo>
                    <a:pt x="1083" y="1672"/>
                    <a:pt x="1083" y="1672"/>
                    <a:pt x="1083" y="1672"/>
                  </a:cubicBezTo>
                  <a:cubicBezTo>
                    <a:pt x="1082" y="1619"/>
                    <a:pt x="1082" y="1619"/>
                    <a:pt x="1082" y="1619"/>
                  </a:cubicBezTo>
                  <a:cubicBezTo>
                    <a:pt x="1035" y="1582"/>
                    <a:pt x="1035" y="1582"/>
                    <a:pt x="1035" y="1582"/>
                  </a:cubicBezTo>
                  <a:cubicBezTo>
                    <a:pt x="1108" y="1471"/>
                    <a:pt x="1108" y="1471"/>
                    <a:pt x="1108" y="1471"/>
                  </a:cubicBezTo>
                  <a:cubicBezTo>
                    <a:pt x="1113" y="1437"/>
                    <a:pt x="1113" y="1437"/>
                    <a:pt x="1113" y="1437"/>
                  </a:cubicBezTo>
                  <a:cubicBezTo>
                    <a:pt x="1129" y="1418"/>
                    <a:pt x="1129" y="1418"/>
                    <a:pt x="1129" y="1418"/>
                  </a:cubicBezTo>
                  <a:cubicBezTo>
                    <a:pt x="1128" y="1346"/>
                    <a:pt x="1128" y="1346"/>
                    <a:pt x="1128" y="1346"/>
                  </a:cubicBezTo>
                  <a:cubicBezTo>
                    <a:pt x="1138" y="1304"/>
                    <a:pt x="1138" y="1304"/>
                    <a:pt x="1138" y="1304"/>
                  </a:cubicBezTo>
                  <a:cubicBezTo>
                    <a:pt x="1126" y="1231"/>
                    <a:pt x="1126" y="1231"/>
                    <a:pt x="1126" y="1231"/>
                  </a:cubicBezTo>
                  <a:cubicBezTo>
                    <a:pt x="1171" y="1225"/>
                    <a:pt x="1171" y="1225"/>
                    <a:pt x="1171" y="1225"/>
                  </a:cubicBezTo>
                  <a:cubicBezTo>
                    <a:pt x="1218" y="1193"/>
                    <a:pt x="1218" y="1193"/>
                    <a:pt x="1218" y="1193"/>
                  </a:cubicBezTo>
                  <a:cubicBezTo>
                    <a:pt x="1209" y="1147"/>
                    <a:pt x="1209" y="1147"/>
                    <a:pt x="1209" y="1147"/>
                  </a:cubicBezTo>
                  <a:cubicBezTo>
                    <a:pt x="1209" y="1147"/>
                    <a:pt x="1227" y="1144"/>
                    <a:pt x="1236" y="1121"/>
                  </a:cubicBezTo>
                  <a:cubicBezTo>
                    <a:pt x="1244" y="1099"/>
                    <a:pt x="1238" y="1079"/>
                    <a:pt x="1261" y="1057"/>
                  </a:cubicBezTo>
                  <a:cubicBezTo>
                    <a:pt x="1289" y="1032"/>
                    <a:pt x="1311" y="1025"/>
                    <a:pt x="1305" y="1002"/>
                  </a:cubicBezTo>
                  <a:cubicBezTo>
                    <a:pt x="1302" y="975"/>
                    <a:pt x="1278" y="936"/>
                    <a:pt x="1278" y="936"/>
                  </a:cubicBezTo>
                  <a:cubicBezTo>
                    <a:pt x="1279" y="909"/>
                    <a:pt x="1279" y="909"/>
                    <a:pt x="1279" y="909"/>
                  </a:cubicBezTo>
                  <a:cubicBezTo>
                    <a:pt x="1279" y="909"/>
                    <a:pt x="1309" y="918"/>
                    <a:pt x="1313" y="899"/>
                  </a:cubicBezTo>
                  <a:cubicBezTo>
                    <a:pt x="1314" y="884"/>
                    <a:pt x="1332" y="824"/>
                    <a:pt x="1332" y="824"/>
                  </a:cubicBezTo>
                  <a:cubicBezTo>
                    <a:pt x="1383" y="773"/>
                    <a:pt x="1383" y="773"/>
                    <a:pt x="1383" y="773"/>
                  </a:cubicBezTo>
                  <a:cubicBezTo>
                    <a:pt x="1438" y="802"/>
                    <a:pt x="1438" y="802"/>
                    <a:pt x="1438" y="802"/>
                  </a:cubicBezTo>
                  <a:cubicBezTo>
                    <a:pt x="1438" y="802"/>
                    <a:pt x="1451" y="764"/>
                    <a:pt x="1455" y="745"/>
                  </a:cubicBezTo>
                  <a:cubicBezTo>
                    <a:pt x="1460" y="726"/>
                    <a:pt x="1455" y="673"/>
                    <a:pt x="1455" y="673"/>
                  </a:cubicBezTo>
                  <a:cubicBezTo>
                    <a:pt x="1482" y="659"/>
                    <a:pt x="1482" y="659"/>
                    <a:pt x="1482" y="659"/>
                  </a:cubicBezTo>
                  <a:cubicBezTo>
                    <a:pt x="1496" y="675"/>
                    <a:pt x="1496" y="675"/>
                    <a:pt x="1496" y="675"/>
                  </a:cubicBezTo>
                  <a:cubicBezTo>
                    <a:pt x="1537" y="669"/>
                    <a:pt x="1537" y="669"/>
                    <a:pt x="1537" y="669"/>
                  </a:cubicBezTo>
                  <a:cubicBezTo>
                    <a:pt x="1614" y="707"/>
                    <a:pt x="1614" y="707"/>
                    <a:pt x="1614" y="707"/>
                  </a:cubicBezTo>
                  <a:cubicBezTo>
                    <a:pt x="1638" y="674"/>
                    <a:pt x="1638" y="674"/>
                    <a:pt x="1638" y="674"/>
                  </a:cubicBezTo>
                  <a:cubicBezTo>
                    <a:pt x="1613" y="657"/>
                    <a:pt x="1613" y="657"/>
                    <a:pt x="1613" y="657"/>
                  </a:cubicBezTo>
                  <a:cubicBezTo>
                    <a:pt x="1613" y="657"/>
                    <a:pt x="1640" y="624"/>
                    <a:pt x="1638" y="597"/>
                  </a:cubicBezTo>
                  <a:cubicBezTo>
                    <a:pt x="1635" y="574"/>
                    <a:pt x="1614" y="543"/>
                    <a:pt x="1614" y="543"/>
                  </a:cubicBezTo>
                  <a:cubicBezTo>
                    <a:pt x="1656" y="537"/>
                    <a:pt x="1656" y="537"/>
                    <a:pt x="1656" y="537"/>
                  </a:cubicBezTo>
                  <a:cubicBezTo>
                    <a:pt x="1664" y="526"/>
                    <a:pt x="1664" y="526"/>
                    <a:pt x="1664" y="526"/>
                  </a:cubicBezTo>
                  <a:cubicBezTo>
                    <a:pt x="1664" y="526"/>
                    <a:pt x="1693" y="546"/>
                    <a:pt x="1700" y="539"/>
                  </a:cubicBezTo>
                  <a:cubicBezTo>
                    <a:pt x="1704" y="532"/>
                    <a:pt x="1679" y="507"/>
                    <a:pt x="1699" y="493"/>
                  </a:cubicBezTo>
                  <a:cubicBezTo>
                    <a:pt x="1715" y="475"/>
                    <a:pt x="1748" y="488"/>
                    <a:pt x="1748" y="488"/>
                  </a:cubicBezTo>
                  <a:cubicBezTo>
                    <a:pt x="1748" y="488"/>
                    <a:pt x="1768" y="523"/>
                    <a:pt x="1786" y="543"/>
                  </a:cubicBezTo>
                  <a:cubicBezTo>
                    <a:pt x="1808" y="567"/>
                    <a:pt x="1814" y="598"/>
                    <a:pt x="1814" y="598"/>
                  </a:cubicBezTo>
                  <a:cubicBezTo>
                    <a:pt x="1833" y="595"/>
                    <a:pt x="1833" y="595"/>
                    <a:pt x="1833" y="595"/>
                  </a:cubicBezTo>
                  <a:cubicBezTo>
                    <a:pt x="1870" y="597"/>
                    <a:pt x="1870" y="597"/>
                    <a:pt x="1870" y="597"/>
                  </a:cubicBezTo>
                  <a:cubicBezTo>
                    <a:pt x="1895" y="613"/>
                    <a:pt x="1895" y="613"/>
                    <a:pt x="1895" y="613"/>
                  </a:cubicBezTo>
                  <a:cubicBezTo>
                    <a:pt x="1926" y="592"/>
                    <a:pt x="1926" y="592"/>
                    <a:pt x="1926" y="592"/>
                  </a:cubicBezTo>
                  <a:cubicBezTo>
                    <a:pt x="1926" y="592"/>
                    <a:pt x="1935" y="566"/>
                    <a:pt x="1957" y="567"/>
                  </a:cubicBezTo>
                  <a:cubicBezTo>
                    <a:pt x="1976" y="567"/>
                    <a:pt x="1979" y="583"/>
                    <a:pt x="1979" y="583"/>
                  </a:cubicBezTo>
                  <a:cubicBezTo>
                    <a:pt x="2024" y="589"/>
                    <a:pt x="2024" y="589"/>
                    <a:pt x="2024" y="589"/>
                  </a:cubicBezTo>
                  <a:cubicBezTo>
                    <a:pt x="2045" y="617"/>
                    <a:pt x="2045" y="617"/>
                    <a:pt x="2045" y="617"/>
                  </a:cubicBezTo>
                  <a:cubicBezTo>
                    <a:pt x="2045" y="617"/>
                    <a:pt x="2054" y="571"/>
                    <a:pt x="2066" y="556"/>
                  </a:cubicBezTo>
                  <a:cubicBezTo>
                    <a:pt x="2074" y="545"/>
                    <a:pt x="2086" y="531"/>
                    <a:pt x="2087" y="512"/>
                  </a:cubicBezTo>
                  <a:cubicBezTo>
                    <a:pt x="2084" y="492"/>
                    <a:pt x="2078" y="461"/>
                    <a:pt x="2078" y="461"/>
                  </a:cubicBezTo>
                  <a:cubicBezTo>
                    <a:pt x="2091" y="343"/>
                    <a:pt x="2091" y="343"/>
                    <a:pt x="2091" y="343"/>
                  </a:cubicBezTo>
                  <a:cubicBezTo>
                    <a:pt x="2103" y="329"/>
                    <a:pt x="2103" y="329"/>
                    <a:pt x="2103" y="329"/>
                  </a:cubicBezTo>
                  <a:cubicBezTo>
                    <a:pt x="2103" y="329"/>
                    <a:pt x="2101" y="287"/>
                    <a:pt x="2120" y="280"/>
                  </a:cubicBezTo>
                  <a:cubicBezTo>
                    <a:pt x="2143" y="269"/>
                    <a:pt x="2165" y="278"/>
                    <a:pt x="2165" y="278"/>
                  </a:cubicBezTo>
                  <a:cubicBezTo>
                    <a:pt x="2165" y="278"/>
                    <a:pt x="2201" y="238"/>
                    <a:pt x="2223" y="235"/>
                  </a:cubicBezTo>
                  <a:cubicBezTo>
                    <a:pt x="2242" y="232"/>
                    <a:pt x="2274" y="280"/>
                    <a:pt x="2274" y="280"/>
                  </a:cubicBezTo>
                  <a:cubicBezTo>
                    <a:pt x="2351" y="295"/>
                    <a:pt x="2351" y="295"/>
                    <a:pt x="2351" y="295"/>
                  </a:cubicBezTo>
                  <a:cubicBezTo>
                    <a:pt x="2376" y="334"/>
                    <a:pt x="2376" y="334"/>
                    <a:pt x="2376" y="334"/>
                  </a:cubicBezTo>
                  <a:cubicBezTo>
                    <a:pt x="2376" y="334"/>
                    <a:pt x="2344" y="382"/>
                    <a:pt x="2343" y="401"/>
                  </a:cubicBezTo>
                  <a:cubicBezTo>
                    <a:pt x="2342" y="424"/>
                    <a:pt x="2352" y="440"/>
                    <a:pt x="2352" y="440"/>
                  </a:cubicBezTo>
                  <a:cubicBezTo>
                    <a:pt x="2352" y="440"/>
                    <a:pt x="2367" y="456"/>
                    <a:pt x="2374" y="449"/>
                  </a:cubicBezTo>
                  <a:cubicBezTo>
                    <a:pt x="2386" y="442"/>
                    <a:pt x="2384" y="392"/>
                    <a:pt x="2384" y="392"/>
                  </a:cubicBezTo>
                  <a:cubicBezTo>
                    <a:pt x="2384" y="392"/>
                    <a:pt x="2373" y="395"/>
                    <a:pt x="2377" y="384"/>
                  </a:cubicBezTo>
                  <a:cubicBezTo>
                    <a:pt x="2382" y="373"/>
                    <a:pt x="2393" y="373"/>
                    <a:pt x="2400" y="370"/>
                  </a:cubicBezTo>
                  <a:cubicBezTo>
                    <a:pt x="2412" y="363"/>
                    <a:pt x="2409" y="343"/>
                    <a:pt x="2413" y="343"/>
                  </a:cubicBezTo>
                  <a:cubicBezTo>
                    <a:pt x="2421" y="340"/>
                    <a:pt x="2443" y="349"/>
                    <a:pt x="2443" y="333"/>
                  </a:cubicBezTo>
                  <a:cubicBezTo>
                    <a:pt x="2444" y="318"/>
                    <a:pt x="2426" y="291"/>
                    <a:pt x="2426" y="291"/>
                  </a:cubicBezTo>
                  <a:cubicBezTo>
                    <a:pt x="2426" y="291"/>
                    <a:pt x="2441" y="291"/>
                    <a:pt x="2449" y="296"/>
                  </a:cubicBezTo>
                  <a:cubicBezTo>
                    <a:pt x="2456" y="296"/>
                    <a:pt x="2481" y="324"/>
                    <a:pt x="2490" y="301"/>
                  </a:cubicBezTo>
                  <a:cubicBezTo>
                    <a:pt x="2502" y="279"/>
                    <a:pt x="2484" y="267"/>
                    <a:pt x="2484" y="267"/>
                  </a:cubicBezTo>
                  <a:cubicBezTo>
                    <a:pt x="2484" y="259"/>
                    <a:pt x="2484" y="259"/>
                    <a:pt x="2484" y="259"/>
                  </a:cubicBezTo>
                  <a:cubicBezTo>
                    <a:pt x="2469" y="258"/>
                    <a:pt x="2469" y="258"/>
                    <a:pt x="2469" y="258"/>
                  </a:cubicBezTo>
                  <a:cubicBezTo>
                    <a:pt x="2469" y="258"/>
                    <a:pt x="2469" y="251"/>
                    <a:pt x="2458" y="250"/>
                  </a:cubicBezTo>
                  <a:cubicBezTo>
                    <a:pt x="2443" y="249"/>
                    <a:pt x="2443" y="249"/>
                    <a:pt x="2443" y="249"/>
                  </a:cubicBezTo>
                  <a:cubicBezTo>
                    <a:pt x="2449" y="280"/>
                    <a:pt x="2449" y="280"/>
                    <a:pt x="2449" y="280"/>
                  </a:cubicBezTo>
                  <a:cubicBezTo>
                    <a:pt x="2442" y="284"/>
                    <a:pt x="2442" y="284"/>
                    <a:pt x="2442" y="284"/>
                  </a:cubicBezTo>
                  <a:cubicBezTo>
                    <a:pt x="2442" y="268"/>
                    <a:pt x="2442" y="268"/>
                    <a:pt x="2442" y="268"/>
                  </a:cubicBezTo>
                  <a:cubicBezTo>
                    <a:pt x="2425" y="241"/>
                    <a:pt x="2425" y="241"/>
                    <a:pt x="2425" y="241"/>
                  </a:cubicBezTo>
                  <a:cubicBezTo>
                    <a:pt x="2418" y="240"/>
                    <a:pt x="2418" y="240"/>
                    <a:pt x="2418" y="240"/>
                  </a:cubicBezTo>
                  <a:cubicBezTo>
                    <a:pt x="2424" y="268"/>
                    <a:pt x="2424" y="268"/>
                    <a:pt x="2424" y="268"/>
                  </a:cubicBezTo>
                  <a:cubicBezTo>
                    <a:pt x="2416" y="282"/>
                    <a:pt x="2416" y="282"/>
                    <a:pt x="2416" y="282"/>
                  </a:cubicBezTo>
                  <a:cubicBezTo>
                    <a:pt x="2409" y="271"/>
                    <a:pt x="2409" y="271"/>
                    <a:pt x="2409" y="271"/>
                  </a:cubicBezTo>
                  <a:cubicBezTo>
                    <a:pt x="2401" y="282"/>
                    <a:pt x="2401" y="282"/>
                    <a:pt x="2401" y="282"/>
                  </a:cubicBezTo>
                  <a:cubicBezTo>
                    <a:pt x="2393" y="285"/>
                    <a:pt x="2393" y="285"/>
                    <a:pt x="2393" y="285"/>
                  </a:cubicBezTo>
                  <a:cubicBezTo>
                    <a:pt x="2393" y="285"/>
                    <a:pt x="2381" y="300"/>
                    <a:pt x="2377" y="300"/>
                  </a:cubicBezTo>
                  <a:cubicBezTo>
                    <a:pt x="2374" y="296"/>
                    <a:pt x="2378" y="284"/>
                    <a:pt x="2382" y="277"/>
                  </a:cubicBezTo>
                  <a:cubicBezTo>
                    <a:pt x="2386" y="273"/>
                    <a:pt x="2387" y="250"/>
                    <a:pt x="2376" y="246"/>
                  </a:cubicBezTo>
                  <a:cubicBezTo>
                    <a:pt x="2369" y="238"/>
                    <a:pt x="2357" y="261"/>
                    <a:pt x="2357" y="261"/>
                  </a:cubicBezTo>
                  <a:cubicBezTo>
                    <a:pt x="2349" y="260"/>
                    <a:pt x="2349" y="260"/>
                    <a:pt x="2349" y="260"/>
                  </a:cubicBezTo>
                  <a:cubicBezTo>
                    <a:pt x="2349" y="260"/>
                    <a:pt x="2373" y="238"/>
                    <a:pt x="2358" y="230"/>
                  </a:cubicBezTo>
                  <a:cubicBezTo>
                    <a:pt x="2344" y="218"/>
                    <a:pt x="2332" y="229"/>
                    <a:pt x="2332" y="229"/>
                  </a:cubicBezTo>
                  <a:cubicBezTo>
                    <a:pt x="2318" y="217"/>
                    <a:pt x="2318" y="217"/>
                    <a:pt x="2318" y="217"/>
                  </a:cubicBezTo>
                  <a:cubicBezTo>
                    <a:pt x="2302" y="224"/>
                    <a:pt x="2302" y="224"/>
                    <a:pt x="2302" y="224"/>
                  </a:cubicBezTo>
                  <a:cubicBezTo>
                    <a:pt x="2299" y="216"/>
                    <a:pt x="2299" y="216"/>
                    <a:pt x="2299" y="216"/>
                  </a:cubicBezTo>
                  <a:cubicBezTo>
                    <a:pt x="2299" y="216"/>
                    <a:pt x="2287" y="227"/>
                    <a:pt x="2280" y="222"/>
                  </a:cubicBezTo>
                  <a:cubicBezTo>
                    <a:pt x="2273" y="218"/>
                    <a:pt x="2280" y="211"/>
                    <a:pt x="2280" y="211"/>
                  </a:cubicBezTo>
                  <a:cubicBezTo>
                    <a:pt x="2281" y="207"/>
                    <a:pt x="2273" y="203"/>
                    <a:pt x="2277" y="196"/>
                  </a:cubicBezTo>
                  <a:cubicBezTo>
                    <a:pt x="2278" y="188"/>
                    <a:pt x="2348" y="210"/>
                    <a:pt x="2348" y="210"/>
                  </a:cubicBezTo>
                  <a:cubicBezTo>
                    <a:pt x="2348" y="210"/>
                    <a:pt x="2381" y="212"/>
                    <a:pt x="2405" y="198"/>
                  </a:cubicBezTo>
                  <a:cubicBezTo>
                    <a:pt x="2428" y="180"/>
                    <a:pt x="2421" y="156"/>
                    <a:pt x="2421" y="156"/>
                  </a:cubicBezTo>
                  <a:cubicBezTo>
                    <a:pt x="2421" y="156"/>
                    <a:pt x="2463" y="139"/>
                    <a:pt x="2461" y="120"/>
                  </a:cubicBezTo>
                  <a:cubicBezTo>
                    <a:pt x="2457" y="105"/>
                    <a:pt x="2427" y="111"/>
                    <a:pt x="2427" y="111"/>
                  </a:cubicBezTo>
                  <a:cubicBezTo>
                    <a:pt x="2427" y="111"/>
                    <a:pt x="2417" y="95"/>
                    <a:pt x="2406" y="95"/>
                  </a:cubicBezTo>
                  <a:cubicBezTo>
                    <a:pt x="2391" y="94"/>
                    <a:pt x="2375" y="105"/>
                    <a:pt x="2375" y="105"/>
                  </a:cubicBezTo>
                  <a:cubicBezTo>
                    <a:pt x="2388" y="78"/>
                    <a:pt x="2388" y="78"/>
                    <a:pt x="2388" y="78"/>
                  </a:cubicBezTo>
                  <a:cubicBezTo>
                    <a:pt x="2373" y="78"/>
                    <a:pt x="2373" y="78"/>
                    <a:pt x="2373" y="78"/>
                  </a:cubicBezTo>
                  <a:cubicBezTo>
                    <a:pt x="2373" y="78"/>
                    <a:pt x="2377" y="66"/>
                    <a:pt x="2362" y="66"/>
                  </a:cubicBezTo>
                  <a:cubicBezTo>
                    <a:pt x="2347" y="61"/>
                    <a:pt x="2350" y="84"/>
                    <a:pt x="2342" y="84"/>
                  </a:cubicBezTo>
                  <a:cubicBezTo>
                    <a:pt x="2335" y="87"/>
                    <a:pt x="2343" y="65"/>
                    <a:pt x="2336" y="64"/>
                  </a:cubicBezTo>
                  <a:cubicBezTo>
                    <a:pt x="2332" y="64"/>
                    <a:pt x="2305" y="86"/>
                    <a:pt x="2305" y="86"/>
                  </a:cubicBezTo>
                  <a:cubicBezTo>
                    <a:pt x="2306" y="59"/>
                    <a:pt x="2306" y="59"/>
                    <a:pt x="2306" y="59"/>
                  </a:cubicBezTo>
                  <a:cubicBezTo>
                    <a:pt x="2306" y="59"/>
                    <a:pt x="2296" y="40"/>
                    <a:pt x="2273" y="42"/>
                  </a:cubicBezTo>
                  <a:cubicBezTo>
                    <a:pt x="2247" y="41"/>
                    <a:pt x="2249" y="83"/>
                    <a:pt x="2249" y="83"/>
                  </a:cubicBezTo>
                  <a:cubicBezTo>
                    <a:pt x="2252" y="91"/>
                    <a:pt x="2252" y="91"/>
                    <a:pt x="2252" y="91"/>
                  </a:cubicBezTo>
                  <a:cubicBezTo>
                    <a:pt x="2247" y="133"/>
                    <a:pt x="2247" y="133"/>
                    <a:pt x="2247" y="133"/>
                  </a:cubicBezTo>
                  <a:cubicBezTo>
                    <a:pt x="2258" y="133"/>
                    <a:pt x="2258" y="133"/>
                    <a:pt x="2258" y="133"/>
                  </a:cubicBezTo>
                  <a:cubicBezTo>
                    <a:pt x="2257" y="141"/>
                    <a:pt x="2257" y="141"/>
                    <a:pt x="2257" y="141"/>
                  </a:cubicBezTo>
                  <a:cubicBezTo>
                    <a:pt x="2239" y="140"/>
                    <a:pt x="2239" y="140"/>
                    <a:pt x="2239" y="140"/>
                  </a:cubicBezTo>
                  <a:cubicBezTo>
                    <a:pt x="2236" y="129"/>
                    <a:pt x="2236" y="129"/>
                    <a:pt x="2236" y="129"/>
                  </a:cubicBezTo>
                  <a:cubicBezTo>
                    <a:pt x="2220" y="143"/>
                    <a:pt x="2220" y="143"/>
                    <a:pt x="2220" y="143"/>
                  </a:cubicBezTo>
                  <a:cubicBezTo>
                    <a:pt x="2209" y="143"/>
                    <a:pt x="2209" y="143"/>
                    <a:pt x="2209" y="143"/>
                  </a:cubicBezTo>
                  <a:cubicBezTo>
                    <a:pt x="2208" y="150"/>
                    <a:pt x="2208" y="150"/>
                    <a:pt x="2208" y="150"/>
                  </a:cubicBezTo>
                  <a:cubicBezTo>
                    <a:pt x="2202" y="135"/>
                    <a:pt x="2202" y="135"/>
                    <a:pt x="2202" y="135"/>
                  </a:cubicBezTo>
                  <a:cubicBezTo>
                    <a:pt x="2202" y="135"/>
                    <a:pt x="2213" y="124"/>
                    <a:pt x="2221" y="120"/>
                  </a:cubicBezTo>
                  <a:cubicBezTo>
                    <a:pt x="2229" y="113"/>
                    <a:pt x="2234" y="90"/>
                    <a:pt x="2230" y="82"/>
                  </a:cubicBezTo>
                  <a:cubicBezTo>
                    <a:pt x="2227" y="78"/>
                    <a:pt x="2211" y="93"/>
                    <a:pt x="2207" y="100"/>
                  </a:cubicBezTo>
                  <a:cubicBezTo>
                    <a:pt x="2207" y="108"/>
                    <a:pt x="2188" y="115"/>
                    <a:pt x="2188" y="115"/>
                  </a:cubicBezTo>
                  <a:cubicBezTo>
                    <a:pt x="2188" y="115"/>
                    <a:pt x="2196" y="104"/>
                    <a:pt x="2200" y="100"/>
                  </a:cubicBezTo>
                  <a:cubicBezTo>
                    <a:pt x="2203" y="96"/>
                    <a:pt x="2215" y="78"/>
                    <a:pt x="2215" y="78"/>
                  </a:cubicBezTo>
                  <a:cubicBezTo>
                    <a:pt x="2201" y="77"/>
                    <a:pt x="2201" y="77"/>
                    <a:pt x="2201" y="77"/>
                  </a:cubicBezTo>
                  <a:cubicBezTo>
                    <a:pt x="2197" y="77"/>
                    <a:pt x="2185" y="88"/>
                    <a:pt x="2185" y="88"/>
                  </a:cubicBezTo>
                  <a:cubicBezTo>
                    <a:pt x="2185" y="88"/>
                    <a:pt x="2185" y="80"/>
                    <a:pt x="2189" y="77"/>
                  </a:cubicBezTo>
                  <a:cubicBezTo>
                    <a:pt x="2190" y="69"/>
                    <a:pt x="2208" y="70"/>
                    <a:pt x="2223" y="67"/>
                  </a:cubicBezTo>
                  <a:cubicBezTo>
                    <a:pt x="2239" y="64"/>
                    <a:pt x="2237" y="21"/>
                    <a:pt x="2237" y="21"/>
                  </a:cubicBezTo>
                  <a:cubicBezTo>
                    <a:pt x="2218" y="21"/>
                    <a:pt x="2218" y="21"/>
                    <a:pt x="2218" y="21"/>
                  </a:cubicBezTo>
                  <a:cubicBezTo>
                    <a:pt x="2218" y="21"/>
                    <a:pt x="2210" y="28"/>
                    <a:pt x="2207" y="24"/>
                  </a:cubicBezTo>
                  <a:cubicBezTo>
                    <a:pt x="2199" y="24"/>
                    <a:pt x="2211" y="9"/>
                    <a:pt x="2204" y="5"/>
                  </a:cubicBezTo>
                  <a:cubicBezTo>
                    <a:pt x="2197" y="0"/>
                    <a:pt x="2188" y="19"/>
                    <a:pt x="2181" y="19"/>
                  </a:cubicBezTo>
                  <a:cubicBezTo>
                    <a:pt x="2173" y="22"/>
                    <a:pt x="2167" y="3"/>
                    <a:pt x="2151" y="6"/>
                  </a:cubicBezTo>
                  <a:cubicBezTo>
                    <a:pt x="2140" y="13"/>
                    <a:pt x="2165" y="37"/>
                    <a:pt x="2157" y="37"/>
                  </a:cubicBezTo>
                  <a:cubicBezTo>
                    <a:pt x="2150" y="40"/>
                    <a:pt x="2143" y="29"/>
                    <a:pt x="2128" y="24"/>
                  </a:cubicBezTo>
                  <a:cubicBezTo>
                    <a:pt x="2117" y="23"/>
                    <a:pt x="2138" y="44"/>
                    <a:pt x="2138" y="44"/>
                  </a:cubicBezTo>
                  <a:cubicBezTo>
                    <a:pt x="2127" y="47"/>
                    <a:pt x="2127" y="47"/>
                    <a:pt x="2127" y="47"/>
                  </a:cubicBezTo>
                  <a:cubicBezTo>
                    <a:pt x="2134" y="59"/>
                    <a:pt x="2134" y="59"/>
                    <a:pt x="2134" y="59"/>
                  </a:cubicBezTo>
                  <a:cubicBezTo>
                    <a:pt x="2145" y="59"/>
                    <a:pt x="2145" y="59"/>
                    <a:pt x="2145" y="59"/>
                  </a:cubicBezTo>
                  <a:cubicBezTo>
                    <a:pt x="2171" y="76"/>
                    <a:pt x="2171" y="76"/>
                    <a:pt x="2171" y="76"/>
                  </a:cubicBezTo>
                  <a:cubicBezTo>
                    <a:pt x="2144" y="78"/>
                    <a:pt x="2144" y="78"/>
                    <a:pt x="2144" y="78"/>
                  </a:cubicBezTo>
                  <a:cubicBezTo>
                    <a:pt x="2147" y="94"/>
                    <a:pt x="2147" y="94"/>
                    <a:pt x="2147" y="94"/>
                  </a:cubicBezTo>
                  <a:cubicBezTo>
                    <a:pt x="2132" y="93"/>
                    <a:pt x="2132" y="93"/>
                    <a:pt x="2132" y="93"/>
                  </a:cubicBezTo>
                  <a:cubicBezTo>
                    <a:pt x="2132" y="104"/>
                    <a:pt x="2132" y="104"/>
                    <a:pt x="2132" y="104"/>
                  </a:cubicBezTo>
                  <a:cubicBezTo>
                    <a:pt x="2139" y="109"/>
                    <a:pt x="2139" y="109"/>
                    <a:pt x="2139" y="109"/>
                  </a:cubicBezTo>
                  <a:cubicBezTo>
                    <a:pt x="2139" y="124"/>
                    <a:pt x="2139" y="124"/>
                    <a:pt x="2139" y="124"/>
                  </a:cubicBezTo>
                  <a:cubicBezTo>
                    <a:pt x="2146" y="128"/>
                    <a:pt x="2146" y="128"/>
                    <a:pt x="2146" y="128"/>
                  </a:cubicBezTo>
                  <a:cubicBezTo>
                    <a:pt x="2127" y="131"/>
                    <a:pt x="2127" y="131"/>
                    <a:pt x="2127" y="131"/>
                  </a:cubicBezTo>
                  <a:cubicBezTo>
                    <a:pt x="2144" y="159"/>
                    <a:pt x="2144" y="159"/>
                    <a:pt x="2144" y="159"/>
                  </a:cubicBezTo>
                  <a:cubicBezTo>
                    <a:pt x="2118" y="157"/>
                    <a:pt x="2118" y="157"/>
                    <a:pt x="2118" y="157"/>
                  </a:cubicBezTo>
                  <a:cubicBezTo>
                    <a:pt x="2106" y="191"/>
                    <a:pt x="2106" y="191"/>
                    <a:pt x="2106" y="191"/>
                  </a:cubicBezTo>
                  <a:cubicBezTo>
                    <a:pt x="2101" y="122"/>
                    <a:pt x="2101" y="122"/>
                    <a:pt x="2101" y="122"/>
                  </a:cubicBezTo>
                  <a:cubicBezTo>
                    <a:pt x="2082" y="129"/>
                    <a:pt x="2082" y="129"/>
                    <a:pt x="2082" y="129"/>
                  </a:cubicBezTo>
                  <a:cubicBezTo>
                    <a:pt x="2106" y="88"/>
                    <a:pt x="2106" y="88"/>
                    <a:pt x="2106" y="88"/>
                  </a:cubicBezTo>
                  <a:cubicBezTo>
                    <a:pt x="2099" y="80"/>
                    <a:pt x="2099" y="80"/>
                    <a:pt x="2099" y="80"/>
                  </a:cubicBezTo>
                  <a:cubicBezTo>
                    <a:pt x="2099" y="80"/>
                    <a:pt x="2104" y="57"/>
                    <a:pt x="2086" y="56"/>
                  </a:cubicBezTo>
                  <a:cubicBezTo>
                    <a:pt x="2067" y="59"/>
                    <a:pt x="2064" y="109"/>
                    <a:pt x="2064" y="109"/>
                  </a:cubicBezTo>
                  <a:cubicBezTo>
                    <a:pt x="2053" y="112"/>
                    <a:pt x="2053" y="112"/>
                    <a:pt x="2053" y="112"/>
                  </a:cubicBezTo>
                  <a:cubicBezTo>
                    <a:pt x="2053" y="112"/>
                    <a:pt x="2056" y="139"/>
                    <a:pt x="2044" y="154"/>
                  </a:cubicBezTo>
                  <a:cubicBezTo>
                    <a:pt x="2035" y="173"/>
                    <a:pt x="2011" y="206"/>
                    <a:pt x="2011" y="206"/>
                  </a:cubicBezTo>
                  <a:cubicBezTo>
                    <a:pt x="2011" y="206"/>
                    <a:pt x="2030" y="214"/>
                    <a:pt x="2025" y="226"/>
                  </a:cubicBezTo>
                  <a:cubicBezTo>
                    <a:pt x="2021" y="237"/>
                    <a:pt x="2013" y="252"/>
                    <a:pt x="2013" y="252"/>
                  </a:cubicBezTo>
                  <a:cubicBezTo>
                    <a:pt x="2005" y="270"/>
                    <a:pt x="2005" y="270"/>
                    <a:pt x="2005" y="270"/>
                  </a:cubicBezTo>
                  <a:cubicBezTo>
                    <a:pt x="1994" y="255"/>
                    <a:pt x="1994" y="255"/>
                    <a:pt x="1994" y="255"/>
                  </a:cubicBezTo>
                  <a:cubicBezTo>
                    <a:pt x="1990" y="266"/>
                    <a:pt x="1990" y="266"/>
                    <a:pt x="1990" y="266"/>
                  </a:cubicBezTo>
                  <a:cubicBezTo>
                    <a:pt x="1980" y="243"/>
                    <a:pt x="1980" y="243"/>
                    <a:pt x="1980" y="243"/>
                  </a:cubicBezTo>
                  <a:cubicBezTo>
                    <a:pt x="2001" y="186"/>
                    <a:pt x="2001" y="186"/>
                    <a:pt x="2001" y="186"/>
                  </a:cubicBezTo>
                  <a:cubicBezTo>
                    <a:pt x="1986" y="185"/>
                    <a:pt x="1986" y="185"/>
                    <a:pt x="1986" y="185"/>
                  </a:cubicBezTo>
                  <a:cubicBezTo>
                    <a:pt x="1983" y="178"/>
                    <a:pt x="1983" y="178"/>
                    <a:pt x="1983" y="178"/>
                  </a:cubicBezTo>
                  <a:cubicBezTo>
                    <a:pt x="2027" y="115"/>
                    <a:pt x="2027" y="115"/>
                    <a:pt x="2027" y="115"/>
                  </a:cubicBezTo>
                  <a:cubicBezTo>
                    <a:pt x="2020" y="107"/>
                    <a:pt x="2020" y="107"/>
                    <a:pt x="2020" y="107"/>
                  </a:cubicBezTo>
                  <a:cubicBezTo>
                    <a:pt x="2020" y="107"/>
                    <a:pt x="2039" y="81"/>
                    <a:pt x="2032" y="77"/>
                  </a:cubicBezTo>
                  <a:cubicBezTo>
                    <a:pt x="2025" y="73"/>
                    <a:pt x="2001" y="94"/>
                    <a:pt x="2001" y="94"/>
                  </a:cubicBezTo>
                  <a:cubicBezTo>
                    <a:pt x="2002" y="72"/>
                    <a:pt x="2002" y="72"/>
                    <a:pt x="2002" y="72"/>
                  </a:cubicBezTo>
                  <a:cubicBezTo>
                    <a:pt x="1984" y="71"/>
                    <a:pt x="1984" y="71"/>
                    <a:pt x="1984" y="71"/>
                  </a:cubicBezTo>
                  <a:cubicBezTo>
                    <a:pt x="1991" y="82"/>
                    <a:pt x="1991" y="82"/>
                    <a:pt x="1991" y="82"/>
                  </a:cubicBezTo>
                  <a:cubicBezTo>
                    <a:pt x="1986" y="101"/>
                    <a:pt x="1986" y="101"/>
                    <a:pt x="1986" y="101"/>
                  </a:cubicBezTo>
                  <a:cubicBezTo>
                    <a:pt x="1972" y="82"/>
                    <a:pt x="1972" y="82"/>
                    <a:pt x="1972" y="82"/>
                  </a:cubicBezTo>
                  <a:cubicBezTo>
                    <a:pt x="1960" y="92"/>
                    <a:pt x="1960" y="92"/>
                    <a:pt x="1960" y="92"/>
                  </a:cubicBezTo>
                  <a:cubicBezTo>
                    <a:pt x="1965" y="74"/>
                    <a:pt x="1965" y="74"/>
                    <a:pt x="1965" y="74"/>
                  </a:cubicBezTo>
                  <a:cubicBezTo>
                    <a:pt x="1961" y="70"/>
                    <a:pt x="1961" y="70"/>
                    <a:pt x="1961" y="70"/>
                  </a:cubicBezTo>
                  <a:cubicBezTo>
                    <a:pt x="1953" y="81"/>
                    <a:pt x="1953" y="81"/>
                    <a:pt x="1953" y="81"/>
                  </a:cubicBezTo>
                  <a:cubicBezTo>
                    <a:pt x="1932" y="64"/>
                    <a:pt x="1932" y="64"/>
                    <a:pt x="1932" y="64"/>
                  </a:cubicBezTo>
                  <a:cubicBezTo>
                    <a:pt x="1923" y="83"/>
                    <a:pt x="1923" y="83"/>
                    <a:pt x="1923" y="83"/>
                  </a:cubicBezTo>
                  <a:cubicBezTo>
                    <a:pt x="1945" y="96"/>
                    <a:pt x="1945" y="96"/>
                    <a:pt x="1945" y="96"/>
                  </a:cubicBezTo>
                  <a:cubicBezTo>
                    <a:pt x="1934" y="99"/>
                    <a:pt x="1934" y="99"/>
                    <a:pt x="1934" y="99"/>
                  </a:cubicBezTo>
                  <a:cubicBezTo>
                    <a:pt x="1933" y="114"/>
                    <a:pt x="1933" y="114"/>
                    <a:pt x="1933" y="114"/>
                  </a:cubicBezTo>
                  <a:cubicBezTo>
                    <a:pt x="1922" y="110"/>
                    <a:pt x="1922" y="110"/>
                    <a:pt x="1922" y="110"/>
                  </a:cubicBezTo>
                  <a:cubicBezTo>
                    <a:pt x="1919" y="102"/>
                    <a:pt x="1919" y="102"/>
                    <a:pt x="1919" y="102"/>
                  </a:cubicBezTo>
                  <a:cubicBezTo>
                    <a:pt x="1908" y="101"/>
                    <a:pt x="1908" y="101"/>
                    <a:pt x="1908" y="101"/>
                  </a:cubicBezTo>
                  <a:cubicBezTo>
                    <a:pt x="1907" y="124"/>
                    <a:pt x="1907" y="124"/>
                    <a:pt x="1907" y="124"/>
                  </a:cubicBezTo>
                  <a:cubicBezTo>
                    <a:pt x="1932" y="129"/>
                    <a:pt x="1932" y="129"/>
                    <a:pt x="1932" y="129"/>
                  </a:cubicBezTo>
                  <a:cubicBezTo>
                    <a:pt x="1950" y="153"/>
                    <a:pt x="1950" y="153"/>
                    <a:pt x="1950" y="153"/>
                  </a:cubicBezTo>
                  <a:cubicBezTo>
                    <a:pt x="1950" y="161"/>
                    <a:pt x="1950" y="161"/>
                    <a:pt x="1950" y="161"/>
                  </a:cubicBezTo>
                  <a:cubicBezTo>
                    <a:pt x="1950" y="161"/>
                    <a:pt x="1943" y="153"/>
                    <a:pt x="1935" y="149"/>
                  </a:cubicBezTo>
                  <a:cubicBezTo>
                    <a:pt x="1928" y="141"/>
                    <a:pt x="1913" y="140"/>
                    <a:pt x="1913" y="140"/>
                  </a:cubicBezTo>
                  <a:cubicBezTo>
                    <a:pt x="1908" y="178"/>
                    <a:pt x="1908" y="178"/>
                    <a:pt x="1908" y="178"/>
                  </a:cubicBezTo>
                  <a:cubicBezTo>
                    <a:pt x="1915" y="174"/>
                    <a:pt x="1915" y="174"/>
                    <a:pt x="1915" y="174"/>
                  </a:cubicBezTo>
                  <a:cubicBezTo>
                    <a:pt x="1926" y="194"/>
                    <a:pt x="1926" y="194"/>
                    <a:pt x="1926" y="194"/>
                  </a:cubicBezTo>
                  <a:cubicBezTo>
                    <a:pt x="1926" y="194"/>
                    <a:pt x="1915" y="190"/>
                    <a:pt x="1904" y="185"/>
                  </a:cubicBezTo>
                  <a:cubicBezTo>
                    <a:pt x="1889" y="185"/>
                    <a:pt x="1885" y="196"/>
                    <a:pt x="1885" y="196"/>
                  </a:cubicBezTo>
                  <a:cubicBezTo>
                    <a:pt x="1852" y="252"/>
                    <a:pt x="1852" y="252"/>
                    <a:pt x="1852" y="252"/>
                  </a:cubicBezTo>
                  <a:cubicBezTo>
                    <a:pt x="1859" y="252"/>
                    <a:pt x="1859" y="252"/>
                    <a:pt x="1859" y="252"/>
                  </a:cubicBezTo>
                  <a:cubicBezTo>
                    <a:pt x="1848" y="263"/>
                    <a:pt x="1848" y="263"/>
                    <a:pt x="1848" y="263"/>
                  </a:cubicBezTo>
                  <a:cubicBezTo>
                    <a:pt x="1862" y="283"/>
                    <a:pt x="1862" y="283"/>
                    <a:pt x="1862" y="283"/>
                  </a:cubicBezTo>
                  <a:cubicBezTo>
                    <a:pt x="1850" y="290"/>
                    <a:pt x="1850" y="290"/>
                    <a:pt x="1850" y="290"/>
                  </a:cubicBezTo>
                  <a:cubicBezTo>
                    <a:pt x="1876" y="306"/>
                    <a:pt x="1876" y="306"/>
                    <a:pt x="1876" y="306"/>
                  </a:cubicBezTo>
                  <a:cubicBezTo>
                    <a:pt x="1845" y="313"/>
                    <a:pt x="1845" y="313"/>
                    <a:pt x="1845" y="313"/>
                  </a:cubicBezTo>
                  <a:cubicBezTo>
                    <a:pt x="1828" y="281"/>
                    <a:pt x="1828" y="281"/>
                    <a:pt x="1828" y="281"/>
                  </a:cubicBezTo>
                  <a:cubicBezTo>
                    <a:pt x="1782" y="306"/>
                    <a:pt x="1782" y="306"/>
                    <a:pt x="1782" y="306"/>
                  </a:cubicBezTo>
                  <a:cubicBezTo>
                    <a:pt x="1783" y="298"/>
                    <a:pt x="1783" y="298"/>
                    <a:pt x="1783" y="298"/>
                  </a:cubicBezTo>
                  <a:cubicBezTo>
                    <a:pt x="1783" y="298"/>
                    <a:pt x="1821" y="281"/>
                    <a:pt x="1825" y="266"/>
                  </a:cubicBezTo>
                  <a:cubicBezTo>
                    <a:pt x="1829" y="255"/>
                    <a:pt x="1795" y="261"/>
                    <a:pt x="1795" y="261"/>
                  </a:cubicBezTo>
                  <a:cubicBezTo>
                    <a:pt x="1795" y="261"/>
                    <a:pt x="1785" y="249"/>
                    <a:pt x="1777" y="260"/>
                  </a:cubicBezTo>
                  <a:cubicBezTo>
                    <a:pt x="1765" y="271"/>
                    <a:pt x="1787" y="283"/>
                    <a:pt x="1787" y="283"/>
                  </a:cubicBezTo>
                  <a:cubicBezTo>
                    <a:pt x="1772" y="282"/>
                    <a:pt x="1772" y="282"/>
                    <a:pt x="1772" y="282"/>
                  </a:cubicBezTo>
                  <a:cubicBezTo>
                    <a:pt x="1772" y="282"/>
                    <a:pt x="1766" y="251"/>
                    <a:pt x="1751" y="251"/>
                  </a:cubicBezTo>
                  <a:cubicBezTo>
                    <a:pt x="1736" y="250"/>
                    <a:pt x="1735" y="273"/>
                    <a:pt x="1735" y="273"/>
                  </a:cubicBezTo>
                  <a:cubicBezTo>
                    <a:pt x="1710" y="253"/>
                    <a:pt x="1710" y="253"/>
                    <a:pt x="1710" y="253"/>
                  </a:cubicBezTo>
                  <a:cubicBezTo>
                    <a:pt x="1706" y="264"/>
                    <a:pt x="1706" y="264"/>
                    <a:pt x="1706" y="264"/>
                  </a:cubicBezTo>
                  <a:cubicBezTo>
                    <a:pt x="1706" y="264"/>
                    <a:pt x="1694" y="260"/>
                    <a:pt x="1686" y="271"/>
                  </a:cubicBezTo>
                  <a:cubicBezTo>
                    <a:pt x="1678" y="286"/>
                    <a:pt x="1708" y="287"/>
                    <a:pt x="1708" y="287"/>
                  </a:cubicBezTo>
                  <a:cubicBezTo>
                    <a:pt x="1700" y="298"/>
                    <a:pt x="1700" y="298"/>
                    <a:pt x="1700" y="298"/>
                  </a:cubicBezTo>
                  <a:cubicBezTo>
                    <a:pt x="1733" y="307"/>
                    <a:pt x="1733" y="307"/>
                    <a:pt x="1733" y="307"/>
                  </a:cubicBezTo>
                  <a:cubicBezTo>
                    <a:pt x="1752" y="304"/>
                    <a:pt x="1752" y="304"/>
                    <a:pt x="1752" y="304"/>
                  </a:cubicBezTo>
                  <a:cubicBezTo>
                    <a:pt x="1737" y="315"/>
                    <a:pt x="1737" y="315"/>
                    <a:pt x="1737" y="315"/>
                  </a:cubicBezTo>
                  <a:cubicBezTo>
                    <a:pt x="1740" y="319"/>
                    <a:pt x="1740" y="319"/>
                    <a:pt x="1740" y="319"/>
                  </a:cubicBezTo>
                  <a:cubicBezTo>
                    <a:pt x="1756" y="316"/>
                    <a:pt x="1756" y="316"/>
                    <a:pt x="1756" y="316"/>
                  </a:cubicBezTo>
                  <a:cubicBezTo>
                    <a:pt x="1755" y="327"/>
                    <a:pt x="1755" y="327"/>
                    <a:pt x="1755" y="327"/>
                  </a:cubicBezTo>
                  <a:cubicBezTo>
                    <a:pt x="1744" y="327"/>
                    <a:pt x="1744" y="327"/>
                    <a:pt x="1744" y="327"/>
                  </a:cubicBezTo>
                  <a:cubicBezTo>
                    <a:pt x="1754" y="347"/>
                    <a:pt x="1754" y="347"/>
                    <a:pt x="1754" y="347"/>
                  </a:cubicBezTo>
                  <a:cubicBezTo>
                    <a:pt x="1754" y="358"/>
                    <a:pt x="1754" y="358"/>
                    <a:pt x="1754" y="358"/>
                  </a:cubicBezTo>
                  <a:cubicBezTo>
                    <a:pt x="1754" y="358"/>
                    <a:pt x="1772" y="374"/>
                    <a:pt x="1764" y="378"/>
                  </a:cubicBezTo>
                  <a:cubicBezTo>
                    <a:pt x="1756" y="381"/>
                    <a:pt x="1739" y="346"/>
                    <a:pt x="1739" y="346"/>
                  </a:cubicBezTo>
                  <a:cubicBezTo>
                    <a:pt x="1721" y="337"/>
                    <a:pt x="1721" y="337"/>
                    <a:pt x="1721" y="337"/>
                  </a:cubicBezTo>
                  <a:cubicBezTo>
                    <a:pt x="1721" y="337"/>
                    <a:pt x="1707" y="314"/>
                    <a:pt x="1692" y="313"/>
                  </a:cubicBezTo>
                  <a:cubicBezTo>
                    <a:pt x="1681" y="312"/>
                    <a:pt x="1687" y="336"/>
                    <a:pt x="1687" y="336"/>
                  </a:cubicBezTo>
                  <a:cubicBezTo>
                    <a:pt x="1694" y="348"/>
                    <a:pt x="1694" y="348"/>
                    <a:pt x="1694" y="348"/>
                  </a:cubicBezTo>
                  <a:cubicBezTo>
                    <a:pt x="1683" y="355"/>
                    <a:pt x="1683" y="355"/>
                    <a:pt x="1683" y="355"/>
                  </a:cubicBezTo>
                  <a:cubicBezTo>
                    <a:pt x="1674" y="373"/>
                    <a:pt x="1674" y="373"/>
                    <a:pt x="1674" y="373"/>
                  </a:cubicBezTo>
                  <a:cubicBezTo>
                    <a:pt x="1668" y="354"/>
                    <a:pt x="1668" y="354"/>
                    <a:pt x="1668" y="354"/>
                  </a:cubicBezTo>
                  <a:cubicBezTo>
                    <a:pt x="1680" y="339"/>
                    <a:pt x="1680" y="339"/>
                    <a:pt x="1680" y="339"/>
                  </a:cubicBezTo>
                  <a:cubicBezTo>
                    <a:pt x="1680" y="335"/>
                    <a:pt x="1680" y="335"/>
                    <a:pt x="1680" y="335"/>
                  </a:cubicBezTo>
                  <a:cubicBezTo>
                    <a:pt x="1657" y="353"/>
                    <a:pt x="1657" y="353"/>
                    <a:pt x="1657" y="353"/>
                  </a:cubicBezTo>
                  <a:cubicBezTo>
                    <a:pt x="1636" y="391"/>
                    <a:pt x="1636" y="391"/>
                    <a:pt x="1636" y="391"/>
                  </a:cubicBezTo>
                  <a:cubicBezTo>
                    <a:pt x="1642" y="418"/>
                    <a:pt x="1642" y="418"/>
                    <a:pt x="1642" y="418"/>
                  </a:cubicBezTo>
                  <a:cubicBezTo>
                    <a:pt x="1656" y="438"/>
                    <a:pt x="1656" y="438"/>
                    <a:pt x="1656" y="438"/>
                  </a:cubicBezTo>
                  <a:cubicBezTo>
                    <a:pt x="1631" y="425"/>
                    <a:pt x="1631" y="425"/>
                    <a:pt x="1631" y="425"/>
                  </a:cubicBezTo>
                  <a:cubicBezTo>
                    <a:pt x="1621" y="474"/>
                    <a:pt x="1621" y="474"/>
                    <a:pt x="1621" y="474"/>
                  </a:cubicBezTo>
                  <a:cubicBezTo>
                    <a:pt x="1614" y="474"/>
                    <a:pt x="1614" y="474"/>
                    <a:pt x="1614" y="474"/>
                  </a:cubicBezTo>
                  <a:cubicBezTo>
                    <a:pt x="1597" y="500"/>
                    <a:pt x="1597" y="500"/>
                    <a:pt x="1597" y="500"/>
                  </a:cubicBezTo>
                  <a:cubicBezTo>
                    <a:pt x="1590" y="488"/>
                    <a:pt x="1590" y="488"/>
                    <a:pt x="1590" y="488"/>
                  </a:cubicBezTo>
                  <a:cubicBezTo>
                    <a:pt x="1610" y="466"/>
                    <a:pt x="1610" y="466"/>
                    <a:pt x="1610" y="466"/>
                  </a:cubicBezTo>
                  <a:cubicBezTo>
                    <a:pt x="1619" y="436"/>
                    <a:pt x="1619" y="436"/>
                    <a:pt x="1619" y="436"/>
                  </a:cubicBezTo>
                  <a:cubicBezTo>
                    <a:pt x="1616" y="432"/>
                    <a:pt x="1616" y="432"/>
                    <a:pt x="1616" y="432"/>
                  </a:cubicBezTo>
                  <a:cubicBezTo>
                    <a:pt x="1627" y="421"/>
                    <a:pt x="1627" y="421"/>
                    <a:pt x="1627" y="421"/>
                  </a:cubicBezTo>
                  <a:cubicBezTo>
                    <a:pt x="1621" y="401"/>
                    <a:pt x="1621" y="401"/>
                    <a:pt x="1621" y="401"/>
                  </a:cubicBezTo>
                  <a:cubicBezTo>
                    <a:pt x="1622" y="375"/>
                    <a:pt x="1622" y="375"/>
                    <a:pt x="1622" y="375"/>
                  </a:cubicBezTo>
                  <a:cubicBezTo>
                    <a:pt x="1622" y="363"/>
                    <a:pt x="1616" y="336"/>
                    <a:pt x="1616" y="336"/>
                  </a:cubicBezTo>
                  <a:cubicBezTo>
                    <a:pt x="1597" y="351"/>
                    <a:pt x="1597" y="351"/>
                    <a:pt x="1597" y="351"/>
                  </a:cubicBezTo>
                  <a:cubicBezTo>
                    <a:pt x="1597" y="351"/>
                    <a:pt x="1599" y="374"/>
                    <a:pt x="1588" y="385"/>
                  </a:cubicBezTo>
                  <a:cubicBezTo>
                    <a:pt x="1576" y="392"/>
                    <a:pt x="1583" y="415"/>
                    <a:pt x="1583" y="415"/>
                  </a:cubicBezTo>
                  <a:cubicBezTo>
                    <a:pt x="1593" y="423"/>
                    <a:pt x="1593" y="423"/>
                    <a:pt x="1593" y="423"/>
                  </a:cubicBezTo>
                  <a:cubicBezTo>
                    <a:pt x="1578" y="430"/>
                    <a:pt x="1578" y="430"/>
                    <a:pt x="1578" y="430"/>
                  </a:cubicBezTo>
                  <a:cubicBezTo>
                    <a:pt x="1577" y="460"/>
                    <a:pt x="1577" y="460"/>
                    <a:pt x="1577" y="460"/>
                  </a:cubicBezTo>
                  <a:cubicBezTo>
                    <a:pt x="1558" y="463"/>
                    <a:pt x="1558" y="463"/>
                    <a:pt x="1558" y="463"/>
                  </a:cubicBezTo>
                  <a:cubicBezTo>
                    <a:pt x="1571" y="414"/>
                    <a:pt x="1571" y="414"/>
                    <a:pt x="1571" y="414"/>
                  </a:cubicBezTo>
                  <a:cubicBezTo>
                    <a:pt x="1568" y="414"/>
                    <a:pt x="1568" y="414"/>
                    <a:pt x="1568" y="414"/>
                  </a:cubicBezTo>
                  <a:cubicBezTo>
                    <a:pt x="1569" y="376"/>
                    <a:pt x="1569" y="376"/>
                    <a:pt x="1569" y="376"/>
                  </a:cubicBezTo>
                  <a:cubicBezTo>
                    <a:pt x="1569" y="376"/>
                    <a:pt x="1550" y="383"/>
                    <a:pt x="1524" y="393"/>
                  </a:cubicBezTo>
                  <a:cubicBezTo>
                    <a:pt x="1493" y="399"/>
                    <a:pt x="1510" y="442"/>
                    <a:pt x="1510" y="442"/>
                  </a:cubicBezTo>
                  <a:cubicBezTo>
                    <a:pt x="1521" y="443"/>
                    <a:pt x="1521" y="443"/>
                    <a:pt x="1521" y="443"/>
                  </a:cubicBezTo>
                  <a:cubicBezTo>
                    <a:pt x="1521" y="443"/>
                    <a:pt x="1521" y="446"/>
                    <a:pt x="1517" y="458"/>
                  </a:cubicBezTo>
                  <a:cubicBezTo>
                    <a:pt x="1513" y="465"/>
                    <a:pt x="1527" y="477"/>
                    <a:pt x="1542" y="478"/>
                  </a:cubicBezTo>
                  <a:cubicBezTo>
                    <a:pt x="1557" y="483"/>
                    <a:pt x="1556" y="505"/>
                    <a:pt x="1556" y="505"/>
                  </a:cubicBezTo>
                  <a:cubicBezTo>
                    <a:pt x="1567" y="510"/>
                    <a:pt x="1567" y="510"/>
                    <a:pt x="1567" y="510"/>
                  </a:cubicBezTo>
                  <a:cubicBezTo>
                    <a:pt x="1559" y="513"/>
                    <a:pt x="1559" y="513"/>
                    <a:pt x="1559" y="513"/>
                  </a:cubicBezTo>
                  <a:cubicBezTo>
                    <a:pt x="1559" y="513"/>
                    <a:pt x="1545" y="505"/>
                    <a:pt x="1545" y="497"/>
                  </a:cubicBezTo>
                  <a:cubicBezTo>
                    <a:pt x="1546" y="486"/>
                    <a:pt x="1527" y="485"/>
                    <a:pt x="1516" y="481"/>
                  </a:cubicBezTo>
                  <a:cubicBezTo>
                    <a:pt x="1509" y="480"/>
                    <a:pt x="1499" y="445"/>
                    <a:pt x="1499" y="445"/>
                  </a:cubicBezTo>
                  <a:cubicBezTo>
                    <a:pt x="1469" y="452"/>
                    <a:pt x="1469" y="452"/>
                    <a:pt x="1469" y="452"/>
                  </a:cubicBezTo>
                  <a:cubicBezTo>
                    <a:pt x="1469" y="452"/>
                    <a:pt x="1472" y="467"/>
                    <a:pt x="1479" y="479"/>
                  </a:cubicBezTo>
                  <a:cubicBezTo>
                    <a:pt x="1489" y="491"/>
                    <a:pt x="1504" y="495"/>
                    <a:pt x="1504" y="495"/>
                  </a:cubicBezTo>
                  <a:cubicBezTo>
                    <a:pt x="1504" y="495"/>
                    <a:pt x="1489" y="498"/>
                    <a:pt x="1478" y="490"/>
                  </a:cubicBezTo>
                  <a:cubicBezTo>
                    <a:pt x="1467" y="486"/>
                    <a:pt x="1453" y="458"/>
                    <a:pt x="1453" y="458"/>
                  </a:cubicBezTo>
                  <a:cubicBezTo>
                    <a:pt x="1438" y="462"/>
                    <a:pt x="1438" y="462"/>
                    <a:pt x="1438" y="462"/>
                  </a:cubicBezTo>
                  <a:cubicBezTo>
                    <a:pt x="1445" y="485"/>
                    <a:pt x="1445" y="485"/>
                    <a:pt x="1445" y="485"/>
                  </a:cubicBezTo>
                  <a:cubicBezTo>
                    <a:pt x="1429" y="503"/>
                    <a:pt x="1429" y="503"/>
                    <a:pt x="1429" y="503"/>
                  </a:cubicBezTo>
                  <a:cubicBezTo>
                    <a:pt x="1442" y="534"/>
                    <a:pt x="1442" y="534"/>
                    <a:pt x="1442" y="534"/>
                  </a:cubicBezTo>
                  <a:cubicBezTo>
                    <a:pt x="1401" y="536"/>
                    <a:pt x="1401" y="536"/>
                    <a:pt x="1401" y="536"/>
                  </a:cubicBezTo>
                  <a:cubicBezTo>
                    <a:pt x="1412" y="552"/>
                    <a:pt x="1412" y="552"/>
                    <a:pt x="1412" y="552"/>
                  </a:cubicBezTo>
                  <a:cubicBezTo>
                    <a:pt x="1396" y="567"/>
                    <a:pt x="1396" y="567"/>
                    <a:pt x="1396" y="567"/>
                  </a:cubicBezTo>
                  <a:cubicBezTo>
                    <a:pt x="1395" y="590"/>
                    <a:pt x="1395" y="590"/>
                    <a:pt x="1395" y="590"/>
                  </a:cubicBezTo>
                  <a:cubicBezTo>
                    <a:pt x="1410" y="586"/>
                    <a:pt x="1410" y="586"/>
                    <a:pt x="1410" y="586"/>
                  </a:cubicBezTo>
                  <a:cubicBezTo>
                    <a:pt x="1421" y="595"/>
                    <a:pt x="1421" y="595"/>
                    <a:pt x="1421" y="595"/>
                  </a:cubicBezTo>
                  <a:cubicBezTo>
                    <a:pt x="1406" y="594"/>
                    <a:pt x="1406" y="594"/>
                    <a:pt x="1406" y="594"/>
                  </a:cubicBezTo>
                  <a:cubicBezTo>
                    <a:pt x="1398" y="609"/>
                    <a:pt x="1398" y="609"/>
                    <a:pt x="1398" y="609"/>
                  </a:cubicBezTo>
                  <a:cubicBezTo>
                    <a:pt x="1412" y="617"/>
                    <a:pt x="1412" y="617"/>
                    <a:pt x="1412" y="617"/>
                  </a:cubicBezTo>
                  <a:cubicBezTo>
                    <a:pt x="1386" y="616"/>
                    <a:pt x="1386" y="616"/>
                    <a:pt x="1386" y="616"/>
                  </a:cubicBezTo>
                  <a:cubicBezTo>
                    <a:pt x="1364" y="619"/>
                    <a:pt x="1386" y="631"/>
                    <a:pt x="1386" y="631"/>
                  </a:cubicBezTo>
                  <a:cubicBezTo>
                    <a:pt x="1400" y="640"/>
                    <a:pt x="1400" y="640"/>
                    <a:pt x="1400" y="640"/>
                  </a:cubicBezTo>
                  <a:cubicBezTo>
                    <a:pt x="1400" y="640"/>
                    <a:pt x="1378" y="631"/>
                    <a:pt x="1367" y="634"/>
                  </a:cubicBezTo>
                  <a:cubicBezTo>
                    <a:pt x="1359" y="634"/>
                    <a:pt x="1363" y="642"/>
                    <a:pt x="1363" y="642"/>
                  </a:cubicBezTo>
                  <a:cubicBezTo>
                    <a:pt x="1377" y="646"/>
                    <a:pt x="1377" y="646"/>
                    <a:pt x="1377" y="646"/>
                  </a:cubicBezTo>
                  <a:cubicBezTo>
                    <a:pt x="1373" y="661"/>
                    <a:pt x="1373" y="661"/>
                    <a:pt x="1373" y="661"/>
                  </a:cubicBezTo>
                  <a:cubicBezTo>
                    <a:pt x="1374" y="650"/>
                    <a:pt x="1374" y="650"/>
                    <a:pt x="1374" y="650"/>
                  </a:cubicBezTo>
                  <a:cubicBezTo>
                    <a:pt x="1359" y="645"/>
                    <a:pt x="1359" y="645"/>
                    <a:pt x="1359" y="645"/>
                  </a:cubicBezTo>
                  <a:cubicBezTo>
                    <a:pt x="1352" y="633"/>
                    <a:pt x="1352" y="633"/>
                    <a:pt x="1352" y="633"/>
                  </a:cubicBezTo>
                  <a:cubicBezTo>
                    <a:pt x="1348" y="645"/>
                    <a:pt x="1348" y="645"/>
                    <a:pt x="1348" y="645"/>
                  </a:cubicBezTo>
                  <a:cubicBezTo>
                    <a:pt x="1348" y="645"/>
                    <a:pt x="1344" y="648"/>
                    <a:pt x="1329" y="648"/>
                  </a:cubicBezTo>
                  <a:cubicBezTo>
                    <a:pt x="1314" y="647"/>
                    <a:pt x="1313" y="674"/>
                    <a:pt x="1313" y="674"/>
                  </a:cubicBezTo>
                  <a:cubicBezTo>
                    <a:pt x="1305" y="681"/>
                    <a:pt x="1305" y="681"/>
                    <a:pt x="1305" y="681"/>
                  </a:cubicBezTo>
                  <a:cubicBezTo>
                    <a:pt x="1312" y="696"/>
                    <a:pt x="1312" y="696"/>
                    <a:pt x="1312" y="696"/>
                  </a:cubicBezTo>
                  <a:cubicBezTo>
                    <a:pt x="1349" y="687"/>
                    <a:pt x="1349" y="687"/>
                    <a:pt x="1349" y="687"/>
                  </a:cubicBezTo>
                  <a:cubicBezTo>
                    <a:pt x="1349" y="687"/>
                    <a:pt x="1353" y="695"/>
                    <a:pt x="1364" y="695"/>
                  </a:cubicBezTo>
                  <a:cubicBezTo>
                    <a:pt x="1375" y="696"/>
                    <a:pt x="1399" y="674"/>
                    <a:pt x="1399" y="674"/>
                  </a:cubicBezTo>
                  <a:cubicBezTo>
                    <a:pt x="1394" y="689"/>
                    <a:pt x="1394" y="689"/>
                    <a:pt x="1394" y="689"/>
                  </a:cubicBezTo>
                  <a:cubicBezTo>
                    <a:pt x="1409" y="693"/>
                    <a:pt x="1409" y="693"/>
                    <a:pt x="1409" y="693"/>
                  </a:cubicBezTo>
                  <a:cubicBezTo>
                    <a:pt x="1379" y="703"/>
                    <a:pt x="1379" y="703"/>
                    <a:pt x="1379" y="703"/>
                  </a:cubicBezTo>
                  <a:cubicBezTo>
                    <a:pt x="1378" y="723"/>
                    <a:pt x="1378" y="723"/>
                    <a:pt x="1378" y="723"/>
                  </a:cubicBezTo>
                  <a:cubicBezTo>
                    <a:pt x="1388" y="738"/>
                    <a:pt x="1388" y="738"/>
                    <a:pt x="1388" y="738"/>
                  </a:cubicBezTo>
                  <a:cubicBezTo>
                    <a:pt x="1384" y="742"/>
                    <a:pt x="1384" y="742"/>
                    <a:pt x="1384" y="742"/>
                  </a:cubicBezTo>
                  <a:cubicBezTo>
                    <a:pt x="1371" y="711"/>
                    <a:pt x="1371" y="711"/>
                    <a:pt x="1371" y="711"/>
                  </a:cubicBezTo>
                  <a:cubicBezTo>
                    <a:pt x="1344" y="717"/>
                    <a:pt x="1344" y="717"/>
                    <a:pt x="1344" y="717"/>
                  </a:cubicBezTo>
                  <a:cubicBezTo>
                    <a:pt x="1344" y="717"/>
                    <a:pt x="1337" y="705"/>
                    <a:pt x="1326" y="705"/>
                  </a:cubicBezTo>
                  <a:cubicBezTo>
                    <a:pt x="1315" y="700"/>
                    <a:pt x="1296" y="707"/>
                    <a:pt x="1288" y="718"/>
                  </a:cubicBezTo>
                  <a:cubicBezTo>
                    <a:pt x="1280" y="726"/>
                    <a:pt x="1303" y="727"/>
                    <a:pt x="1314" y="731"/>
                  </a:cubicBezTo>
                  <a:cubicBezTo>
                    <a:pt x="1328" y="736"/>
                    <a:pt x="1324" y="751"/>
                    <a:pt x="1324" y="751"/>
                  </a:cubicBezTo>
                  <a:cubicBezTo>
                    <a:pt x="1335" y="759"/>
                    <a:pt x="1335" y="759"/>
                    <a:pt x="1335" y="759"/>
                  </a:cubicBezTo>
                  <a:cubicBezTo>
                    <a:pt x="1331" y="762"/>
                    <a:pt x="1331" y="762"/>
                    <a:pt x="1331" y="762"/>
                  </a:cubicBezTo>
                  <a:cubicBezTo>
                    <a:pt x="1331" y="762"/>
                    <a:pt x="1317" y="750"/>
                    <a:pt x="1309" y="742"/>
                  </a:cubicBezTo>
                  <a:cubicBezTo>
                    <a:pt x="1302" y="734"/>
                    <a:pt x="1280" y="729"/>
                    <a:pt x="1280" y="729"/>
                  </a:cubicBezTo>
                  <a:cubicBezTo>
                    <a:pt x="1276" y="737"/>
                    <a:pt x="1276" y="737"/>
                    <a:pt x="1276" y="737"/>
                  </a:cubicBezTo>
                  <a:cubicBezTo>
                    <a:pt x="1294" y="742"/>
                    <a:pt x="1294" y="742"/>
                    <a:pt x="1294" y="742"/>
                  </a:cubicBezTo>
                  <a:cubicBezTo>
                    <a:pt x="1283" y="749"/>
                    <a:pt x="1283" y="749"/>
                    <a:pt x="1283" y="749"/>
                  </a:cubicBezTo>
                  <a:cubicBezTo>
                    <a:pt x="1290" y="757"/>
                    <a:pt x="1290" y="757"/>
                    <a:pt x="1290" y="757"/>
                  </a:cubicBezTo>
                  <a:cubicBezTo>
                    <a:pt x="1301" y="753"/>
                    <a:pt x="1301" y="753"/>
                    <a:pt x="1301" y="753"/>
                  </a:cubicBezTo>
                  <a:cubicBezTo>
                    <a:pt x="1312" y="758"/>
                    <a:pt x="1312" y="758"/>
                    <a:pt x="1312" y="758"/>
                  </a:cubicBezTo>
                  <a:cubicBezTo>
                    <a:pt x="1286" y="768"/>
                    <a:pt x="1286" y="768"/>
                    <a:pt x="1286" y="768"/>
                  </a:cubicBezTo>
                  <a:cubicBezTo>
                    <a:pt x="1289" y="780"/>
                    <a:pt x="1289" y="780"/>
                    <a:pt x="1289" y="780"/>
                  </a:cubicBezTo>
                  <a:cubicBezTo>
                    <a:pt x="1289" y="780"/>
                    <a:pt x="1297" y="776"/>
                    <a:pt x="1304" y="784"/>
                  </a:cubicBezTo>
                  <a:cubicBezTo>
                    <a:pt x="1307" y="792"/>
                    <a:pt x="1288" y="802"/>
                    <a:pt x="1277" y="798"/>
                  </a:cubicBezTo>
                  <a:cubicBezTo>
                    <a:pt x="1266" y="790"/>
                    <a:pt x="1272" y="748"/>
                    <a:pt x="1272" y="748"/>
                  </a:cubicBezTo>
                  <a:cubicBezTo>
                    <a:pt x="1261" y="748"/>
                    <a:pt x="1261" y="748"/>
                    <a:pt x="1261" y="748"/>
                  </a:cubicBezTo>
                  <a:cubicBezTo>
                    <a:pt x="1240" y="777"/>
                    <a:pt x="1240" y="777"/>
                    <a:pt x="1240" y="777"/>
                  </a:cubicBezTo>
                  <a:cubicBezTo>
                    <a:pt x="1238" y="758"/>
                    <a:pt x="1238" y="758"/>
                    <a:pt x="1238" y="758"/>
                  </a:cubicBezTo>
                  <a:cubicBezTo>
                    <a:pt x="1230" y="758"/>
                    <a:pt x="1230" y="758"/>
                    <a:pt x="1230" y="758"/>
                  </a:cubicBezTo>
                  <a:cubicBezTo>
                    <a:pt x="1226" y="773"/>
                    <a:pt x="1226" y="773"/>
                    <a:pt x="1226" y="773"/>
                  </a:cubicBezTo>
                  <a:cubicBezTo>
                    <a:pt x="1215" y="768"/>
                    <a:pt x="1215" y="768"/>
                    <a:pt x="1215" y="768"/>
                  </a:cubicBezTo>
                  <a:cubicBezTo>
                    <a:pt x="1202" y="795"/>
                    <a:pt x="1202" y="795"/>
                    <a:pt x="1202" y="795"/>
                  </a:cubicBezTo>
                  <a:cubicBezTo>
                    <a:pt x="1209" y="806"/>
                    <a:pt x="1209" y="806"/>
                    <a:pt x="1209" y="806"/>
                  </a:cubicBezTo>
                  <a:cubicBezTo>
                    <a:pt x="1217" y="803"/>
                    <a:pt x="1217" y="803"/>
                    <a:pt x="1217" y="803"/>
                  </a:cubicBezTo>
                  <a:cubicBezTo>
                    <a:pt x="1217" y="791"/>
                    <a:pt x="1217" y="791"/>
                    <a:pt x="1217" y="791"/>
                  </a:cubicBezTo>
                  <a:cubicBezTo>
                    <a:pt x="1229" y="784"/>
                    <a:pt x="1229" y="784"/>
                    <a:pt x="1229" y="784"/>
                  </a:cubicBezTo>
                  <a:cubicBezTo>
                    <a:pt x="1236" y="792"/>
                    <a:pt x="1236" y="792"/>
                    <a:pt x="1236" y="792"/>
                  </a:cubicBezTo>
                  <a:cubicBezTo>
                    <a:pt x="1221" y="803"/>
                    <a:pt x="1221" y="803"/>
                    <a:pt x="1221" y="803"/>
                  </a:cubicBezTo>
                  <a:cubicBezTo>
                    <a:pt x="1228" y="807"/>
                    <a:pt x="1228" y="807"/>
                    <a:pt x="1228" y="807"/>
                  </a:cubicBezTo>
                  <a:cubicBezTo>
                    <a:pt x="1228" y="807"/>
                    <a:pt x="1243" y="808"/>
                    <a:pt x="1250" y="812"/>
                  </a:cubicBezTo>
                  <a:cubicBezTo>
                    <a:pt x="1258" y="812"/>
                    <a:pt x="1247" y="800"/>
                    <a:pt x="1247" y="793"/>
                  </a:cubicBezTo>
                  <a:cubicBezTo>
                    <a:pt x="1247" y="789"/>
                    <a:pt x="1262" y="794"/>
                    <a:pt x="1266" y="801"/>
                  </a:cubicBezTo>
                  <a:cubicBezTo>
                    <a:pt x="1269" y="809"/>
                    <a:pt x="1261" y="824"/>
                    <a:pt x="1257" y="824"/>
                  </a:cubicBezTo>
                  <a:cubicBezTo>
                    <a:pt x="1249" y="827"/>
                    <a:pt x="1253" y="824"/>
                    <a:pt x="1242" y="816"/>
                  </a:cubicBezTo>
                  <a:cubicBezTo>
                    <a:pt x="1231" y="811"/>
                    <a:pt x="1223" y="826"/>
                    <a:pt x="1212" y="826"/>
                  </a:cubicBezTo>
                  <a:cubicBezTo>
                    <a:pt x="1201" y="825"/>
                    <a:pt x="1182" y="828"/>
                    <a:pt x="1182" y="828"/>
                  </a:cubicBezTo>
                  <a:cubicBezTo>
                    <a:pt x="1174" y="831"/>
                    <a:pt x="1174" y="831"/>
                    <a:pt x="1174" y="831"/>
                  </a:cubicBezTo>
                  <a:cubicBezTo>
                    <a:pt x="1181" y="839"/>
                    <a:pt x="1181" y="839"/>
                    <a:pt x="1181" y="839"/>
                  </a:cubicBezTo>
                  <a:cubicBezTo>
                    <a:pt x="1167" y="839"/>
                    <a:pt x="1167" y="839"/>
                    <a:pt x="1167" y="839"/>
                  </a:cubicBezTo>
                  <a:cubicBezTo>
                    <a:pt x="1158" y="854"/>
                    <a:pt x="1158" y="854"/>
                    <a:pt x="1158" y="854"/>
                  </a:cubicBezTo>
                  <a:cubicBezTo>
                    <a:pt x="1177" y="858"/>
                    <a:pt x="1177" y="858"/>
                    <a:pt x="1177" y="858"/>
                  </a:cubicBezTo>
                  <a:cubicBezTo>
                    <a:pt x="1158" y="869"/>
                    <a:pt x="1158" y="869"/>
                    <a:pt x="1158" y="869"/>
                  </a:cubicBezTo>
                  <a:cubicBezTo>
                    <a:pt x="1158" y="869"/>
                    <a:pt x="1165" y="881"/>
                    <a:pt x="1180" y="878"/>
                  </a:cubicBezTo>
                  <a:cubicBezTo>
                    <a:pt x="1199" y="871"/>
                    <a:pt x="1215" y="845"/>
                    <a:pt x="1215" y="845"/>
                  </a:cubicBezTo>
                  <a:cubicBezTo>
                    <a:pt x="1251" y="873"/>
                    <a:pt x="1251" y="873"/>
                    <a:pt x="1251" y="873"/>
                  </a:cubicBezTo>
                  <a:cubicBezTo>
                    <a:pt x="1222" y="860"/>
                    <a:pt x="1222" y="860"/>
                    <a:pt x="1222" y="860"/>
                  </a:cubicBezTo>
                  <a:cubicBezTo>
                    <a:pt x="1214" y="864"/>
                    <a:pt x="1214" y="864"/>
                    <a:pt x="1214" y="864"/>
                  </a:cubicBezTo>
                  <a:cubicBezTo>
                    <a:pt x="1232" y="876"/>
                    <a:pt x="1232" y="876"/>
                    <a:pt x="1232" y="876"/>
                  </a:cubicBezTo>
                  <a:cubicBezTo>
                    <a:pt x="1206" y="871"/>
                    <a:pt x="1206" y="871"/>
                    <a:pt x="1206" y="871"/>
                  </a:cubicBezTo>
                  <a:cubicBezTo>
                    <a:pt x="1194" y="890"/>
                    <a:pt x="1194" y="890"/>
                    <a:pt x="1194" y="890"/>
                  </a:cubicBezTo>
                  <a:cubicBezTo>
                    <a:pt x="1209" y="894"/>
                    <a:pt x="1209" y="894"/>
                    <a:pt x="1209" y="894"/>
                  </a:cubicBezTo>
                  <a:cubicBezTo>
                    <a:pt x="1201" y="909"/>
                    <a:pt x="1201" y="909"/>
                    <a:pt x="1201" y="909"/>
                  </a:cubicBezTo>
                  <a:cubicBezTo>
                    <a:pt x="1204" y="917"/>
                    <a:pt x="1223" y="910"/>
                    <a:pt x="1223" y="910"/>
                  </a:cubicBezTo>
                  <a:cubicBezTo>
                    <a:pt x="1238" y="903"/>
                    <a:pt x="1238" y="903"/>
                    <a:pt x="1238" y="903"/>
                  </a:cubicBezTo>
                  <a:cubicBezTo>
                    <a:pt x="1226" y="937"/>
                    <a:pt x="1226" y="937"/>
                    <a:pt x="1226" y="937"/>
                  </a:cubicBezTo>
                  <a:cubicBezTo>
                    <a:pt x="1240" y="946"/>
                    <a:pt x="1240" y="946"/>
                    <a:pt x="1240" y="946"/>
                  </a:cubicBezTo>
                  <a:cubicBezTo>
                    <a:pt x="1229" y="949"/>
                    <a:pt x="1229" y="949"/>
                    <a:pt x="1229" y="949"/>
                  </a:cubicBezTo>
                  <a:cubicBezTo>
                    <a:pt x="1240" y="961"/>
                    <a:pt x="1240" y="961"/>
                    <a:pt x="1240" y="961"/>
                  </a:cubicBezTo>
                  <a:cubicBezTo>
                    <a:pt x="1240" y="961"/>
                    <a:pt x="1236" y="961"/>
                    <a:pt x="1228" y="956"/>
                  </a:cubicBezTo>
                  <a:cubicBezTo>
                    <a:pt x="1221" y="956"/>
                    <a:pt x="1215" y="925"/>
                    <a:pt x="1211" y="921"/>
                  </a:cubicBezTo>
                  <a:cubicBezTo>
                    <a:pt x="1204" y="921"/>
                    <a:pt x="1196" y="924"/>
                    <a:pt x="1196" y="924"/>
                  </a:cubicBezTo>
                  <a:cubicBezTo>
                    <a:pt x="1196" y="924"/>
                    <a:pt x="1190" y="909"/>
                    <a:pt x="1179" y="904"/>
                  </a:cubicBezTo>
                  <a:cubicBezTo>
                    <a:pt x="1167" y="904"/>
                    <a:pt x="1147" y="930"/>
                    <a:pt x="1147" y="930"/>
                  </a:cubicBezTo>
                  <a:cubicBezTo>
                    <a:pt x="1173" y="935"/>
                    <a:pt x="1173" y="935"/>
                    <a:pt x="1173" y="935"/>
                  </a:cubicBezTo>
                  <a:cubicBezTo>
                    <a:pt x="1173" y="935"/>
                    <a:pt x="1162" y="938"/>
                    <a:pt x="1151" y="937"/>
                  </a:cubicBezTo>
                  <a:cubicBezTo>
                    <a:pt x="1143" y="937"/>
                    <a:pt x="1147" y="949"/>
                    <a:pt x="1142" y="956"/>
                  </a:cubicBezTo>
                  <a:cubicBezTo>
                    <a:pt x="1135" y="963"/>
                    <a:pt x="1119" y="970"/>
                    <a:pt x="1119" y="970"/>
                  </a:cubicBezTo>
                  <a:cubicBezTo>
                    <a:pt x="1157" y="972"/>
                    <a:pt x="1157" y="972"/>
                    <a:pt x="1157" y="972"/>
                  </a:cubicBezTo>
                  <a:cubicBezTo>
                    <a:pt x="1175" y="973"/>
                    <a:pt x="1195" y="962"/>
                    <a:pt x="1195" y="962"/>
                  </a:cubicBezTo>
                  <a:cubicBezTo>
                    <a:pt x="1186" y="977"/>
                    <a:pt x="1186" y="977"/>
                    <a:pt x="1186" y="977"/>
                  </a:cubicBezTo>
                  <a:cubicBezTo>
                    <a:pt x="1220" y="975"/>
                    <a:pt x="1220" y="975"/>
                    <a:pt x="1220" y="975"/>
                  </a:cubicBezTo>
                  <a:cubicBezTo>
                    <a:pt x="1215" y="1009"/>
                    <a:pt x="1215" y="1009"/>
                    <a:pt x="1215" y="1009"/>
                  </a:cubicBezTo>
                  <a:cubicBezTo>
                    <a:pt x="1208" y="994"/>
                    <a:pt x="1208" y="994"/>
                    <a:pt x="1208" y="994"/>
                  </a:cubicBezTo>
                  <a:cubicBezTo>
                    <a:pt x="1179" y="981"/>
                    <a:pt x="1179" y="981"/>
                    <a:pt x="1179" y="981"/>
                  </a:cubicBezTo>
                  <a:cubicBezTo>
                    <a:pt x="1159" y="1003"/>
                    <a:pt x="1159" y="1003"/>
                    <a:pt x="1159" y="1003"/>
                  </a:cubicBezTo>
                  <a:cubicBezTo>
                    <a:pt x="1171" y="980"/>
                    <a:pt x="1171" y="980"/>
                    <a:pt x="1171" y="980"/>
                  </a:cubicBezTo>
                  <a:cubicBezTo>
                    <a:pt x="1126" y="982"/>
                    <a:pt x="1126" y="982"/>
                    <a:pt x="1126" y="982"/>
                  </a:cubicBezTo>
                  <a:cubicBezTo>
                    <a:pt x="1105" y="1031"/>
                    <a:pt x="1105" y="1031"/>
                    <a:pt x="1105" y="1031"/>
                  </a:cubicBezTo>
                  <a:cubicBezTo>
                    <a:pt x="1087" y="1026"/>
                    <a:pt x="1087" y="1026"/>
                    <a:pt x="1087" y="1026"/>
                  </a:cubicBezTo>
                  <a:cubicBezTo>
                    <a:pt x="1083" y="1037"/>
                    <a:pt x="1083" y="1037"/>
                    <a:pt x="1083" y="1037"/>
                  </a:cubicBezTo>
                  <a:cubicBezTo>
                    <a:pt x="1083" y="1037"/>
                    <a:pt x="1079" y="1033"/>
                    <a:pt x="1060" y="1040"/>
                  </a:cubicBezTo>
                  <a:cubicBezTo>
                    <a:pt x="1037" y="1047"/>
                    <a:pt x="1037" y="1058"/>
                    <a:pt x="1037" y="1058"/>
                  </a:cubicBezTo>
                  <a:cubicBezTo>
                    <a:pt x="1069" y="1079"/>
                    <a:pt x="1069" y="1079"/>
                    <a:pt x="1069" y="1079"/>
                  </a:cubicBezTo>
                  <a:cubicBezTo>
                    <a:pt x="1043" y="1078"/>
                    <a:pt x="1043" y="1078"/>
                    <a:pt x="1043" y="1078"/>
                  </a:cubicBezTo>
                  <a:cubicBezTo>
                    <a:pt x="1028" y="1081"/>
                    <a:pt x="1028" y="1081"/>
                    <a:pt x="1028" y="1081"/>
                  </a:cubicBezTo>
                  <a:cubicBezTo>
                    <a:pt x="1050" y="1105"/>
                    <a:pt x="1050" y="1105"/>
                    <a:pt x="1050" y="1105"/>
                  </a:cubicBezTo>
                  <a:cubicBezTo>
                    <a:pt x="1020" y="1096"/>
                    <a:pt x="1020" y="1096"/>
                    <a:pt x="1020" y="1096"/>
                  </a:cubicBezTo>
                  <a:cubicBezTo>
                    <a:pt x="1009" y="1095"/>
                    <a:pt x="1009" y="1095"/>
                    <a:pt x="1009" y="1095"/>
                  </a:cubicBezTo>
                  <a:cubicBezTo>
                    <a:pt x="1030" y="1115"/>
                    <a:pt x="1030" y="1115"/>
                    <a:pt x="1030" y="1115"/>
                  </a:cubicBezTo>
                  <a:cubicBezTo>
                    <a:pt x="1004" y="1110"/>
                    <a:pt x="1004" y="1110"/>
                    <a:pt x="1004" y="1110"/>
                  </a:cubicBezTo>
                  <a:cubicBezTo>
                    <a:pt x="1004" y="1118"/>
                    <a:pt x="1004" y="1118"/>
                    <a:pt x="1004" y="1118"/>
                  </a:cubicBezTo>
                  <a:cubicBezTo>
                    <a:pt x="1015" y="1126"/>
                    <a:pt x="1015" y="1126"/>
                    <a:pt x="1015" y="1126"/>
                  </a:cubicBezTo>
                  <a:cubicBezTo>
                    <a:pt x="1004" y="1129"/>
                    <a:pt x="1004" y="1129"/>
                    <a:pt x="1004" y="1129"/>
                  </a:cubicBezTo>
                  <a:cubicBezTo>
                    <a:pt x="1011" y="1137"/>
                    <a:pt x="1011" y="1137"/>
                    <a:pt x="1011" y="1137"/>
                  </a:cubicBezTo>
                  <a:cubicBezTo>
                    <a:pt x="1026" y="1134"/>
                    <a:pt x="1026" y="1134"/>
                    <a:pt x="1026" y="1134"/>
                  </a:cubicBezTo>
                  <a:cubicBezTo>
                    <a:pt x="1044" y="1147"/>
                    <a:pt x="1044" y="1147"/>
                    <a:pt x="1044" y="1147"/>
                  </a:cubicBezTo>
                  <a:cubicBezTo>
                    <a:pt x="1044" y="1147"/>
                    <a:pt x="1029" y="1142"/>
                    <a:pt x="1018" y="1145"/>
                  </a:cubicBezTo>
                  <a:cubicBezTo>
                    <a:pt x="1006" y="1149"/>
                    <a:pt x="1014" y="1157"/>
                    <a:pt x="1014" y="1157"/>
                  </a:cubicBezTo>
                  <a:cubicBezTo>
                    <a:pt x="1002" y="1156"/>
                    <a:pt x="1002" y="1156"/>
                    <a:pt x="1002" y="1156"/>
                  </a:cubicBezTo>
                  <a:cubicBezTo>
                    <a:pt x="1003" y="1145"/>
                    <a:pt x="1003" y="1145"/>
                    <a:pt x="1003" y="1145"/>
                  </a:cubicBezTo>
                  <a:cubicBezTo>
                    <a:pt x="988" y="1140"/>
                    <a:pt x="988" y="1140"/>
                    <a:pt x="988" y="1140"/>
                  </a:cubicBezTo>
                  <a:cubicBezTo>
                    <a:pt x="984" y="1147"/>
                    <a:pt x="984" y="1147"/>
                    <a:pt x="984" y="1147"/>
                  </a:cubicBezTo>
                  <a:cubicBezTo>
                    <a:pt x="995" y="1159"/>
                    <a:pt x="995" y="1159"/>
                    <a:pt x="995" y="1159"/>
                  </a:cubicBezTo>
                  <a:cubicBezTo>
                    <a:pt x="995" y="1159"/>
                    <a:pt x="982" y="1182"/>
                    <a:pt x="990" y="1190"/>
                  </a:cubicBezTo>
                  <a:cubicBezTo>
                    <a:pt x="1000" y="1198"/>
                    <a:pt x="1031" y="1188"/>
                    <a:pt x="1031" y="1192"/>
                  </a:cubicBezTo>
                  <a:cubicBezTo>
                    <a:pt x="1030" y="1196"/>
                    <a:pt x="1000" y="1198"/>
                    <a:pt x="1000" y="1198"/>
                  </a:cubicBezTo>
                  <a:cubicBezTo>
                    <a:pt x="985" y="1216"/>
                    <a:pt x="985" y="1216"/>
                    <a:pt x="985" y="1216"/>
                  </a:cubicBezTo>
                  <a:cubicBezTo>
                    <a:pt x="992" y="1217"/>
                    <a:pt x="992" y="1217"/>
                    <a:pt x="992" y="1217"/>
                  </a:cubicBezTo>
                  <a:cubicBezTo>
                    <a:pt x="1004" y="1210"/>
                    <a:pt x="1004" y="1210"/>
                    <a:pt x="1004" y="1210"/>
                  </a:cubicBezTo>
                  <a:cubicBezTo>
                    <a:pt x="1034" y="1203"/>
                    <a:pt x="1034" y="1203"/>
                    <a:pt x="1034" y="1203"/>
                  </a:cubicBezTo>
                  <a:cubicBezTo>
                    <a:pt x="1041" y="1204"/>
                    <a:pt x="1041" y="1204"/>
                    <a:pt x="1041" y="1204"/>
                  </a:cubicBezTo>
                  <a:cubicBezTo>
                    <a:pt x="1087" y="1191"/>
                    <a:pt x="1087" y="1191"/>
                    <a:pt x="1087" y="1191"/>
                  </a:cubicBezTo>
                  <a:cubicBezTo>
                    <a:pt x="1060" y="1212"/>
                    <a:pt x="1060" y="1212"/>
                    <a:pt x="1060" y="1212"/>
                  </a:cubicBezTo>
                  <a:cubicBezTo>
                    <a:pt x="1052" y="1212"/>
                    <a:pt x="1052" y="1212"/>
                    <a:pt x="1052" y="1212"/>
                  </a:cubicBezTo>
                  <a:cubicBezTo>
                    <a:pt x="1045" y="1215"/>
                    <a:pt x="1045" y="1215"/>
                    <a:pt x="1045" y="1215"/>
                  </a:cubicBezTo>
                  <a:cubicBezTo>
                    <a:pt x="1059" y="1228"/>
                    <a:pt x="1059" y="1228"/>
                    <a:pt x="1059" y="1228"/>
                  </a:cubicBezTo>
                  <a:cubicBezTo>
                    <a:pt x="1032" y="1234"/>
                    <a:pt x="1032" y="1234"/>
                    <a:pt x="1032" y="1234"/>
                  </a:cubicBezTo>
                  <a:cubicBezTo>
                    <a:pt x="1032" y="1234"/>
                    <a:pt x="1037" y="1215"/>
                    <a:pt x="1033" y="1211"/>
                  </a:cubicBezTo>
                  <a:cubicBezTo>
                    <a:pt x="1026" y="1203"/>
                    <a:pt x="1007" y="1217"/>
                    <a:pt x="999" y="1221"/>
                  </a:cubicBezTo>
                  <a:cubicBezTo>
                    <a:pt x="992" y="1228"/>
                    <a:pt x="958" y="1230"/>
                    <a:pt x="953" y="1242"/>
                  </a:cubicBezTo>
                  <a:cubicBezTo>
                    <a:pt x="946" y="1253"/>
                    <a:pt x="976" y="1247"/>
                    <a:pt x="976" y="1247"/>
                  </a:cubicBezTo>
                  <a:cubicBezTo>
                    <a:pt x="971" y="1269"/>
                    <a:pt x="971" y="1269"/>
                    <a:pt x="971" y="1269"/>
                  </a:cubicBezTo>
                  <a:cubicBezTo>
                    <a:pt x="993" y="1286"/>
                    <a:pt x="993" y="1286"/>
                    <a:pt x="993" y="1286"/>
                  </a:cubicBezTo>
                  <a:cubicBezTo>
                    <a:pt x="993" y="1286"/>
                    <a:pt x="952" y="1272"/>
                    <a:pt x="948" y="1283"/>
                  </a:cubicBezTo>
                  <a:cubicBezTo>
                    <a:pt x="940" y="1295"/>
                    <a:pt x="947" y="1306"/>
                    <a:pt x="947" y="1306"/>
                  </a:cubicBezTo>
                  <a:cubicBezTo>
                    <a:pt x="939" y="1306"/>
                    <a:pt x="939" y="1306"/>
                    <a:pt x="939" y="1306"/>
                  </a:cubicBezTo>
                  <a:cubicBezTo>
                    <a:pt x="931" y="1313"/>
                    <a:pt x="931" y="1313"/>
                    <a:pt x="931" y="1313"/>
                  </a:cubicBezTo>
                  <a:cubicBezTo>
                    <a:pt x="938" y="1325"/>
                    <a:pt x="938" y="1325"/>
                    <a:pt x="938" y="1325"/>
                  </a:cubicBezTo>
                  <a:cubicBezTo>
                    <a:pt x="938" y="1325"/>
                    <a:pt x="927" y="1321"/>
                    <a:pt x="916" y="1332"/>
                  </a:cubicBezTo>
                  <a:cubicBezTo>
                    <a:pt x="904" y="1339"/>
                    <a:pt x="918" y="1366"/>
                    <a:pt x="918" y="1366"/>
                  </a:cubicBezTo>
                  <a:cubicBezTo>
                    <a:pt x="933" y="1371"/>
                    <a:pt x="933" y="1371"/>
                    <a:pt x="933" y="1371"/>
                  </a:cubicBezTo>
                  <a:cubicBezTo>
                    <a:pt x="935" y="1390"/>
                    <a:pt x="935" y="1390"/>
                    <a:pt x="935" y="1390"/>
                  </a:cubicBezTo>
                  <a:cubicBezTo>
                    <a:pt x="924" y="1393"/>
                    <a:pt x="924" y="1393"/>
                    <a:pt x="924" y="1393"/>
                  </a:cubicBezTo>
                  <a:cubicBezTo>
                    <a:pt x="903" y="1358"/>
                    <a:pt x="903" y="1358"/>
                    <a:pt x="903" y="1358"/>
                  </a:cubicBezTo>
                  <a:cubicBezTo>
                    <a:pt x="895" y="1384"/>
                    <a:pt x="895" y="1384"/>
                    <a:pt x="895" y="1384"/>
                  </a:cubicBezTo>
                  <a:cubicBezTo>
                    <a:pt x="910" y="1385"/>
                    <a:pt x="910" y="1385"/>
                    <a:pt x="910" y="1385"/>
                  </a:cubicBezTo>
                  <a:cubicBezTo>
                    <a:pt x="910" y="1385"/>
                    <a:pt x="898" y="1392"/>
                    <a:pt x="890" y="1403"/>
                  </a:cubicBezTo>
                  <a:cubicBezTo>
                    <a:pt x="882" y="1410"/>
                    <a:pt x="889" y="1430"/>
                    <a:pt x="889" y="1430"/>
                  </a:cubicBezTo>
                  <a:cubicBezTo>
                    <a:pt x="870" y="1433"/>
                    <a:pt x="870" y="1433"/>
                    <a:pt x="870" y="1433"/>
                  </a:cubicBezTo>
                  <a:cubicBezTo>
                    <a:pt x="877" y="1441"/>
                    <a:pt x="877" y="1441"/>
                    <a:pt x="877" y="1441"/>
                  </a:cubicBezTo>
                  <a:cubicBezTo>
                    <a:pt x="896" y="1430"/>
                    <a:pt x="896" y="1430"/>
                    <a:pt x="896" y="1430"/>
                  </a:cubicBezTo>
                  <a:cubicBezTo>
                    <a:pt x="897" y="1419"/>
                    <a:pt x="897" y="1419"/>
                    <a:pt x="897" y="1419"/>
                  </a:cubicBezTo>
                  <a:cubicBezTo>
                    <a:pt x="912" y="1412"/>
                    <a:pt x="912" y="1412"/>
                    <a:pt x="912" y="1412"/>
                  </a:cubicBezTo>
                  <a:cubicBezTo>
                    <a:pt x="900" y="1426"/>
                    <a:pt x="900" y="1426"/>
                    <a:pt x="900" y="1426"/>
                  </a:cubicBezTo>
                  <a:cubicBezTo>
                    <a:pt x="915" y="1439"/>
                    <a:pt x="915" y="1439"/>
                    <a:pt x="915" y="1439"/>
                  </a:cubicBezTo>
                  <a:cubicBezTo>
                    <a:pt x="910" y="1454"/>
                    <a:pt x="910" y="1454"/>
                    <a:pt x="910" y="1454"/>
                  </a:cubicBezTo>
                  <a:cubicBezTo>
                    <a:pt x="921" y="1462"/>
                    <a:pt x="921" y="1462"/>
                    <a:pt x="921" y="1462"/>
                  </a:cubicBezTo>
                  <a:cubicBezTo>
                    <a:pt x="964" y="1418"/>
                    <a:pt x="964" y="1418"/>
                    <a:pt x="964" y="1418"/>
                  </a:cubicBezTo>
                  <a:cubicBezTo>
                    <a:pt x="975" y="1426"/>
                    <a:pt x="975" y="1426"/>
                    <a:pt x="975" y="1426"/>
                  </a:cubicBezTo>
                  <a:cubicBezTo>
                    <a:pt x="921" y="1470"/>
                    <a:pt x="921" y="1470"/>
                    <a:pt x="921" y="1470"/>
                  </a:cubicBezTo>
                  <a:cubicBezTo>
                    <a:pt x="906" y="1473"/>
                    <a:pt x="906" y="1473"/>
                    <a:pt x="906" y="1473"/>
                  </a:cubicBezTo>
                  <a:cubicBezTo>
                    <a:pt x="899" y="1446"/>
                    <a:pt x="899" y="1446"/>
                    <a:pt x="899" y="1446"/>
                  </a:cubicBezTo>
                  <a:cubicBezTo>
                    <a:pt x="880" y="1449"/>
                    <a:pt x="880" y="1449"/>
                    <a:pt x="880" y="1449"/>
                  </a:cubicBezTo>
                  <a:cubicBezTo>
                    <a:pt x="876" y="1456"/>
                    <a:pt x="876" y="1456"/>
                    <a:pt x="876" y="1456"/>
                  </a:cubicBezTo>
                  <a:cubicBezTo>
                    <a:pt x="876" y="1456"/>
                    <a:pt x="861" y="1455"/>
                    <a:pt x="861" y="1463"/>
                  </a:cubicBezTo>
                  <a:cubicBezTo>
                    <a:pt x="861" y="1467"/>
                    <a:pt x="845" y="1493"/>
                    <a:pt x="833" y="1492"/>
                  </a:cubicBezTo>
                  <a:cubicBezTo>
                    <a:pt x="822" y="1495"/>
                    <a:pt x="799" y="1510"/>
                    <a:pt x="799" y="1510"/>
                  </a:cubicBezTo>
                  <a:cubicBezTo>
                    <a:pt x="806" y="1518"/>
                    <a:pt x="806" y="1518"/>
                    <a:pt x="806" y="1518"/>
                  </a:cubicBezTo>
                  <a:cubicBezTo>
                    <a:pt x="806" y="1518"/>
                    <a:pt x="779" y="1532"/>
                    <a:pt x="794" y="1544"/>
                  </a:cubicBezTo>
                  <a:cubicBezTo>
                    <a:pt x="805" y="1552"/>
                    <a:pt x="832" y="1515"/>
                    <a:pt x="832" y="1515"/>
                  </a:cubicBezTo>
                  <a:cubicBezTo>
                    <a:pt x="871" y="1498"/>
                    <a:pt x="871" y="1498"/>
                    <a:pt x="871" y="1498"/>
                  </a:cubicBezTo>
                  <a:cubicBezTo>
                    <a:pt x="840" y="1523"/>
                    <a:pt x="840" y="1523"/>
                    <a:pt x="840" y="1523"/>
                  </a:cubicBezTo>
                  <a:cubicBezTo>
                    <a:pt x="854" y="1535"/>
                    <a:pt x="854" y="1535"/>
                    <a:pt x="854" y="1535"/>
                  </a:cubicBezTo>
                  <a:cubicBezTo>
                    <a:pt x="854" y="1535"/>
                    <a:pt x="835" y="1538"/>
                    <a:pt x="820" y="1545"/>
                  </a:cubicBezTo>
                  <a:cubicBezTo>
                    <a:pt x="801" y="1552"/>
                    <a:pt x="811" y="1571"/>
                    <a:pt x="811" y="1571"/>
                  </a:cubicBezTo>
                  <a:cubicBezTo>
                    <a:pt x="800" y="1575"/>
                    <a:pt x="800" y="1575"/>
                    <a:pt x="800" y="1575"/>
                  </a:cubicBezTo>
                  <a:cubicBezTo>
                    <a:pt x="785" y="1563"/>
                    <a:pt x="785" y="1563"/>
                    <a:pt x="785" y="1563"/>
                  </a:cubicBezTo>
                  <a:cubicBezTo>
                    <a:pt x="774" y="1570"/>
                    <a:pt x="774" y="1570"/>
                    <a:pt x="774" y="1570"/>
                  </a:cubicBezTo>
                  <a:cubicBezTo>
                    <a:pt x="774" y="1570"/>
                    <a:pt x="784" y="1593"/>
                    <a:pt x="791" y="1597"/>
                  </a:cubicBezTo>
                  <a:cubicBezTo>
                    <a:pt x="795" y="1605"/>
                    <a:pt x="829" y="1580"/>
                    <a:pt x="829" y="1580"/>
                  </a:cubicBezTo>
                  <a:cubicBezTo>
                    <a:pt x="809" y="1610"/>
                    <a:pt x="809" y="1610"/>
                    <a:pt x="809" y="1610"/>
                  </a:cubicBezTo>
                  <a:cubicBezTo>
                    <a:pt x="790" y="1620"/>
                    <a:pt x="790" y="1620"/>
                    <a:pt x="790" y="1620"/>
                  </a:cubicBezTo>
                  <a:cubicBezTo>
                    <a:pt x="766" y="1577"/>
                    <a:pt x="766" y="1577"/>
                    <a:pt x="766" y="1577"/>
                  </a:cubicBezTo>
                  <a:cubicBezTo>
                    <a:pt x="731" y="1602"/>
                    <a:pt x="731" y="1602"/>
                    <a:pt x="731" y="1602"/>
                  </a:cubicBezTo>
                  <a:cubicBezTo>
                    <a:pt x="742" y="1614"/>
                    <a:pt x="742" y="1614"/>
                    <a:pt x="742" y="1614"/>
                  </a:cubicBezTo>
                  <a:cubicBezTo>
                    <a:pt x="720" y="1605"/>
                    <a:pt x="720" y="1605"/>
                    <a:pt x="720" y="1605"/>
                  </a:cubicBezTo>
                  <a:cubicBezTo>
                    <a:pt x="712" y="1616"/>
                    <a:pt x="712" y="1616"/>
                    <a:pt x="712" y="1616"/>
                  </a:cubicBezTo>
                  <a:cubicBezTo>
                    <a:pt x="726" y="1629"/>
                    <a:pt x="726" y="1629"/>
                    <a:pt x="726" y="1629"/>
                  </a:cubicBezTo>
                  <a:cubicBezTo>
                    <a:pt x="711" y="1632"/>
                    <a:pt x="711" y="1632"/>
                    <a:pt x="711" y="1632"/>
                  </a:cubicBezTo>
                  <a:cubicBezTo>
                    <a:pt x="711" y="1632"/>
                    <a:pt x="676" y="1664"/>
                    <a:pt x="672" y="1668"/>
                  </a:cubicBezTo>
                  <a:cubicBezTo>
                    <a:pt x="672" y="1672"/>
                    <a:pt x="683" y="1684"/>
                    <a:pt x="683" y="1684"/>
                  </a:cubicBezTo>
                  <a:cubicBezTo>
                    <a:pt x="660" y="1679"/>
                    <a:pt x="660" y="1679"/>
                    <a:pt x="660" y="1679"/>
                  </a:cubicBezTo>
                  <a:cubicBezTo>
                    <a:pt x="651" y="1709"/>
                    <a:pt x="651" y="1709"/>
                    <a:pt x="651" y="1709"/>
                  </a:cubicBezTo>
                  <a:cubicBezTo>
                    <a:pt x="651" y="1709"/>
                    <a:pt x="670" y="1710"/>
                    <a:pt x="670" y="1718"/>
                  </a:cubicBezTo>
                  <a:cubicBezTo>
                    <a:pt x="669" y="1725"/>
                    <a:pt x="639" y="1732"/>
                    <a:pt x="620" y="1734"/>
                  </a:cubicBezTo>
                  <a:cubicBezTo>
                    <a:pt x="601" y="1741"/>
                    <a:pt x="600" y="1776"/>
                    <a:pt x="600" y="1776"/>
                  </a:cubicBezTo>
                  <a:cubicBezTo>
                    <a:pt x="600" y="1776"/>
                    <a:pt x="657" y="1751"/>
                    <a:pt x="653" y="1767"/>
                  </a:cubicBezTo>
                  <a:cubicBezTo>
                    <a:pt x="652" y="1782"/>
                    <a:pt x="626" y="1777"/>
                    <a:pt x="626" y="1777"/>
                  </a:cubicBezTo>
                  <a:cubicBezTo>
                    <a:pt x="629" y="1788"/>
                    <a:pt x="629" y="1788"/>
                    <a:pt x="629" y="1788"/>
                  </a:cubicBezTo>
                  <a:cubicBezTo>
                    <a:pt x="647" y="1797"/>
                    <a:pt x="647" y="1797"/>
                    <a:pt x="647" y="1797"/>
                  </a:cubicBezTo>
                  <a:cubicBezTo>
                    <a:pt x="636" y="1808"/>
                    <a:pt x="636" y="1808"/>
                    <a:pt x="636" y="1808"/>
                  </a:cubicBezTo>
                  <a:cubicBezTo>
                    <a:pt x="643" y="1820"/>
                    <a:pt x="643" y="1820"/>
                    <a:pt x="643" y="1820"/>
                  </a:cubicBezTo>
                  <a:cubicBezTo>
                    <a:pt x="704" y="1792"/>
                    <a:pt x="704" y="1792"/>
                    <a:pt x="704" y="1792"/>
                  </a:cubicBezTo>
                  <a:cubicBezTo>
                    <a:pt x="704" y="1792"/>
                    <a:pt x="715" y="1781"/>
                    <a:pt x="719" y="1777"/>
                  </a:cubicBezTo>
                  <a:cubicBezTo>
                    <a:pt x="727" y="1774"/>
                    <a:pt x="731" y="1766"/>
                    <a:pt x="742" y="1763"/>
                  </a:cubicBezTo>
                  <a:cubicBezTo>
                    <a:pt x="750" y="1764"/>
                    <a:pt x="758" y="1752"/>
                    <a:pt x="758" y="1741"/>
                  </a:cubicBezTo>
                  <a:cubicBezTo>
                    <a:pt x="759" y="1730"/>
                    <a:pt x="717" y="1747"/>
                    <a:pt x="717" y="1747"/>
                  </a:cubicBezTo>
                  <a:cubicBezTo>
                    <a:pt x="717" y="1747"/>
                    <a:pt x="744" y="1729"/>
                    <a:pt x="756" y="1722"/>
                  </a:cubicBezTo>
                  <a:cubicBezTo>
                    <a:pt x="763" y="1718"/>
                    <a:pt x="768" y="1703"/>
                    <a:pt x="786" y="1704"/>
                  </a:cubicBezTo>
                  <a:cubicBezTo>
                    <a:pt x="801" y="1705"/>
                    <a:pt x="804" y="1716"/>
                    <a:pt x="804" y="1716"/>
                  </a:cubicBezTo>
                  <a:cubicBezTo>
                    <a:pt x="766" y="1734"/>
                    <a:pt x="766" y="1734"/>
                    <a:pt x="766" y="1734"/>
                  </a:cubicBezTo>
                  <a:cubicBezTo>
                    <a:pt x="762" y="1745"/>
                    <a:pt x="762" y="1745"/>
                    <a:pt x="762" y="1745"/>
                  </a:cubicBezTo>
                  <a:cubicBezTo>
                    <a:pt x="762" y="1745"/>
                    <a:pt x="792" y="1746"/>
                    <a:pt x="795" y="1758"/>
                  </a:cubicBezTo>
                  <a:cubicBezTo>
                    <a:pt x="795" y="1770"/>
                    <a:pt x="761" y="1776"/>
                    <a:pt x="749" y="1779"/>
                  </a:cubicBezTo>
                  <a:cubicBezTo>
                    <a:pt x="738" y="1778"/>
                    <a:pt x="719" y="1797"/>
                    <a:pt x="714" y="1808"/>
                  </a:cubicBezTo>
                  <a:cubicBezTo>
                    <a:pt x="714" y="1819"/>
                    <a:pt x="730" y="1801"/>
                    <a:pt x="737" y="1805"/>
                  </a:cubicBezTo>
                  <a:cubicBezTo>
                    <a:pt x="740" y="1813"/>
                    <a:pt x="729" y="1816"/>
                    <a:pt x="725" y="1820"/>
                  </a:cubicBezTo>
                  <a:cubicBezTo>
                    <a:pt x="717" y="1827"/>
                    <a:pt x="736" y="1832"/>
                    <a:pt x="736" y="1832"/>
                  </a:cubicBezTo>
                  <a:cubicBezTo>
                    <a:pt x="724" y="1839"/>
                    <a:pt x="724" y="1839"/>
                    <a:pt x="724" y="1839"/>
                  </a:cubicBezTo>
                  <a:cubicBezTo>
                    <a:pt x="724" y="1839"/>
                    <a:pt x="687" y="1826"/>
                    <a:pt x="665" y="1832"/>
                  </a:cubicBezTo>
                  <a:cubicBezTo>
                    <a:pt x="642" y="1839"/>
                    <a:pt x="660" y="1859"/>
                    <a:pt x="660" y="1859"/>
                  </a:cubicBezTo>
                  <a:cubicBezTo>
                    <a:pt x="637" y="1854"/>
                    <a:pt x="637" y="1854"/>
                    <a:pt x="637" y="1854"/>
                  </a:cubicBezTo>
                  <a:cubicBezTo>
                    <a:pt x="618" y="1861"/>
                    <a:pt x="618" y="1861"/>
                    <a:pt x="618" y="1861"/>
                  </a:cubicBezTo>
                  <a:cubicBezTo>
                    <a:pt x="638" y="1831"/>
                    <a:pt x="638" y="1831"/>
                    <a:pt x="638" y="1831"/>
                  </a:cubicBezTo>
                  <a:cubicBezTo>
                    <a:pt x="622" y="1780"/>
                    <a:pt x="622" y="1780"/>
                    <a:pt x="622" y="1780"/>
                  </a:cubicBezTo>
                  <a:cubicBezTo>
                    <a:pt x="595" y="1791"/>
                    <a:pt x="595" y="1791"/>
                    <a:pt x="595" y="1791"/>
                  </a:cubicBezTo>
                  <a:cubicBezTo>
                    <a:pt x="591" y="1798"/>
                    <a:pt x="591" y="1798"/>
                    <a:pt x="591" y="1798"/>
                  </a:cubicBezTo>
                  <a:cubicBezTo>
                    <a:pt x="561" y="1808"/>
                    <a:pt x="561" y="1808"/>
                    <a:pt x="561" y="1808"/>
                  </a:cubicBezTo>
                  <a:cubicBezTo>
                    <a:pt x="557" y="1819"/>
                    <a:pt x="557" y="1819"/>
                    <a:pt x="557" y="1819"/>
                  </a:cubicBezTo>
                  <a:cubicBezTo>
                    <a:pt x="583" y="1824"/>
                    <a:pt x="583" y="1824"/>
                    <a:pt x="583" y="1824"/>
                  </a:cubicBezTo>
                  <a:cubicBezTo>
                    <a:pt x="556" y="1827"/>
                    <a:pt x="556" y="1827"/>
                    <a:pt x="556" y="1827"/>
                  </a:cubicBezTo>
                  <a:cubicBezTo>
                    <a:pt x="552" y="1842"/>
                    <a:pt x="552" y="1842"/>
                    <a:pt x="552" y="1842"/>
                  </a:cubicBezTo>
                  <a:cubicBezTo>
                    <a:pt x="574" y="1847"/>
                    <a:pt x="574" y="1847"/>
                    <a:pt x="574" y="1847"/>
                  </a:cubicBezTo>
                  <a:cubicBezTo>
                    <a:pt x="533" y="1853"/>
                    <a:pt x="533" y="1853"/>
                    <a:pt x="533" y="1853"/>
                  </a:cubicBezTo>
                  <a:cubicBezTo>
                    <a:pt x="549" y="1827"/>
                    <a:pt x="549" y="1827"/>
                    <a:pt x="549" y="1827"/>
                  </a:cubicBezTo>
                  <a:cubicBezTo>
                    <a:pt x="542" y="1819"/>
                    <a:pt x="542" y="1819"/>
                    <a:pt x="542" y="1819"/>
                  </a:cubicBezTo>
                  <a:cubicBezTo>
                    <a:pt x="522" y="1833"/>
                    <a:pt x="522" y="1833"/>
                    <a:pt x="522" y="1833"/>
                  </a:cubicBezTo>
                  <a:cubicBezTo>
                    <a:pt x="515" y="1825"/>
                    <a:pt x="515" y="1825"/>
                    <a:pt x="515" y="1825"/>
                  </a:cubicBezTo>
                  <a:cubicBezTo>
                    <a:pt x="500" y="1832"/>
                    <a:pt x="500" y="1832"/>
                    <a:pt x="500" y="1832"/>
                  </a:cubicBezTo>
                  <a:cubicBezTo>
                    <a:pt x="514" y="1848"/>
                    <a:pt x="514" y="1848"/>
                    <a:pt x="514" y="1848"/>
                  </a:cubicBezTo>
                  <a:cubicBezTo>
                    <a:pt x="488" y="1847"/>
                    <a:pt x="488" y="1847"/>
                    <a:pt x="488" y="1847"/>
                  </a:cubicBezTo>
                  <a:cubicBezTo>
                    <a:pt x="476" y="1858"/>
                    <a:pt x="476" y="1858"/>
                    <a:pt x="476" y="1858"/>
                  </a:cubicBezTo>
                  <a:cubicBezTo>
                    <a:pt x="490" y="1877"/>
                    <a:pt x="490" y="1877"/>
                    <a:pt x="490" y="1877"/>
                  </a:cubicBezTo>
                  <a:cubicBezTo>
                    <a:pt x="505" y="1882"/>
                    <a:pt x="505" y="1882"/>
                    <a:pt x="505" y="1882"/>
                  </a:cubicBezTo>
                  <a:cubicBezTo>
                    <a:pt x="486" y="1885"/>
                    <a:pt x="486" y="1885"/>
                    <a:pt x="486" y="1885"/>
                  </a:cubicBezTo>
                  <a:cubicBezTo>
                    <a:pt x="478" y="1896"/>
                    <a:pt x="478" y="1896"/>
                    <a:pt x="478" y="1896"/>
                  </a:cubicBezTo>
                  <a:cubicBezTo>
                    <a:pt x="445" y="1891"/>
                    <a:pt x="445" y="1891"/>
                    <a:pt x="445" y="1891"/>
                  </a:cubicBezTo>
                  <a:cubicBezTo>
                    <a:pt x="444" y="1906"/>
                    <a:pt x="444" y="1906"/>
                    <a:pt x="444" y="1906"/>
                  </a:cubicBezTo>
                  <a:cubicBezTo>
                    <a:pt x="465" y="1934"/>
                    <a:pt x="465" y="1934"/>
                    <a:pt x="465" y="1934"/>
                  </a:cubicBezTo>
                  <a:cubicBezTo>
                    <a:pt x="484" y="1927"/>
                    <a:pt x="484" y="1927"/>
                    <a:pt x="484" y="1927"/>
                  </a:cubicBezTo>
                  <a:cubicBezTo>
                    <a:pt x="488" y="1931"/>
                    <a:pt x="488" y="1931"/>
                    <a:pt x="488" y="1931"/>
                  </a:cubicBezTo>
                  <a:cubicBezTo>
                    <a:pt x="465" y="1945"/>
                    <a:pt x="465" y="1945"/>
                    <a:pt x="465" y="1945"/>
                  </a:cubicBezTo>
                  <a:cubicBezTo>
                    <a:pt x="479" y="1953"/>
                    <a:pt x="479" y="1953"/>
                    <a:pt x="479" y="1953"/>
                  </a:cubicBezTo>
                  <a:cubicBezTo>
                    <a:pt x="475" y="1957"/>
                    <a:pt x="475" y="1957"/>
                    <a:pt x="475" y="1957"/>
                  </a:cubicBezTo>
                  <a:cubicBezTo>
                    <a:pt x="457" y="1949"/>
                    <a:pt x="457" y="1949"/>
                    <a:pt x="457" y="1949"/>
                  </a:cubicBezTo>
                  <a:cubicBezTo>
                    <a:pt x="454" y="1925"/>
                    <a:pt x="454" y="1925"/>
                    <a:pt x="454" y="1925"/>
                  </a:cubicBezTo>
                  <a:cubicBezTo>
                    <a:pt x="433" y="1894"/>
                    <a:pt x="433" y="1894"/>
                    <a:pt x="433" y="1894"/>
                  </a:cubicBezTo>
                  <a:cubicBezTo>
                    <a:pt x="403" y="1912"/>
                    <a:pt x="403" y="1912"/>
                    <a:pt x="403" y="1912"/>
                  </a:cubicBezTo>
                  <a:cubicBezTo>
                    <a:pt x="410" y="1916"/>
                    <a:pt x="410" y="1916"/>
                    <a:pt x="410" y="1916"/>
                  </a:cubicBezTo>
                  <a:cubicBezTo>
                    <a:pt x="417" y="1916"/>
                    <a:pt x="417" y="1916"/>
                    <a:pt x="417" y="1916"/>
                  </a:cubicBezTo>
                  <a:cubicBezTo>
                    <a:pt x="432" y="1932"/>
                    <a:pt x="432" y="1932"/>
                    <a:pt x="432" y="1932"/>
                  </a:cubicBezTo>
                  <a:cubicBezTo>
                    <a:pt x="430" y="1959"/>
                    <a:pt x="430" y="1959"/>
                    <a:pt x="430" y="1959"/>
                  </a:cubicBezTo>
                  <a:cubicBezTo>
                    <a:pt x="463" y="1983"/>
                    <a:pt x="463" y="1983"/>
                    <a:pt x="463" y="1983"/>
                  </a:cubicBezTo>
                  <a:cubicBezTo>
                    <a:pt x="466" y="1991"/>
                    <a:pt x="466" y="1991"/>
                    <a:pt x="466" y="1991"/>
                  </a:cubicBezTo>
                  <a:cubicBezTo>
                    <a:pt x="427" y="1962"/>
                    <a:pt x="427" y="1962"/>
                    <a:pt x="427" y="1962"/>
                  </a:cubicBezTo>
                  <a:cubicBezTo>
                    <a:pt x="428" y="1928"/>
                    <a:pt x="428" y="1928"/>
                    <a:pt x="428" y="1928"/>
                  </a:cubicBezTo>
                  <a:cubicBezTo>
                    <a:pt x="398" y="1927"/>
                    <a:pt x="398" y="1927"/>
                    <a:pt x="398" y="1927"/>
                  </a:cubicBezTo>
                  <a:cubicBezTo>
                    <a:pt x="390" y="1938"/>
                    <a:pt x="390" y="1938"/>
                    <a:pt x="390" y="1938"/>
                  </a:cubicBezTo>
                  <a:cubicBezTo>
                    <a:pt x="395" y="1919"/>
                    <a:pt x="395" y="1919"/>
                    <a:pt x="395" y="1919"/>
                  </a:cubicBezTo>
                  <a:cubicBezTo>
                    <a:pt x="380" y="1918"/>
                    <a:pt x="380" y="1918"/>
                    <a:pt x="380" y="1918"/>
                  </a:cubicBezTo>
                  <a:cubicBezTo>
                    <a:pt x="376" y="1929"/>
                    <a:pt x="376" y="1929"/>
                    <a:pt x="376" y="1929"/>
                  </a:cubicBezTo>
                  <a:cubicBezTo>
                    <a:pt x="357" y="1932"/>
                    <a:pt x="357" y="1932"/>
                    <a:pt x="357" y="1932"/>
                  </a:cubicBezTo>
                  <a:cubicBezTo>
                    <a:pt x="339" y="1908"/>
                    <a:pt x="339" y="1908"/>
                    <a:pt x="339" y="1908"/>
                  </a:cubicBezTo>
                  <a:cubicBezTo>
                    <a:pt x="339" y="1908"/>
                    <a:pt x="324" y="1908"/>
                    <a:pt x="301" y="1922"/>
                  </a:cubicBezTo>
                  <a:cubicBezTo>
                    <a:pt x="282" y="1940"/>
                    <a:pt x="326" y="1942"/>
                    <a:pt x="330" y="1950"/>
                  </a:cubicBezTo>
                  <a:cubicBezTo>
                    <a:pt x="329" y="1958"/>
                    <a:pt x="318" y="1953"/>
                    <a:pt x="307" y="1953"/>
                  </a:cubicBezTo>
                  <a:cubicBezTo>
                    <a:pt x="292" y="1956"/>
                    <a:pt x="302" y="1976"/>
                    <a:pt x="302" y="1976"/>
                  </a:cubicBezTo>
                  <a:cubicBezTo>
                    <a:pt x="302" y="1976"/>
                    <a:pt x="363" y="1959"/>
                    <a:pt x="366" y="1967"/>
                  </a:cubicBezTo>
                  <a:cubicBezTo>
                    <a:pt x="370" y="1971"/>
                    <a:pt x="348" y="1970"/>
                    <a:pt x="348" y="1970"/>
                  </a:cubicBezTo>
                  <a:cubicBezTo>
                    <a:pt x="347" y="1982"/>
                    <a:pt x="347" y="1982"/>
                    <a:pt x="347" y="1982"/>
                  </a:cubicBezTo>
                  <a:cubicBezTo>
                    <a:pt x="347" y="1982"/>
                    <a:pt x="377" y="1972"/>
                    <a:pt x="396" y="1969"/>
                  </a:cubicBezTo>
                  <a:cubicBezTo>
                    <a:pt x="415" y="1969"/>
                    <a:pt x="425" y="1989"/>
                    <a:pt x="425" y="1989"/>
                  </a:cubicBezTo>
                  <a:cubicBezTo>
                    <a:pt x="425" y="1989"/>
                    <a:pt x="411" y="1977"/>
                    <a:pt x="400" y="1973"/>
                  </a:cubicBezTo>
                  <a:cubicBezTo>
                    <a:pt x="392" y="1972"/>
                    <a:pt x="362" y="1982"/>
                    <a:pt x="362" y="1982"/>
                  </a:cubicBezTo>
                  <a:cubicBezTo>
                    <a:pt x="361" y="2001"/>
                    <a:pt x="361" y="2001"/>
                    <a:pt x="361" y="2001"/>
                  </a:cubicBezTo>
                  <a:cubicBezTo>
                    <a:pt x="358" y="1994"/>
                    <a:pt x="358" y="1994"/>
                    <a:pt x="358" y="1994"/>
                  </a:cubicBezTo>
                  <a:cubicBezTo>
                    <a:pt x="350" y="1997"/>
                    <a:pt x="350" y="1997"/>
                    <a:pt x="350" y="1997"/>
                  </a:cubicBezTo>
                  <a:cubicBezTo>
                    <a:pt x="357" y="2013"/>
                    <a:pt x="357" y="2013"/>
                    <a:pt x="357" y="2013"/>
                  </a:cubicBezTo>
                  <a:cubicBezTo>
                    <a:pt x="376" y="2013"/>
                    <a:pt x="376" y="2013"/>
                    <a:pt x="376" y="2013"/>
                  </a:cubicBezTo>
                  <a:cubicBezTo>
                    <a:pt x="360" y="2028"/>
                    <a:pt x="360" y="2028"/>
                    <a:pt x="360" y="2028"/>
                  </a:cubicBezTo>
                  <a:cubicBezTo>
                    <a:pt x="335" y="2004"/>
                    <a:pt x="335" y="2004"/>
                    <a:pt x="335" y="2004"/>
                  </a:cubicBezTo>
                  <a:cubicBezTo>
                    <a:pt x="320" y="1996"/>
                    <a:pt x="320" y="1996"/>
                    <a:pt x="320" y="1996"/>
                  </a:cubicBezTo>
                  <a:cubicBezTo>
                    <a:pt x="320" y="2007"/>
                    <a:pt x="320" y="2007"/>
                    <a:pt x="320" y="2007"/>
                  </a:cubicBezTo>
                  <a:cubicBezTo>
                    <a:pt x="320" y="2007"/>
                    <a:pt x="313" y="1991"/>
                    <a:pt x="302" y="1987"/>
                  </a:cubicBezTo>
                  <a:cubicBezTo>
                    <a:pt x="291" y="1983"/>
                    <a:pt x="290" y="1998"/>
                    <a:pt x="290" y="1998"/>
                  </a:cubicBezTo>
                  <a:cubicBezTo>
                    <a:pt x="290" y="1998"/>
                    <a:pt x="283" y="1990"/>
                    <a:pt x="280" y="1986"/>
                  </a:cubicBezTo>
                  <a:cubicBezTo>
                    <a:pt x="272" y="1986"/>
                    <a:pt x="257" y="1996"/>
                    <a:pt x="257" y="1996"/>
                  </a:cubicBezTo>
                  <a:cubicBezTo>
                    <a:pt x="257" y="1996"/>
                    <a:pt x="249" y="1992"/>
                    <a:pt x="242" y="1988"/>
                  </a:cubicBezTo>
                  <a:cubicBezTo>
                    <a:pt x="231" y="1987"/>
                    <a:pt x="227" y="1999"/>
                    <a:pt x="219" y="2010"/>
                  </a:cubicBezTo>
                  <a:cubicBezTo>
                    <a:pt x="214" y="2017"/>
                    <a:pt x="256" y="2008"/>
                    <a:pt x="256" y="2008"/>
                  </a:cubicBezTo>
                  <a:cubicBezTo>
                    <a:pt x="256" y="2008"/>
                    <a:pt x="285" y="2028"/>
                    <a:pt x="292" y="2036"/>
                  </a:cubicBezTo>
                  <a:cubicBezTo>
                    <a:pt x="296" y="2040"/>
                    <a:pt x="291" y="2059"/>
                    <a:pt x="291" y="2059"/>
                  </a:cubicBezTo>
                  <a:cubicBezTo>
                    <a:pt x="298" y="2071"/>
                    <a:pt x="298" y="2071"/>
                    <a:pt x="298" y="2071"/>
                  </a:cubicBezTo>
                  <a:cubicBezTo>
                    <a:pt x="317" y="2076"/>
                    <a:pt x="317" y="2076"/>
                    <a:pt x="317" y="2076"/>
                  </a:cubicBezTo>
                  <a:cubicBezTo>
                    <a:pt x="324" y="2072"/>
                    <a:pt x="324" y="2072"/>
                    <a:pt x="324" y="2072"/>
                  </a:cubicBezTo>
                  <a:cubicBezTo>
                    <a:pt x="320" y="2080"/>
                    <a:pt x="320" y="2080"/>
                    <a:pt x="320" y="2080"/>
                  </a:cubicBezTo>
                  <a:cubicBezTo>
                    <a:pt x="294" y="2078"/>
                    <a:pt x="294" y="2078"/>
                    <a:pt x="294" y="2078"/>
                  </a:cubicBezTo>
                  <a:cubicBezTo>
                    <a:pt x="297" y="2086"/>
                    <a:pt x="297" y="2086"/>
                    <a:pt x="297" y="2086"/>
                  </a:cubicBezTo>
                  <a:cubicBezTo>
                    <a:pt x="285" y="2109"/>
                    <a:pt x="285" y="2109"/>
                    <a:pt x="285" y="2109"/>
                  </a:cubicBezTo>
                  <a:cubicBezTo>
                    <a:pt x="292" y="2117"/>
                    <a:pt x="292" y="2117"/>
                    <a:pt x="292" y="2117"/>
                  </a:cubicBezTo>
                  <a:cubicBezTo>
                    <a:pt x="274" y="2112"/>
                    <a:pt x="274" y="2112"/>
                    <a:pt x="274" y="2112"/>
                  </a:cubicBezTo>
                  <a:cubicBezTo>
                    <a:pt x="290" y="2082"/>
                    <a:pt x="290" y="2082"/>
                    <a:pt x="290" y="2082"/>
                  </a:cubicBezTo>
                  <a:cubicBezTo>
                    <a:pt x="283" y="2066"/>
                    <a:pt x="283" y="2066"/>
                    <a:pt x="283" y="2066"/>
                  </a:cubicBezTo>
                  <a:cubicBezTo>
                    <a:pt x="285" y="2036"/>
                    <a:pt x="285" y="2036"/>
                    <a:pt x="285" y="2036"/>
                  </a:cubicBezTo>
                  <a:cubicBezTo>
                    <a:pt x="251" y="2031"/>
                    <a:pt x="251" y="2031"/>
                    <a:pt x="251" y="2031"/>
                  </a:cubicBezTo>
                  <a:cubicBezTo>
                    <a:pt x="251" y="2046"/>
                    <a:pt x="251" y="2046"/>
                    <a:pt x="251" y="2046"/>
                  </a:cubicBezTo>
                  <a:cubicBezTo>
                    <a:pt x="240" y="2038"/>
                    <a:pt x="240" y="2038"/>
                    <a:pt x="240" y="2038"/>
                  </a:cubicBezTo>
                  <a:cubicBezTo>
                    <a:pt x="229" y="2037"/>
                    <a:pt x="229" y="2037"/>
                    <a:pt x="229" y="2037"/>
                  </a:cubicBezTo>
                  <a:cubicBezTo>
                    <a:pt x="245" y="2095"/>
                    <a:pt x="245" y="2095"/>
                    <a:pt x="245" y="2095"/>
                  </a:cubicBezTo>
                  <a:cubicBezTo>
                    <a:pt x="240" y="2103"/>
                    <a:pt x="240" y="2103"/>
                    <a:pt x="240" y="2103"/>
                  </a:cubicBezTo>
                  <a:cubicBezTo>
                    <a:pt x="234" y="2079"/>
                    <a:pt x="234" y="2079"/>
                    <a:pt x="234" y="2079"/>
                  </a:cubicBezTo>
                  <a:cubicBezTo>
                    <a:pt x="224" y="2064"/>
                    <a:pt x="224" y="2064"/>
                    <a:pt x="224" y="2064"/>
                  </a:cubicBezTo>
                  <a:cubicBezTo>
                    <a:pt x="224" y="2064"/>
                    <a:pt x="228" y="2049"/>
                    <a:pt x="217" y="2044"/>
                  </a:cubicBezTo>
                  <a:cubicBezTo>
                    <a:pt x="210" y="2040"/>
                    <a:pt x="179" y="2065"/>
                    <a:pt x="179" y="2065"/>
                  </a:cubicBezTo>
                  <a:cubicBezTo>
                    <a:pt x="189" y="2077"/>
                    <a:pt x="189" y="2077"/>
                    <a:pt x="189" y="2077"/>
                  </a:cubicBezTo>
                  <a:cubicBezTo>
                    <a:pt x="171" y="2076"/>
                    <a:pt x="171" y="2076"/>
                    <a:pt x="171" y="2076"/>
                  </a:cubicBezTo>
                  <a:cubicBezTo>
                    <a:pt x="171" y="2076"/>
                    <a:pt x="178" y="2081"/>
                    <a:pt x="185" y="2089"/>
                  </a:cubicBezTo>
                  <a:cubicBezTo>
                    <a:pt x="192" y="2100"/>
                    <a:pt x="206" y="2112"/>
                    <a:pt x="206" y="2112"/>
                  </a:cubicBezTo>
                  <a:cubicBezTo>
                    <a:pt x="184" y="2108"/>
                    <a:pt x="184" y="2108"/>
                    <a:pt x="184" y="2108"/>
                  </a:cubicBezTo>
                  <a:cubicBezTo>
                    <a:pt x="177" y="2100"/>
                    <a:pt x="177" y="2100"/>
                    <a:pt x="177" y="2100"/>
                  </a:cubicBezTo>
                  <a:cubicBezTo>
                    <a:pt x="161" y="2114"/>
                    <a:pt x="161" y="2114"/>
                    <a:pt x="161" y="2114"/>
                  </a:cubicBezTo>
                  <a:cubicBezTo>
                    <a:pt x="174" y="2088"/>
                    <a:pt x="174" y="2088"/>
                    <a:pt x="174" y="2088"/>
                  </a:cubicBezTo>
                  <a:cubicBezTo>
                    <a:pt x="174" y="2088"/>
                    <a:pt x="170" y="2080"/>
                    <a:pt x="155" y="2080"/>
                  </a:cubicBezTo>
                  <a:cubicBezTo>
                    <a:pt x="141" y="2079"/>
                    <a:pt x="144" y="2094"/>
                    <a:pt x="144" y="2094"/>
                  </a:cubicBezTo>
                  <a:cubicBezTo>
                    <a:pt x="144" y="2094"/>
                    <a:pt x="133" y="2078"/>
                    <a:pt x="126" y="2078"/>
                  </a:cubicBezTo>
                  <a:cubicBezTo>
                    <a:pt x="114" y="2078"/>
                    <a:pt x="110" y="2093"/>
                    <a:pt x="110" y="2093"/>
                  </a:cubicBezTo>
                  <a:cubicBezTo>
                    <a:pt x="128" y="2105"/>
                    <a:pt x="128" y="2105"/>
                    <a:pt x="128" y="2105"/>
                  </a:cubicBezTo>
                  <a:cubicBezTo>
                    <a:pt x="124" y="2109"/>
                    <a:pt x="124" y="2109"/>
                    <a:pt x="124" y="2109"/>
                  </a:cubicBezTo>
                  <a:cubicBezTo>
                    <a:pt x="103" y="2088"/>
                    <a:pt x="103" y="2088"/>
                    <a:pt x="103" y="2088"/>
                  </a:cubicBezTo>
                  <a:cubicBezTo>
                    <a:pt x="107" y="2081"/>
                    <a:pt x="107" y="2081"/>
                    <a:pt x="107" y="2081"/>
                  </a:cubicBezTo>
                  <a:cubicBezTo>
                    <a:pt x="92" y="2069"/>
                    <a:pt x="92" y="2069"/>
                    <a:pt x="92" y="2069"/>
                  </a:cubicBezTo>
                  <a:cubicBezTo>
                    <a:pt x="81" y="2080"/>
                    <a:pt x="81" y="2080"/>
                    <a:pt x="81" y="2080"/>
                  </a:cubicBezTo>
                  <a:cubicBezTo>
                    <a:pt x="84" y="2088"/>
                    <a:pt x="84" y="2088"/>
                    <a:pt x="84" y="2088"/>
                  </a:cubicBezTo>
                  <a:cubicBezTo>
                    <a:pt x="84" y="2088"/>
                    <a:pt x="106" y="2108"/>
                    <a:pt x="105" y="2115"/>
                  </a:cubicBezTo>
                  <a:cubicBezTo>
                    <a:pt x="101" y="2127"/>
                    <a:pt x="79" y="2122"/>
                    <a:pt x="78" y="2133"/>
                  </a:cubicBezTo>
                  <a:cubicBezTo>
                    <a:pt x="78" y="2145"/>
                    <a:pt x="112" y="2131"/>
                    <a:pt x="112" y="2131"/>
                  </a:cubicBezTo>
                  <a:cubicBezTo>
                    <a:pt x="167" y="2149"/>
                    <a:pt x="167" y="2149"/>
                    <a:pt x="167" y="2149"/>
                  </a:cubicBezTo>
                  <a:cubicBezTo>
                    <a:pt x="163" y="2153"/>
                    <a:pt x="163" y="2153"/>
                    <a:pt x="163" y="2153"/>
                  </a:cubicBezTo>
                  <a:cubicBezTo>
                    <a:pt x="215" y="2170"/>
                    <a:pt x="215" y="2170"/>
                    <a:pt x="215" y="2170"/>
                  </a:cubicBezTo>
                  <a:cubicBezTo>
                    <a:pt x="238" y="2160"/>
                    <a:pt x="238" y="2160"/>
                    <a:pt x="238" y="2160"/>
                  </a:cubicBezTo>
                  <a:cubicBezTo>
                    <a:pt x="264" y="2169"/>
                    <a:pt x="264" y="2169"/>
                    <a:pt x="264" y="2169"/>
                  </a:cubicBezTo>
                  <a:cubicBezTo>
                    <a:pt x="263" y="2173"/>
                    <a:pt x="263" y="2173"/>
                    <a:pt x="263" y="2173"/>
                  </a:cubicBezTo>
                  <a:cubicBezTo>
                    <a:pt x="241" y="2168"/>
                    <a:pt x="241" y="2168"/>
                    <a:pt x="241" y="2168"/>
                  </a:cubicBezTo>
                  <a:cubicBezTo>
                    <a:pt x="219" y="2174"/>
                    <a:pt x="219" y="2174"/>
                    <a:pt x="219" y="2174"/>
                  </a:cubicBezTo>
                  <a:cubicBezTo>
                    <a:pt x="185" y="2165"/>
                    <a:pt x="185" y="2165"/>
                    <a:pt x="185" y="2165"/>
                  </a:cubicBezTo>
                  <a:cubicBezTo>
                    <a:pt x="181" y="2172"/>
                    <a:pt x="181" y="2172"/>
                    <a:pt x="181" y="2172"/>
                  </a:cubicBezTo>
                  <a:cubicBezTo>
                    <a:pt x="181" y="2172"/>
                    <a:pt x="138" y="2144"/>
                    <a:pt x="115" y="2143"/>
                  </a:cubicBezTo>
                  <a:cubicBezTo>
                    <a:pt x="89" y="2141"/>
                    <a:pt x="92" y="2153"/>
                    <a:pt x="92" y="2153"/>
                  </a:cubicBezTo>
                  <a:cubicBezTo>
                    <a:pt x="92" y="2153"/>
                    <a:pt x="89" y="2153"/>
                    <a:pt x="77" y="2160"/>
                  </a:cubicBezTo>
                  <a:cubicBezTo>
                    <a:pt x="69" y="2163"/>
                    <a:pt x="76" y="2175"/>
                    <a:pt x="76" y="2175"/>
                  </a:cubicBezTo>
                  <a:cubicBezTo>
                    <a:pt x="76" y="2175"/>
                    <a:pt x="58" y="2170"/>
                    <a:pt x="50" y="2182"/>
                  </a:cubicBezTo>
                  <a:cubicBezTo>
                    <a:pt x="45" y="2193"/>
                    <a:pt x="57" y="2197"/>
                    <a:pt x="57" y="2197"/>
                  </a:cubicBezTo>
                  <a:cubicBezTo>
                    <a:pt x="83" y="2198"/>
                    <a:pt x="83" y="2198"/>
                    <a:pt x="83" y="2198"/>
                  </a:cubicBezTo>
                  <a:cubicBezTo>
                    <a:pt x="101" y="2215"/>
                    <a:pt x="101" y="2215"/>
                    <a:pt x="101" y="2215"/>
                  </a:cubicBezTo>
                  <a:cubicBezTo>
                    <a:pt x="79" y="2206"/>
                    <a:pt x="79" y="2206"/>
                    <a:pt x="79" y="2206"/>
                  </a:cubicBezTo>
                  <a:cubicBezTo>
                    <a:pt x="71" y="2213"/>
                    <a:pt x="71" y="2213"/>
                    <a:pt x="71" y="2213"/>
                  </a:cubicBezTo>
                  <a:cubicBezTo>
                    <a:pt x="85" y="2221"/>
                    <a:pt x="85" y="2221"/>
                    <a:pt x="85" y="2221"/>
                  </a:cubicBezTo>
                  <a:cubicBezTo>
                    <a:pt x="67" y="2221"/>
                    <a:pt x="67" y="2221"/>
                    <a:pt x="67" y="2221"/>
                  </a:cubicBezTo>
                  <a:cubicBezTo>
                    <a:pt x="66" y="2228"/>
                    <a:pt x="66" y="2228"/>
                    <a:pt x="66" y="2228"/>
                  </a:cubicBezTo>
                  <a:cubicBezTo>
                    <a:pt x="100" y="2237"/>
                    <a:pt x="100" y="2237"/>
                    <a:pt x="100" y="2237"/>
                  </a:cubicBezTo>
                  <a:cubicBezTo>
                    <a:pt x="47" y="2243"/>
                    <a:pt x="47" y="2243"/>
                    <a:pt x="47" y="2243"/>
                  </a:cubicBezTo>
                  <a:cubicBezTo>
                    <a:pt x="47" y="2250"/>
                    <a:pt x="47" y="2250"/>
                    <a:pt x="47" y="2250"/>
                  </a:cubicBezTo>
                  <a:cubicBezTo>
                    <a:pt x="58" y="2251"/>
                    <a:pt x="58" y="2251"/>
                    <a:pt x="58" y="2251"/>
                  </a:cubicBezTo>
                  <a:cubicBezTo>
                    <a:pt x="57" y="2262"/>
                    <a:pt x="57" y="2262"/>
                    <a:pt x="57" y="2262"/>
                  </a:cubicBezTo>
                  <a:cubicBezTo>
                    <a:pt x="91" y="2264"/>
                    <a:pt x="91" y="2264"/>
                    <a:pt x="91" y="2264"/>
                  </a:cubicBezTo>
                  <a:cubicBezTo>
                    <a:pt x="46" y="2273"/>
                    <a:pt x="46" y="2273"/>
                    <a:pt x="46" y="2273"/>
                  </a:cubicBezTo>
                  <a:cubicBezTo>
                    <a:pt x="37" y="2288"/>
                    <a:pt x="37" y="2288"/>
                    <a:pt x="37" y="2288"/>
                  </a:cubicBezTo>
                  <a:cubicBezTo>
                    <a:pt x="59" y="2297"/>
                    <a:pt x="59" y="2297"/>
                    <a:pt x="59" y="2297"/>
                  </a:cubicBezTo>
                  <a:cubicBezTo>
                    <a:pt x="48" y="2296"/>
                    <a:pt x="48" y="2296"/>
                    <a:pt x="48" y="2296"/>
                  </a:cubicBezTo>
                  <a:cubicBezTo>
                    <a:pt x="62" y="2316"/>
                    <a:pt x="62" y="2316"/>
                    <a:pt x="62" y="2316"/>
                  </a:cubicBezTo>
                  <a:cubicBezTo>
                    <a:pt x="74" y="2317"/>
                    <a:pt x="74" y="2317"/>
                    <a:pt x="74" y="2317"/>
                  </a:cubicBezTo>
                  <a:cubicBezTo>
                    <a:pt x="81" y="2325"/>
                    <a:pt x="81" y="2325"/>
                    <a:pt x="81" y="2325"/>
                  </a:cubicBezTo>
                  <a:cubicBezTo>
                    <a:pt x="152" y="2309"/>
                    <a:pt x="152" y="2309"/>
                    <a:pt x="152" y="2309"/>
                  </a:cubicBezTo>
                  <a:cubicBezTo>
                    <a:pt x="144" y="2320"/>
                    <a:pt x="144" y="2320"/>
                    <a:pt x="144" y="2320"/>
                  </a:cubicBezTo>
                  <a:cubicBezTo>
                    <a:pt x="174" y="2318"/>
                    <a:pt x="174" y="2318"/>
                    <a:pt x="174" y="2318"/>
                  </a:cubicBezTo>
                  <a:cubicBezTo>
                    <a:pt x="174" y="2318"/>
                    <a:pt x="178" y="2329"/>
                    <a:pt x="196" y="2330"/>
                  </a:cubicBezTo>
                  <a:cubicBezTo>
                    <a:pt x="211" y="2331"/>
                    <a:pt x="205" y="2300"/>
                    <a:pt x="205" y="2300"/>
                  </a:cubicBezTo>
                  <a:cubicBezTo>
                    <a:pt x="217" y="2297"/>
                    <a:pt x="217" y="2297"/>
                    <a:pt x="217" y="2297"/>
                  </a:cubicBezTo>
                  <a:cubicBezTo>
                    <a:pt x="233" y="2274"/>
                    <a:pt x="233" y="2274"/>
                    <a:pt x="233" y="2274"/>
                  </a:cubicBezTo>
                  <a:cubicBezTo>
                    <a:pt x="236" y="2278"/>
                    <a:pt x="236" y="2278"/>
                    <a:pt x="236" y="2278"/>
                  </a:cubicBezTo>
                  <a:cubicBezTo>
                    <a:pt x="220" y="2304"/>
                    <a:pt x="220" y="2304"/>
                    <a:pt x="220" y="2304"/>
                  </a:cubicBezTo>
                  <a:cubicBezTo>
                    <a:pt x="227" y="2320"/>
                    <a:pt x="227" y="2320"/>
                    <a:pt x="227" y="2320"/>
                  </a:cubicBezTo>
                  <a:cubicBezTo>
                    <a:pt x="260" y="2325"/>
                    <a:pt x="260" y="2325"/>
                    <a:pt x="260" y="2325"/>
                  </a:cubicBezTo>
                  <a:cubicBezTo>
                    <a:pt x="276" y="2311"/>
                    <a:pt x="276" y="2311"/>
                    <a:pt x="276" y="2311"/>
                  </a:cubicBezTo>
                  <a:cubicBezTo>
                    <a:pt x="275" y="2326"/>
                    <a:pt x="275" y="2326"/>
                    <a:pt x="275" y="2326"/>
                  </a:cubicBezTo>
                  <a:cubicBezTo>
                    <a:pt x="249" y="2333"/>
                    <a:pt x="249" y="2333"/>
                    <a:pt x="249" y="2333"/>
                  </a:cubicBezTo>
                  <a:cubicBezTo>
                    <a:pt x="256" y="2341"/>
                    <a:pt x="256" y="2341"/>
                    <a:pt x="256" y="2341"/>
                  </a:cubicBezTo>
                  <a:cubicBezTo>
                    <a:pt x="298" y="2327"/>
                    <a:pt x="298" y="2327"/>
                    <a:pt x="298" y="2327"/>
                  </a:cubicBezTo>
                  <a:cubicBezTo>
                    <a:pt x="295" y="2304"/>
                    <a:pt x="295" y="2304"/>
                    <a:pt x="295" y="2304"/>
                  </a:cubicBezTo>
                  <a:cubicBezTo>
                    <a:pt x="295" y="2304"/>
                    <a:pt x="303" y="2289"/>
                    <a:pt x="311" y="2278"/>
                  </a:cubicBezTo>
                  <a:cubicBezTo>
                    <a:pt x="315" y="2271"/>
                    <a:pt x="331" y="2260"/>
                    <a:pt x="331" y="2260"/>
                  </a:cubicBezTo>
                  <a:cubicBezTo>
                    <a:pt x="334" y="2268"/>
                    <a:pt x="334" y="2268"/>
                    <a:pt x="334" y="2268"/>
                  </a:cubicBezTo>
                  <a:cubicBezTo>
                    <a:pt x="334" y="2268"/>
                    <a:pt x="326" y="2275"/>
                    <a:pt x="318" y="2282"/>
                  </a:cubicBezTo>
                  <a:cubicBezTo>
                    <a:pt x="311" y="2286"/>
                    <a:pt x="299" y="2304"/>
                    <a:pt x="299" y="2304"/>
                  </a:cubicBezTo>
                  <a:cubicBezTo>
                    <a:pt x="306" y="2312"/>
                    <a:pt x="306" y="2312"/>
                    <a:pt x="306" y="2312"/>
                  </a:cubicBezTo>
                  <a:cubicBezTo>
                    <a:pt x="309" y="2328"/>
                    <a:pt x="309" y="2328"/>
                    <a:pt x="309" y="2328"/>
                  </a:cubicBezTo>
                  <a:cubicBezTo>
                    <a:pt x="343" y="2322"/>
                    <a:pt x="343" y="2322"/>
                    <a:pt x="343" y="2322"/>
                  </a:cubicBezTo>
                  <a:cubicBezTo>
                    <a:pt x="327" y="2332"/>
                    <a:pt x="327" y="2332"/>
                    <a:pt x="327" y="2332"/>
                  </a:cubicBezTo>
                  <a:cubicBezTo>
                    <a:pt x="320" y="2332"/>
                    <a:pt x="320" y="2332"/>
                    <a:pt x="320" y="2332"/>
                  </a:cubicBezTo>
                  <a:cubicBezTo>
                    <a:pt x="305" y="2335"/>
                    <a:pt x="305" y="2335"/>
                    <a:pt x="305" y="2335"/>
                  </a:cubicBezTo>
                  <a:cubicBezTo>
                    <a:pt x="304" y="2347"/>
                    <a:pt x="304" y="2347"/>
                    <a:pt x="304" y="2347"/>
                  </a:cubicBezTo>
                  <a:cubicBezTo>
                    <a:pt x="290" y="2338"/>
                    <a:pt x="290" y="2338"/>
                    <a:pt x="290" y="2338"/>
                  </a:cubicBezTo>
                  <a:cubicBezTo>
                    <a:pt x="263" y="2345"/>
                    <a:pt x="263" y="2345"/>
                    <a:pt x="263" y="2345"/>
                  </a:cubicBezTo>
                  <a:cubicBezTo>
                    <a:pt x="262" y="2364"/>
                    <a:pt x="262" y="2364"/>
                    <a:pt x="262" y="2364"/>
                  </a:cubicBezTo>
                  <a:cubicBezTo>
                    <a:pt x="269" y="2383"/>
                    <a:pt x="269" y="2383"/>
                    <a:pt x="269" y="2383"/>
                  </a:cubicBezTo>
                  <a:cubicBezTo>
                    <a:pt x="258" y="2371"/>
                    <a:pt x="258" y="2371"/>
                    <a:pt x="258" y="2371"/>
                  </a:cubicBezTo>
                  <a:cubicBezTo>
                    <a:pt x="247" y="2378"/>
                    <a:pt x="247" y="2378"/>
                    <a:pt x="247" y="2378"/>
                  </a:cubicBezTo>
                  <a:cubicBezTo>
                    <a:pt x="255" y="2363"/>
                    <a:pt x="255" y="2363"/>
                    <a:pt x="255" y="2363"/>
                  </a:cubicBezTo>
                  <a:cubicBezTo>
                    <a:pt x="252" y="2348"/>
                    <a:pt x="252" y="2348"/>
                    <a:pt x="252" y="2348"/>
                  </a:cubicBezTo>
                  <a:cubicBezTo>
                    <a:pt x="244" y="2348"/>
                    <a:pt x="244" y="2348"/>
                    <a:pt x="244" y="2348"/>
                  </a:cubicBezTo>
                  <a:cubicBezTo>
                    <a:pt x="241" y="2336"/>
                    <a:pt x="241" y="2336"/>
                    <a:pt x="241" y="2336"/>
                  </a:cubicBezTo>
                  <a:cubicBezTo>
                    <a:pt x="241" y="2336"/>
                    <a:pt x="219" y="2327"/>
                    <a:pt x="215" y="2323"/>
                  </a:cubicBezTo>
                  <a:cubicBezTo>
                    <a:pt x="212" y="2323"/>
                    <a:pt x="207" y="2338"/>
                    <a:pt x="207" y="2338"/>
                  </a:cubicBezTo>
                  <a:cubicBezTo>
                    <a:pt x="177" y="2341"/>
                    <a:pt x="177" y="2341"/>
                    <a:pt x="177" y="2341"/>
                  </a:cubicBezTo>
                  <a:cubicBezTo>
                    <a:pt x="178" y="2333"/>
                    <a:pt x="178" y="2333"/>
                    <a:pt x="178" y="2333"/>
                  </a:cubicBezTo>
                  <a:cubicBezTo>
                    <a:pt x="129" y="2323"/>
                    <a:pt x="129" y="2323"/>
                    <a:pt x="129" y="2323"/>
                  </a:cubicBezTo>
                  <a:cubicBezTo>
                    <a:pt x="125" y="2330"/>
                    <a:pt x="125" y="2330"/>
                    <a:pt x="125" y="2330"/>
                  </a:cubicBezTo>
                  <a:cubicBezTo>
                    <a:pt x="118" y="2323"/>
                    <a:pt x="118" y="2323"/>
                    <a:pt x="118" y="2323"/>
                  </a:cubicBezTo>
                  <a:cubicBezTo>
                    <a:pt x="99" y="2329"/>
                    <a:pt x="99" y="2329"/>
                    <a:pt x="99" y="2329"/>
                  </a:cubicBezTo>
                  <a:cubicBezTo>
                    <a:pt x="91" y="2340"/>
                    <a:pt x="91" y="2340"/>
                    <a:pt x="91" y="2340"/>
                  </a:cubicBezTo>
                  <a:cubicBezTo>
                    <a:pt x="65" y="2335"/>
                    <a:pt x="65" y="2335"/>
                    <a:pt x="65" y="2335"/>
                  </a:cubicBezTo>
                  <a:cubicBezTo>
                    <a:pt x="65" y="2335"/>
                    <a:pt x="62" y="2327"/>
                    <a:pt x="51" y="2327"/>
                  </a:cubicBezTo>
                  <a:cubicBezTo>
                    <a:pt x="39" y="2326"/>
                    <a:pt x="35" y="2341"/>
                    <a:pt x="35" y="2341"/>
                  </a:cubicBezTo>
                  <a:cubicBezTo>
                    <a:pt x="46" y="2353"/>
                    <a:pt x="46" y="2353"/>
                    <a:pt x="46" y="2353"/>
                  </a:cubicBezTo>
                  <a:cubicBezTo>
                    <a:pt x="31" y="2357"/>
                    <a:pt x="31" y="2357"/>
                    <a:pt x="31" y="2357"/>
                  </a:cubicBezTo>
                  <a:cubicBezTo>
                    <a:pt x="31" y="2357"/>
                    <a:pt x="30" y="2376"/>
                    <a:pt x="44" y="2380"/>
                  </a:cubicBezTo>
                  <a:cubicBezTo>
                    <a:pt x="55" y="2388"/>
                    <a:pt x="63" y="2373"/>
                    <a:pt x="63" y="2373"/>
                  </a:cubicBezTo>
                  <a:cubicBezTo>
                    <a:pt x="78" y="2374"/>
                    <a:pt x="78" y="2374"/>
                    <a:pt x="78" y="2374"/>
                  </a:cubicBezTo>
                  <a:cubicBezTo>
                    <a:pt x="74" y="2378"/>
                    <a:pt x="74" y="2378"/>
                    <a:pt x="74" y="2378"/>
                  </a:cubicBezTo>
                  <a:cubicBezTo>
                    <a:pt x="74" y="2378"/>
                    <a:pt x="60" y="2377"/>
                    <a:pt x="55" y="2396"/>
                  </a:cubicBezTo>
                  <a:cubicBezTo>
                    <a:pt x="50" y="2415"/>
                    <a:pt x="73" y="2420"/>
                    <a:pt x="73" y="2420"/>
                  </a:cubicBezTo>
                  <a:cubicBezTo>
                    <a:pt x="65" y="2423"/>
                    <a:pt x="65" y="2423"/>
                    <a:pt x="65" y="2423"/>
                  </a:cubicBezTo>
                  <a:cubicBezTo>
                    <a:pt x="72" y="2431"/>
                    <a:pt x="72" y="2431"/>
                    <a:pt x="72" y="2431"/>
                  </a:cubicBezTo>
                  <a:cubicBezTo>
                    <a:pt x="83" y="2432"/>
                    <a:pt x="83" y="2432"/>
                    <a:pt x="83" y="2432"/>
                  </a:cubicBezTo>
                  <a:cubicBezTo>
                    <a:pt x="83" y="2432"/>
                    <a:pt x="80" y="2424"/>
                    <a:pt x="80" y="2416"/>
                  </a:cubicBezTo>
                  <a:cubicBezTo>
                    <a:pt x="80" y="2412"/>
                    <a:pt x="92" y="2409"/>
                    <a:pt x="92" y="2409"/>
                  </a:cubicBezTo>
                  <a:cubicBezTo>
                    <a:pt x="110" y="2422"/>
                    <a:pt x="110" y="2422"/>
                    <a:pt x="110" y="2422"/>
                  </a:cubicBezTo>
                  <a:cubicBezTo>
                    <a:pt x="110" y="2422"/>
                    <a:pt x="105" y="2437"/>
                    <a:pt x="101" y="2448"/>
                  </a:cubicBezTo>
                  <a:cubicBezTo>
                    <a:pt x="97" y="2459"/>
                    <a:pt x="96" y="2474"/>
                    <a:pt x="96" y="2474"/>
                  </a:cubicBezTo>
                  <a:cubicBezTo>
                    <a:pt x="62" y="2477"/>
                    <a:pt x="62" y="2477"/>
                    <a:pt x="62" y="2477"/>
                  </a:cubicBezTo>
                  <a:cubicBezTo>
                    <a:pt x="62" y="2477"/>
                    <a:pt x="60" y="2454"/>
                    <a:pt x="45" y="2457"/>
                  </a:cubicBezTo>
                  <a:cubicBezTo>
                    <a:pt x="30" y="2460"/>
                    <a:pt x="43" y="2487"/>
                    <a:pt x="43" y="2487"/>
                  </a:cubicBezTo>
                  <a:cubicBezTo>
                    <a:pt x="43" y="2487"/>
                    <a:pt x="28" y="2487"/>
                    <a:pt x="28" y="2502"/>
                  </a:cubicBezTo>
                  <a:cubicBezTo>
                    <a:pt x="27" y="2517"/>
                    <a:pt x="38" y="2514"/>
                    <a:pt x="38" y="2514"/>
                  </a:cubicBezTo>
                  <a:cubicBezTo>
                    <a:pt x="34" y="2521"/>
                    <a:pt x="34" y="2521"/>
                    <a:pt x="34" y="2521"/>
                  </a:cubicBezTo>
                  <a:cubicBezTo>
                    <a:pt x="48" y="2541"/>
                    <a:pt x="48" y="2541"/>
                    <a:pt x="48" y="2541"/>
                  </a:cubicBezTo>
                  <a:cubicBezTo>
                    <a:pt x="64" y="2530"/>
                    <a:pt x="64" y="2530"/>
                    <a:pt x="64" y="2530"/>
                  </a:cubicBezTo>
                  <a:cubicBezTo>
                    <a:pt x="76" y="2504"/>
                    <a:pt x="76" y="2504"/>
                    <a:pt x="76" y="2504"/>
                  </a:cubicBezTo>
                  <a:cubicBezTo>
                    <a:pt x="68" y="2527"/>
                    <a:pt x="68" y="2527"/>
                    <a:pt x="68" y="2527"/>
                  </a:cubicBezTo>
                  <a:cubicBezTo>
                    <a:pt x="67" y="2542"/>
                    <a:pt x="67" y="2542"/>
                    <a:pt x="67" y="2542"/>
                  </a:cubicBezTo>
                  <a:cubicBezTo>
                    <a:pt x="86" y="2543"/>
                    <a:pt x="86" y="2543"/>
                    <a:pt x="86" y="2543"/>
                  </a:cubicBezTo>
                  <a:cubicBezTo>
                    <a:pt x="89" y="2547"/>
                    <a:pt x="81" y="2562"/>
                    <a:pt x="81" y="2562"/>
                  </a:cubicBezTo>
                  <a:cubicBezTo>
                    <a:pt x="85" y="2566"/>
                    <a:pt x="85" y="2566"/>
                    <a:pt x="85" y="2566"/>
                  </a:cubicBezTo>
                  <a:cubicBezTo>
                    <a:pt x="77" y="2565"/>
                    <a:pt x="77" y="2565"/>
                    <a:pt x="77" y="2565"/>
                  </a:cubicBezTo>
                  <a:cubicBezTo>
                    <a:pt x="77" y="2573"/>
                    <a:pt x="77" y="2573"/>
                    <a:pt x="77" y="2573"/>
                  </a:cubicBezTo>
                  <a:cubicBezTo>
                    <a:pt x="91" y="2585"/>
                    <a:pt x="91" y="2585"/>
                    <a:pt x="91" y="2585"/>
                  </a:cubicBezTo>
                  <a:cubicBezTo>
                    <a:pt x="103" y="2570"/>
                    <a:pt x="103" y="2570"/>
                    <a:pt x="103" y="2570"/>
                  </a:cubicBezTo>
                  <a:cubicBezTo>
                    <a:pt x="104" y="2544"/>
                    <a:pt x="104" y="2544"/>
                    <a:pt x="104" y="2544"/>
                  </a:cubicBezTo>
                  <a:cubicBezTo>
                    <a:pt x="112" y="2540"/>
                    <a:pt x="112" y="2540"/>
                    <a:pt x="112" y="2540"/>
                  </a:cubicBezTo>
                  <a:cubicBezTo>
                    <a:pt x="120" y="2521"/>
                    <a:pt x="120" y="2521"/>
                    <a:pt x="120" y="2521"/>
                  </a:cubicBezTo>
                  <a:cubicBezTo>
                    <a:pt x="120" y="2521"/>
                    <a:pt x="131" y="2530"/>
                    <a:pt x="139" y="2522"/>
                  </a:cubicBezTo>
                  <a:cubicBezTo>
                    <a:pt x="143" y="2519"/>
                    <a:pt x="140" y="2503"/>
                    <a:pt x="140" y="2503"/>
                  </a:cubicBezTo>
                  <a:cubicBezTo>
                    <a:pt x="140" y="2503"/>
                    <a:pt x="147" y="2500"/>
                    <a:pt x="166" y="2493"/>
                  </a:cubicBezTo>
                  <a:cubicBezTo>
                    <a:pt x="182" y="2482"/>
                    <a:pt x="201" y="2483"/>
                    <a:pt x="201" y="2483"/>
                  </a:cubicBezTo>
                  <a:cubicBezTo>
                    <a:pt x="200" y="2491"/>
                    <a:pt x="200" y="2491"/>
                    <a:pt x="200" y="2491"/>
                  </a:cubicBezTo>
                  <a:cubicBezTo>
                    <a:pt x="223" y="2480"/>
                    <a:pt x="223" y="2480"/>
                    <a:pt x="223" y="2480"/>
                  </a:cubicBezTo>
                  <a:cubicBezTo>
                    <a:pt x="227" y="2469"/>
                    <a:pt x="227" y="2469"/>
                    <a:pt x="227" y="2469"/>
                  </a:cubicBezTo>
                  <a:cubicBezTo>
                    <a:pt x="235" y="2470"/>
                    <a:pt x="235" y="2470"/>
                    <a:pt x="235" y="2470"/>
                  </a:cubicBezTo>
                  <a:cubicBezTo>
                    <a:pt x="231" y="2481"/>
                    <a:pt x="231" y="2481"/>
                    <a:pt x="231" y="2481"/>
                  </a:cubicBezTo>
                  <a:cubicBezTo>
                    <a:pt x="245" y="2485"/>
                    <a:pt x="245" y="2485"/>
                    <a:pt x="245" y="2485"/>
                  </a:cubicBezTo>
                  <a:cubicBezTo>
                    <a:pt x="245" y="2485"/>
                    <a:pt x="215" y="2488"/>
                    <a:pt x="203" y="2506"/>
                  </a:cubicBezTo>
                  <a:cubicBezTo>
                    <a:pt x="191" y="2525"/>
                    <a:pt x="194" y="2537"/>
                    <a:pt x="190" y="2548"/>
                  </a:cubicBezTo>
                  <a:cubicBezTo>
                    <a:pt x="190" y="2555"/>
                    <a:pt x="174" y="2566"/>
                    <a:pt x="174" y="2566"/>
                  </a:cubicBezTo>
                  <a:cubicBezTo>
                    <a:pt x="192" y="2506"/>
                    <a:pt x="192" y="2506"/>
                    <a:pt x="192" y="2506"/>
                  </a:cubicBezTo>
                  <a:cubicBezTo>
                    <a:pt x="193" y="2494"/>
                    <a:pt x="193" y="2494"/>
                    <a:pt x="193" y="2494"/>
                  </a:cubicBezTo>
                  <a:cubicBezTo>
                    <a:pt x="193" y="2494"/>
                    <a:pt x="178" y="2497"/>
                    <a:pt x="170" y="2505"/>
                  </a:cubicBezTo>
                  <a:cubicBezTo>
                    <a:pt x="158" y="2508"/>
                    <a:pt x="138" y="2534"/>
                    <a:pt x="138" y="2534"/>
                  </a:cubicBezTo>
                  <a:cubicBezTo>
                    <a:pt x="138" y="2534"/>
                    <a:pt x="127" y="2537"/>
                    <a:pt x="126" y="2549"/>
                  </a:cubicBezTo>
                  <a:cubicBezTo>
                    <a:pt x="130" y="2560"/>
                    <a:pt x="149" y="2553"/>
                    <a:pt x="141" y="2561"/>
                  </a:cubicBezTo>
                  <a:cubicBezTo>
                    <a:pt x="137" y="2564"/>
                    <a:pt x="122" y="2564"/>
                    <a:pt x="114" y="2571"/>
                  </a:cubicBezTo>
                  <a:cubicBezTo>
                    <a:pt x="106" y="2578"/>
                    <a:pt x="106" y="2593"/>
                    <a:pt x="106" y="2593"/>
                  </a:cubicBezTo>
                  <a:cubicBezTo>
                    <a:pt x="83" y="2592"/>
                    <a:pt x="83" y="2592"/>
                    <a:pt x="83" y="2592"/>
                  </a:cubicBezTo>
                  <a:cubicBezTo>
                    <a:pt x="68" y="2611"/>
                    <a:pt x="68" y="2611"/>
                    <a:pt x="68" y="2611"/>
                  </a:cubicBezTo>
                  <a:cubicBezTo>
                    <a:pt x="85" y="2631"/>
                    <a:pt x="85" y="2631"/>
                    <a:pt x="85" y="2631"/>
                  </a:cubicBezTo>
                  <a:cubicBezTo>
                    <a:pt x="105" y="2620"/>
                    <a:pt x="105" y="2620"/>
                    <a:pt x="105" y="2620"/>
                  </a:cubicBezTo>
                  <a:cubicBezTo>
                    <a:pt x="100" y="2635"/>
                    <a:pt x="100" y="2635"/>
                    <a:pt x="100" y="2635"/>
                  </a:cubicBezTo>
                  <a:cubicBezTo>
                    <a:pt x="107" y="2639"/>
                    <a:pt x="107" y="2639"/>
                    <a:pt x="107" y="2639"/>
                  </a:cubicBezTo>
                  <a:cubicBezTo>
                    <a:pt x="130" y="2625"/>
                    <a:pt x="130" y="2625"/>
                    <a:pt x="130" y="2625"/>
                  </a:cubicBezTo>
                  <a:cubicBezTo>
                    <a:pt x="115" y="2644"/>
                    <a:pt x="115" y="2644"/>
                    <a:pt x="115" y="2644"/>
                  </a:cubicBezTo>
                  <a:cubicBezTo>
                    <a:pt x="122" y="2652"/>
                    <a:pt x="122" y="2652"/>
                    <a:pt x="122" y="2652"/>
                  </a:cubicBezTo>
                  <a:cubicBezTo>
                    <a:pt x="89" y="2639"/>
                    <a:pt x="89" y="2639"/>
                    <a:pt x="89" y="2639"/>
                  </a:cubicBezTo>
                  <a:cubicBezTo>
                    <a:pt x="77" y="2653"/>
                    <a:pt x="77" y="2653"/>
                    <a:pt x="77" y="2653"/>
                  </a:cubicBezTo>
                  <a:cubicBezTo>
                    <a:pt x="87" y="2665"/>
                    <a:pt x="87" y="2665"/>
                    <a:pt x="87" y="2665"/>
                  </a:cubicBezTo>
                  <a:cubicBezTo>
                    <a:pt x="58" y="2649"/>
                    <a:pt x="58" y="2649"/>
                    <a:pt x="58" y="2649"/>
                  </a:cubicBezTo>
                  <a:cubicBezTo>
                    <a:pt x="47" y="2656"/>
                    <a:pt x="47" y="2656"/>
                    <a:pt x="47" y="2656"/>
                  </a:cubicBezTo>
                  <a:cubicBezTo>
                    <a:pt x="38" y="2686"/>
                    <a:pt x="38" y="2686"/>
                    <a:pt x="38" y="2686"/>
                  </a:cubicBezTo>
                  <a:cubicBezTo>
                    <a:pt x="30" y="2689"/>
                    <a:pt x="30" y="2689"/>
                    <a:pt x="30" y="2689"/>
                  </a:cubicBezTo>
                  <a:cubicBezTo>
                    <a:pt x="44" y="2640"/>
                    <a:pt x="44" y="2640"/>
                    <a:pt x="44" y="2640"/>
                  </a:cubicBezTo>
                  <a:cubicBezTo>
                    <a:pt x="36" y="2644"/>
                    <a:pt x="36" y="2644"/>
                    <a:pt x="36" y="2644"/>
                  </a:cubicBezTo>
                  <a:cubicBezTo>
                    <a:pt x="32" y="2659"/>
                    <a:pt x="32" y="2659"/>
                    <a:pt x="32" y="2659"/>
                  </a:cubicBezTo>
                  <a:cubicBezTo>
                    <a:pt x="20" y="2658"/>
                    <a:pt x="20" y="2658"/>
                    <a:pt x="20" y="2658"/>
                  </a:cubicBezTo>
                  <a:cubicBezTo>
                    <a:pt x="0" y="2688"/>
                    <a:pt x="0" y="2688"/>
                    <a:pt x="0" y="2688"/>
                  </a:cubicBezTo>
                  <a:cubicBezTo>
                    <a:pt x="9" y="2738"/>
                    <a:pt x="9" y="2738"/>
                    <a:pt x="9" y="2738"/>
                  </a:cubicBezTo>
                  <a:cubicBezTo>
                    <a:pt x="13" y="2734"/>
                    <a:pt x="13" y="2734"/>
                    <a:pt x="13" y="2734"/>
                  </a:cubicBezTo>
                  <a:cubicBezTo>
                    <a:pt x="12" y="2761"/>
                    <a:pt x="12" y="2761"/>
                    <a:pt x="12" y="2761"/>
                  </a:cubicBezTo>
                  <a:cubicBezTo>
                    <a:pt x="23" y="2762"/>
                    <a:pt x="23" y="2762"/>
                    <a:pt x="23" y="2762"/>
                  </a:cubicBezTo>
                  <a:cubicBezTo>
                    <a:pt x="24" y="2739"/>
                    <a:pt x="24" y="2739"/>
                    <a:pt x="24" y="2739"/>
                  </a:cubicBezTo>
                  <a:cubicBezTo>
                    <a:pt x="39" y="2736"/>
                    <a:pt x="39" y="2736"/>
                    <a:pt x="39" y="2736"/>
                  </a:cubicBezTo>
                  <a:cubicBezTo>
                    <a:pt x="40" y="2724"/>
                    <a:pt x="40" y="2724"/>
                    <a:pt x="40" y="2724"/>
                  </a:cubicBezTo>
                  <a:cubicBezTo>
                    <a:pt x="51" y="2732"/>
                    <a:pt x="51" y="2732"/>
                    <a:pt x="51" y="2732"/>
                  </a:cubicBezTo>
                  <a:cubicBezTo>
                    <a:pt x="43" y="2743"/>
                    <a:pt x="43" y="2743"/>
                    <a:pt x="43" y="2743"/>
                  </a:cubicBezTo>
                  <a:cubicBezTo>
                    <a:pt x="46" y="2747"/>
                    <a:pt x="46" y="2747"/>
                    <a:pt x="46" y="2747"/>
                  </a:cubicBezTo>
                  <a:cubicBezTo>
                    <a:pt x="77" y="2722"/>
                    <a:pt x="77" y="2722"/>
                    <a:pt x="77" y="2722"/>
                  </a:cubicBezTo>
                  <a:cubicBezTo>
                    <a:pt x="71" y="2707"/>
                    <a:pt x="71" y="2707"/>
                    <a:pt x="71" y="2707"/>
                  </a:cubicBezTo>
                  <a:cubicBezTo>
                    <a:pt x="56" y="2710"/>
                    <a:pt x="56" y="2710"/>
                    <a:pt x="56" y="2710"/>
                  </a:cubicBezTo>
                  <a:cubicBezTo>
                    <a:pt x="75" y="2699"/>
                    <a:pt x="75" y="2699"/>
                    <a:pt x="75" y="2699"/>
                  </a:cubicBezTo>
                  <a:cubicBezTo>
                    <a:pt x="79" y="2688"/>
                    <a:pt x="79" y="2688"/>
                    <a:pt x="79" y="2688"/>
                  </a:cubicBezTo>
                  <a:cubicBezTo>
                    <a:pt x="86" y="2703"/>
                    <a:pt x="86" y="2703"/>
                    <a:pt x="86" y="2703"/>
                  </a:cubicBezTo>
                  <a:cubicBezTo>
                    <a:pt x="100" y="2708"/>
                    <a:pt x="100" y="2708"/>
                    <a:pt x="100" y="2708"/>
                  </a:cubicBezTo>
                  <a:cubicBezTo>
                    <a:pt x="89" y="2711"/>
                    <a:pt x="89" y="2711"/>
                    <a:pt x="89" y="2711"/>
                  </a:cubicBezTo>
                  <a:cubicBezTo>
                    <a:pt x="92" y="2723"/>
                    <a:pt x="92" y="2723"/>
                    <a:pt x="92" y="2723"/>
                  </a:cubicBezTo>
                  <a:cubicBezTo>
                    <a:pt x="108" y="2716"/>
                    <a:pt x="108" y="2716"/>
                    <a:pt x="108" y="2716"/>
                  </a:cubicBezTo>
                  <a:cubicBezTo>
                    <a:pt x="116" y="2693"/>
                    <a:pt x="116" y="2693"/>
                    <a:pt x="116" y="2693"/>
                  </a:cubicBezTo>
                  <a:cubicBezTo>
                    <a:pt x="124" y="2690"/>
                    <a:pt x="124" y="2690"/>
                    <a:pt x="124" y="2690"/>
                  </a:cubicBezTo>
                  <a:cubicBezTo>
                    <a:pt x="132" y="2671"/>
                    <a:pt x="132" y="2671"/>
                    <a:pt x="132" y="2671"/>
                  </a:cubicBezTo>
                  <a:cubicBezTo>
                    <a:pt x="136" y="2675"/>
                    <a:pt x="136" y="2675"/>
                    <a:pt x="136" y="2675"/>
                  </a:cubicBezTo>
                  <a:cubicBezTo>
                    <a:pt x="131" y="2694"/>
                    <a:pt x="131" y="2694"/>
                    <a:pt x="131" y="2694"/>
                  </a:cubicBezTo>
                  <a:cubicBezTo>
                    <a:pt x="150" y="2687"/>
                    <a:pt x="150" y="2687"/>
                    <a:pt x="150" y="2687"/>
                  </a:cubicBezTo>
                  <a:cubicBezTo>
                    <a:pt x="150" y="2691"/>
                    <a:pt x="150" y="2691"/>
                    <a:pt x="150" y="2691"/>
                  </a:cubicBezTo>
                  <a:cubicBezTo>
                    <a:pt x="123" y="2701"/>
                    <a:pt x="123" y="2701"/>
                    <a:pt x="123" y="2701"/>
                  </a:cubicBezTo>
                  <a:cubicBezTo>
                    <a:pt x="118" y="2724"/>
                    <a:pt x="118" y="2724"/>
                    <a:pt x="118" y="2724"/>
                  </a:cubicBezTo>
                  <a:cubicBezTo>
                    <a:pt x="96" y="2731"/>
                    <a:pt x="96" y="2731"/>
                    <a:pt x="96" y="2731"/>
                  </a:cubicBezTo>
                  <a:cubicBezTo>
                    <a:pt x="103" y="2739"/>
                    <a:pt x="103" y="2739"/>
                    <a:pt x="103" y="2739"/>
                  </a:cubicBezTo>
                  <a:cubicBezTo>
                    <a:pt x="103" y="2739"/>
                    <a:pt x="107" y="2731"/>
                    <a:pt x="118" y="2736"/>
                  </a:cubicBezTo>
                  <a:cubicBezTo>
                    <a:pt x="125" y="2740"/>
                    <a:pt x="106" y="2750"/>
                    <a:pt x="106" y="2750"/>
                  </a:cubicBezTo>
                  <a:cubicBezTo>
                    <a:pt x="136" y="2744"/>
                    <a:pt x="136" y="2744"/>
                    <a:pt x="136" y="2744"/>
                  </a:cubicBezTo>
                  <a:cubicBezTo>
                    <a:pt x="136" y="2744"/>
                    <a:pt x="110" y="2754"/>
                    <a:pt x="106" y="2758"/>
                  </a:cubicBezTo>
                  <a:cubicBezTo>
                    <a:pt x="98" y="2761"/>
                    <a:pt x="90" y="2776"/>
                    <a:pt x="90" y="2776"/>
                  </a:cubicBezTo>
                  <a:cubicBezTo>
                    <a:pt x="93" y="2784"/>
                    <a:pt x="93" y="2784"/>
                    <a:pt x="93" y="2784"/>
                  </a:cubicBezTo>
                  <a:cubicBezTo>
                    <a:pt x="70" y="2791"/>
                    <a:pt x="70" y="2791"/>
                    <a:pt x="70" y="2791"/>
                  </a:cubicBezTo>
                  <a:cubicBezTo>
                    <a:pt x="81" y="2810"/>
                    <a:pt x="81" y="2810"/>
                    <a:pt x="81" y="2810"/>
                  </a:cubicBezTo>
                  <a:cubicBezTo>
                    <a:pt x="84" y="2826"/>
                    <a:pt x="84" y="2826"/>
                    <a:pt x="84" y="2826"/>
                  </a:cubicBezTo>
                  <a:cubicBezTo>
                    <a:pt x="111" y="2812"/>
                    <a:pt x="111" y="2812"/>
                    <a:pt x="111" y="2812"/>
                  </a:cubicBezTo>
                  <a:cubicBezTo>
                    <a:pt x="137" y="2817"/>
                    <a:pt x="137" y="2817"/>
                    <a:pt x="137" y="2817"/>
                  </a:cubicBezTo>
                  <a:cubicBezTo>
                    <a:pt x="114" y="2820"/>
                    <a:pt x="114" y="2820"/>
                    <a:pt x="114" y="2820"/>
                  </a:cubicBezTo>
                  <a:cubicBezTo>
                    <a:pt x="91" y="2834"/>
                    <a:pt x="91" y="2834"/>
                    <a:pt x="91" y="2834"/>
                  </a:cubicBezTo>
                  <a:cubicBezTo>
                    <a:pt x="90" y="2845"/>
                    <a:pt x="90" y="2845"/>
                    <a:pt x="90" y="2845"/>
                  </a:cubicBezTo>
                  <a:cubicBezTo>
                    <a:pt x="65" y="2821"/>
                    <a:pt x="65" y="2821"/>
                    <a:pt x="65" y="2821"/>
                  </a:cubicBezTo>
                  <a:cubicBezTo>
                    <a:pt x="46" y="2835"/>
                    <a:pt x="46" y="2835"/>
                    <a:pt x="46" y="2835"/>
                  </a:cubicBezTo>
                  <a:cubicBezTo>
                    <a:pt x="47" y="2813"/>
                    <a:pt x="47" y="2813"/>
                    <a:pt x="47" y="2813"/>
                  </a:cubicBezTo>
                  <a:cubicBezTo>
                    <a:pt x="29" y="2804"/>
                    <a:pt x="29" y="2804"/>
                    <a:pt x="29" y="2804"/>
                  </a:cubicBezTo>
                  <a:cubicBezTo>
                    <a:pt x="31" y="2835"/>
                    <a:pt x="31" y="2835"/>
                    <a:pt x="31" y="2835"/>
                  </a:cubicBezTo>
                  <a:cubicBezTo>
                    <a:pt x="23" y="2838"/>
                    <a:pt x="23" y="2838"/>
                    <a:pt x="23" y="2838"/>
                  </a:cubicBezTo>
                  <a:cubicBezTo>
                    <a:pt x="19" y="2849"/>
                    <a:pt x="19" y="2849"/>
                    <a:pt x="19" y="2849"/>
                  </a:cubicBezTo>
                  <a:cubicBezTo>
                    <a:pt x="7" y="2864"/>
                    <a:pt x="7" y="2864"/>
                    <a:pt x="7" y="2864"/>
                  </a:cubicBezTo>
                  <a:cubicBezTo>
                    <a:pt x="7" y="2864"/>
                    <a:pt x="20" y="2911"/>
                    <a:pt x="35" y="2919"/>
                  </a:cubicBezTo>
                  <a:cubicBezTo>
                    <a:pt x="45" y="2931"/>
                    <a:pt x="56" y="2939"/>
                    <a:pt x="63" y="2955"/>
                  </a:cubicBezTo>
                  <a:cubicBezTo>
                    <a:pt x="70" y="2970"/>
                    <a:pt x="125" y="2992"/>
                    <a:pt x="125" y="2992"/>
                  </a:cubicBezTo>
                  <a:cubicBezTo>
                    <a:pt x="128" y="3004"/>
                    <a:pt x="128" y="3004"/>
                    <a:pt x="128" y="3004"/>
                  </a:cubicBezTo>
                  <a:cubicBezTo>
                    <a:pt x="140" y="2989"/>
                    <a:pt x="140" y="2989"/>
                    <a:pt x="140" y="2989"/>
                  </a:cubicBezTo>
                  <a:cubicBezTo>
                    <a:pt x="154" y="3001"/>
                    <a:pt x="154" y="3001"/>
                    <a:pt x="154" y="3001"/>
                  </a:cubicBezTo>
                  <a:cubicBezTo>
                    <a:pt x="120" y="3026"/>
                    <a:pt x="120" y="3026"/>
                    <a:pt x="120" y="3026"/>
                  </a:cubicBezTo>
                  <a:cubicBezTo>
                    <a:pt x="127" y="3038"/>
                    <a:pt x="127" y="3038"/>
                    <a:pt x="127" y="3038"/>
                  </a:cubicBezTo>
                  <a:cubicBezTo>
                    <a:pt x="153" y="3039"/>
                    <a:pt x="153" y="3039"/>
                    <a:pt x="153" y="3039"/>
                  </a:cubicBezTo>
                  <a:cubicBezTo>
                    <a:pt x="146" y="3031"/>
                    <a:pt x="146" y="3031"/>
                    <a:pt x="146" y="3031"/>
                  </a:cubicBezTo>
                  <a:cubicBezTo>
                    <a:pt x="161" y="3024"/>
                    <a:pt x="161" y="3024"/>
                    <a:pt x="161" y="3024"/>
                  </a:cubicBezTo>
                  <a:cubicBezTo>
                    <a:pt x="179" y="3033"/>
                    <a:pt x="179" y="3033"/>
                    <a:pt x="179" y="3033"/>
                  </a:cubicBezTo>
                  <a:cubicBezTo>
                    <a:pt x="160" y="3036"/>
                    <a:pt x="160" y="3036"/>
                    <a:pt x="160" y="3036"/>
                  </a:cubicBezTo>
                  <a:cubicBezTo>
                    <a:pt x="175" y="3052"/>
                    <a:pt x="175" y="3052"/>
                    <a:pt x="175" y="3052"/>
                  </a:cubicBezTo>
                  <a:cubicBezTo>
                    <a:pt x="190" y="3045"/>
                    <a:pt x="190" y="3045"/>
                    <a:pt x="190" y="3045"/>
                  </a:cubicBezTo>
                  <a:cubicBezTo>
                    <a:pt x="190" y="3045"/>
                    <a:pt x="208" y="3057"/>
                    <a:pt x="230" y="3058"/>
                  </a:cubicBezTo>
                  <a:cubicBezTo>
                    <a:pt x="249" y="3059"/>
                    <a:pt x="257" y="3052"/>
                    <a:pt x="272" y="3049"/>
                  </a:cubicBezTo>
                  <a:cubicBezTo>
                    <a:pt x="287" y="3046"/>
                    <a:pt x="307" y="3028"/>
                    <a:pt x="307" y="3028"/>
                  </a:cubicBezTo>
                  <a:cubicBezTo>
                    <a:pt x="306" y="3050"/>
                    <a:pt x="306" y="3050"/>
                    <a:pt x="306" y="3050"/>
                  </a:cubicBezTo>
                  <a:cubicBezTo>
                    <a:pt x="387" y="2986"/>
                    <a:pt x="387" y="2986"/>
                    <a:pt x="387" y="2986"/>
                  </a:cubicBezTo>
                  <a:cubicBezTo>
                    <a:pt x="388" y="2970"/>
                    <a:pt x="388" y="2970"/>
                    <a:pt x="388" y="2970"/>
                  </a:cubicBezTo>
                  <a:cubicBezTo>
                    <a:pt x="454" y="2924"/>
                    <a:pt x="454" y="2924"/>
                    <a:pt x="454" y="2924"/>
                  </a:cubicBezTo>
                  <a:cubicBezTo>
                    <a:pt x="451" y="2908"/>
                    <a:pt x="451" y="2908"/>
                    <a:pt x="451" y="2908"/>
                  </a:cubicBezTo>
                  <a:cubicBezTo>
                    <a:pt x="465" y="2913"/>
                    <a:pt x="465" y="2913"/>
                    <a:pt x="465" y="2913"/>
                  </a:cubicBezTo>
                  <a:cubicBezTo>
                    <a:pt x="485" y="2891"/>
                    <a:pt x="485" y="2891"/>
                    <a:pt x="485" y="2891"/>
                  </a:cubicBezTo>
                  <a:cubicBezTo>
                    <a:pt x="470" y="2882"/>
                    <a:pt x="470" y="2882"/>
                    <a:pt x="470" y="2882"/>
                  </a:cubicBezTo>
                  <a:cubicBezTo>
                    <a:pt x="524" y="2847"/>
                    <a:pt x="524" y="2847"/>
                    <a:pt x="524" y="2847"/>
                  </a:cubicBezTo>
                  <a:cubicBezTo>
                    <a:pt x="507" y="2823"/>
                    <a:pt x="507" y="2823"/>
                    <a:pt x="507" y="2823"/>
                  </a:cubicBezTo>
                  <a:cubicBezTo>
                    <a:pt x="518" y="2827"/>
                    <a:pt x="518" y="2827"/>
                    <a:pt x="518" y="2827"/>
                  </a:cubicBezTo>
                  <a:cubicBezTo>
                    <a:pt x="546" y="2863"/>
                    <a:pt x="546" y="2863"/>
                    <a:pt x="546" y="2863"/>
                  </a:cubicBezTo>
                  <a:cubicBezTo>
                    <a:pt x="592" y="2850"/>
                    <a:pt x="592" y="2850"/>
                    <a:pt x="592" y="2850"/>
                  </a:cubicBezTo>
                  <a:cubicBezTo>
                    <a:pt x="597" y="2808"/>
                    <a:pt x="597" y="2808"/>
                    <a:pt x="597" y="2808"/>
                  </a:cubicBezTo>
                  <a:cubicBezTo>
                    <a:pt x="608" y="2820"/>
                    <a:pt x="608" y="2820"/>
                    <a:pt x="608" y="2820"/>
                  </a:cubicBezTo>
                  <a:cubicBezTo>
                    <a:pt x="620" y="2813"/>
                    <a:pt x="620" y="2813"/>
                    <a:pt x="620" y="2813"/>
                  </a:cubicBezTo>
                  <a:cubicBezTo>
                    <a:pt x="613" y="2801"/>
                    <a:pt x="613" y="2801"/>
                    <a:pt x="613" y="2801"/>
                  </a:cubicBezTo>
                  <a:cubicBezTo>
                    <a:pt x="624" y="2802"/>
                    <a:pt x="624" y="2802"/>
                    <a:pt x="624" y="2802"/>
                  </a:cubicBezTo>
                  <a:cubicBezTo>
                    <a:pt x="622" y="2760"/>
                    <a:pt x="622" y="2760"/>
                    <a:pt x="622" y="2760"/>
                  </a:cubicBezTo>
                  <a:cubicBezTo>
                    <a:pt x="604" y="2751"/>
                    <a:pt x="604" y="2751"/>
                    <a:pt x="604" y="2751"/>
                  </a:cubicBezTo>
                  <a:cubicBezTo>
                    <a:pt x="594" y="2724"/>
                    <a:pt x="594" y="2724"/>
                    <a:pt x="594" y="2724"/>
                  </a:cubicBezTo>
                  <a:cubicBezTo>
                    <a:pt x="608" y="2736"/>
                    <a:pt x="608" y="2736"/>
                    <a:pt x="608" y="2736"/>
                  </a:cubicBezTo>
                  <a:cubicBezTo>
                    <a:pt x="610" y="2705"/>
                    <a:pt x="610" y="2705"/>
                    <a:pt x="610" y="2705"/>
                  </a:cubicBezTo>
                  <a:cubicBezTo>
                    <a:pt x="592" y="2685"/>
                    <a:pt x="592" y="2685"/>
                    <a:pt x="592" y="2685"/>
                  </a:cubicBezTo>
                  <a:cubicBezTo>
                    <a:pt x="603" y="2682"/>
                    <a:pt x="603" y="2682"/>
                    <a:pt x="603" y="2682"/>
                  </a:cubicBezTo>
                  <a:cubicBezTo>
                    <a:pt x="618" y="2694"/>
                    <a:pt x="618" y="2694"/>
                    <a:pt x="618" y="2694"/>
                  </a:cubicBezTo>
                  <a:cubicBezTo>
                    <a:pt x="616" y="2736"/>
                    <a:pt x="616" y="2736"/>
                    <a:pt x="616" y="2736"/>
                  </a:cubicBezTo>
                  <a:cubicBezTo>
                    <a:pt x="616" y="2736"/>
                    <a:pt x="634" y="2733"/>
                    <a:pt x="639" y="2722"/>
                  </a:cubicBezTo>
                  <a:cubicBezTo>
                    <a:pt x="639" y="2707"/>
                    <a:pt x="629" y="2695"/>
                    <a:pt x="629" y="2695"/>
                  </a:cubicBezTo>
                  <a:cubicBezTo>
                    <a:pt x="629" y="2695"/>
                    <a:pt x="630" y="2672"/>
                    <a:pt x="634" y="2657"/>
                  </a:cubicBezTo>
                  <a:cubicBezTo>
                    <a:pt x="635" y="2642"/>
                    <a:pt x="661" y="2647"/>
                    <a:pt x="668" y="2658"/>
                  </a:cubicBezTo>
                  <a:cubicBezTo>
                    <a:pt x="671" y="2666"/>
                    <a:pt x="659" y="2681"/>
                    <a:pt x="659" y="2681"/>
                  </a:cubicBezTo>
                  <a:cubicBezTo>
                    <a:pt x="653" y="2662"/>
                    <a:pt x="653" y="2662"/>
                    <a:pt x="653" y="2662"/>
                  </a:cubicBezTo>
                  <a:cubicBezTo>
                    <a:pt x="644" y="2680"/>
                    <a:pt x="644" y="2680"/>
                    <a:pt x="644" y="2680"/>
                  </a:cubicBezTo>
                  <a:cubicBezTo>
                    <a:pt x="647" y="2707"/>
                    <a:pt x="647" y="2707"/>
                    <a:pt x="647" y="2707"/>
                  </a:cubicBezTo>
                  <a:cubicBezTo>
                    <a:pt x="645" y="2749"/>
                    <a:pt x="645" y="2749"/>
                    <a:pt x="645" y="2749"/>
                  </a:cubicBezTo>
                  <a:cubicBezTo>
                    <a:pt x="637" y="2753"/>
                    <a:pt x="637" y="2753"/>
                    <a:pt x="637" y="2753"/>
                  </a:cubicBezTo>
                  <a:cubicBezTo>
                    <a:pt x="647" y="2791"/>
                    <a:pt x="647" y="2791"/>
                    <a:pt x="647" y="2791"/>
                  </a:cubicBezTo>
                  <a:cubicBezTo>
                    <a:pt x="658" y="2784"/>
                    <a:pt x="658" y="2784"/>
                    <a:pt x="658" y="2784"/>
                  </a:cubicBezTo>
                  <a:cubicBezTo>
                    <a:pt x="660" y="2826"/>
                    <a:pt x="660" y="2826"/>
                    <a:pt x="660" y="2826"/>
                  </a:cubicBezTo>
                  <a:cubicBezTo>
                    <a:pt x="690" y="2832"/>
                    <a:pt x="690" y="2832"/>
                    <a:pt x="690" y="2832"/>
                  </a:cubicBezTo>
                  <a:cubicBezTo>
                    <a:pt x="701" y="2825"/>
                    <a:pt x="701" y="2825"/>
                    <a:pt x="701" y="2825"/>
                  </a:cubicBezTo>
                  <a:cubicBezTo>
                    <a:pt x="704" y="2844"/>
                    <a:pt x="704" y="2844"/>
                    <a:pt x="704" y="2844"/>
                  </a:cubicBezTo>
                  <a:cubicBezTo>
                    <a:pt x="704" y="2844"/>
                    <a:pt x="731" y="2830"/>
                    <a:pt x="734" y="28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3" name="Freeform 447">
              <a:extLst>
                <a:ext uri="{FF2B5EF4-FFF2-40B4-BE49-F238E27FC236}">
                  <a16:creationId xmlns:a16="http://schemas.microsoft.com/office/drawing/2014/main" id="{7A35F096-9577-2D13-7362-43643E578071}"/>
                </a:ext>
              </a:extLst>
            </p:cNvPr>
            <p:cNvSpPr>
              <a:spLocks/>
            </p:cNvSpPr>
            <p:nvPr/>
          </p:nvSpPr>
          <p:spPr bwMode="gray">
            <a:xfrm>
              <a:off x="10201965" y="1356018"/>
              <a:ext cx="17980" cy="21576"/>
            </a:xfrm>
            <a:custGeom>
              <a:avLst/>
              <a:gdLst>
                <a:gd name="T0" fmla="*/ 10 w 30"/>
                <a:gd name="T1" fmla="*/ 39 h 39"/>
                <a:gd name="T2" fmla="*/ 30 w 30"/>
                <a:gd name="T3" fmla="*/ 17 h 39"/>
                <a:gd name="T4" fmla="*/ 23 w 30"/>
                <a:gd name="T5" fmla="*/ 5 h 39"/>
                <a:gd name="T6" fmla="*/ 3 w 30"/>
                <a:gd name="T7" fmla="*/ 20 h 39"/>
                <a:gd name="T8" fmla="*/ 10 w 30"/>
                <a:gd name="T9" fmla="*/ 39 h 39"/>
              </a:gdLst>
              <a:ahLst/>
              <a:cxnLst>
                <a:cxn ang="0">
                  <a:pos x="T0" y="T1"/>
                </a:cxn>
                <a:cxn ang="0">
                  <a:pos x="T2" y="T3"/>
                </a:cxn>
                <a:cxn ang="0">
                  <a:pos x="T4" y="T5"/>
                </a:cxn>
                <a:cxn ang="0">
                  <a:pos x="T6" y="T7"/>
                </a:cxn>
                <a:cxn ang="0">
                  <a:pos x="T8" y="T9"/>
                </a:cxn>
              </a:cxnLst>
              <a:rect l="0" t="0" r="r" b="b"/>
              <a:pathLst>
                <a:path w="30" h="39">
                  <a:moveTo>
                    <a:pt x="10" y="39"/>
                  </a:moveTo>
                  <a:cubicBezTo>
                    <a:pt x="30" y="17"/>
                    <a:pt x="30" y="17"/>
                    <a:pt x="30" y="17"/>
                  </a:cubicBezTo>
                  <a:cubicBezTo>
                    <a:pt x="23" y="5"/>
                    <a:pt x="23" y="5"/>
                    <a:pt x="23" y="5"/>
                  </a:cubicBezTo>
                  <a:cubicBezTo>
                    <a:pt x="23" y="5"/>
                    <a:pt x="0" y="0"/>
                    <a:pt x="3" y="20"/>
                  </a:cubicBezTo>
                  <a:cubicBezTo>
                    <a:pt x="2" y="39"/>
                    <a:pt x="10" y="39"/>
                    <a:pt x="10" y="3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4" name="Freeform 448">
              <a:extLst>
                <a:ext uri="{FF2B5EF4-FFF2-40B4-BE49-F238E27FC236}">
                  <a16:creationId xmlns:a16="http://schemas.microsoft.com/office/drawing/2014/main" id="{EF24B950-F08A-7840-850B-7EC5570AA482}"/>
                </a:ext>
              </a:extLst>
            </p:cNvPr>
            <p:cNvSpPr>
              <a:spLocks/>
            </p:cNvSpPr>
            <p:nvPr/>
          </p:nvSpPr>
          <p:spPr bwMode="gray">
            <a:xfrm>
              <a:off x="9939460" y="1683249"/>
              <a:ext cx="26971" cy="12586"/>
            </a:xfrm>
            <a:custGeom>
              <a:avLst/>
              <a:gdLst>
                <a:gd name="T0" fmla="*/ 22 w 45"/>
                <a:gd name="T1" fmla="*/ 1 h 21"/>
                <a:gd name="T2" fmla="*/ 18 w 45"/>
                <a:gd name="T3" fmla="*/ 16 h 21"/>
                <a:gd name="T4" fmla="*/ 22 w 45"/>
                <a:gd name="T5" fmla="*/ 1 h 21"/>
              </a:gdLst>
              <a:ahLst/>
              <a:cxnLst>
                <a:cxn ang="0">
                  <a:pos x="T0" y="T1"/>
                </a:cxn>
                <a:cxn ang="0">
                  <a:pos x="T2" y="T3"/>
                </a:cxn>
                <a:cxn ang="0">
                  <a:pos x="T4" y="T5"/>
                </a:cxn>
              </a:cxnLst>
              <a:rect l="0" t="0" r="r" b="b"/>
              <a:pathLst>
                <a:path w="45" h="21">
                  <a:moveTo>
                    <a:pt x="22" y="1"/>
                  </a:moveTo>
                  <a:cubicBezTo>
                    <a:pt x="0" y="0"/>
                    <a:pt x="10" y="16"/>
                    <a:pt x="18" y="16"/>
                  </a:cubicBezTo>
                  <a:cubicBezTo>
                    <a:pt x="29" y="21"/>
                    <a:pt x="45" y="2"/>
                    <a:pt x="2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5" name="Freeform 449">
              <a:extLst>
                <a:ext uri="{FF2B5EF4-FFF2-40B4-BE49-F238E27FC236}">
                  <a16:creationId xmlns:a16="http://schemas.microsoft.com/office/drawing/2014/main" id="{DCA31E9F-793B-DD97-FEA6-F5BE1DFC16A4}"/>
                </a:ext>
              </a:extLst>
            </p:cNvPr>
            <p:cNvSpPr>
              <a:spLocks/>
            </p:cNvSpPr>
            <p:nvPr/>
          </p:nvSpPr>
          <p:spPr bwMode="gray">
            <a:xfrm>
              <a:off x="10036550" y="1623916"/>
              <a:ext cx="8991" cy="12586"/>
            </a:xfrm>
            <a:custGeom>
              <a:avLst/>
              <a:gdLst>
                <a:gd name="T0" fmla="*/ 0 w 5"/>
                <a:gd name="T1" fmla="*/ 0 h 7"/>
                <a:gd name="T2" fmla="*/ 0 w 5"/>
                <a:gd name="T3" fmla="*/ 7 h 7"/>
                <a:gd name="T4" fmla="*/ 5 w 5"/>
                <a:gd name="T5" fmla="*/ 5 h 7"/>
                <a:gd name="T6" fmla="*/ 0 w 5"/>
                <a:gd name="T7" fmla="*/ 0 h 7"/>
              </a:gdLst>
              <a:ahLst/>
              <a:cxnLst>
                <a:cxn ang="0">
                  <a:pos x="T0" y="T1"/>
                </a:cxn>
                <a:cxn ang="0">
                  <a:pos x="T2" y="T3"/>
                </a:cxn>
                <a:cxn ang="0">
                  <a:pos x="T4" y="T5"/>
                </a:cxn>
                <a:cxn ang="0">
                  <a:pos x="T6" y="T7"/>
                </a:cxn>
              </a:cxnLst>
              <a:rect l="0" t="0" r="r" b="b"/>
              <a:pathLst>
                <a:path w="5" h="7">
                  <a:moveTo>
                    <a:pt x="0" y="0"/>
                  </a:moveTo>
                  <a:lnTo>
                    <a:pt x="0" y="7"/>
                  </a:lnTo>
                  <a:lnTo>
                    <a:pt x="5" y="5"/>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6" name="Freeform 450">
              <a:extLst>
                <a:ext uri="{FF2B5EF4-FFF2-40B4-BE49-F238E27FC236}">
                  <a16:creationId xmlns:a16="http://schemas.microsoft.com/office/drawing/2014/main" id="{B6725F17-7AF0-9C2F-7783-7E2DF23E3DDF}"/>
                </a:ext>
              </a:extLst>
            </p:cNvPr>
            <p:cNvSpPr>
              <a:spLocks/>
            </p:cNvSpPr>
            <p:nvPr/>
          </p:nvSpPr>
          <p:spPr bwMode="gray">
            <a:xfrm>
              <a:off x="9971823" y="1607734"/>
              <a:ext cx="34162" cy="16183"/>
            </a:xfrm>
            <a:custGeom>
              <a:avLst/>
              <a:gdLst>
                <a:gd name="T0" fmla="*/ 26 w 57"/>
                <a:gd name="T1" fmla="*/ 26 h 26"/>
                <a:gd name="T2" fmla="*/ 57 w 57"/>
                <a:gd name="T3" fmla="*/ 20 h 26"/>
                <a:gd name="T4" fmla="*/ 54 w 57"/>
                <a:gd name="T5" fmla="*/ 0 h 26"/>
                <a:gd name="T6" fmla="*/ 27 w 57"/>
                <a:gd name="T7" fmla="*/ 14 h 26"/>
                <a:gd name="T8" fmla="*/ 0 w 57"/>
                <a:gd name="T9" fmla="*/ 21 h 26"/>
                <a:gd name="T10" fmla="*/ 4 w 57"/>
                <a:gd name="T11" fmla="*/ 25 h 26"/>
                <a:gd name="T12" fmla="*/ 26 w 5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57" h="26">
                  <a:moveTo>
                    <a:pt x="26" y="26"/>
                  </a:moveTo>
                  <a:cubicBezTo>
                    <a:pt x="57" y="20"/>
                    <a:pt x="57" y="20"/>
                    <a:pt x="57" y="20"/>
                  </a:cubicBezTo>
                  <a:cubicBezTo>
                    <a:pt x="54" y="0"/>
                    <a:pt x="54" y="0"/>
                    <a:pt x="54" y="0"/>
                  </a:cubicBezTo>
                  <a:cubicBezTo>
                    <a:pt x="54" y="0"/>
                    <a:pt x="38" y="15"/>
                    <a:pt x="27" y="14"/>
                  </a:cubicBezTo>
                  <a:cubicBezTo>
                    <a:pt x="19" y="18"/>
                    <a:pt x="0" y="21"/>
                    <a:pt x="0" y="21"/>
                  </a:cubicBezTo>
                  <a:cubicBezTo>
                    <a:pt x="4" y="25"/>
                    <a:pt x="4" y="25"/>
                    <a:pt x="4" y="25"/>
                  </a:cubicBezTo>
                  <a:lnTo>
                    <a:pt x="26" y="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7" name="Freeform 451">
              <a:extLst>
                <a:ext uri="{FF2B5EF4-FFF2-40B4-BE49-F238E27FC236}">
                  <a16:creationId xmlns:a16="http://schemas.microsoft.com/office/drawing/2014/main" id="{FCDDA049-7E79-A7B5-F366-3F3CFF77197D}"/>
                </a:ext>
              </a:extLst>
            </p:cNvPr>
            <p:cNvSpPr>
              <a:spLocks/>
            </p:cNvSpPr>
            <p:nvPr/>
          </p:nvSpPr>
          <p:spPr bwMode="gray">
            <a:xfrm>
              <a:off x="10556167" y="3571126"/>
              <a:ext cx="521413" cy="266101"/>
            </a:xfrm>
            <a:custGeom>
              <a:avLst/>
              <a:gdLst>
                <a:gd name="T0" fmla="*/ 743 w 875"/>
                <a:gd name="T1" fmla="*/ 25 h 446"/>
                <a:gd name="T2" fmla="*/ 687 w 875"/>
                <a:gd name="T3" fmla="*/ 11 h 446"/>
                <a:gd name="T4" fmla="*/ 618 w 875"/>
                <a:gd name="T5" fmla="*/ 54 h 446"/>
                <a:gd name="T6" fmla="*/ 552 w 875"/>
                <a:gd name="T7" fmla="*/ 32 h 446"/>
                <a:gd name="T8" fmla="*/ 493 w 875"/>
                <a:gd name="T9" fmla="*/ 90 h 446"/>
                <a:gd name="T10" fmla="*/ 444 w 875"/>
                <a:gd name="T11" fmla="*/ 88 h 446"/>
                <a:gd name="T12" fmla="*/ 439 w 875"/>
                <a:gd name="T13" fmla="*/ 38 h 446"/>
                <a:gd name="T14" fmla="*/ 424 w 875"/>
                <a:gd name="T15" fmla="*/ 33 h 446"/>
                <a:gd name="T16" fmla="*/ 392 w 875"/>
                <a:gd name="T17" fmla="*/ 1 h 446"/>
                <a:gd name="T18" fmla="*/ 361 w 875"/>
                <a:gd name="T19" fmla="*/ 23 h 446"/>
                <a:gd name="T20" fmla="*/ 315 w 875"/>
                <a:gd name="T21" fmla="*/ 51 h 446"/>
                <a:gd name="T22" fmla="*/ 305 w 875"/>
                <a:gd name="T23" fmla="*/ 24 h 446"/>
                <a:gd name="T24" fmla="*/ 256 w 875"/>
                <a:gd name="T25" fmla="*/ 29 h 446"/>
                <a:gd name="T26" fmla="*/ 202 w 875"/>
                <a:gd name="T27" fmla="*/ 80 h 446"/>
                <a:gd name="T28" fmla="*/ 161 w 875"/>
                <a:gd name="T29" fmla="*/ 147 h 446"/>
                <a:gd name="T30" fmla="*/ 110 w 875"/>
                <a:gd name="T31" fmla="*/ 198 h 446"/>
                <a:gd name="T32" fmla="*/ 19 w 875"/>
                <a:gd name="T33" fmla="*/ 232 h 446"/>
                <a:gd name="T34" fmla="*/ 17 w 875"/>
                <a:gd name="T35" fmla="*/ 270 h 446"/>
                <a:gd name="T36" fmla="*/ 22 w 875"/>
                <a:gd name="T37" fmla="*/ 328 h 446"/>
                <a:gd name="T38" fmla="*/ 46 w 875"/>
                <a:gd name="T39" fmla="*/ 378 h 446"/>
                <a:gd name="T40" fmla="*/ 47 w 875"/>
                <a:gd name="T41" fmla="*/ 390 h 446"/>
                <a:gd name="T42" fmla="*/ 82 w 875"/>
                <a:gd name="T43" fmla="*/ 396 h 446"/>
                <a:gd name="T44" fmla="*/ 155 w 875"/>
                <a:gd name="T45" fmla="*/ 445 h 446"/>
                <a:gd name="T46" fmla="*/ 215 w 875"/>
                <a:gd name="T47" fmla="*/ 444 h 446"/>
                <a:gd name="T48" fmla="*/ 298 w 875"/>
                <a:gd name="T49" fmla="*/ 436 h 446"/>
                <a:gd name="T50" fmla="*/ 312 w 875"/>
                <a:gd name="T51" fmla="*/ 368 h 446"/>
                <a:gd name="T52" fmla="*/ 418 w 875"/>
                <a:gd name="T53" fmla="*/ 343 h 446"/>
                <a:gd name="T54" fmla="*/ 482 w 875"/>
                <a:gd name="T55" fmla="*/ 334 h 446"/>
                <a:gd name="T56" fmla="*/ 576 w 875"/>
                <a:gd name="T57" fmla="*/ 235 h 446"/>
                <a:gd name="T58" fmla="*/ 712 w 875"/>
                <a:gd name="T59" fmla="*/ 215 h 446"/>
                <a:gd name="T60" fmla="*/ 762 w 875"/>
                <a:gd name="T61" fmla="*/ 267 h 446"/>
                <a:gd name="T62" fmla="*/ 826 w 875"/>
                <a:gd name="T63" fmla="*/ 247 h 446"/>
                <a:gd name="T64" fmla="*/ 849 w 875"/>
                <a:gd name="T65" fmla="*/ 168 h 446"/>
                <a:gd name="T66" fmla="*/ 875 w 875"/>
                <a:gd name="T67" fmla="*/ 78 h 446"/>
                <a:gd name="T68" fmla="*/ 787 w 875"/>
                <a:gd name="T69" fmla="*/ 3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5" h="446">
                  <a:moveTo>
                    <a:pt x="787" y="35"/>
                  </a:moveTo>
                  <a:cubicBezTo>
                    <a:pt x="784" y="27"/>
                    <a:pt x="743" y="25"/>
                    <a:pt x="743" y="25"/>
                  </a:cubicBezTo>
                  <a:cubicBezTo>
                    <a:pt x="725" y="13"/>
                    <a:pt x="725" y="13"/>
                    <a:pt x="725" y="13"/>
                  </a:cubicBezTo>
                  <a:cubicBezTo>
                    <a:pt x="725" y="13"/>
                    <a:pt x="714" y="9"/>
                    <a:pt x="687" y="11"/>
                  </a:cubicBezTo>
                  <a:cubicBezTo>
                    <a:pt x="661" y="14"/>
                    <a:pt x="642" y="28"/>
                    <a:pt x="642" y="28"/>
                  </a:cubicBezTo>
                  <a:cubicBezTo>
                    <a:pt x="642" y="28"/>
                    <a:pt x="637" y="51"/>
                    <a:pt x="618" y="54"/>
                  </a:cubicBezTo>
                  <a:cubicBezTo>
                    <a:pt x="596" y="57"/>
                    <a:pt x="593" y="34"/>
                    <a:pt x="593" y="34"/>
                  </a:cubicBezTo>
                  <a:cubicBezTo>
                    <a:pt x="552" y="32"/>
                    <a:pt x="552" y="32"/>
                    <a:pt x="552" y="32"/>
                  </a:cubicBezTo>
                  <a:cubicBezTo>
                    <a:pt x="525" y="34"/>
                    <a:pt x="506" y="56"/>
                    <a:pt x="506" y="56"/>
                  </a:cubicBezTo>
                  <a:cubicBezTo>
                    <a:pt x="493" y="90"/>
                    <a:pt x="493" y="90"/>
                    <a:pt x="493" y="90"/>
                  </a:cubicBezTo>
                  <a:cubicBezTo>
                    <a:pt x="467" y="77"/>
                    <a:pt x="467" y="77"/>
                    <a:pt x="467" y="77"/>
                  </a:cubicBezTo>
                  <a:cubicBezTo>
                    <a:pt x="467" y="77"/>
                    <a:pt x="452" y="88"/>
                    <a:pt x="444" y="88"/>
                  </a:cubicBezTo>
                  <a:cubicBezTo>
                    <a:pt x="433" y="87"/>
                    <a:pt x="449" y="61"/>
                    <a:pt x="449" y="61"/>
                  </a:cubicBezTo>
                  <a:cubicBezTo>
                    <a:pt x="439" y="38"/>
                    <a:pt x="439" y="38"/>
                    <a:pt x="439" y="38"/>
                  </a:cubicBezTo>
                  <a:cubicBezTo>
                    <a:pt x="420" y="44"/>
                    <a:pt x="420" y="44"/>
                    <a:pt x="420" y="44"/>
                  </a:cubicBezTo>
                  <a:cubicBezTo>
                    <a:pt x="424" y="33"/>
                    <a:pt x="424" y="33"/>
                    <a:pt x="424" y="33"/>
                  </a:cubicBezTo>
                  <a:cubicBezTo>
                    <a:pt x="410" y="32"/>
                    <a:pt x="410" y="32"/>
                    <a:pt x="410" y="32"/>
                  </a:cubicBezTo>
                  <a:cubicBezTo>
                    <a:pt x="410" y="32"/>
                    <a:pt x="407" y="6"/>
                    <a:pt x="392" y="1"/>
                  </a:cubicBezTo>
                  <a:cubicBezTo>
                    <a:pt x="377" y="0"/>
                    <a:pt x="373" y="23"/>
                    <a:pt x="373" y="23"/>
                  </a:cubicBezTo>
                  <a:cubicBezTo>
                    <a:pt x="361" y="23"/>
                    <a:pt x="361" y="23"/>
                    <a:pt x="361" y="23"/>
                  </a:cubicBezTo>
                  <a:cubicBezTo>
                    <a:pt x="349" y="49"/>
                    <a:pt x="349" y="49"/>
                    <a:pt x="349" y="49"/>
                  </a:cubicBezTo>
                  <a:cubicBezTo>
                    <a:pt x="315" y="51"/>
                    <a:pt x="315" y="51"/>
                    <a:pt x="315" y="51"/>
                  </a:cubicBezTo>
                  <a:cubicBezTo>
                    <a:pt x="316" y="24"/>
                    <a:pt x="316" y="24"/>
                    <a:pt x="316" y="24"/>
                  </a:cubicBezTo>
                  <a:cubicBezTo>
                    <a:pt x="305" y="24"/>
                    <a:pt x="305" y="24"/>
                    <a:pt x="305" y="24"/>
                  </a:cubicBezTo>
                  <a:cubicBezTo>
                    <a:pt x="279" y="34"/>
                    <a:pt x="279" y="34"/>
                    <a:pt x="279" y="34"/>
                  </a:cubicBezTo>
                  <a:cubicBezTo>
                    <a:pt x="256" y="29"/>
                    <a:pt x="256" y="29"/>
                    <a:pt x="256" y="29"/>
                  </a:cubicBezTo>
                  <a:cubicBezTo>
                    <a:pt x="256" y="29"/>
                    <a:pt x="251" y="56"/>
                    <a:pt x="236" y="66"/>
                  </a:cubicBezTo>
                  <a:cubicBezTo>
                    <a:pt x="220" y="77"/>
                    <a:pt x="213" y="69"/>
                    <a:pt x="202" y="80"/>
                  </a:cubicBezTo>
                  <a:cubicBezTo>
                    <a:pt x="193" y="95"/>
                    <a:pt x="200" y="122"/>
                    <a:pt x="188" y="137"/>
                  </a:cubicBezTo>
                  <a:cubicBezTo>
                    <a:pt x="180" y="152"/>
                    <a:pt x="173" y="136"/>
                    <a:pt x="161" y="147"/>
                  </a:cubicBezTo>
                  <a:cubicBezTo>
                    <a:pt x="149" y="158"/>
                    <a:pt x="156" y="170"/>
                    <a:pt x="156" y="170"/>
                  </a:cubicBezTo>
                  <a:cubicBezTo>
                    <a:pt x="110" y="198"/>
                    <a:pt x="110" y="198"/>
                    <a:pt x="110" y="198"/>
                  </a:cubicBezTo>
                  <a:cubicBezTo>
                    <a:pt x="110" y="198"/>
                    <a:pt x="70" y="181"/>
                    <a:pt x="54" y="188"/>
                  </a:cubicBezTo>
                  <a:cubicBezTo>
                    <a:pt x="39" y="195"/>
                    <a:pt x="23" y="221"/>
                    <a:pt x="19" y="232"/>
                  </a:cubicBezTo>
                  <a:cubicBezTo>
                    <a:pt x="19" y="236"/>
                    <a:pt x="19" y="236"/>
                    <a:pt x="19" y="236"/>
                  </a:cubicBezTo>
                  <a:cubicBezTo>
                    <a:pt x="17" y="270"/>
                    <a:pt x="17" y="270"/>
                    <a:pt x="17" y="270"/>
                  </a:cubicBezTo>
                  <a:cubicBezTo>
                    <a:pt x="17" y="270"/>
                    <a:pt x="5" y="277"/>
                    <a:pt x="1" y="296"/>
                  </a:cubicBezTo>
                  <a:cubicBezTo>
                    <a:pt x="0" y="315"/>
                    <a:pt x="22" y="328"/>
                    <a:pt x="22" y="328"/>
                  </a:cubicBezTo>
                  <a:cubicBezTo>
                    <a:pt x="28" y="351"/>
                    <a:pt x="28" y="351"/>
                    <a:pt x="28" y="351"/>
                  </a:cubicBezTo>
                  <a:cubicBezTo>
                    <a:pt x="28" y="351"/>
                    <a:pt x="39" y="367"/>
                    <a:pt x="46" y="378"/>
                  </a:cubicBezTo>
                  <a:cubicBezTo>
                    <a:pt x="46" y="381"/>
                    <a:pt x="47" y="383"/>
                    <a:pt x="47" y="386"/>
                  </a:cubicBezTo>
                  <a:cubicBezTo>
                    <a:pt x="47" y="387"/>
                    <a:pt x="47" y="389"/>
                    <a:pt x="47" y="390"/>
                  </a:cubicBezTo>
                  <a:cubicBezTo>
                    <a:pt x="47" y="391"/>
                    <a:pt x="47" y="392"/>
                    <a:pt x="47" y="393"/>
                  </a:cubicBezTo>
                  <a:cubicBezTo>
                    <a:pt x="61" y="391"/>
                    <a:pt x="75" y="392"/>
                    <a:pt x="82" y="396"/>
                  </a:cubicBezTo>
                  <a:cubicBezTo>
                    <a:pt x="101" y="400"/>
                    <a:pt x="126" y="432"/>
                    <a:pt x="126" y="432"/>
                  </a:cubicBezTo>
                  <a:cubicBezTo>
                    <a:pt x="126" y="432"/>
                    <a:pt x="136" y="444"/>
                    <a:pt x="155" y="445"/>
                  </a:cubicBezTo>
                  <a:cubicBezTo>
                    <a:pt x="170" y="446"/>
                    <a:pt x="189" y="443"/>
                    <a:pt x="189" y="443"/>
                  </a:cubicBezTo>
                  <a:cubicBezTo>
                    <a:pt x="215" y="444"/>
                    <a:pt x="215" y="444"/>
                    <a:pt x="215" y="444"/>
                  </a:cubicBezTo>
                  <a:cubicBezTo>
                    <a:pt x="260" y="438"/>
                    <a:pt x="260" y="438"/>
                    <a:pt x="260" y="438"/>
                  </a:cubicBezTo>
                  <a:cubicBezTo>
                    <a:pt x="298" y="436"/>
                    <a:pt x="298" y="436"/>
                    <a:pt x="298" y="436"/>
                  </a:cubicBezTo>
                  <a:cubicBezTo>
                    <a:pt x="321" y="411"/>
                    <a:pt x="321" y="411"/>
                    <a:pt x="321" y="411"/>
                  </a:cubicBezTo>
                  <a:cubicBezTo>
                    <a:pt x="321" y="411"/>
                    <a:pt x="300" y="391"/>
                    <a:pt x="312" y="368"/>
                  </a:cubicBezTo>
                  <a:cubicBezTo>
                    <a:pt x="324" y="350"/>
                    <a:pt x="357" y="363"/>
                    <a:pt x="357" y="363"/>
                  </a:cubicBezTo>
                  <a:cubicBezTo>
                    <a:pt x="418" y="343"/>
                    <a:pt x="418" y="343"/>
                    <a:pt x="418" y="343"/>
                  </a:cubicBezTo>
                  <a:cubicBezTo>
                    <a:pt x="418" y="343"/>
                    <a:pt x="415" y="316"/>
                    <a:pt x="430" y="313"/>
                  </a:cubicBezTo>
                  <a:cubicBezTo>
                    <a:pt x="446" y="310"/>
                    <a:pt x="482" y="334"/>
                    <a:pt x="482" y="334"/>
                  </a:cubicBezTo>
                  <a:cubicBezTo>
                    <a:pt x="482" y="334"/>
                    <a:pt x="528" y="310"/>
                    <a:pt x="543" y="295"/>
                  </a:cubicBezTo>
                  <a:cubicBezTo>
                    <a:pt x="559" y="284"/>
                    <a:pt x="557" y="246"/>
                    <a:pt x="576" y="235"/>
                  </a:cubicBezTo>
                  <a:cubicBezTo>
                    <a:pt x="595" y="225"/>
                    <a:pt x="622" y="222"/>
                    <a:pt x="655" y="232"/>
                  </a:cubicBezTo>
                  <a:cubicBezTo>
                    <a:pt x="684" y="244"/>
                    <a:pt x="712" y="215"/>
                    <a:pt x="712" y="215"/>
                  </a:cubicBezTo>
                  <a:cubicBezTo>
                    <a:pt x="741" y="236"/>
                    <a:pt x="741" y="236"/>
                    <a:pt x="741" y="236"/>
                  </a:cubicBezTo>
                  <a:cubicBezTo>
                    <a:pt x="741" y="236"/>
                    <a:pt x="743" y="263"/>
                    <a:pt x="762" y="267"/>
                  </a:cubicBezTo>
                  <a:cubicBezTo>
                    <a:pt x="780" y="272"/>
                    <a:pt x="781" y="257"/>
                    <a:pt x="793" y="250"/>
                  </a:cubicBezTo>
                  <a:cubicBezTo>
                    <a:pt x="804" y="242"/>
                    <a:pt x="826" y="247"/>
                    <a:pt x="826" y="247"/>
                  </a:cubicBezTo>
                  <a:cubicBezTo>
                    <a:pt x="826" y="247"/>
                    <a:pt x="820" y="224"/>
                    <a:pt x="821" y="209"/>
                  </a:cubicBezTo>
                  <a:cubicBezTo>
                    <a:pt x="821" y="194"/>
                    <a:pt x="849" y="168"/>
                    <a:pt x="849" y="168"/>
                  </a:cubicBezTo>
                  <a:cubicBezTo>
                    <a:pt x="854" y="123"/>
                    <a:pt x="854" y="123"/>
                    <a:pt x="854" y="123"/>
                  </a:cubicBezTo>
                  <a:cubicBezTo>
                    <a:pt x="875" y="78"/>
                    <a:pt x="875" y="78"/>
                    <a:pt x="875" y="78"/>
                  </a:cubicBezTo>
                  <a:cubicBezTo>
                    <a:pt x="790" y="62"/>
                    <a:pt x="790" y="62"/>
                    <a:pt x="790" y="62"/>
                  </a:cubicBezTo>
                  <a:cubicBezTo>
                    <a:pt x="790" y="62"/>
                    <a:pt x="791" y="43"/>
                    <a:pt x="787"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8" name="Freeform 452">
              <a:extLst>
                <a:ext uri="{FF2B5EF4-FFF2-40B4-BE49-F238E27FC236}">
                  <a16:creationId xmlns:a16="http://schemas.microsoft.com/office/drawing/2014/main" id="{1774B20D-6EB4-665E-E2C5-CF6E34A3B426}"/>
                </a:ext>
              </a:extLst>
            </p:cNvPr>
            <p:cNvSpPr>
              <a:spLocks/>
            </p:cNvSpPr>
            <p:nvPr/>
          </p:nvSpPr>
          <p:spPr bwMode="gray">
            <a:xfrm>
              <a:off x="10583136" y="3804864"/>
              <a:ext cx="1798" cy="1798"/>
            </a:xfrm>
            <a:custGeom>
              <a:avLst/>
              <a:gdLst>
                <a:gd name="T0" fmla="*/ 2 w 2"/>
                <a:gd name="T1" fmla="*/ 3 h 4"/>
                <a:gd name="T2" fmla="*/ 2 w 2"/>
                <a:gd name="T3" fmla="*/ 0 h 4"/>
                <a:gd name="T4" fmla="*/ 0 w 2"/>
                <a:gd name="T5" fmla="*/ 4 h 4"/>
                <a:gd name="T6" fmla="*/ 2 w 2"/>
                <a:gd name="T7" fmla="*/ 3 h 4"/>
              </a:gdLst>
              <a:ahLst/>
              <a:cxnLst>
                <a:cxn ang="0">
                  <a:pos x="T0" y="T1"/>
                </a:cxn>
                <a:cxn ang="0">
                  <a:pos x="T2" y="T3"/>
                </a:cxn>
                <a:cxn ang="0">
                  <a:pos x="T4" y="T5"/>
                </a:cxn>
                <a:cxn ang="0">
                  <a:pos x="T6" y="T7"/>
                </a:cxn>
              </a:cxnLst>
              <a:rect l="0" t="0" r="r" b="b"/>
              <a:pathLst>
                <a:path w="2" h="4">
                  <a:moveTo>
                    <a:pt x="2" y="3"/>
                  </a:moveTo>
                  <a:cubicBezTo>
                    <a:pt x="2" y="2"/>
                    <a:pt x="2" y="1"/>
                    <a:pt x="2" y="0"/>
                  </a:cubicBezTo>
                  <a:cubicBezTo>
                    <a:pt x="2" y="1"/>
                    <a:pt x="1" y="3"/>
                    <a:pt x="0" y="4"/>
                  </a:cubicBezTo>
                  <a:cubicBezTo>
                    <a:pt x="1" y="4"/>
                    <a:pt x="1" y="4"/>
                    <a:pt x="2"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9" name="Freeform 453">
              <a:extLst>
                <a:ext uri="{FF2B5EF4-FFF2-40B4-BE49-F238E27FC236}">
                  <a16:creationId xmlns:a16="http://schemas.microsoft.com/office/drawing/2014/main" id="{0F4CAD28-C54B-E592-C040-6A2A69B9945B}"/>
                </a:ext>
              </a:extLst>
            </p:cNvPr>
            <p:cNvSpPr>
              <a:spLocks/>
            </p:cNvSpPr>
            <p:nvPr/>
          </p:nvSpPr>
          <p:spPr bwMode="gray">
            <a:xfrm>
              <a:off x="10583136" y="3797671"/>
              <a:ext cx="1798" cy="3596"/>
            </a:xfrm>
            <a:custGeom>
              <a:avLst/>
              <a:gdLst>
                <a:gd name="T0" fmla="*/ 0 w 1"/>
                <a:gd name="T1" fmla="*/ 0 h 8"/>
                <a:gd name="T2" fmla="*/ 1 w 1"/>
                <a:gd name="T3" fmla="*/ 8 h 8"/>
                <a:gd name="T4" fmla="*/ 0 w 1"/>
                <a:gd name="T5" fmla="*/ 0 h 8"/>
              </a:gdLst>
              <a:ahLst/>
              <a:cxnLst>
                <a:cxn ang="0">
                  <a:pos x="T0" y="T1"/>
                </a:cxn>
                <a:cxn ang="0">
                  <a:pos x="T2" y="T3"/>
                </a:cxn>
                <a:cxn ang="0">
                  <a:pos x="T4" y="T5"/>
                </a:cxn>
              </a:cxnLst>
              <a:rect l="0" t="0" r="r" b="b"/>
              <a:pathLst>
                <a:path w="1" h="8">
                  <a:moveTo>
                    <a:pt x="0" y="0"/>
                  </a:moveTo>
                  <a:cubicBezTo>
                    <a:pt x="0" y="2"/>
                    <a:pt x="0" y="5"/>
                    <a:pt x="1" y="8"/>
                  </a:cubicBezTo>
                  <a:cubicBezTo>
                    <a:pt x="1" y="5"/>
                    <a:pt x="0" y="3"/>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0" name="Freeform 454">
              <a:extLst>
                <a:ext uri="{FF2B5EF4-FFF2-40B4-BE49-F238E27FC236}">
                  <a16:creationId xmlns:a16="http://schemas.microsoft.com/office/drawing/2014/main" id="{12A23134-7219-A95E-DAB0-5ABFDF19DB6A}"/>
                </a:ext>
              </a:extLst>
            </p:cNvPr>
            <p:cNvSpPr>
              <a:spLocks/>
            </p:cNvSpPr>
            <p:nvPr/>
          </p:nvSpPr>
          <p:spPr bwMode="gray">
            <a:xfrm>
              <a:off x="10493237" y="3700581"/>
              <a:ext cx="638282" cy="411738"/>
            </a:xfrm>
            <a:custGeom>
              <a:avLst/>
              <a:gdLst>
                <a:gd name="T0" fmla="*/ 867 w 1070"/>
                <a:gd name="T1" fmla="*/ 52 h 693"/>
                <a:gd name="T2" fmla="*/ 817 w 1070"/>
                <a:gd name="T3" fmla="*/ 0 h 693"/>
                <a:gd name="T4" fmla="*/ 681 w 1070"/>
                <a:gd name="T5" fmla="*/ 20 h 693"/>
                <a:gd name="T6" fmla="*/ 587 w 1070"/>
                <a:gd name="T7" fmla="*/ 119 h 693"/>
                <a:gd name="T8" fmla="*/ 523 w 1070"/>
                <a:gd name="T9" fmla="*/ 128 h 693"/>
                <a:gd name="T10" fmla="*/ 417 w 1070"/>
                <a:gd name="T11" fmla="*/ 153 h 693"/>
                <a:gd name="T12" fmla="*/ 403 w 1070"/>
                <a:gd name="T13" fmla="*/ 221 h 693"/>
                <a:gd name="T14" fmla="*/ 320 w 1070"/>
                <a:gd name="T15" fmla="*/ 229 h 693"/>
                <a:gd name="T16" fmla="*/ 260 w 1070"/>
                <a:gd name="T17" fmla="*/ 230 h 693"/>
                <a:gd name="T18" fmla="*/ 187 w 1070"/>
                <a:gd name="T19" fmla="*/ 181 h 693"/>
                <a:gd name="T20" fmla="*/ 149 w 1070"/>
                <a:gd name="T21" fmla="*/ 202 h 693"/>
                <a:gd name="T22" fmla="*/ 145 w 1070"/>
                <a:gd name="T23" fmla="*/ 213 h 693"/>
                <a:gd name="T24" fmla="*/ 98 w 1070"/>
                <a:gd name="T25" fmla="*/ 253 h 693"/>
                <a:gd name="T26" fmla="*/ 49 w 1070"/>
                <a:gd name="T27" fmla="*/ 254 h 693"/>
                <a:gd name="T28" fmla="*/ 75 w 1070"/>
                <a:gd name="T29" fmla="*/ 263 h 693"/>
                <a:gd name="T30" fmla="*/ 42 w 1070"/>
                <a:gd name="T31" fmla="*/ 327 h 693"/>
                <a:gd name="T32" fmla="*/ 48 w 1070"/>
                <a:gd name="T33" fmla="*/ 369 h 693"/>
                <a:gd name="T34" fmla="*/ 57 w 1070"/>
                <a:gd name="T35" fmla="*/ 411 h 693"/>
                <a:gd name="T36" fmla="*/ 0 w 1070"/>
                <a:gd name="T37" fmla="*/ 435 h 693"/>
                <a:gd name="T38" fmla="*/ 32 w 1070"/>
                <a:gd name="T39" fmla="*/ 468 h 693"/>
                <a:gd name="T40" fmla="*/ 46 w 1070"/>
                <a:gd name="T41" fmla="*/ 499 h 693"/>
                <a:gd name="T42" fmla="*/ 70 w 1070"/>
                <a:gd name="T43" fmla="*/ 527 h 693"/>
                <a:gd name="T44" fmla="*/ 99 w 1070"/>
                <a:gd name="T45" fmla="*/ 555 h 693"/>
                <a:gd name="T46" fmla="*/ 142 w 1070"/>
                <a:gd name="T47" fmla="*/ 591 h 693"/>
                <a:gd name="T48" fmla="*/ 240 w 1070"/>
                <a:gd name="T49" fmla="*/ 653 h 693"/>
                <a:gd name="T50" fmla="*/ 336 w 1070"/>
                <a:gd name="T51" fmla="*/ 692 h 693"/>
                <a:gd name="T52" fmla="*/ 420 w 1070"/>
                <a:gd name="T53" fmla="*/ 658 h 693"/>
                <a:gd name="T54" fmla="*/ 481 w 1070"/>
                <a:gd name="T55" fmla="*/ 638 h 693"/>
                <a:gd name="T56" fmla="*/ 503 w 1070"/>
                <a:gd name="T57" fmla="*/ 632 h 693"/>
                <a:gd name="T58" fmla="*/ 577 w 1070"/>
                <a:gd name="T59" fmla="*/ 578 h 693"/>
                <a:gd name="T60" fmla="*/ 641 w 1070"/>
                <a:gd name="T61" fmla="*/ 577 h 693"/>
                <a:gd name="T62" fmla="*/ 704 w 1070"/>
                <a:gd name="T63" fmla="*/ 580 h 693"/>
                <a:gd name="T64" fmla="*/ 742 w 1070"/>
                <a:gd name="T65" fmla="*/ 578 h 693"/>
                <a:gd name="T66" fmla="*/ 818 w 1070"/>
                <a:gd name="T67" fmla="*/ 543 h 693"/>
                <a:gd name="T68" fmla="*/ 839 w 1070"/>
                <a:gd name="T69" fmla="*/ 502 h 693"/>
                <a:gd name="T70" fmla="*/ 848 w 1070"/>
                <a:gd name="T71" fmla="*/ 457 h 693"/>
                <a:gd name="T72" fmla="*/ 862 w 1070"/>
                <a:gd name="T73" fmla="*/ 412 h 693"/>
                <a:gd name="T74" fmla="*/ 883 w 1070"/>
                <a:gd name="T75" fmla="*/ 355 h 693"/>
                <a:gd name="T76" fmla="*/ 920 w 1070"/>
                <a:gd name="T77" fmla="*/ 277 h 693"/>
                <a:gd name="T78" fmla="*/ 929 w 1070"/>
                <a:gd name="T79" fmla="*/ 243 h 693"/>
                <a:gd name="T80" fmla="*/ 985 w 1070"/>
                <a:gd name="T81" fmla="*/ 173 h 693"/>
                <a:gd name="T82" fmla="*/ 1058 w 1070"/>
                <a:gd name="T83" fmla="*/ 123 h 693"/>
                <a:gd name="T84" fmla="*/ 1045 w 1070"/>
                <a:gd name="T85" fmla="*/ 91 h 693"/>
                <a:gd name="T86" fmla="*/ 990 w 1070"/>
                <a:gd name="T87" fmla="*/ 62 h 693"/>
                <a:gd name="T88" fmla="*/ 950 w 1070"/>
                <a:gd name="T89" fmla="*/ 41 h 693"/>
                <a:gd name="T90" fmla="*/ 898 w 1070"/>
                <a:gd name="T91" fmla="*/ 3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70" h="693">
                  <a:moveTo>
                    <a:pt x="898" y="35"/>
                  </a:moveTo>
                  <a:cubicBezTo>
                    <a:pt x="886" y="42"/>
                    <a:pt x="885" y="57"/>
                    <a:pt x="867" y="52"/>
                  </a:cubicBezTo>
                  <a:cubicBezTo>
                    <a:pt x="848" y="48"/>
                    <a:pt x="846" y="21"/>
                    <a:pt x="846" y="21"/>
                  </a:cubicBezTo>
                  <a:cubicBezTo>
                    <a:pt x="817" y="0"/>
                    <a:pt x="817" y="0"/>
                    <a:pt x="817" y="0"/>
                  </a:cubicBezTo>
                  <a:cubicBezTo>
                    <a:pt x="817" y="0"/>
                    <a:pt x="789" y="29"/>
                    <a:pt x="760" y="17"/>
                  </a:cubicBezTo>
                  <a:cubicBezTo>
                    <a:pt x="727" y="7"/>
                    <a:pt x="700" y="10"/>
                    <a:pt x="681" y="20"/>
                  </a:cubicBezTo>
                  <a:cubicBezTo>
                    <a:pt x="662" y="31"/>
                    <a:pt x="664" y="69"/>
                    <a:pt x="648" y="80"/>
                  </a:cubicBezTo>
                  <a:cubicBezTo>
                    <a:pt x="633" y="95"/>
                    <a:pt x="587" y="119"/>
                    <a:pt x="587" y="119"/>
                  </a:cubicBezTo>
                  <a:cubicBezTo>
                    <a:pt x="587" y="119"/>
                    <a:pt x="551" y="95"/>
                    <a:pt x="535" y="98"/>
                  </a:cubicBezTo>
                  <a:cubicBezTo>
                    <a:pt x="520" y="101"/>
                    <a:pt x="523" y="128"/>
                    <a:pt x="523" y="128"/>
                  </a:cubicBezTo>
                  <a:cubicBezTo>
                    <a:pt x="462" y="148"/>
                    <a:pt x="462" y="148"/>
                    <a:pt x="462" y="148"/>
                  </a:cubicBezTo>
                  <a:cubicBezTo>
                    <a:pt x="462" y="148"/>
                    <a:pt x="429" y="135"/>
                    <a:pt x="417" y="153"/>
                  </a:cubicBezTo>
                  <a:cubicBezTo>
                    <a:pt x="405" y="176"/>
                    <a:pt x="426" y="196"/>
                    <a:pt x="426" y="196"/>
                  </a:cubicBezTo>
                  <a:cubicBezTo>
                    <a:pt x="403" y="221"/>
                    <a:pt x="403" y="221"/>
                    <a:pt x="403" y="221"/>
                  </a:cubicBezTo>
                  <a:cubicBezTo>
                    <a:pt x="365" y="223"/>
                    <a:pt x="365" y="223"/>
                    <a:pt x="365" y="223"/>
                  </a:cubicBezTo>
                  <a:cubicBezTo>
                    <a:pt x="320" y="229"/>
                    <a:pt x="320" y="229"/>
                    <a:pt x="320" y="229"/>
                  </a:cubicBezTo>
                  <a:cubicBezTo>
                    <a:pt x="294" y="228"/>
                    <a:pt x="294" y="228"/>
                    <a:pt x="294" y="228"/>
                  </a:cubicBezTo>
                  <a:cubicBezTo>
                    <a:pt x="294" y="228"/>
                    <a:pt x="275" y="231"/>
                    <a:pt x="260" y="230"/>
                  </a:cubicBezTo>
                  <a:cubicBezTo>
                    <a:pt x="241" y="229"/>
                    <a:pt x="231" y="217"/>
                    <a:pt x="231" y="217"/>
                  </a:cubicBezTo>
                  <a:cubicBezTo>
                    <a:pt x="231" y="217"/>
                    <a:pt x="206" y="185"/>
                    <a:pt x="187" y="181"/>
                  </a:cubicBezTo>
                  <a:cubicBezTo>
                    <a:pt x="180" y="177"/>
                    <a:pt x="166" y="176"/>
                    <a:pt x="152" y="178"/>
                  </a:cubicBezTo>
                  <a:cubicBezTo>
                    <a:pt x="151" y="190"/>
                    <a:pt x="149" y="202"/>
                    <a:pt x="149" y="202"/>
                  </a:cubicBezTo>
                  <a:cubicBezTo>
                    <a:pt x="137" y="209"/>
                    <a:pt x="137" y="209"/>
                    <a:pt x="137" y="209"/>
                  </a:cubicBezTo>
                  <a:cubicBezTo>
                    <a:pt x="145" y="213"/>
                    <a:pt x="145" y="213"/>
                    <a:pt x="145" y="213"/>
                  </a:cubicBezTo>
                  <a:cubicBezTo>
                    <a:pt x="143" y="240"/>
                    <a:pt x="143" y="240"/>
                    <a:pt x="143" y="240"/>
                  </a:cubicBezTo>
                  <a:cubicBezTo>
                    <a:pt x="98" y="253"/>
                    <a:pt x="98" y="253"/>
                    <a:pt x="98" y="253"/>
                  </a:cubicBezTo>
                  <a:cubicBezTo>
                    <a:pt x="98" y="253"/>
                    <a:pt x="84" y="233"/>
                    <a:pt x="76" y="233"/>
                  </a:cubicBezTo>
                  <a:cubicBezTo>
                    <a:pt x="69" y="236"/>
                    <a:pt x="54" y="239"/>
                    <a:pt x="49" y="254"/>
                  </a:cubicBezTo>
                  <a:cubicBezTo>
                    <a:pt x="41" y="269"/>
                    <a:pt x="60" y="266"/>
                    <a:pt x="60" y="266"/>
                  </a:cubicBezTo>
                  <a:cubicBezTo>
                    <a:pt x="75" y="263"/>
                    <a:pt x="75" y="263"/>
                    <a:pt x="75" y="263"/>
                  </a:cubicBezTo>
                  <a:cubicBezTo>
                    <a:pt x="75" y="263"/>
                    <a:pt x="83" y="264"/>
                    <a:pt x="89" y="287"/>
                  </a:cubicBezTo>
                  <a:cubicBezTo>
                    <a:pt x="95" y="310"/>
                    <a:pt x="46" y="319"/>
                    <a:pt x="42" y="327"/>
                  </a:cubicBezTo>
                  <a:cubicBezTo>
                    <a:pt x="42" y="338"/>
                    <a:pt x="57" y="339"/>
                    <a:pt x="56" y="346"/>
                  </a:cubicBezTo>
                  <a:cubicBezTo>
                    <a:pt x="56" y="350"/>
                    <a:pt x="45" y="357"/>
                    <a:pt x="48" y="369"/>
                  </a:cubicBezTo>
                  <a:cubicBezTo>
                    <a:pt x="47" y="377"/>
                    <a:pt x="62" y="381"/>
                    <a:pt x="62" y="381"/>
                  </a:cubicBezTo>
                  <a:cubicBezTo>
                    <a:pt x="57" y="411"/>
                    <a:pt x="57" y="411"/>
                    <a:pt x="57" y="411"/>
                  </a:cubicBezTo>
                  <a:cubicBezTo>
                    <a:pt x="23" y="414"/>
                    <a:pt x="23" y="414"/>
                    <a:pt x="23" y="414"/>
                  </a:cubicBezTo>
                  <a:cubicBezTo>
                    <a:pt x="0" y="435"/>
                    <a:pt x="0" y="435"/>
                    <a:pt x="0" y="435"/>
                  </a:cubicBezTo>
                  <a:cubicBezTo>
                    <a:pt x="15" y="440"/>
                    <a:pt x="29" y="445"/>
                    <a:pt x="33" y="445"/>
                  </a:cubicBezTo>
                  <a:cubicBezTo>
                    <a:pt x="48" y="453"/>
                    <a:pt x="36" y="460"/>
                    <a:pt x="32" y="468"/>
                  </a:cubicBezTo>
                  <a:cubicBezTo>
                    <a:pt x="31" y="479"/>
                    <a:pt x="47" y="476"/>
                    <a:pt x="47" y="476"/>
                  </a:cubicBezTo>
                  <a:cubicBezTo>
                    <a:pt x="46" y="499"/>
                    <a:pt x="46" y="499"/>
                    <a:pt x="46" y="499"/>
                  </a:cubicBezTo>
                  <a:cubicBezTo>
                    <a:pt x="45" y="510"/>
                    <a:pt x="71" y="508"/>
                    <a:pt x="71" y="508"/>
                  </a:cubicBezTo>
                  <a:cubicBezTo>
                    <a:pt x="70" y="527"/>
                    <a:pt x="70" y="527"/>
                    <a:pt x="70" y="527"/>
                  </a:cubicBezTo>
                  <a:cubicBezTo>
                    <a:pt x="92" y="539"/>
                    <a:pt x="92" y="539"/>
                    <a:pt x="92" y="539"/>
                  </a:cubicBezTo>
                  <a:cubicBezTo>
                    <a:pt x="99" y="555"/>
                    <a:pt x="99" y="555"/>
                    <a:pt x="99" y="555"/>
                  </a:cubicBezTo>
                  <a:cubicBezTo>
                    <a:pt x="99" y="555"/>
                    <a:pt x="122" y="552"/>
                    <a:pt x="129" y="560"/>
                  </a:cubicBezTo>
                  <a:cubicBezTo>
                    <a:pt x="136" y="572"/>
                    <a:pt x="142" y="591"/>
                    <a:pt x="142" y="591"/>
                  </a:cubicBezTo>
                  <a:cubicBezTo>
                    <a:pt x="203" y="648"/>
                    <a:pt x="203" y="648"/>
                    <a:pt x="203" y="648"/>
                  </a:cubicBezTo>
                  <a:cubicBezTo>
                    <a:pt x="203" y="648"/>
                    <a:pt x="226" y="645"/>
                    <a:pt x="240" y="653"/>
                  </a:cubicBezTo>
                  <a:cubicBezTo>
                    <a:pt x="255" y="662"/>
                    <a:pt x="258" y="681"/>
                    <a:pt x="258" y="681"/>
                  </a:cubicBezTo>
                  <a:cubicBezTo>
                    <a:pt x="258" y="681"/>
                    <a:pt x="321" y="692"/>
                    <a:pt x="336" y="692"/>
                  </a:cubicBezTo>
                  <a:cubicBezTo>
                    <a:pt x="355" y="693"/>
                    <a:pt x="392" y="691"/>
                    <a:pt x="392" y="691"/>
                  </a:cubicBezTo>
                  <a:cubicBezTo>
                    <a:pt x="420" y="658"/>
                    <a:pt x="420" y="658"/>
                    <a:pt x="420" y="658"/>
                  </a:cubicBezTo>
                  <a:cubicBezTo>
                    <a:pt x="446" y="656"/>
                    <a:pt x="446" y="656"/>
                    <a:pt x="446" y="656"/>
                  </a:cubicBezTo>
                  <a:cubicBezTo>
                    <a:pt x="481" y="638"/>
                    <a:pt x="481" y="638"/>
                    <a:pt x="481" y="638"/>
                  </a:cubicBezTo>
                  <a:cubicBezTo>
                    <a:pt x="485" y="627"/>
                    <a:pt x="485" y="627"/>
                    <a:pt x="485" y="627"/>
                  </a:cubicBezTo>
                  <a:cubicBezTo>
                    <a:pt x="503" y="632"/>
                    <a:pt x="503" y="632"/>
                    <a:pt x="503" y="632"/>
                  </a:cubicBezTo>
                  <a:cubicBezTo>
                    <a:pt x="503" y="632"/>
                    <a:pt x="534" y="618"/>
                    <a:pt x="546" y="607"/>
                  </a:cubicBezTo>
                  <a:cubicBezTo>
                    <a:pt x="554" y="596"/>
                    <a:pt x="570" y="577"/>
                    <a:pt x="577" y="578"/>
                  </a:cubicBezTo>
                  <a:cubicBezTo>
                    <a:pt x="588" y="578"/>
                    <a:pt x="603" y="590"/>
                    <a:pt x="603" y="590"/>
                  </a:cubicBezTo>
                  <a:cubicBezTo>
                    <a:pt x="603" y="590"/>
                    <a:pt x="611" y="572"/>
                    <a:pt x="641" y="577"/>
                  </a:cubicBezTo>
                  <a:cubicBezTo>
                    <a:pt x="671" y="578"/>
                    <a:pt x="671" y="578"/>
                    <a:pt x="671" y="578"/>
                  </a:cubicBezTo>
                  <a:cubicBezTo>
                    <a:pt x="704" y="580"/>
                    <a:pt x="704" y="580"/>
                    <a:pt x="704" y="580"/>
                  </a:cubicBezTo>
                  <a:cubicBezTo>
                    <a:pt x="712" y="569"/>
                    <a:pt x="712" y="569"/>
                    <a:pt x="712" y="569"/>
                  </a:cubicBezTo>
                  <a:cubicBezTo>
                    <a:pt x="712" y="569"/>
                    <a:pt x="730" y="581"/>
                    <a:pt x="742" y="578"/>
                  </a:cubicBezTo>
                  <a:cubicBezTo>
                    <a:pt x="753" y="575"/>
                    <a:pt x="747" y="548"/>
                    <a:pt x="766" y="545"/>
                  </a:cubicBezTo>
                  <a:cubicBezTo>
                    <a:pt x="788" y="542"/>
                    <a:pt x="806" y="558"/>
                    <a:pt x="818" y="543"/>
                  </a:cubicBezTo>
                  <a:cubicBezTo>
                    <a:pt x="830" y="532"/>
                    <a:pt x="823" y="513"/>
                    <a:pt x="823" y="513"/>
                  </a:cubicBezTo>
                  <a:cubicBezTo>
                    <a:pt x="839" y="502"/>
                    <a:pt x="839" y="502"/>
                    <a:pt x="839" y="502"/>
                  </a:cubicBezTo>
                  <a:cubicBezTo>
                    <a:pt x="833" y="456"/>
                    <a:pt x="833" y="456"/>
                    <a:pt x="833" y="456"/>
                  </a:cubicBezTo>
                  <a:cubicBezTo>
                    <a:pt x="848" y="457"/>
                    <a:pt x="848" y="457"/>
                    <a:pt x="848" y="457"/>
                  </a:cubicBezTo>
                  <a:cubicBezTo>
                    <a:pt x="868" y="427"/>
                    <a:pt x="868" y="427"/>
                    <a:pt x="868" y="427"/>
                  </a:cubicBezTo>
                  <a:cubicBezTo>
                    <a:pt x="862" y="412"/>
                    <a:pt x="862" y="412"/>
                    <a:pt x="862" y="412"/>
                  </a:cubicBezTo>
                  <a:cubicBezTo>
                    <a:pt x="886" y="374"/>
                    <a:pt x="886" y="374"/>
                    <a:pt x="886" y="374"/>
                  </a:cubicBezTo>
                  <a:cubicBezTo>
                    <a:pt x="883" y="355"/>
                    <a:pt x="883" y="355"/>
                    <a:pt x="883" y="355"/>
                  </a:cubicBezTo>
                  <a:cubicBezTo>
                    <a:pt x="911" y="314"/>
                    <a:pt x="911" y="314"/>
                    <a:pt x="911" y="314"/>
                  </a:cubicBezTo>
                  <a:cubicBezTo>
                    <a:pt x="920" y="277"/>
                    <a:pt x="920" y="277"/>
                    <a:pt x="920" y="277"/>
                  </a:cubicBezTo>
                  <a:cubicBezTo>
                    <a:pt x="932" y="266"/>
                    <a:pt x="932" y="266"/>
                    <a:pt x="932" y="266"/>
                  </a:cubicBezTo>
                  <a:cubicBezTo>
                    <a:pt x="929" y="243"/>
                    <a:pt x="929" y="243"/>
                    <a:pt x="929" y="243"/>
                  </a:cubicBezTo>
                  <a:cubicBezTo>
                    <a:pt x="973" y="184"/>
                    <a:pt x="973" y="184"/>
                    <a:pt x="973" y="184"/>
                  </a:cubicBezTo>
                  <a:cubicBezTo>
                    <a:pt x="985" y="173"/>
                    <a:pt x="985" y="173"/>
                    <a:pt x="985" y="173"/>
                  </a:cubicBezTo>
                  <a:cubicBezTo>
                    <a:pt x="1015" y="174"/>
                    <a:pt x="1015" y="174"/>
                    <a:pt x="1015" y="174"/>
                  </a:cubicBezTo>
                  <a:cubicBezTo>
                    <a:pt x="1058" y="123"/>
                    <a:pt x="1058" y="123"/>
                    <a:pt x="1058" y="123"/>
                  </a:cubicBezTo>
                  <a:cubicBezTo>
                    <a:pt x="1047" y="118"/>
                    <a:pt x="1047" y="118"/>
                    <a:pt x="1047" y="118"/>
                  </a:cubicBezTo>
                  <a:cubicBezTo>
                    <a:pt x="1047" y="118"/>
                    <a:pt x="1070" y="100"/>
                    <a:pt x="1045" y="91"/>
                  </a:cubicBezTo>
                  <a:cubicBezTo>
                    <a:pt x="1019" y="86"/>
                    <a:pt x="1011" y="97"/>
                    <a:pt x="1004" y="86"/>
                  </a:cubicBezTo>
                  <a:cubicBezTo>
                    <a:pt x="997" y="78"/>
                    <a:pt x="997" y="66"/>
                    <a:pt x="990" y="62"/>
                  </a:cubicBezTo>
                  <a:cubicBezTo>
                    <a:pt x="979" y="61"/>
                    <a:pt x="967" y="65"/>
                    <a:pt x="967" y="65"/>
                  </a:cubicBezTo>
                  <a:cubicBezTo>
                    <a:pt x="967" y="65"/>
                    <a:pt x="957" y="45"/>
                    <a:pt x="950" y="41"/>
                  </a:cubicBezTo>
                  <a:cubicBezTo>
                    <a:pt x="942" y="33"/>
                    <a:pt x="931" y="32"/>
                    <a:pt x="931" y="32"/>
                  </a:cubicBezTo>
                  <a:cubicBezTo>
                    <a:pt x="931" y="32"/>
                    <a:pt x="909" y="27"/>
                    <a:pt x="898"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1" name="Freeform 455">
              <a:extLst>
                <a:ext uri="{FF2B5EF4-FFF2-40B4-BE49-F238E27FC236}">
                  <a16:creationId xmlns:a16="http://schemas.microsoft.com/office/drawing/2014/main" id="{3581585C-4A1B-A315-33B5-AE4AE13A765C}"/>
                </a:ext>
              </a:extLst>
            </p:cNvPr>
            <p:cNvSpPr>
              <a:spLocks/>
            </p:cNvSpPr>
            <p:nvPr/>
          </p:nvSpPr>
          <p:spPr bwMode="gray">
            <a:xfrm>
              <a:off x="10493237" y="3946903"/>
              <a:ext cx="14383" cy="12586"/>
            </a:xfrm>
            <a:custGeom>
              <a:avLst/>
              <a:gdLst>
                <a:gd name="T0" fmla="*/ 0 w 23"/>
                <a:gd name="T1" fmla="*/ 21 h 21"/>
                <a:gd name="T2" fmla="*/ 0 w 23"/>
                <a:gd name="T3" fmla="*/ 21 h 21"/>
                <a:gd name="T4" fmla="*/ 23 w 23"/>
                <a:gd name="T5" fmla="*/ 0 h 21"/>
                <a:gd name="T6" fmla="*/ 0 w 23"/>
                <a:gd name="T7" fmla="*/ 21 h 21"/>
              </a:gdLst>
              <a:ahLst/>
              <a:cxnLst>
                <a:cxn ang="0">
                  <a:pos x="T0" y="T1"/>
                </a:cxn>
                <a:cxn ang="0">
                  <a:pos x="T2" y="T3"/>
                </a:cxn>
                <a:cxn ang="0">
                  <a:pos x="T4" y="T5"/>
                </a:cxn>
                <a:cxn ang="0">
                  <a:pos x="T6" y="T7"/>
                </a:cxn>
              </a:cxnLst>
              <a:rect l="0" t="0" r="r" b="b"/>
              <a:pathLst>
                <a:path w="23" h="21">
                  <a:moveTo>
                    <a:pt x="0" y="21"/>
                  </a:moveTo>
                  <a:cubicBezTo>
                    <a:pt x="0" y="21"/>
                    <a:pt x="0" y="21"/>
                    <a:pt x="0" y="21"/>
                  </a:cubicBezTo>
                  <a:cubicBezTo>
                    <a:pt x="23" y="0"/>
                    <a:pt x="23" y="0"/>
                    <a:pt x="23" y="0"/>
                  </a:cubicBezTo>
                  <a:lnTo>
                    <a:pt x="0"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2" name="Freeform 456">
              <a:extLst>
                <a:ext uri="{FF2B5EF4-FFF2-40B4-BE49-F238E27FC236}">
                  <a16:creationId xmlns:a16="http://schemas.microsoft.com/office/drawing/2014/main" id="{FF00A910-C6BE-8908-C4F4-D66F581DA488}"/>
                </a:ext>
              </a:extLst>
            </p:cNvPr>
            <p:cNvSpPr>
              <a:spLocks/>
            </p:cNvSpPr>
            <p:nvPr/>
          </p:nvSpPr>
          <p:spPr bwMode="gray">
            <a:xfrm>
              <a:off x="10583136" y="3806661"/>
              <a:ext cx="1798" cy="14383"/>
            </a:xfrm>
            <a:custGeom>
              <a:avLst/>
              <a:gdLst>
                <a:gd name="T0" fmla="*/ 0 w 3"/>
                <a:gd name="T1" fmla="*/ 24 h 24"/>
                <a:gd name="T2" fmla="*/ 3 w 3"/>
                <a:gd name="T3" fmla="*/ 0 h 24"/>
                <a:gd name="T4" fmla="*/ 1 w 3"/>
                <a:gd name="T5" fmla="*/ 1 h 24"/>
                <a:gd name="T6" fmla="*/ 0 w 3"/>
                <a:gd name="T7" fmla="*/ 24 h 24"/>
              </a:gdLst>
              <a:ahLst/>
              <a:cxnLst>
                <a:cxn ang="0">
                  <a:pos x="T0" y="T1"/>
                </a:cxn>
                <a:cxn ang="0">
                  <a:pos x="T2" y="T3"/>
                </a:cxn>
                <a:cxn ang="0">
                  <a:pos x="T4" y="T5"/>
                </a:cxn>
                <a:cxn ang="0">
                  <a:pos x="T6" y="T7"/>
                </a:cxn>
              </a:cxnLst>
              <a:rect l="0" t="0" r="r" b="b"/>
              <a:pathLst>
                <a:path w="3" h="24">
                  <a:moveTo>
                    <a:pt x="0" y="24"/>
                  </a:moveTo>
                  <a:cubicBezTo>
                    <a:pt x="0" y="24"/>
                    <a:pt x="2" y="12"/>
                    <a:pt x="3" y="0"/>
                  </a:cubicBezTo>
                  <a:cubicBezTo>
                    <a:pt x="2" y="1"/>
                    <a:pt x="2" y="1"/>
                    <a:pt x="1" y="1"/>
                  </a:cubicBezTo>
                  <a:lnTo>
                    <a:pt x="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3" name="Freeform 457">
              <a:extLst>
                <a:ext uri="{FF2B5EF4-FFF2-40B4-BE49-F238E27FC236}">
                  <a16:creationId xmlns:a16="http://schemas.microsoft.com/office/drawing/2014/main" id="{11956523-E365-87A9-1892-3DFFC97835C3}"/>
                </a:ext>
              </a:extLst>
            </p:cNvPr>
            <p:cNvSpPr>
              <a:spLocks/>
            </p:cNvSpPr>
            <p:nvPr/>
          </p:nvSpPr>
          <p:spPr bwMode="gray">
            <a:xfrm>
              <a:off x="10993074" y="2134542"/>
              <a:ext cx="343414" cy="284081"/>
            </a:xfrm>
            <a:custGeom>
              <a:avLst/>
              <a:gdLst>
                <a:gd name="T0" fmla="*/ 177 w 575"/>
                <a:gd name="T1" fmla="*/ 410 h 476"/>
                <a:gd name="T2" fmla="*/ 200 w 575"/>
                <a:gd name="T3" fmla="*/ 399 h 476"/>
                <a:gd name="T4" fmla="*/ 238 w 575"/>
                <a:gd name="T5" fmla="*/ 374 h 476"/>
                <a:gd name="T6" fmla="*/ 260 w 575"/>
                <a:gd name="T7" fmla="*/ 394 h 476"/>
                <a:gd name="T8" fmla="*/ 286 w 575"/>
                <a:gd name="T9" fmla="*/ 392 h 476"/>
                <a:gd name="T10" fmla="*/ 311 w 575"/>
                <a:gd name="T11" fmla="*/ 408 h 476"/>
                <a:gd name="T12" fmla="*/ 337 w 575"/>
                <a:gd name="T13" fmla="*/ 417 h 476"/>
                <a:gd name="T14" fmla="*/ 359 w 575"/>
                <a:gd name="T15" fmla="*/ 426 h 476"/>
                <a:gd name="T16" fmla="*/ 391 w 575"/>
                <a:gd name="T17" fmla="*/ 466 h 476"/>
                <a:gd name="T18" fmla="*/ 436 w 575"/>
                <a:gd name="T19" fmla="*/ 476 h 476"/>
                <a:gd name="T20" fmla="*/ 515 w 575"/>
                <a:gd name="T21" fmla="*/ 460 h 476"/>
                <a:gd name="T22" fmla="*/ 530 w 575"/>
                <a:gd name="T23" fmla="*/ 457 h 476"/>
                <a:gd name="T24" fmla="*/ 532 w 575"/>
                <a:gd name="T25" fmla="*/ 419 h 476"/>
                <a:gd name="T26" fmla="*/ 541 w 575"/>
                <a:gd name="T27" fmla="*/ 389 h 476"/>
                <a:gd name="T28" fmla="*/ 542 w 575"/>
                <a:gd name="T29" fmla="*/ 347 h 476"/>
                <a:gd name="T30" fmla="*/ 522 w 575"/>
                <a:gd name="T31" fmla="*/ 296 h 476"/>
                <a:gd name="T32" fmla="*/ 483 w 575"/>
                <a:gd name="T33" fmla="*/ 168 h 476"/>
                <a:gd name="T34" fmla="*/ 523 w 575"/>
                <a:gd name="T35" fmla="*/ 109 h 476"/>
                <a:gd name="T36" fmla="*/ 530 w 575"/>
                <a:gd name="T37" fmla="*/ 40 h 476"/>
                <a:gd name="T38" fmla="*/ 532 w 575"/>
                <a:gd name="T39" fmla="*/ 2 h 476"/>
                <a:gd name="T40" fmla="*/ 460 w 575"/>
                <a:gd name="T41" fmla="*/ 18 h 476"/>
                <a:gd name="T42" fmla="*/ 363 w 575"/>
                <a:gd name="T43" fmla="*/ 13 h 476"/>
                <a:gd name="T44" fmla="*/ 326 w 575"/>
                <a:gd name="T45" fmla="*/ 11 h 476"/>
                <a:gd name="T46" fmla="*/ 296 w 575"/>
                <a:gd name="T47" fmla="*/ 2 h 476"/>
                <a:gd name="T48" fmla="*/ 288 w 575"/>
                <a:gd name="T49" fmla="*/ 17 h 476"/>
                <a:gd name="T50" fmla="*/ 277 w 575"/>
                <a:gd name="T51" fmla="*/ 13 h 476"/>
                <a:gd name="T52" fmla="*/ 273 w 575"/>
                <a:gd name="T53" fmla="*/ 24 h 476"/>
                <a:gd name="T54" fmla="*/ 252 w 575"/>
                <a:gd name="T55" fmla="*/ 0 h 476"/>
                <a:gd name="T56" fmla="*/ 250 w 575"/>
                <a:gd name="T57" fmla="*/ 27 h 476"/>
                <a:gd name="T58" fmla="*/ 235 w 575"/>
                <a:gd name="T59" fmla="*/ 38 h 476"/>
                <a:gd name="T60" fmla="*/ 197 w 575"/>
                <a:gd name="T61" fmla="*/ 47 h 476"/>
                <a:gd name="T62" fmla="*/ 149 w 575"/>
                <a:gd name="T63" fmla="*/ 41 h 476"/>
                <a:gd name="T64" fmla="*/ 140 w 575"/>
                <a:gd name="T65" fmla="*/ 75 h 476"/>
                <a:gd name="T66" fmla="*/ 98 w 575"/>
                <a:gd name="T67" fmla="*/ 88 h 476"/>
                <a:gd name="T68" fmla="*/ 90 w 575"/>
                <a:gd name="T69" fmla="*/ 100 h 476"/>
                <a:gd name="T70" fmla="*/ 64 w 575"/>
                <a:gd name="T71" fmla="*/ 98 h 476"/>
                <a:gd name="T72" fmla="*/ 67 w 575"/>
                <a:gd name="T73" fmla="*/ 118 h 476"/>
                <a:gd name="T74" fmla="*/ 33 w 575"/>
                <a:gd name="T75" fmla="*/ 124 h 476"/>
                <a:gd name="T76" fmla="*/ 25 w 575"/>
                <a:gd name="T77" fmla="*/ 135 h 476"/>
                <a:gd name="T78" fmla="*/ 9 w 575"/>
                <a:gd name="T79" fmla="*/ 138 h 476"/>
                <a:gd name="T80" fmla="*/ 5 w 575"/>
                <a:gd name="T81" fmla="*/ 149 h 476"/>
                <a:gd name="T82" fmla="*/ 8 w 575"/>
                <a:gd name="T83" fmla="*/ 172 h 476"/>
                <a:gd name="T84" fmla="*/ 11 w 575"/>
                <a:gd name="T85" fmla="*/ 195 h 476"/>
                <a:gd name="T86" fmla="*/ 26 w 575"/>
                <a:gd name="T87" fmla="*/ 192 h 476"/>
                <a:gd name="T88" fmla="*/ 16 w 575"/>
                <a:gd name="T89" fmla="*/ 230 h 476"/>
                <a:gd name="T90" fmla="*/ 31 w 575"/>
                <a:gd name="T91" fmla="*/ 234 h 476"/>
                <a:gd name="T92" fmla="*/ 45 w 575"/>
                <a:gd name="T93" fmla="*/ 250 h 476"/>
                <a:gd name="T94" fmla="*/ 26 w 575"/>
                <a:gd name="T95" fmla="*/ 257 h 476"/>
                <a:gd name="T96" fmla="*/ 25 w 575"/>
                <a:gd name="T97" fmla="*/ 291 h 476"/>
                <a:gd name="T98" fmla="*/ 57 w 575"/>
                <a:gd name="T99" fmla="*/ 324 h 476"/>
                <a:gd name="T100" fmla="*/ 72 w 575"/>
                <a:gd name="T101" fmla="*/ 336 h 476"/>
                <a:gd name="T102" fmla="*/ 94 w 575"/>
                <a:gd name="T103" fmla="*/ 337 h 476"/>
                <a:gd name="T104" fmla="*/ 124 w 575"/>
                <a:gd name="T105" fmla="*/ 342 h 476"/>
                <a:gd name="T106" fmla="*/ 158 w 575"/>
                <a:gd name="T107" fmla="*/ 328 h 476"/>
                <a:gd name="T108" fmla="*/ 159 w 575"/>
                <a:gd name="T109" fmla="*/ 386 h 476"/>
                <a:gd name="T110" fmla="*/ 153 w 575"/>
                <a:gd name="T111" fmla="*/ 435 h 476"/>
                <a:gd name="T112" fmla="*/ 165 w 575"/>
                <a:gd name="T113" fmla="*/ 421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5" h="476">
                  <a:moveTo>
                    <a:pt x="165" y="421"/>
                  </a:moveTo>
                  <a:cubicBezTo>
                    <a:pt x="177" y="410"/>
                    <a:pt x="177" y="410"/>
                    <a:pt x="177" y="410"/>
                  </a:cubicBezTo>
                  <a:cubicBezTo>
                    <a:pt x="187" y="422"/>
                    <a:pt x="187" y="422"/>
                    <a:pt x="187" y="422"/>
                  </a:cubicBezTo>
                  <a:cubicBezTo>
                    <a:pt x="200" y="399"/>
                    <a:pt x="200" y="399"/>
                    <a:pt x="200" y="399"/>
                  </a:cubicBezTo>
                  <a:cubicBezTo>
                    <a:pt x="218" y="404"/>
                    <a:pt x="218" y="404"/>
                    <a:pt x="218" y="404"/>
                  </a:cubicBezTo>
                  <a:cubicBezTo>
                    <a:pt x="238" y="374"/>
                    <a:pt x="238" y="374"/>
                    <a:pt x="238" y="374"/>
                  </a:cubicBezTo>
                  <a:cubicBezTo>
                    <a:pt x="249" y="375"/>
                    <a:pt x="249" y="375"/>
                    <a:pt x="249" y="375"/>
                  </a:cubicBezTo>
                  <a:cubicBezTo>
                    <a:pt x="260" y="394"/>
                    <a:pt x="260" y="394"/>
                    <a:pt x="260" y="394"/>
                  </a:cubicBezTo>
                  <a:cubicBezTo>
                    <a:pt x="264" y="376"/>
                    <a:pt x="264" y="376"/>
                    <a:pt x="264" y="376"/>
                  </a:cubicBezTo>
                  <a:cubicBezTo>
                    <a:pt x="286" y="392"/>
                    <a:pt x="286" y="392"/>
                    <a:pt x="286" y="392"/>
                  </a:cubicBezTo>
                  <a:cubicBezTo>
                    <a:pt x="301" y="393"/>
                    <a:pt x="301" y="393"/>
                    <a:pt x="301" y="393"/>
                  </a:cubicBezTo>
                  <a:cubicBezTo>
                    <a:pt x="311" y="408"/>
                    <a:pt x="311" y="408"/>
                    <a:pt x="311" y="408"/>
                  </a:cubicBezTo>
                  <a:cubicBezTo>
                    <a:pt x="323" y="401"/>
                    <a:pt x="323" y="401"/>
                    <a:pt x="323" y="401"/>
                  </a:cubicBezTo>
                  <a:cubicBezTo>
                    <a:pt x="323" y="401"/>
                    <a:pt x="330" y="417"/>
                    <a:pt x="337" y="417"/>
                  </a:cubicBezTo>
                  <a:cubicBezTo>
                    <a:pt x="345" y="418"/>
                    <a:pt x="360" y="411"/>
                    <a:pt x="360" y="411"/>
                  </a:cubicBezTo>
                  <a:cubicBezTo>
                    <a:pt x="359" y="426"/>
                    <a:pt x="359" y="426"/>
                    <a:pt x="359" y="426"/>
                  </a:cubicBezTo>
                  <a:cubicBezTo>
                    <a:pt x="359" y="426"/>
                    <a:pt x="374" y="434"/>
                    <a:pt x="381" y="438"/>
                  </a:cubicBezTo>
                  <a:cubicBezTo>
                    <a:pt x="388" y="446"/>
                    <a:pt x="384" y="465"/>
                    <a:pt x="391" y="466"/>
                  </a:cubicBezTo>
                  <a:cubicBezTo>
                    <a:pt x="425" y="467"/>
                    <a:pt x="425" y="467"/>
                    <a:pt x="425" y="467"/>
                  </a:cubicBezTo>
                  <a:cubicBezTo>
                    <a:pt x="436" y="476"/>
                    <a:pt x="436" y="476"/>
                    <a:pt x="436" y="476"/>
                  </a:cubicBezTo>
                  <a:cubicBezTo>
                    <a:pt x="478" y="451"/>
                    <a:pt x="478" y="451"/>
                    <a:pt x="478" y="451"/>
                  </a:cubicBezTo>
                  <a:cubicBezTo>
                    <a:pt x="478" y="451"/>
                    <a:pt x="503" y="463"/>
                    <a:pt x="515" y="460"/>
                  </a:cubicBezTo>
                  <a:cubicBezTo>
                    <a:pt x="518" y="460"/>
                    <a:pt x="521" y="460"/>
                    <a:pt x="525" y="460"/>
                  </a:cubicBezTo>
                  <a:cubicBezTo>
                    <a:pt x="527" y="459"/>
                    <a:pt x="529" y="458"/>
                    <a:pt x="530" y="457"/>
                  </a:cubicBezTo>
                  <a:cubicBezTo>
                    <a:pt x="527" y="442"/>
                    <a:pt x="527" y="442"/>
                    <a:pt x="527" y="442"/>
                  </a:cubicBezTo>
                  <a:cubicBezTo>
                    <a:pt x="532" y="419"/>
                    <a:pt x="532" y="419"/>
                    <a:pt x="532" y="419"/>
                  </a:cubicBezTo>
                  <a:cubicBezTo>
                    <a:pt x="532" y="419"/>
                    <a:pt x="543" y="419"/>
                    <a:pt x="547" y="412"/>
                  </a:cubicBezTo>
                  <a:cubicBezTo>
                    <a:pt x="547" y="404"/>
                    <a:pt x="541" y="389"/>
                    <a:pt x="541" y="389"/>
                  </a:cubicBezTo>
                  <a:cubicBezTo>
                    <a:pt x="541" y="389"/>
                    <a:pt x="571" y="383"/>
                    <a:pt x="575" y="375"/>
                  </a:cubicBezTo>
                  <a:cubicBezTo>
                    <a:pt x="575" y="367"/>
                    <a:pt x="542" y="347"/>
                    <a:pt x="542" y="347"/>
                  </a:cubicBezTo>
                  <a:cubicBezTo>
                    <a:pt x="542" y="347"/>
                    <a:pt x="543" y="335"/>
                    <a:pt x="540" y="320"/>
                  </a:cubicBezTo>
                  <a:cubicBezTo>
                    <a:pt x="541" y="308"/>
                    <a:pt x="522" y="296"/>
                    <a:pt x="522" y="296"/>
                  </a:cubicBezTo>
                  <a:cubicBezTo>
                    <a:pt x="522" y="296"/>
                    <a:pt x="520" y="258"/>
                    <a:pt x="510" y="234"/>
                  </a:cubicBezTo>
                  <a:cubicBezTo>
                    <a:pt x="500" y="211"/>
                    <a:pt x="483" y="168"/>
                    <a:pt x="483" y="168"/>
                  </a:cubicBezTo>
                  <a:cubicBezTo>
                    <a:pt x="483" y="168"/>
                    <a:pt x="495" y="157"/>
                    <a:pt x="503" y="150"/>
                  </a:cubicBezTo>
                  <a:cubicBezTo>
                    <a:pt x="507" y="142"/>
                    <a:pt x="523" y="109"/>
                    <a:pt x="523" y="109"/>
                  </a:cubicBezTo>
                  <a:cubicBezTo>
                    <a:pt x="537" y="52"/>
                    <a:pt x="537" y="52"/>
                    <a:pt x="537" y="52"/>
                  </a:cubicBezTo>
                  <a:cubicBezTo>
                    <a:pt x="537" y="52"/>
                    <a:pt x="530" y="44"/>
                    <a:pt x="530" y="40"/>
                  </a:cubicBezTo>
                  <a:cubicBezTo>
                    <a:pt x="531" y="33"/>
                    <a:pt x="554" y="22"/>
                    <a:pt x="554" y="22"/>
                  </a:cubicBezTo>
                  <a:cubicBezTo>
                    <a:pt x="532" y="2"/>
                    <a:pt x="532" y="2"/>
                    <a:pt x="532" y="2"/>
                  </a:cubicBezTo>
                  <a:cubicBezTo>
                    <a:pt x="532" y="2"/>
                    <a:pt x="528" y="17"/>
                    <a:pt x="516" y="20"/>
                  </a:cubicBezTo>
                  <a:cubicBezTo>
                    <a:pt x="505" y="27"/>
                    <a:pt x="483" y="15"/>
                    <a:pt x="460" y="18"/>
                  </a:cubicBezTo>
                  <a:cubicBezTo>
                    <a:pt x="438" y="20"/>
                    <a:pt x="448" y="32"/>
                    <a:pt x="422" y="31"/>
                  </a:cubicBezTo>
                  <a:cubicBezTo>
                    <a:pt x="392" y="30"/>
                    <a:pt x="363" y="13"/>
                    <a:pt x="363" y="13"/>
                  </a:cubicBezTo>
                  <a:cubicBezTo>
                    <a:pt x="352" y="20"/>
                    <a:pt x="352" y="20"/>
                    <a:pt x="352" y="20"/>
                  </a:cubicBezTo>
                  <a:cubicBezTo>
                    <a:pt x="326" y="11"/>
                    <a:pt x="326" y="11"/>
                    <a:pt x="326" y="11"/>
                  </a:cubicBezTo>
                  <a:cubicBezTo>
                    <a:pt x="303" y="14"/>
                    <a:pt x="303" y="14"/>
                    <a:pt x="303" y="14"/>
                  </a:cubicBezTo>
                  <a:cubicBezTo>
                    <a:pt x="296" y="2"/>
                    <a:pt x="296" y="2"/>
                    <a:pt x="296" y="2"/>
                  </a:cubicBezTo>
                  <a:cubicBezTo>
                    <a:pt x="285" y="6"/>
                    <a:pt x="285" y="6"/>
                    <a:pt x="285" y="6"/>
                  </a:cubicBezTo>
                  <a:cubicBezTo>
                    <a:pt x="288" y="17"/>
                    <a:pt x="288" y="17"/>
                    <a:pt x="288" y="17"/>
                  </a:cubicBezTo>
                  <a:cubicBezTo>
                    <a:pt x="277" y="17"/>
                    <a:pt x="277" y="17"/>
                    <a:pt x="277" y="17"/>
                  </a:cubicBezTo>
                  <a:cubicBezTo>
                    <a:pt x="277" y="13"/>
                    <a:pt x="277" y="13"/>
                    <a:pt x="277" y="13"/>
                  </a:cubicBezTo>
                  <a:cubicBezTo>
                    <a:pt x="273" y="13"/>
                    <a:pt x="273" y="13"/>
                    <a:pt x="273" y="13"/>
                  </a:cubicBezTo>
                  <a:cubicBezTo>
                    <a:pt x="273" y="24"/>
                    <a:pt x="273" y="24"/>
                    <a:pt x="273" y="24"/>
                  </a:cubicBezTo>
                  <a:cubicBezTo>
                    <a:pt x="265" y="24"/>
                    <a:pt x="265" y="24"/>
                    <a:pt x="265" y="24"/>
                  </a:cubicBezTo>
                  <a:cubicBezTo>
                    <a:pt x="252" y="0"/>
                    <a:pt x="252" y="0"/>
                    <a:pt x="252" y="0"/>
                  </a:cubicBezTo>
                  <a:cubicBezTo>
                    <a:pt x="248" y="4"/>
                    <a:pt x="248" y="4"/>
                    <a:pt x="248" y="4"/>
                  </a:cubicBezTo>
                  <a:cubicBezTo>
                    <a:pt x="248" y="4"/>
                    <a:pt x="254" y="23"/>
                    <a:pt x="250" y="27"/>
                  </a:cubicBezTo>
                  <a:cubicBezTo>
                    <a:pt x="247" y="27"/>
                    <a:pt x="236" y="15"/>
                    <a:pt x="236" y="15"/>
                  </a:cubicBezTo>
                  <a:cubicBezTo>
                    <a:pt x="235" y="38"/>
                    <a:pt x="235" y="38"/>
                    <a:pt x="235" y="38"/>
                  </a:cubicBezTo>
                  <a:cubicBezTo>
                    <a:pt x="235" y="38"/>
                    <a:pt x="235" y="41"/>
                    <a:pt x="227" y="45"/>
                  </a:cubicBezTo>
                  <a:cubicBezTo>
                    <a:pt x="219" y="48"/>
                    <a:pt x="197" y="47"/>
                    <a:pt x="197" y="47"/>
                  </a:cubicBezTo>
                  <a:cubicBezTo>
                    <a:pt x="197" y="47"/>
                    <a:pt x="178" y="58"/>
                    <a:pt x="174" y="58"/>
                  </a:cubicBezTo>
                  <a:cubicBezTo>
                    <a:pt x="170" y="57"/>
                    <a:pt x="153" y="37"/>
                    <a:pt x="149" y="41"/>
                  </a:cubicBezTo>
                  <a:cubicBezTo>
                    <a:pt x="145" y="45"/>
                    <a:pt x="155" y="68"/>
                    <a:pt x="155" y="68"/>
                  </a:cubicBezTo>
                  <a:cubicBezTo>
                    <a:pt x="140" y="75"/>
                    <a:pt x="140" y="75"/>
                    <a:pt x="140" y="75"/>
                  </a:cubicBezTo>
                  <a:cubicBezTo>
                    <a:pt x="140" y="75"/>
                    <a:pt x="114" y="66"/>
                    <a:pt x="106" y="70"/>
                  </a:cubicBezTo>
                  <a:cubicBezTo>
                    <a:pt x="99" y="73"/>
                    <a:pt x="98" y="88"/>
                    <a:pt x="98" y="88"/>
                  </a:cubicBezTo>
                  <a:cubicBezTo>
                    <a:pt x="87" y="88"/>
                    <a:pt x="87" y="88"/>
                    <a:pt x="87" y="88"/>
                  </a:cubicBezTo>
                  <a:cubicBezTo>
                    <a:pt x="90" y="100"/>
                    <a:pt x="90" y="100"/>
                    <a:pt x="90" y="100"/>
                  </a:cubicBezTo>
                  <a:cubicBezTo>
                    <a:pt x="64" y="91"/>
                    <a:pt x="64" y="91"/>
                    <a:pt x="64" y="91"/>
                  </a:cubicBezTo>
                  <a:cubicBezTo>
                    <a:pt x="64" y="98"/>
                    <a:pt x="64" y="98"/>
                    <a:pt x="64" y="98"/>
                  </a:cubicBezTo>
                  <a:cubicBezTo>
                    <a:pt x="64" y="98"/>
                    <a:pt x="78" y="118"/>
                    <a:pt x="74" y="122"/>
                  </a:cubicBezTo>
                  <a:cubicBezTo>
                    <a:pt x="70" y="125"/>
                    <a:pt x="67" y="118"/>
                    <a:pt x="67" y="118"/>
                  </a:cubicBezTo>
                  <a:cubicBezTo>
                    <a:pt x="40" y="120"/>
                    <a:pt x="40" y="120"/>
                    <a:pt x="40" y="120"/>
                  </a:cubicBezTo>
                  <a:cubicBezTo>
                    <a:pt x="33" y="124"/>
                    <a:pt x="33" y="124"/>
                    <a:pt x="33" y="124"/>
                  </a:cubicBezTo>
                  <a:cubicBezTo>
                    <a:pt x="28" y="135"/>
                    <a:pt x="28" y="135"/>
                    <a:pt x="28" y="135"/>
                  </a:cubicBezTo>
                  <a:cubicBezTo>
                    <a:pt x="25" y="135"/>
                    <a:pt x="25" y="135"/>
                    <a:pt x="25" y="135"/>
                  </a:cubicBezTo>
                  <a:cubicBezTo>
                    <a:pt x="9" y="142"/>
                    <a:pt x="9" y="142"/>
                    <a:pt x="9" y="142"/>
                  </a:cubicBezTo>
                  <a:cubicBezTo>
                    <a:pt x="9" y="138"/>
                    <a:pt x="9" y="138"/>
                    <a:pt x="9" y="138"/>
                  </a:cubicBezTo>
                  <a:cubicBezTo>
                    <a:pt x="6" y="138"/>
                    <a:pt x="6" y="138"/>
                    <a:pt x="6" y="138"/>
                  </a:cubicBezTo>
                  <a:cubicBezTo>
                    <a:pt x="5" y="149"/>
                    <a:pt x="5" y="149"/>
                    <a:pt x="5" y="149"/>
                  </a:cubicBezTo>
                  <a:cubicBezTo>
                    <a:pt x="12" y="157"/>
                    <a:pt x="12" y="157"/>
                    <a:pt x="12" y="157"/>
                  </a:cubicBezTo>
                  <a:cubicBezTo>
                    <a:pt x="8" y="172"/>
                    <a:pt x="8" y="172"/>
                    <a:pt x="8" y="172"/>
                  </a:cubicBezTo>
                  <a:cubicBezTo>
                    <a:pt x="8" y="172"/>
                    <a:pt x="0" y="172"/>
                    <a:pt x="0" y="179"/>
                  </a:cubicBezTo>
                  <a:cubicBezTo>
                    <a:pt x="0" y="187"/>
                    <a:pt x="7" y="195"/>
                    <a:pt x="11" y="195"/>
                  </a:cubicBezTo>
                  <a:cubicBezTo>
                    <a:pt x="18" y="196"/>
                    <a:pt x="22" y="188"/>
                    <a:pt x="22" y="188"/>
                  </a:cubicBezTo>
                  <a:cubicBezTo>
                    <a:pt x="26" y="192"/>
                    <a:pt x="26" y="192"/>
                    <a:pt x="26" y="192"/>
                  </a:cubicBezTo>
                  <a:cubicBezTo>
                    <a:pt x="26" y="192"/>
                    <a:pt x="7" y="203"/>
                    <a:pt x="6" y="210"/>
                  </a:cubicBezTo>
                  <a:cubicBezTo>
                    <a:pt x="2" y="218"/>
                    <a:pt x="16" y="230"/>
                    <a:pt x="16" y="230"/>
                  </a:cubicBezTo>
                  <a:cubicBezTo>
                    <a:pt x="12" y="245"/>
                    <a:pt x="12" y="245"/>
                    <a:pt x="12" y="245"/>
                  </a:cubicBezTo>
                  <a:cubicBezTo>
                    <a:pt x="31" y="234"/>
                    <a:pt x="31" y="234"/>
                    <a:pt x="31" y="234"/>
                  </a:cubicBezTo>
                  <a:cubicBezTo>
                    <a:pt x="50" y="239"/>
                    <a:pt x="50" y="239"/>
                    <a:pt x="50" y="239"/>
                  </a:cubicBezTo>
                  <a:cubicBezTo>
                    <a:pt x="45" y="250"/>
                    <a:pt x="45" y="250"/>
                    <a:pt x="45" y="250"/>
                  </a:cubicBezTo>
                  <a:cubicBezTo>
                    <a:pt x="23" y="253"/>
                    <a:pt x="23" y="253"/>
                    <a:pt x="23" y="253"/>
                  </a:cubicBezTo>
                  <a:cubicBezTo>
                    <a:pt x="26" y="257"/>
                    <a:pt x="26" y="257"/>
                    <a:pt x="26" y="257"/>
                  </a:cubicBezTo>
                  <a:cubicBezTo>
                    <a:pt x="19" y="261"/>
                    <a:pt x="19" y="261"/>
                    <a:pt x="19" y="261"/>
                  </a:cubicBezTo>
                  <a:cubicBezTo>
                    <a:pt x="25" y="291"/>
                    <a:pt x="25" y="291"/>
                    <a:pt x="25" y="291"/>
                  </a:cubicBezTo>
                  <a:cubicBezTo>
                    <a:pt x="25" y="291"/>
                    <a:pt x="36" y="288"/>
                    <a:pt x="43" y="296"/>
                  </a:cubicBezTo>
                  <a:cubicBezTo>
                    <a:pt x="51" y="304"/>
                    <a:pt x="54" y="316"/>
                    <a:pt x="57" y="324"/>
                  </a:cubicBezTo>
                  <a:cubicBezTo>
                    <a:pt x="60" y="331"/>
                    <a:pt x="64" y="339"/>
                    <a:pt x="64" y="339"/>
                  </a:cubicBezTo>
                  <a:cubicBezTo>
                    <a:pt x="72" y="336"/>
                    <a:pt x="72" y="336"/>
                    <a:pt x="72" y="336"/>
                  </a:cubicBezTo>
                  <a:cubicBezTo>
                    <a:pt x="79" y="344"/>
                    <a:pt x="79" y="344"/>
                    <a:pt x="79" y="344"/>
                  </a:cubicBezTo>
                  <a:cubicBezTo>
                    <a:pt x="94" y="337"/>
                    <a:pt x="94" y="337"/>
                    <a:pt x="94" y="337"/>
                  </a:cubicBezTo>
                  <a:cubicBezTo>
                    <a:pt x="112" y="353"/>
                    <a:pt x="112" y="353"/>
                    <a:pt x="112" y="353"/>
                  </a:cubicBezTo>
                  <a:cubicBezTo>
                    <a:pt x="124" y="342"/>
                    <a:pt x="124" y="342"/>
                    <a:pt x="124" y="342"/>
                  </a:cubicBezTo>
                  <a:cubicBezTo>
                    <a:pt x="124" y="342"/>
                    <a:pt x="124" y="323"/>
                    <a:pt x="128" y="319"/>
                  </a:cubicBezTo>
                  <a:cubicBezTo>
                    <a:pt x="136" y="316"/>
                    <a:pt x="155" y="321"/>
                    <a:pt x="158" y="328"/>
                  </a:cubicBezTo>
                  <a:cubicBezTo>
                    <a:pt x="165" y="333"/>
                    <a:pt x="149" y="351"/>
                    <a:pt x="149" y="351"/>
                  </a:cubicBezTo>
                  <a:cubicBezTo>
                    <a:pt x="159" y="386"/>
                    <a:pt x="159" y="386"/>
                    <a:pt x="159" y="386"/>
                  </a:cubicBezTo>
                  <a:cubicBezTo>
                    <a:pt x="150" y="412"/>
                    <a:pt x="150" y="412"/>
                    <a:pt x="150" y="412"/>
                  </a:cubicBezTo>
                  <a:cubicBezTo>
                    <a:pt x="153" y="435"/>
                    <a:pt x="153" y="435"/>
                    <a:pt x="153" y="435"/>
                  </a:cubicBezTo>
                  <a:cubicBezTo>
                    <a:pt x="160" y="436"/>
                    <a:pt x="160" y="436"/>
                    <a:pt x="160" y="436"/>
                  </a:cubicBezTo>
                  <a:lnTo>
                    <a:pt x="165" y="4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4" name="Freeform 458">
              <a:extLst>
                <a:ext uri="{FF2B5EF4-FFF2-40B4-BE49-F238E27FC236}">
                  <a16:creationId xmlns:a16="http://schemas.microsoft.com/office/drawing/2014/main" id="{FB000394-6FF2-C7AD-B19D-D3A0AB8F03C6}"/>
                </a:ext>
              </a:extLst>
            </p:cNvPr>
            <p:cNvSpPr>
              <a:spLocks/>
            </p:cNvSpPr>
            <p:nvPr/>
          </p:nvSpPr>
          <p:spPr bwMode="gray">
            <a:xfrm>
              <a:off x="10894187" y="2238825"/>
              <a:ext cx="75515" cy="57535"/>
            </a:xfrm>
            <a:custGeom>
              <a:avLst/>
              <a:gdLst>
                <a:gd name="T0" fmla="*/ 41 w 127"/>
                <a:gd name="T1" fmla="*/ 53 h 97"/>
                <a:gd name="T2" fmla="*/ 60 w 127"/>
                <a:gd name="T3" fmla="*/ 65 h 97"/>
                <a:gd name="T4" fmla="*/ 56 w 127"/>
                <a:gd name="T5" fmla="*/ 73 h 97"/>
                <a:gd name="T6" fmla="*/ 66 w 127"/>
                <a:gd name="T7" fmla="*/ 96 h 97"/>
                <a:gd name="T8" fmla="*/ 77 w 127"/>
                <a:gd name="T9" fmla="*/ 97 h 97"/>
                <a:gd name="T10" fmla="*/ 85 w 127"/>
                <a:gd name="T11" fmla="*/ 86 h 97"/>
                <a:gd name="T12" fmla="*/ 89 w 127"/>
                <a:gd name="T13" fmla="*/ 78 h 97"/>
                <a:gd name="T14" fmla="*/ 96 w 127"/>
                <a:gd name="T15" fmla="*/ 79 h 97"/>
                <a:gd name="T16" fmla="*/ 104 w 127"/>
                <a:gd name="T17" fmla="*/ 71 h 97"/>
                <a:gd name="T18" fmla="*/ 101 w 127"/>
                <a:gd name="T19" fmla="*/ 60 h 97"/>
                <a:gd name="T20" fmla="*/ 127 w 127"/>
                <a:gd name="T21" fmla="*/ 57 h 97"/>
                <a:gd name="T22" fmla="*/ 106 w 127"/>
                <a:gd name="T23" fmla="*/ 33 h 97"/>
                <a:gd name="T24" fmla="*/ 88 w 127"/>
                <a:gd name="T25" fmla="*/ 25 h 97"/>
                <a:gd name="T26" fmla="*/ 73 w 127"/>
                <a:gd name="T27" fmla="*/ 9 h 97"/>
                <a:gd name="T28" fmla="*/ 63 w 127"/>
                <a:gd name="T29" fmla="*/ 0 h 97"/>
                <a:gd name="T30" fmla="*/ 65 w 127"/>
                <a:gd name="T31" fmla="*/ 20 h 97"/>
                <a:gd name="T32" fmla="*/ 49 w 127"/>
                <a:gd name="T33" fmla="*/ 42 h 97"/>
                <a:gd name="T34" fmla="*/ 23 w 127"/>
                <a:gd name="T35" fmla="*/ 48 h 97"/>
                <a:gd name="T36" fmla="*/ 16 w 127"/>
                <a:gd name="T37" fmla="*/ 44 h 97"/>
                <a:gd name="T38" fmla="*/ 0 w 127"/>
                <a:gd name="T39" fmla="*/ 51 h 97"/>
                <a:gd name="T40" fmla="*/ 26 w 127"/>
                <a:gd name="T41" fmla="*/ 64 h 97"/>
                <a:gd name="T42" fmla="*/ 41 w 127"/>
                <a:gd name="T43" fmla="*/ 5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 h="97">
                  <a:moveTo>
                    <a:pt x="41" y="53"/>
                  </a:moveTo>
                  <a:cubicBezTo>
                    <a:pt x="60" y="65"/>
                    <a:pt x="60" y="65"/>
                    <a:pt x="60" y="65"/>
                  </a:cubicBezTo>
                  <a:cubicBezTo>
                    <a:pt x="56" y="73"/>
                    <a:pt x="56" y="73"/>
                    <a:pt x="56" y="73"/>
                  </a:cubicBezTo>
                  <a:cubicBezTo>
                    <a:pt x="66" y="96"/>
                    <a:pt x="66" y="96"/>
                    <a:pt x="66" y="96"/>
                  </a:cubicBezTo>
                  <a:cubicBezTo>
                    <a:pt x="77" y="97"/>
                    <a:pt x="77" y="97"/>
                    <a:pt x="77" y="97"/>
                  </a:cubicBezTo>
                  <a:cubicBezTo>
                    <a:pt x="85" y="86"/>
                    <a:pt x="85" y="86"/>
                    <a:pt x="85" y="86"/>
                  </a:cubicBezTo>
                  <a:cubicBezTo>
                    <a:pt x="89" y="78"/>
                    <a:pt x="89" y="78"/>
                    <a:pt x="89" y="78"/>
                  </a:cubicBezTo>
                  <a:cubicBezTo>
                    <a:pt x="96" y="79"/>
                    <a:pt x="96" y="79"/>
                    <a:pt x="96" y="79"/>
                  </a:cubicBezTo>
                  <a:cubicBezTo>
                    <a:pt x="104" y="71"/>
                    <a:pt x="104" y="71"/>
                    <a:pt x="104" y="71"/>
                  </a:cubicBezTo>
                  <a:cubicBezTo>
                    <a:pt x="101" y="60"/>
                    <a:pt x="101" y="60"/>
                    <a:pt x="101" y="60"/>
                  </a:cubicBezTo>
                  <a:cubicBezTo>
                    <a:pt x="127" y="57"/>
                    <a:pt x="127" y="57"/>
                    <a:pt x="127" y="57"/>
                  </a:cubicBezTo>
                  <a:cubicBezTo>
                    <a:pt x="127" y="57"/>
                    <a:pt x="113" y="41"/>
                    <a:pt x="106" y="33"/>
                  </a:cubicBezTo>
                  <a:cubicBezTo>
                    <a:pt x="95" y="25"/>
                    <a:pt x="88" y="25"/>
                    <a:pt x="88" y="25"/>
                  </a:cubicBezTo>
                  <a:cubicBezTo>
                    <a:pt x="73" y="9"/>
                    <a:pt x="73" y="9"/>
                    <a:pt x="73" y="9"/>
                  </a:cubicBezTo>
                  <a:cubicBezTo>
                    <a:pt x="63" y="0"/>
                    <a:pt x="63" y="0"/>
                    <a:pt x="63" y="0"/>
                  </a:cubicBezTo>
                  <a:cubicBezTo>
                    <a:pt x="65" y="20"/>
                    <a:pt x="65" y="20"/>
                    <a:pt x="65" y="20"/>
                  </a:cubicBezTo>
                  <a:cubicBezTo>
                    <a:pt x="49" y="42"/>
                    <a:pt x="49" y="42"/>
                    <a:pt x="49" y="42"/>
                  </a:cubicBezTo>
                  <a:cubicBezTo>
                    <a:pt x="23" y="48"/>
                    <a:pt x="23" y="48"/>
                    <a:pt x="23" y="48"/>
                  </a:cubicBezTo>
                  <a:cubicBezTo>
                    <a:pt x="16" y="44"/>
                    <a:pt x="16" y="44"/>
                    <a:pt x="16" y="44"/>
                  </a:cubicBezTo>
                  <a:cubicBezTo>
                    <a:pt x="0" y="51"/>
                    <a:pt x="0" y="51"/>
                    <a:pt x="0" y="51"/>
                  </a:cubicBezTo>
                  <a:cubicBezTo>
                    <a:pt x="26" y="64"/>
                    <a:pt x="26" y="64"/>
                    <a:pt x="26" y="64"/>
                  </a:cubicBezTo>
                  <a:lnTo>
                    <a:pt x="41" y="5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5" name="Freeform 459">
              <a:extLst>
                <a:ext uri="{FF2B5EF4-FFF2-40B4-BE49-F238E27FC236}">
                  <a16:creationId xmlns:a16="http://schemas.microsoft.com/office/drawing/2014/main" id="{090B3A59-9B92-25E7-5A89-76435991BB6B}"/>
                </a:ext>
              </a:extLst>
            </p:cNvPr>
            <p:cNvSpPr>
              <a:spLocks/>
            </p:cNvSpPr>
            <p:nvPr/>
          </p:nvSpPr>
          <p:spPr bwMode="gray">
            <a:xfrm>
              <a:off x="10964308" y="2242420"/>
              <a:ext cx="37758" cy="17980"/>
            </a:xfrm>
            <a:custGeom>
              <a:avLst/>
              <a:gdLst>
                <a:gd name="T0" fmla="*/ 26 w 63"/>
                <a:gd name="T1" fmla="*/ 15 h 29"/>
                <a:gd name="T2" fmla="*/ 34 w 63"/>
                <a:gd name="T3" fmla="*/ 1 h 29"/>
                <a:gd name="T4" fmla="*/ 26 w 63"/>
                <a:gd name="T5" fmla="*/ 15 h 29"/>
              </a:gdLst>
              <a:ahLst/>
              <a:cxnLst>
                <a:cxn ang="0">
                  <a:pos x="T0" y="T1"/>
                </a:cxn>
                <a:cxn ang="0">
                  <a:pos x="T2" y="T3"/>
                </a:cxn>
                <a:cxn ang="0">
                  <a:pos x="T4" y="T5"/>
                </a:cxn>
              </a:cxnLst>
              <a:rect l="0" t="0" r="r" b="b"/>
              <a:pathLst>
                <a:path w="63" h="29">
                  <a:moveTo>
                    <a:pt x="26" y="15"/>
                  </a:moveTo>
                  <a:cubicBezTo>
                    <a:pt x="63" y="29"/>
                    <a:pt x="45" y="1"/>
                    <a:pt x="34" y="1"/>
                  </a:cubicBezTo>
                  <a:cubicBezTo>
                    <a:pt x="23" y="0"/>
                    <a:pt x="0" y="7"/>
                    <a:pt x="26"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6" name="Freeform 460">
              <a:extLst>
                <a:ext uri="{FF2B5EF4-FFF2-40B4-BE49-F238E27FC236}">
                  <a16:creationId xmlns:a16="http://schemas.microsoft.com/office/drawing/2014/main" id="{0C232437-8C7F-A4EB-ACBE-5A6BF82B1ECF}"/>
                </a:ext>
              </a:extLst>
            </p:cNvPr>
            <p:cNvSpPr>
              <a:spLocks/>
            </p:cNvSpPr>
            <p:nvPr/>
          </p:nvSpPr>
          <p:spPr bwMode="gray">
            <a:xfrm>
              <a:off x="10975094" y="2290967"/>
              <a:ext cx="25171" cy="23374"/>
            </a:xfrm>
            <a:custGeom>
              <a:avLst/>
              <a:gdLst>
                <a:gd name="T0" fmla="*/ 4 w 14"/>
                <a:gd name="T1" fmla="*/ 4 h 13"/>
                <a:gd name="T2" fmla="*/ 0 w 14"/>
                <a:gd name="T3" fmla="*/ 6 h 13"/>
                <a:gd name="T4" fmla="*/ 3 w 14"/>
                <a:gd name="T5" fmla="*/ 9 h 13"/>
                <a:gd name="T6" fmla="*/ 4 w 14"/>
                <a:gd name="T7" fmla="*/ 9 h 13"/>
                <a:gd name="T8" fmla="*/ 7 w 14"/>
                <a:gd name="T9" fmla="*/ 13 h 13"/>
                <a:gd name="T10" fmla="*/ 14 w 14"/>
                <a:gd name="T11" fmla="*/ 11 h 13"/>
                <a:gd name="T12" fmla="*/ 11 w 14"/>
                <a:gd name="T13" fmla="*/ 4 h 13"/>
                <a:gd name="T14" fmla="*/ 4 w 14"/>
                <a:gd name="T15" fmla="*/ 0 h 13"/>
                <a:gd name="T16" fmla="*/ 4 w 14"/>
                <a:gd name="T1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3">
                  <a:moveTo>
                    <a:pt x="4" y="4"/>
                  </a:moveTo>
                  <a:lnTo>
                    <a:pt x="0" y="6"/>
                  </a:lnTo>
                  <a:lnTo>
                    <a:pt x="3" y="9"/>
                  </a:lnTo>
                  <a:lnTo>
                    <a:pt x="4" y="9"/>
                  </a:lnTo>
                  <a:lnTo>
                    <a:pt x="7" y="13"/>
                  </a:lnTo>
                  <a:lnTo>
                    <a:pt x="14" y="11"/>
                  </a:lnTo>
                  <a:lnTo>
                    <a:pt x="11" y="4"/>
                  </a:lnTo>
                  <a:lnTo>
                    <a:pt x="4" y="0"/>
                  </a:lnTo>
                  <a:lnTo>
                    <a:pt x="4"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7" name="Freeform 461">
              <a:extLst>
                <a:ext uri="{FF2B5EF4-FFF2-40B4-BE49-F238E27FC236}">
                  <a16:creationId xmlns:a16="http://schemas.microsoft.com/office/drawing/2014/main" id="{833E3A7A-5A09-1EF5-0F6D-51C2C3734857}"/>
                </a:ext>
              </a:extLst>
            </p:cNvPr>
            <p:cNvSpPr>
              <a:spLocks/>
            </p:cNvSpPr>
            <p:nvPr/>
          </p:nvSpPr>
          <p:spPr bwMode="gray">
            <a:xfrm>
              <a:off x="10886994" y="2303552"/>
              <a:ext cx="100686" cy="104283"/>
            </a:xfrm>
            <a:custGeom>
              <a:avLst/>
              <a:gdLst>
                <a:gd name="T0" fmla="*/ 21 w 169"/>
                <a:gd name="T1" fmla="*/ 72 h 177"/>
                <a:gd name="T2" fmla="*/ 5 w 169"/>
                <a:gd name="T3" fmla="*/ 95 h 177"/>
                <a:gd name="T4" fmla="*/ 31 w 169"/>
                <a:gd name="T5" fmla="*/ 107 h 177"/>
                <a:gd name="T6" fmla="*/ 53 w 169"/>
                <a:gd name="T7" fmla="*/ 112 h 177"/>
                <a:gd name="T8" fmla="*/ 56 w 169"/>
                <a:gd name="T9" fmla="*/ 128 h 177"/>
                <a:gd name="T10" fmla="*/ 52 w 169"/>
                <a:gd name="T11" fmla="*/ 139 h 177"/>
                <a:gd name="T12" fmla="*/ 41 w 169"/>
                <a:gd name="T13" fmla="*/ 135 h 177"/>
                <a:gd name="T14" fmla="*/ 40 w 169"/>
                <a:gd name="T15" fmla="*/ 150 h 177"/>
                <a:gd name="T16" fmla="*/ 28 w 169"/>
                <a:gd name="T17" fmla="*/ 165 h 177"/>
                <a:gd name="T18" fmla="*/ 39 w 169"/>
                <a:gd name="T19" fmla="*/ 177 h 177"/>
                <a:gd name="T20" fmla="*/ 59 w 169"/>
                <a:gd name="T21" fmla="*/ 155 h 177"/>
                <a:gd name="T22" fmla="*/ 68 w 169"/>
                <a:gd name="T23" fmla="*/ 109 h 177"/>
                <a:gd name="T24" fmla="*/ 84 w 169"/>
                <a:gd name="T25" fmla="*/ 98 h 177"/>
                <a:gd name="T26" fmla="*/ 110 w 169"/>
                <a:gd name="T27" fmla="*/ 92 h 177"/>
                <a:gd name="T28" fmla="*/ 145 w 169"/>
                <a:gd name="T29" fmla="*/ 59 h 177"/>
                <a:gd name="T30" fmla="*/ 153 w 169"/>
                <a:gd name="T31" fmla="*/ 48 h 177"/>
                <a:gd name="T32" fmla="*/ 169 w 169"/>
                <a:gd name="T33" fmla="*/ 26 h 177"/>
                <a:gd name="T34" fmla="*/ 122 w 169"/>
                <a:gd name="T35" fmla="*/ 1 h 177"/>
                <a:gd name="T36" fmla="*/ 99 w 169"/>
                <a:gd name="T37" fmla="*/ 15 h 177"/>
                <a:gd name="T38" fmla="*/ 88 w 169"/>
                <a:gd name="T39" fmla="*/ 3 h 177"/>
                <a:gd name="T40" fmla="*/ 76 w 169"/>
                <a:gd name="T41" fmla="*/ 14 h 177"/>
                <a:gd name="T42" fmla="*/ 54 w 169"/>
                <a:gd name="T43" fmla="*/ 20 h 177"/>
                <a:gd name="T44" fmla="*/ 56 w 169"/>
                <a:gd name="T45" fmla="*/ 44 h 177"/>
                <a:gd name="T46" fmla="*/ 42 w 169"/>
                <a:gd name="T47" fmla="*/ 24 h 177"/>
                <a:gd name="T48" fmla="*/ 37 w 169"/>
                <a:gd name="T49" fmla="*/ 58 h 177"/>
                <a:gd name="T50" fmla="*/ 22 w 169"/>
                <a:gd name="T51" fmla="*/ 50 h 177"/>
                <a:gd name="T52" fmla="*/ 23 w 169"/>
                <a:gd name="T53" fmla="*/ 42 h 177"/>
                <a:gd name="T54" fmla="*/ 0 w 169"/>
                <a:gd name="T55" fmla="*/ 41 h 177"/>
                <a:gd name="T56" fmla="*/ 0 w 169"/>
                <a:gd name="T57" fmla="*/ 49 h 177"/>
                <a:gd name="T58" fmla="*/ 14 w 169"/>
                <a:gd name="T59" fmla="*/ 61 h 177"/>
                <a:gd name="T60" fmla="*/ 21 w 169"/>
                <a:gd name="T61" fmla="*/ 7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77">
                  <a:moveTo>
                    <a:pt x="21" y="72"/>
                  </a:moveTo>
                  <a:cubicBezTo>
                    <a:pt x="5" y="95"/>
                    <a:pt x="5" y="95"/>
                    <a:pt x="5" y="95"/>
                  </a:cubicBezTo>
                  <a:cubicBezTo>
                    <a:pt x="5" y="95"/>
                    <a:pt x="24" y="103"/>
                    <a:pt x="31" y="107"/>
                  </a:cubicBezTo>
                  <a:cubicBezTo>
                    <a:pt x="38" y="115"/>
                    <a:pt x="53" y="112"/>
                    <a:pt x="53" y="112"/>
                  </a:cubicBezTo>
                  <a:cubicBezTo>
                    <a:pt x="53" y="112"/>
                    <a:pt x="57" y="116"/>
                    <a:pt x="56" y="128"/>
                  </a:cubicBezTo>
                  <a:cubicBezTo>
                    <a:pt x="56" y="135"/>
                    <a:pt x="52" y="139"/>
                    <a:pt x="52" y="139"/>
                  </a:cubicBezTo>
                  <a:cubicBezTo>
                    <a:pt x="41" y="135"/>
                    <a:pt x="41" y="135"/>
                    <a:pt x="41" y="135"/>
                  </a:cubicBezTo>
                  <a:cubicBezTo>
                    <a:pt x="40" y="150"/>
                    <a:pt x="40" y="150"/>
                    <a:pt x="40" y="150"/>
                  </a:cubicBezTo>
                  <a:cubicBezTo>
                    <a:pt x="40" y="158"/>
                    <a:pt x="28" y="165"/>
                    <a:pt x="28" y="165"/>
                  </a:cubicBezTo>
                  <a:cubicBezTo>
                    <a:pt x="39" y="177"/>
                    <a:pt x="39" y="177"/>
                    <a:pt x="39" y="177"/>
                  </a:cubicBezTo>
                  <a:cubicBezTo>
                    <a:pt x="39" y="177"/>
                    <a:pt x="51" y="166"/>
                    <a:pt x="59" y="155"/>
                  </a:cubicBezTo>
                  <a:cubicBezTo>
                    <a:pt x="67" y="140"/>
                    <a:pt x="68" y="109"/>
                    <a:pt x="68" y="109"/>
                  </a:cubicBezTo>
                  <a:cubicBezTo>
                    <a:pt x="68" y="109"/>
                    <a:pt x="80" y="102"/>
                    <a:pt x="84" y="98"/>
                  </a:cubicBezTo>
                  <a:cubicBezTo>
                    <a:pt x="88" y="99"/>
                    <a:pt x="110" y="92"/>
                    <a:pt x="110" y="92"/>
                  </a:cubicBezTo>
                  <a:cubicBezTo>
                    <a:pt x="145" y="59"/>
                    <a:pt x="145" y="59"/>
                    <a:pt x="145" y="59"/>
                  </a:cubicBezTo>
                  <a:cubicBezTo>
                    <a:pt x="153" y="48"/>
                    <a:pt x="153" y="48"/>
                    <a:pt x="153" y="48"/>
                  </a:cubicBezTo>
                  <a:cubicBezTo>
                    <a:pt x="169" y="26"/>
                    <a:pt x="169" y="26"/>
                    <a:pt x="169" y="26"/>
                  </a:cubicBezTo>
                  <a:cubicBezTo>
                    <a:pt x="169" y="26"/>
                    <a:pt x="141" y="2"/>
                    <a:pt x="122" y="1"/>
                  </a:cubicBezTo>
                  <a:cubicBezTo>
                    <a:pt x="107" y="0"/>
                    <a:pt x="99" y="15"/>
                    <a:pt x="99" y="15"/>
                  </a:cubicBezTo>
                  <a:cubicBezTo>
                    <a:pt x="88" y="3"/>
                    <a:pt x="88" y="3"/>
                    <a:pt x="88" y="3"/>
                  </a:cubicBezTo>
                  <a:cubicBezTo>
                    <a:pt x="88" y="3"/>
                    <a:pt x="80" y="10"/>
                    <a:pt x="76" y="14"/>
                  </a:cubicBezTo>
                  <a:cubicBezTo>
                    <a:pt x="73" y="18"/>
                    <a:pt x="54" y="20"/>
                    <a:pt x="54" y="20"/>
                  </a:cubicBezTo>
                  <a:cubicBezTo>
                    <a:pt x="54" y="20"/>
                    <a:pt x="64" y="40"/>
                    <a:pt x="56" y="44"/>
                  </a:cubicBezTo>
                  <a:cubicBezTo>
                    <a:pt x="49" y="43"/>
                    <a:pt x="42" y="24"/>
                    <a:pt x="42" y="24"/>
                  </a:cubicBezTo>
                  <a:cubicBezTo>
                    <a:pt x="37" y="58"/>
                    <a:pt x="37" y="58"/>
                    <a:pt x="37" y="58"/>
                  </a:cubicBezTo>
                  <a:cubicBezTo>
                    <a:pt x="22" y="50"/>
                    <a:pt x="22" y="50"/>
                    <a:pt x="22" y="50"/>
                  </a:cubicBezTo>
                  <a:cubicBezTo>
                    <a:pt x="23" y="42"/>
                    <a:pt x="23" y="42"/>
                    <a:pt x="23" y="42"/>
                  </a:cubicBezTo>
                  <a:cubicBezTo>
                    <a:pt x="0" y="41"/>
                    <a:pt x="0" y="41"/>
                    <a:pt x="0" y="41"/>
                  </a:cubicBezTo>
                  <a:cubicBezTo>
                    <a:pt x="0" y="49"/>
                    <a:pt x="0" y="49"/>
                    <a:pt x="0" y="49"/>
                  </a:cubicBezTo>
                  <a:cubicBezTo>
                    <a:pt x="14" y="61"/>
                    <a:pt x="14" y="61"/>
                    <a:pt x="14" y="61"/>
                  </a:cubicBezTo>
                  <a:lnTo>
                    <a:pt x="21" y="7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8" name="Freeform 462">
              <a:extLst>
                <a:ext uri="{FF2B5EF4-FFF2-40B4-BE49-F238E27FC236}">
                  <a16:creationId xmlns:a16="http://schemas.microsoft.com/office/drawing/2014/main" id="{BB1959E3-7D76-74AA-E0C2-36186D41A4F2}"/>
                </a:ext>
              </a:extLst>
            </p:cNvPr>
            <p:cNvSpPr>
              <a:spLocks/>
            </p:cNvSpPr>
            <p:nvPr/>
          </p:nvSpPr>
          <p:spPr bwMode="gray">
            <a:xfrm>
              <a:off x="11081177" y="2584036"/>
              <a:ext cx="765938" cy="690424"/>
            </a:xfrm>
            <a:custGeom>
              <a:avLst/>
              <a:gdLst>
                <a:gd name="T0" fmla="*/ 524 w 1287"/>
                <a:gd name="T1" fmla="*/ 16 h 1158"/>
                <a:gd name="T2" fmla="*/ 490 w 1287"/>
                <a:gd name="T3" fmla="*/ 98 h 1158"/>
                <a:gd name="T4" fmla="*/ 445 w 1287"/>
                <a:gd name="T5" fmla="*/ 104 h 1158"/>
                <a:gd name="T6" fmla="*/ 408 w 1287"/>
                <a:gd name="T7" fmla="*/ 98 h 1158"/>
                <a:gd name="T8" fmla="*/ 376 w 1287"/>
                <a:gd name="T9" fmla="*/ 135 h 1158"/>
                <a:gd name="T10" fmla="*/ 360 w 1287"/>
                <a:gd name="T11" fmla="*/ 169 h 1158"/>
                <a:gd name="T12" fmla="*/ 346 w 1287"/>
                <a:gd name="T13" fmla="*/ 225 h 1158"/>
                <a:gd name="T14" fmla="*/ 382 w 1287"/>
                <a:gd name="T15" fmla="*/ 250 h 1158"/>
                <a:gd name="T16" fmla="*/ 328 w 1287"/>
                <a:gd name="T17" fmla="*/ 282 h 1158"/>
                <a:gd name="T18" fmla="*/ 273 w 1287"/>
                <a:gd name="T19" fmla="*/ 356 h 1158"/>
                <a:gd name="T20" fmla="*/ 267 w 1287"/>
                <a:gd name="T21" fmla="*/ 474 h 1158"/>
                <a:gd name="T22" fmla="*/ 269 w 1287"/>
                <a:gd name="T23" fmla="*/ 520 h 1158"/>
                <a:gd name="T24" fmla="*/ 221 w 1287"/>
                <a:gd name="T25" fmla="*/ 498 h 1158"/>
                <a:gd name="T26" fmla="*/ 171 w 1287"/>
                <a:gd name="T27" fmla="*/ 530 h 1158"/>
                <a:gd name="T28" fmla="*/ 147 w 1287"/>
                <a:gd name="T29" fmla="*/ 571 h 1158"/>
                <a:gd name="T30" fmla="*/ 97 w 1287"/>
                <a:gd name="T31" fmla="*/ 588 h 1158"/>
                <a:gd name="T32" fmla="*/ 49 w 1287"/>
                <a:gd name="T33" fmla="*/ 586 h 1158"/>
                <a:gd name="T34" fmla="*/ 3 w 1287"/>
                <a:gd name="T35" fmla="*/ 603 h 1158"/>
                <a:gd name="T36" fmla="*/ 37 w 1287"/>
                <a:gd name="T37" fmla="*/ 692 h 1158"/>
                <a:gd name="T38" fmla="*/ 81 w 1287"/>
                <a:gd name="T39" fmla="*/ 794 h 1158"/>
                <a:gd name="T40" fmla="*/ 90 w 1287"/>
                <a:gd name="T41" fmla="*/ 829 h 1158"/>
                <a:gd name="T42" fmla="*/ 30 w 1287"/>
                <a:gd name="T43" fmla="*/ 922 h 1158"/>
                <a:gd name="T44" fmla="*/ 59 w 1287"/>
                <a:gd name="T45" fmla="*/ 1015 h 1158"/>
                <a:gd name="T46" fmla="*/ 75 w 1287"/>
                <a:gd name="T47" fmla="*/ 1073 h 1158"/>
                <a:gd name="T48" fmla="*/ 70 w 1287"/>
                <a:gd name="T49" fmla="*/ 1111 h 1158"/>
                <a:gd name="T50" fmla="*/ 86 w 1287"/>
                <a:gd name="T51" fmla="*/ 1158 h 1158"/>
                <a:gd name="T52" fmla="*/ 155 w 1287"/>
                <a:gd name="T53" fmla="*/ 1123 h 1158"/>
                <a:gd name="T54" fmla="*/ 264 w 1287"/>
                <a:gd name="T55" fmla="*/ 1044 h 1158"/>
                <a:gd name="T56" fmla="*/ 388 w 1287"/>
                <a:gd name="T57" fmla="*/ 1019 h 1158"/>
                <a:gd name="T58" fmla="*/ 470 w 1287"/>
                <a:gd name="T59" fmla="*/ 1023 h 1158"/>
                <a:gd name="T60" fmla="*/ 515 w 1287"/>
                <a:gd name="T61" fmla="*/ 1025 h 1158"/>
                <a:gd name="T62" fmla="*/ 594 w 1287"/>
                <a:gd name="T63" fmla="*/ 1029 h 1158"/>
                <a:gd name="T64" fmla="*/ 671 w 1287"/>
                <a:gd name="T65" fmla="*/ 1059 h 1158"/>
                <a:gd name="T66" fmla="*/ 686 w 1287"/>
                <a:gd name="T67" fmla="*/ 1052 h 1158"/>
                <a:gd name="T68" fmla="*/ 747 w 1287"/>
                <a:gd name="T69" fmla="*/ 1028 h 1158"/>
                <a:gd name="T70" fmla="*/ 777 w 1287"/>
                <a:gd name="T71" fmla="*/ 1037 h 1158"/>
                <a:gd name="T72" fmla="*/ 817 w 1287"/>
                <a:gd name="T73" fmla="*/ 1062 h 1158"/>
                <a:gd name="T74" fmla="*/ 863 w 1287"/>
                <a:gd name="T75" fmla="*/ 1026 h 1158"/>
                <a:gd name="T76" fmla="*/ 894 w 1287"/>
                <a:gd name="T77" fmla="*/ 1016 h 1158"/>
                <a:gd name="T78" fmla="*/ 930 w 1287"/>
                <a:gd name="T79" fmla="*/ 1033 h 1158"/>
                <a:gd name="T80" fmla="*/ 971 w 1287"/>
                <a:gd name="T81" fmla="*/ 1031 h 1158"/>
                <a:gd name="T82" fmla="*/ 1094 w 1287"/>
                <a:gd name="T83" fmla="*/ 1049 h 1158"/>
                <a:gd name="T84" fmla="*/ 1129 w 1287"/>
                <a:gd name="T85" fmla="*/ 855 h 1158"/>
                <a:gd name="T86" fmla="*/ 1209 w 1287"/>
                <a:gd name="T87" fmla="*/ 832 h 1158"/>
                <a:gd name="T88" fmla="*/ 1185 w 1287"/>
                <a:gd name="T89" fmla="*/ 785 h 1158"/>
                <a:gd name="T90" fmla="*/ 1158 w 1287"/>
                <a:gd name="T91" fmla="*/ 711 h 1158"/>
                <a:gd name="T92" fmla="*/ 1101 w 1287"/>
                <a:gd name="T93" fmla="*/ 644 h 1158"/>
                <a:gd name="T94" fmla="*/ 1108 w 1287"/>
                <a:gd name="T95" fmla="*/ 590 h 1158"/>
                <a:gd name="T96" fmla="*/ 1212 w 1287"/>
                <a:gd name="T97" fmla="*/ 592 h 1158"/>
                <a:gd name="T98" fmla="*/ 1249 w 1287"/>
                <a:gd name="T99" fmla="*/ 532 h 1158"/>
                <a:gd name="T100" fmla="*/ 1284 w 1287"/>
                <a:gd name="T101" fmla="*/ 499 h 1158"/>
                <a:gd name="T102" fmla="*/ 1234 w 1287"/>
                <a:gd name="T103" fmla="*/ 440 h 1158"/>
                <a:gd name="T104" fmla="*/ 1133 w 1287"/>
                <a:gd name="T105" fmla="*/ 442 h 1158"/>
                <a:gd name="T106" fmla="*/ 1103 w 1287"/>
                <a:gd name="T107" fmla="*/ 368 h 1158"/>
                <a:gd name="T108" fmla="*/ 1027 w 1287"/>
                <a:gd name="T109" fmla="*/ 315 h 1158"/>
                <a:gd name="T110" fmla="*/ 1010 w 1287"/>
                <a:gd name="T111" fmla="*/ 268 h 1158"/>
                <a:gd name="T112" fmla="*/ 958 w 1287"/>
                <a:gd name="T113" fmla="*/ 182 h 1158"/>
                <a:gd name="T114" fmla="*/ 926 w 1287"/>
                <a:gd name="T115" fmla="*/ 65 h 1158"/>
                <a:gd name="T116" fmla="*/ 796 w 1287"/>
                <a:gd name="T117" fmla="*/ 32 h 1158"/>
                <a:gd name="T118" fmla="*/ 735 w 1287"/>
                <a:gd name="T119" fmla="*/ 75 h 1158"/>
                <a:gd name="T120" fmla="*/ 651 w 1287"/>
                <a:gd name="T121" fmla="*/ 18 h 1158"/>
                <a:gd name="T122" fmla="*/ 614 w 1287"/>
                <a:gd name="T123" fmla="*/ 5 h 1158"/>
                <a:gd name="T124" fmla="*/ 539 w 1287"/>
                <a:gd name="T125" fmla="*/ 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7" h="1158">
                  <a:moveTo>
                    <a:pt x="524" y="16"/>
                  </a:moveTo>
                  <a:cubicBezTo>
                    <a:pt x="524" y="16"/>
                    <a:pt x="524" y="16"/>
                    <a:pt x="524" y="16"/>
                  </a:cubicBezTo>
                  <a:cubicBezTo>
                    <a:pt x="492" y="64"/>
                    <a:pt x="492" y="64"/>
                    <a:pt x="492" y="64"/>
                  </a:cubicBezTo>
                  <a:cubicBezTo>
                    <a:pt x="492" y="64"/>
                    <a:pt x="498" y="87"/>
                    <a:pt x="490" y="98"/>
                  </a:cubicBezTo>
                  <a:cubicBezTo>
                    <a:pt x="479" y="105"/>
                    <a:pt x="464" y="101"/>
                    <a:pt x="464" y="101"/>
                  </a:cubicBezTo>
                  <a:cubicBezTo>
                    <a:pt x="464" y="101"/>
                    <a:pt x="453" y="104"/>
                    <a:pt x="445" y="104"/>
                  </a:cubicBezTo>
                  <a:cubicBezTo>
                    <a:pt x="438" y="103"/>
                    <a:pt x="423" y="91"/>
                    <a:pt x="423" y="91"/>
                  </a:cubicBezTo>
                  <a:cubicBezTo>
                    <a:pt x="408" y="98"/>
                    <a:pt x="408" y="98"/>
                    <a:pt x="408" y="98"/>
                  </a:cubicBezTo>
                  <a:cubicBezTo>
                    <a:pt x="408" y="98"/>
                    <a:pt x="407" y="121"/>
                    <a:pt x="395" y="128"/>
                  </a:cubicBezTo>
                  <a:cubicBezTo>
                    <a:pt x="387" y="139"/>
                    <a:pt x="376" y="135"/>
                    <a:pt x="376" y="135"/>
                  </a:cubicBezTo>
                  <a:cubicBezTo>
                    <a:pt x="361" y="146"/>
                    <a:pt x="361" y="146"/>
                    <a:pt x="361" y="146"/>
                  </a:cubicBezTo>
                  <a:cubicBezTo>
                    <a:pt x="360" y="169"/>
                    <a:pt x="360" y="169"/>
                    <a:pt x="360" y="169"/>
                  </a:cubicBezTo>
                  <a:cubicBezTo>
                    <a:pt x="352" y="187"/>
                    <a:pt x="352" y="187"/>
                    <a:pt x="352" y="187"/>
                  </a:cubicBezTo>
                  <a:cubicBezTo>
                    <a:pt x="346" y="225"/>
                    <a:pt x="346" y="225"/>
                    <a:pt x="346" y="225"/>
                  </a:cubicBezTo>
                  <a:cubicBezTo>
                    <a:pt x="346" y="225"/>
                    <a:pt x="392" y="208"/>
                    <a:pt x="395" y="220"/>
                  </a:cubicBezTo>
                  <a:cubicBezTo>
                    <a:pt x="398" y="232"/>
                    <a:pt x="382" y="250"/>
                    <a:pt x="382" y="250"/>
                  </a:cubicBezTo>
                  <a:cubicBezTo>
                    <a:pt x="381" y="269"/>
                    <a:pt x="381" y="269"/>
                    <a:pt x="381" y="269"/>
                  </a:cubicBezTo>
                  <a:cubicBezTo>
                    <a:pt x="328" y="282"/>
                    <a:pt x="328" y="282"/>
                    <a:pt x="328" y="282"/>
                  </a:cubicBezTo>
                  <a:cubicBezTo>
                    <a:pt x="328" y="282"/>
                    <a:pt x="331" y="316"/>
                    <a:pt x="315" y="323"/>
                  </a:cubicBezTo>
                  <a:cubicBezTo>
                    <a:pt x="300" y="326"/>
                    <a:pt x="273" y="340"/>
                    <a:pt x="273" y="356"/>
                  </a:cubicBezTo>
                  <a:cubicBezTo>
                    <a:pt x="272" y="375"/>
                    <a:pt x="281" y="417"/>
                    <a:pt x="281" y="417"/>
                  </a:cubicBezTo>
                  <a:cubicBezTo>
                    <a:pt x="267" y="474"/>
                    <a:pt x="267" y="474"/>
                    <a:pt x="267" y="474"/>
                  </a:cubicBezTo>
                  <a:cubicBezTo>
                    <a:pt x="267" y="474"/>
                    <a:pt x="301" y="472"/>
                    <a:pt x="300" y="491"/>
                  </a:cubicBezTo>
                  <a:cubicBezTo>
                    <a:pt x="303" y="514"/>
                    <a:pt x="280" y="532"/>
                    <a:pt x="269" y="520"/>
                  </a:cubicBezTo>
                  <a:cubicBezTo>
                    <a:pt x="258" y="508"/>
                    <a:pt x="274" y="490"/>
                    <a:pt x="259" y="493"/>
                  </a:cubicBezTo>
                  <a:cubicBezTo>
                    <a:pt x="244" y="492"/>
                    <a:pt x="221" y="498"/>
                    <a:pt x="221" y="498"/>
                  </a:cubicBezTo>
                  <a:cubicBezTo>
                    <a:pt x="205" y="532"/>
                    <a:pt x="205" y="532"/>
                    <a:pt x="205" y="532"/>
                  </a:cubicBezTo>
                  <a:cubicBezTo>
                    <a:pt x="205" y="532"/>
                    <a:pt x="179" y="519"/>
                    <a:pt x="171" y="530"/>
                  </a:cubicBezTo>
                  <a:cubicBezTo>
                    <a:pt x="167" y="538"/>
                    <a:pt x="188" y="570"/>
                    <a:pt x="177" y="573"/>
                  </a:cubicBezTo>
                  <a:cubicBezTo>
                    <a:pt x="161" y="580"/>
                    <a:pt x="147" y="571"/>
                    <a:pt x="147" y="571"/>
                  </a:cubicBezTo>
                  <a:cubicBezTo>
                    <a:pt x="123" y="601"/>
                    <a:pt x="123" y="601"/>
                    <a:pt x="123" y="601"/>
                  </a:cubicBezTo>
                  <a:cubicBezTo>
                    <a:pt x="97" y="588"/>
                    <a:pt x="97" y="588"/>
                    <a:pt x="97" y="588"/>
                  </a:cubicBezTo>
                  <a:cubicBezTo>
                    <a:pt x="71" y="595"/>
                    <a:pt x="71" y="595"/>
                    <a:pt x="71" y="595"/>
                  </a:cubicBezTo>
                  <a:cubicBezTo>
                    <a:pt x="49" y="586"/>
                    <a:pt x="49" y="586"/>
                    <a:pt x="49" y="586"/>
                  </a:cubicBezTo>
                  <a:cubicBezTo>
                    <a:pt x="44" y="601"/>
                    <a:pt x="44" y="601"/>
                    <a:pt x="44" y="601"/>
                  </a:cubicBezTo>
                  <a:cubicBezTo>
                    <a:pt x="3" y="603"/>
                    <a:pt x="3" y="603"/>
                    <a:pt x="3" y="603"/>
                  </a:cubicBezTo>
                  <a:cubicBezTo>
                    <a:pt x="27" y="650"/>
                    <a:pt x="27" y="650"/>
                    <a:pt x="27" y="650"/>
                  </a:cubicBezTo>
                  <a:cubicBezTo>
                    <a:pt x="27" y="650"/>
                    <a:pt x="30" y="669"/>
                    <a:pt x="37" y="692"/>
                  </a:cubicBezTo>
                  <a:cubicBezTo>
                    <a:pt x="39" y="715"/>
                    <a:pt x="89" y="779"/>
                    <a:pt x="89" y="779"/>
                  </a:cubicBezTo>
                  <a:cubicBezTo>
                    <a:pt x="81" y="794"/>
                    <a:pt x="81" y="794"/>
                    <a:pt x="81" y="794"/>
                  </a:cubicBezTo>
                  <a:cubicBezTo>
                    <a:pt x="98" y="825"/>
                    <a:pt x="98" y="825"/>
                    <a:pt x="98" y="825"/>
                  </a:cubicBezTo>
                  <a:cubicBezTo>
                    <a:pt x="90" y="829"/>
                    <a:pt x="90" y="829"/>
                    <a:pt x="90" y="829"/>
                  </a:cubicBezTo>
                  <a:cubicBezTo>
                    <a:pt x="95" y="894"/>
                    <a:pt x="95" y="894"/>
                    <a:pt x="95" y="894"/>
                  </a:cubicBezTo>
                  <a:cubicBezTo>
                    <a:pt x="95" y="894"/>
                    <a:pt x="53" y="904"/>
                    <a:pt x="30" y="922"/>
                  </a:cubicBezTo>
                  <a:cubicBezTo>
                    <a:pt x="6" y="943"/>
                    <a:pt x="0" y="997"/>
                    <a:pt x="0" y="997"/>
                  </a:cubicBezTo>
                  <a:cubicBezTo>
                    <a:pt x="0" y="997"/>
                    <a:pt x="26" y="998"/>
                    <a:pt x="59" y="1015"/>
                  </a:cubicBezTo>
                  <a:cubicBezTo>
                    <a:pt x="92" y="1028"/>
                    <a:pt x="84" y="1047"/>
                    <a:pt x="84" y="1047"/>
                  </a:cubicBezTo>
                  <a:cubicBezTo>
                    <a:pt x="75" y="1073"/>
                    <a:pt x="75" y="1073"/>
                    <a:pt x="75" y="1073"/>
                  </a:cubicBezTo>
                  <a:cubicBezTo>
                    <a:pt x="85" y="1096"/>
                    <a:pt x="85" y="1096"/>
                    <a:pt x="85" y="1096"/>
                  </a:cubicBezTo>
                  <a:cubicBezTo>
                    <a:pt x="70" y="1111"/>
                    <a:pt x="70" y="1111"/>
                    <a:pt x="70" y="1111"/>
                  </a:cubicBezTo>
                  <a:cubicBezTo>
                    <a:pt x="70" y="1111"/>
                    <a:pt x="69" y="1130"/>
                    <a:pt x="76" y="1142"/>
                  </a:cubicBezTo>
                  <a:cubicBezTo>
                    <a:pt x="79" y="1146"/>
                    <a:pt x="83" y="1154"/>
                    <a:pt x="86" y="1158"/>
                  </a:cubicBezTo>
                  <a:cubicBezTo>
                    <a:pt x="87" y="1150"/>
                    <a:pt x="88" y="1123"/>
                    <a:pt x="103" y="1124"/>
                  </a:cubicBezTo>
                  <a:cubicBezTo>
                    <a:pt x="121" y="1125"/>
                    <a:pt x="124" y="1144"/>
                    <a:pt x="155" y="1123"/>
                  </a:cubicBezTo>
                  <a:cubicBezTo>
                    <a:pt x="186" y="1105"/>
                    <a:pt x="161" y="1077"/>
                    <a:pt x="188" y="1063"/>
                  </a:cubicBezTo>
                  <a:cubicBezTo>
                    <a:pt x="215" y="1045"/>
                    <a:pt x="233" y="1057"/>
                    <a:pt x="264" y="1044"/>
                  </a:cubicBezTo>
                  <a:cubicBezTo>
                    <a:pt x="294" y="1030"/>
                    <a:pt x="298" y="1026"/>
                    <a:pt x="328" y="1031"/>
                  </a:cubicBezTo>
                  <a:cubicBezTo>
                    <a:pt x="358" y="1037"/>
                    <a:pt x="369" y="1026"/>
                    <a:pt x="388" y="1019"/>
                  </a:cubicBezTo>
                  <a:cubicBezTo>
                    <a:pt x="407" y="1016"/>
                    <a:pt x="437" y="1021"/>
                    <a:pt x="437" y="1021"/>
                  </a:cubicBezTo>
                  <a:cubicBezTo>
                    <a:pt x="470" y="1023"/>
                    <a:pt x="470" y="1023"/>
                    <a:pt x="470" y="1023"/>
                  </a:cubicBezTo>
                  <a:cubicBezTo>
                    <a:pt x="492" y="1039"/>
                    <a:pt x="492" y="1039"/>
                    <a:pt x="492" y="1039"/>
                  </a:cubicBezTo>
                  <a:cubicBezTo>
                    <a:pt x="515" y="1025"/>
                    <a:pt x="515" y="1025"/>
                    <a:pt x="515" y="1025"/>
                  </a:cubicBezTo>
                  <a:cubicBezTo>
                    <a:pt x="555" y="1046"/>
                    <a:pt x="555" y="1046"/>
                    <a:pt x="555" y="1046"/>
                  </a:cubicBezTo>
                  <a:cubicBezTo>
                    <a:pt x="555" y="1046"/>
                    <a:pt x="576" y="1005"/>
                    <a:pt x="594" y="1029"/>
                  </a:cubicBezTo>
                  <a:cubicBezTo>
                    <a:pt x="611" y="1049"/>
                    <a:pt x="599" y="1067"/>
                    <a:pt x="626" y="1061"/>
                  </a:cubicBezTo>
                  <a:cubicBezTo>
                    <a:pt x="656" y="1055"/>
                    <a:pt x="671" y="1059"/>
                    <a:pt x="671" y="1059"/>
                  </a:cubicBezTo>
                  <a:cubicBezTo>
                    <a:pt x="671" y="1059"/>
                    <a:pt x="673" y="1082"/>
                    <a:pt x="685" y="1083"/>
                  </a:cubicBezTo>
                  <a:cubicBezTo>
                    <a:pt x="696" y="1083"/>
                    <a:pt x="686" y="1052"/>
                    <a:pt x="686" y="1052"/>
                  </a:cubicBezTo>
                  <a:cubicBezTo>
                    <a:pt x="716" y="1054"/>
                    <a:pt x="716" y="1054"/>
                    <a:pt x="716" y="1054"/>
                  </a:cubicBezTo>
                  <a:cubicBezTo>
                    <a:pt x="747" y="1028"/>
                    <a:pt x="747" y="1028"/>
                    <a:pt x="747" y="1028"/>
                  </a:cubicBezTo>
                  <a:cubicBezTo>
                    <a:pt x="765" y="1056"/>
                    <a:pt x="765" y="1056"/>
                    <a:pt x="765" y="1056"/>
                  </a:cubicBezTo>
                  <a:cubicBezTo>
                    <a:pt x="777" y="1037"/>
                    <a:pt x="777" y="1037"/>
                    <a:pt x="777" y="1037"/>
                  </a:cubicBezTo>
                  <a:cubicBezTo>
                    <a:pt x="807" y="1035"/>
                    <a:pt x="807" y="1035"/>
                    <a:pt x="807" y="1035"/>
                  </a:cubicBezTo>
                  <a:cubicBezTo>
                    <a:pt x="807" y="1035"/>
                    <a:pt x="798" y="1065"/>
                    <a:pt x="817" y="1062"/>
                  </a:cubicBezTo>
                  <a:cubicBezTo>
                    <a:pt x="835" y="1059"/>
                    <a:pt x="833" y="1032"/>
                    <a:pt x="833" y="1032"/>
                  </a:cubicBezTo>
                  <a:cubicBezTo>
                    <a:pt x="863" y="1026"/>
                    <a:pt x="863" y="1026"/>
                    <a:pt x="863" y="1026"/>
                  </a:cubicBezTo>
                  <a:cubicBezTo>
                    <a:pt x="872" y="1004"/>
                    <a:pt x="872" y="1004"/>
                    <a:pt x="872" y="1004"/>
                  </a:cubicBezTo>
                  <a:cubicBezTo>
                    <a:pt x="894" y="1016"/>
                    <a:pt x="894" y="1016"/>
                    <a:pt x="894" y="1016"/>
                  </a:cubicBezTo>
                  <a:cubicBezTo>
                    <a:pt x="894" y="1016"/>
                    <a:pt x="891" y="1062"/>
                    <a:pt x="910" y="1059"/>
                  </a:cubicBezTo>
                  <a:cubicBezTo>
                    <a:pt x="929" y="1060"/>
                    <a:pt x="930" y="1033"/>
                    <a:pt x="930" y="1033"/>
                  </a:cubicBezTo>
                  <a:cubicBezTo>
                    <a:pt x="964" y="1020"/>
                    <a:pt x="964" y="1020"/>
                    <a:pt x="964" y="1020"/>
                  </a:cubicBezTo>
                  <a:cubicBezTo>
                    <a:pt x="971" y="1031"/>
                    <a:pt x="971" y="1031"/>
                    <a:pt x="971" y="1031"/>
                  </a:cubicBezTo>
                  <a:cubicBezTo>
                    <a:pt x="971" y="1031"/>
                    <a:pt x="1022" y="984"/>
                    <a:pt x="1044" y="1008"/>
                  </a:cubicBezTo>
                  <a:cubicBezTo>
                    <a:pt x="1061" y="1028"/>
                    <a:pt x="1082" y="1063"/>
                    <a:pt x="1094" y="1049"/>
                  </a:cubicBezTo>
                  <a:cubicBezTo>
                    <a:pt x="1106" y="1030"/>
                    <a:pt x="1073" y="1021"/>
                    <a:pt x="1079" y="972"/>
                  </a:cubicBezTo>
                  <a:cubicBezTo>
                    <a:pt x="1085" y="926"/>
                    <a:pt x="1092" y="857"/>
                    <a:pt x="1129" y="855"/>
                  </a:cubicBezTo>
                  <a:cubicBezTo>
                    <a:pt x="1167" y="853"/>
                    <a:pt x="1175" y="831"/>
                    <a:pt x="1175" y="831"/>
                  </a:cubicBezTo>
                  <a:cubicBezTo>
                    <a:pt x="1209" y="832"/>
                    <a:pt x="1209" y="832"/>
                    <a:pt x="1209" y="832"/>
                  </a:cubicBezTo>
                  <a:cubicBezTo>
                    <a:pt x="1224" y="822"/>
                    <a:pt x="1224" y="822"/>
                    <a:pt x="1224" y="822"/>
                  </a:cubicBezTo>
                  <a:cubicBezTo>
                    <a:pt x="1185" y="785"/>
                    <a:pt x="1185" y="785"/>
                    <a:pt x="1185" y="785"/>
                  </a:cubicBezTo>
                  <a:cubicBezTo>
                    <a:pt x="1185" y="785"/>
                    <a:pt x="1183" y="743"/>
                    <a:pt x="1172" y="727"/>
                  </a:cubicBezTo>
                  <a:cubicBezTo>
                    <a:pt x="1166" y="716"/>
                    <a:pt x="1158" y="711"/>
                    <a:pt x="1158" y="711"/>
                  </a:cubicBezTo>
                  <a:cubicBezTo>
                    <a:pt x="1158" y="711"/>
                    <a:pt x="1167" y="689"/>
                    <a:pt x="1145" y="669"/>
                  </a:cubicBezTo>
                  <a:cubicBezTo>
                    <a:pt x="1127" y="653"/>
                    <a:pt x="1101" y="644"/>
                    <a:pt x="1101" y="644"/>
                  </a:cubicBezTo>
                  <a:cubicBezTo>
                    <a:pt x="1110" y="617"/>
                    <a:pt x="1110" y="617"/>
                    <a:pt x="1110" y="617"/>
                  </a:cubicBezTo>
                  <a:cubicBezTo>
                    <a:pt x="1108" y="590"/>
                    <a:pt x="1108" y="590"/>
                    <a:pt x="1108" y="590"/>
                  </a:cubicBezTo>
                  <a:cubicBezTo>
                    <a:pt x="1149" y="581"/>
                    <a:pt x="1149" y="581"/>
                    <a:pt x="1149" y="581"/>
                  </a:cubicBezTo>
                  <a:cubicBezTo>
                    <a:pt x="1149" y="581"/>
                    <a:pt x="1178" y="609"/>
                    <a:pt x="1212" y="592"/>
                  </a:cubicBezTo>
                  <a:cubicBezTo>
                    <a:pt x="1243" y="578"/>
                    <a:pt x="1255" y="552"/>
                    <a:pt x="1255" y="552"/>
                  </a:cubicBezTo>
                  <a:cubicBezTo>
                    <a:pt x="1249" y="532"/>
                    <a:pt x="1249" y="532"/>
                    <a:pt x="1249" y="532"/>
                  </a:cubicBezTo>
                  <a:cubicBezTo>
                    <a:pt x="1287" y="519"/>
                    <a:pt x="1287" y="519"/>
                    <a:pt x="1287" y="519"/>
                  </a:cubicBezTo>
                  <a:cubicBezTo>
                    <a:pt x="1284" y="499"/>
                    <a:pt x="1284" y="499"/>
                    <a:pt x="1284" y="499"/>
                  </a:cubicBezTo>
                  <a:cubicBezTo>
                    <a:pt x="1218" y="466"/>
                    <a:pt x="1218" y="466"/>
                    <a:pt x="1218" y="466"/>
                  </a:cubicBezTo>
                  <a:cubicBezTo>
                    <a:pt x="1234" y="440"/>
                    <a:pt x="1234" y="440"/>
                    <a:pt x="1234" y="440"/>
                  </a:cubicBezTo>
                  <a:cubicBezTo>
                    <a:pt x="1178" y="433"/>
                    <a:pt x="1178" y="433"/>
                    <a:pt x="1178" y="433"/>
                  </a:cubicBezTo>
                  <a:cubicBezTo>
                    <a:pt x="1133" y="442"/>
                    <a:pt x="1133" y="442"/>
                    <a:pt x="1133" y="442"/>
                  </a:cubicBezTo>
                  <a:cubicBezTo>
                    <a:pt x="1133" y="442"/>
                    <a:pt x="1143" y="397"/>
                    <a:pt x="1132" y="385"/>
                  </a:cubicBezTo>
                  <a:cubicBezTo>
                    <a:pt x="1121" y="373"/>
                    <a:pt x="1103" y="368"/>
                    <a:pt x="1103" y="368"/>
                  </a:cubicBezTo>
                  <a:cubicBezTo>
                    <a:pt x="1103" y="368"/>
                    <a:pt x="1040" y="362"/>
                    <a:pt x="1037" y="346"/>
                  </a:cubicBezTo>
                  <a:cubicBezTo>
                    <a:pt x="1030" y="330"/>
                    <a:pt x="1027" y="315"/>
                    <a:pt x="1027" y="315"/>
                  </a:cubicBezTo>
                  <a:cubicBezTo>
                    <a:pt x="1001" y="306"/>
                    <a:pt x="1001" y="306"/>
                    <a:pt x="1001" y="306"/>
                  </a:cubicBezTo>
                  <a:cubicBezTo>
                    <a:pt x="1001" y="306"/>
                    <a:pt x="1032" y="281"/>
                    <a:pt x="1010" y="268"/>
                  </a:cubicBezTo>
                  <a:cubicBezTo>
                    <a:pt x="988" y="256"/>
                    <a:pt x="948" y="246"/>
                    <a:pt x="948" y="246"/>
                  </a:cubicBezTo>
                  <a:cubicBezTo>
                    <a:pt x="958" y="182"/>
                    <a:pt x="958" y="182"/>
                    <a:pt x="958" y="182"/>
                  </a:cubicBezTo>
                  <a:cubicBezTo>
                    <a:pt x="920" y="122"/>
                    <a:pt x="920" y="122"/>
                    <a:pt x="920" y="122"/>
                  </a:cubicBezTo>
                  <a:cubicBezTo>
                    <a:pt x="920" y="122"/>
                    <a:pt x="951" y="90"/>
                    <a:pt x="926" y="65"/>
                  </a:cubicBezTo>
                  <a:cubicBezTo>
                    <a:pt x="905" y="41"/>
                    <a:pt x="885" y="52"/>
                    <a:pt x="863" y="40"/>
                  </a:cubicBezTo>
                  <a:cubicBezTo>
                    <a:pt x="845" y="23"/>
                    <a:pt x="819" y="22"/>
                    <a:pt x="796" y="32"/>
                  </a:cubicBezTo>
                  <a:cubicBezTo>
                    <a:pt x="770" y="43"/>
                    <a:pt x="747" y="49"/>
                    <a:pt x="747" y="49"/>
                  </a:cubicBezTo>
                  <a:cubicBezTo>
                    <a:pt x="747" y="49"/>
                    <a:pt x="768" y="77"/>
                    <a:pt x="735" y="75"/>
                  </a:cubicBezTo>
                  <a:cubicBezTo>
                    <a:pt x="697" y="70"/>
                    <a:pt x="740" y="37"/>
                    <a:pt x="722" y="21"/>
                  </a:cubicBezTo>
                  <a:cubicBezTo>
                    <a:pt x="704" y="5"/>
                    <a:pt x="655" y="10"/>
                    <a:pt x="651" y="18"/>
                  </a:cubicBezTo>
                  <a:cubicBezTo>
                    <a:pt x="644" y="21"/>
                    <a:pt x="646" y="44"/>
                    <a:pt x="628" y="40"/>
                  </a:cubicBezTo>
                  <a:cubicBezTo>
                    <a:pt x="605" y="35"/>
                    <a:pt x="633" y="9"/>
                    <a:pt x="614" y="5"/>
                  </a:cubicBezTo>
                  <a:cubicBezTo>
                    <a:pt x="596" y="0"/>
                    <a:pt x="573" y="14"/>
                    <a:pt x="562" y="14"/>
                  </a:cubicBezTo>
                  <a:cubicBezTo>
                    <a:pt x="554" y="13"/>
                    <a:pt x="547" y="9"/>
                    <a:pt x="539" y="9"/>
                  </a:cubicBezTo>
                  <a:cubicBezTo>
                    <a:pt x="532" y="16"/>
                    <a:pt x="525" y="16"/>
                    <a:pt x="524"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9" name="Freeform 463">
              <a:extLst>
                <a:ext uri="{FF2B5EF4-FFF2-40B4-BE49-F238E27FC236}">
                  <a16:creationId xmlns:a16="http://schemas.microsoft.com/office/drawing/2014/main" id="{6A8714FA-E528-48D1-8115-6CD40950D84B}"/>
                </a:ext>
              </a:extLst>
            </p:cNvPr>
            <p:cNvSpPr>
              <a:spLocks/>
            </p:cNvSpPr>
            <p:nvPr/>
          </p:nvSpPr>
          <p:spPr bwMode="gray">
            <a:xfrm>
              <a:off x="10847439" y="2357491"/>
              <a:ext cx="560969" cy="312848"/>
            </a:xfrm>
            <a:custGeom>
              <a:avLst/>
              <a:gdLst>
                <a:gd name="T0" fmla="*/ 39 w 943"/>
                <a:gd name="T1" fmla="*/ 507 h 526"/>
                <a:gd name="T2" fmla="*/ 98 w 943"/>
                <a:gd name="T3" fmla="*/ 452 h 526"/>
                <a:gd name="T4" fmla="*/ 128 w 943"/>
                <a:gd name="T5" fmla="*/ 442 h 526"/>
                <a:gd name="T6" fmla="*/ 208 w 943"/>
                <a:gd name="T7" fmla="*/ 423 h 526"/>
                <a:gd name="T8" fmla="*/ 253 w 943"/>
                <a:gd name="T9" fmla="*/ 418 h 526"/>
                <a:gd name="T10" fmla="*/ 267 w 943"/>
                <a:gd name="T11" fmla="*/ 437 h 526"/>
                <a:gd name="T12" fmla="*/ 290 w 943"/>
                <a:gd name="T13" fmla="*/ 419 h 526"/>
                <a:gd name="T14" fmla="*/ 335 w 943"/>
                <a:gd name="T15" fmla="*/ 429 h 526"/>
                <a:gd name="T16" fmla="*/ 395 w 943"/>
                <a:gd name="T17" fmla="*/ 417 h 526"/>
                <a:gd name="T18" fmla="*/ 440 w 943"/>
                <a:gd name="T19" fmla="*/ 423 h 526"/>
                <a:gd name="T20" fmla="*/ 466 w 943"/>
                <a:gd name="T21" fmla="*/ 424 h 526"/>
                <a:gd name="T22" fmla="*/ 501 w 943"/>
                <a:gd name="T23" fmla="*/ 384 h 526"/>
                <a:gd name="T24" fmla="*/ 540 w 943"/>
                <a:gd name="T25" fmla="*/ 435 h 526"/>
                <a:gd name="T26" fmla="*/ 611 w 943"/>
                <a:gd name="T27" fmla="*/ 442 h 526"/>
                <a:gd name="T28" fmla="*/ 687 w 943"/>
                <a:gd name="T29" fmla="*/ 496 h 526"/>
                <a:gd name="T30" fmla="*/ 709 w 943"/>
                <a:gd name="T31" fmla="*/ 512 h 526"/>
                <a:gd name="T32" fmla="*/ 768 w 943"/>
                <a:gd name="T33" fmla="*/ 515 h 526"/>
                <a:gd name="T34" fmla="*/ 800 w 943"/>
                <a:gd name="T35" fmla="*/ 478 h 526"/>
                <a:gd name="T36" fmla="*/ 837 w 943"/>
                <a:gd name="T37" fmla="*/ 484 h 526"/>
                <a:gd name="T38" fmla="*/ 882 w 943"/>
                <a:gd name="T39" fmla="*/ 478 h 526"/>
                <a:gd name="T40" fmla="*/ 916 w 943"/>
                <a:gd name="T41" fmla="*/ 396 h 526"/>
                <a:gd name="T42" fmla="*/ 931 w 943"/>
                <a:gd name="T43" fmla="*/ 388 h 526"/>
                <a:gd name="T44" fmla="*/ 941 w 943"/>
                <a:gd name="T45" fmla="*/ 343 h 526"/>
                <a:gd name="T46" fmla="*/ 927 w 943"/>
                <a:gd name="T47" fmla="*/ 320 h 526"/>
                <a:gd name="T48" fmla="*/ 906 w 943"/>
                <a:gd name="T49" fmla="*/ 280 h 526"/>
                <a:gd name="T50" fmla="*/ 878 w 943"/>
                <a:gd name="T51" fmla="*/ 256 h 526"/>
                <a:gd name="T52" fmla="*/ 871 w 943"/>
                <a:gd name="T53" fmla="*/ 225 h 526"/>
                <a:gd name="T54" fmla="*/ 850 w 943"/>
                <a:gd name="T55" fmla="*/ 197 h 526"/>
                <a:gd name="T56" fmla="*/ 855 w 943"/>
                <a:gd name="T57" fmla="*/ 167 h 526"/>
                <a:gd name="T58" fmla="*/ 839 w 943"/>
                <a:gd name="T59" fmla="*/ 113 h 526"/>
                <a:gd name="T60" fmla="*/ 800 w 943"/>
                <a:gd name="T61" fmla="*/ 80 h 526"/>
                <a:gd name="T62" fmla="*/ 762 w 943"/>
                <a:gd name="T63" fmla="*/ 86 h 526"/>
                <a:gd name="T64" fmla="*/ 683 w 943"/>
                <a:gd name="T65" fmla="*/ 102 h 526"/>
                <a:gd name="T66" fmla="*/ 638 w 943"/>
                <a:gd name="T67" fmla="*/ 92 h 526"/>
                <a:gd name="T68" fmla="*/ 606 w 943"/>
                <a:gd name="T69" fmla="*/ 52 h 526"/>
                <a:gd name="T70" fmla="*/ 584 w 943"/>
                <a:gd name="T71" fmla="*/ 43 h 526"/>
                <a:gd name="T72" fmla="*/ 558 w 943"/>
                <a:gd name="T73" fmla="*/ 34 h 526"/>
                <a:gd name="T74" fmla="*/ 533 w 943"/>
                <a:gd name="T75" fmla="*/ 18 h 526"/>
                <a:gd name="T76" fmla="*/ 507 w 943"/>
                <a:gd name="T77" fmla="*/ 20 h 526"/>
                <a:gd name="T78" fmla="*/ 485 w 943"/>
                <a:gd name="T79" fmla="*/ 0 h 526"/>
                <a:gd name="T80" fmla="*/ 447 w 943"/>
                <a:gd name="T81" fmla="*/ 25 h 526"/>
                <a:gd name="T82" fmla="*/ 424 w 943"/>
                <a:gd name="T83" fmla="*/ 36 h 526"/>
                <a:gd name="T84" fmla="*/ 407 w 943"/>
                <a:gd name="T85" fmla="*/ 62 h 526"/>
                <a:gd name="T86" fmla="*/ 399 w 943"/>
                <a:gd name="T87" fmla="*/ 80 h 526"/>
                <a:gd name="T88" fmla="*/ 423 w 943"/>
                <a:gd name="T89" fmla="*/ 212 h 526"/>
                <a:gd name="T90" fmla="*/ 342 w 943"/>
                <a:gd name="T91" fmla="*/ 277 h 526"/>
                <a:gd name="T92" fmla="*/ 282 w 943"/>
                <a:gd name="T93" fmla="*/ 258 h 526"/>
                <a:gd name="T94" fmla="*/ 266 w 943"/>
                <a:gd name="T95" fmla="*/ 212 h 526"/>
                <a:gd name="T96" fmla="*/ 241 w 943"/>
                <a:gd name="T97" fmla="*/ 188 h 526"/>
                <a:gd name="T98" fmla="*/ 194 w 943"/>
                <a:gd name="T99" fmla="*/ 151 h 526"/>
                <a:gd name="T100" fmla="*/ 77 w 943"/>
                <a:gd name="T101" fmla="*/ 176 h 526"/>
                <a:gd name="T102" fmla="*/ 49 w 943"/>
                <a:gd name="T103" fmla="*/ 293 h 526"/>
                <a:gd name="T104" fmla="*/ 11 w 943"/>
                <a:gd name="T105" fmla="*/ 395 h 526"/>
                <a:gd name="T106" fmla="*/ 9 w 943"/>
                <a:gd name="T107" fmla="*/ 433 h 526"/>
                <a:gd name="T108" fmla="*/ 17 w 943"/>
                <a:gd name="T109" fmla="*/ 418 h 526"/>
                <a:gd name="T110" fmla="*/ 12 w 943"/>
                <a:gd name="T111" fmla="*/ 452 h 526"/>
                <a:gd name="T112" fmla="*/ 0 w 943"/>
                <a:gd name="T113" fmla="*/ 459 h 526"/>
                <a:gd name="T114" fmla="*/ 16 w 943"/>
                <a:gd name="T115" fmla="*/ 517 h 526"/>
                <a:gd name="T116" fmla="*/ 31 w 943"/>
                <a:gd name="T117" fmla="*/ 514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3" h="526">
                  <a:moveTo>
                    <a:pt x="31" y="514"/>
                  </a:moveTo>
                  <a:cubicBezTo>
                    <a:pt x="39" y="507"/>
                    <a:pt x="39" y="507"/>
                    <a:pt x="39" y="507"/>
                  </a:cubicBezTo>
                  <a:cubicBezTo>
                    <a:pt x="39" y="507"/>
                    <a:pt x="59" y="473"/>
                    <a:pt x="75" y="459"/>
                  </a:cubicBezTo>
                  <a:cubicBezTo>
                    <a:pt x="87" y="444"/>
                    <a:pt x="98" y="452"/>
                    <a:pt x="98" y="452"/>
                  </a:cubicBezTo>
                  <a:cubicBezTo>
                    <a:pt x="117" y="438"/>
                    <a:pt x="117" y="438"/>
                    <a:pt x="117" y="438"/>
                  </a:cubicBezTo>
                  <a:cubicBezTo>
                    <a:pt x="128" y="442"/>
                    <a:pt x="128" y="442"/>
                    <a:pt x="128" y="442"/>
                  </a:cubicBezTo>
                  <a:cubicBezTo>
                    <a:pt x="144" y="424"/>
                    <a:pt x="144" y="424"/>
                    <a:pt x="144" y="424"/>
                  </a:cubicBezTo>
                  <a:cubicBezTo>
                    <a:pt x="208" y="423"/>
                    <a:pt x="208" y="423"/>
                    <a:pt x="208" y="423"/>
                  </a:cubicBezTo>
                  <a:cubicBezTo>
                    <a:pt x="222" y="435"/>
                    <a:pt x="222" y="435"/>
                    <a:pt x="222" y="435"/>
                  </a:cubicBezTo>
                  <a:cubicBezTo>
                    <a:pt x="253" y="418"/>
                    <a:pt x="253" y="418"/>
                    <a:pt x="253" y="418"/>
                  </a:cubicBezTo>
                  <a:cubicBezTo>
                    <a:pt x="264" y="414"/>
                    <a:pt x="264" y="414"/>
                    <a:pt x="264" y="414"/>
                  </a:cubicBezTo>
                  <a:cubicBezTo>
                    <a:pt x="267" y="437"/>
                    <a:pt x="267" y="437"/>
                    <a:pt x="267" y="437"/>
                  </a:cubicBezTo>
                  <a:cubicBezTo>
                    <a:pt x="282" y="438"/>
                    <a:pt x="282" y="438"/>
                    <a:pt x="282" y="438"/>
                  </a:cubicBezTo>
                  <a:cubicBezTo>
                    <a:pt x="290" y="419"/>
                    <a:pt x="290" y="419"/>
                    <a:pt x="290" y="419"/>
                  </a:cubicBezTo>
                  <a:cubicBezTo>
                    <a:pt x="313" y="417"/>
                    <a:pt x="313" y="417"/>
                    <a:pt x="313" y="417"/>
                  </a:cubicBezTo>
                  <a:cubicBezTo>
                    <a:pt x="335" y="429"/>
                    <a:pt x="335" y="429"/>
                    <a:pt x="335" y="429"/>
                  </a:cubicBezTo>
                  <a:cubicBezTo>
                    <a:pt x="350" y="415"/>
                    <a:pt x="350" y="415"/>
                    <a:pt x="350" y="415"/>
                  </a:cubicBezTo>
                  <a:cubicBezTo>
                    <a:pt x="395" y="417"/>
                    <a:pt x="395" y="417"/>
                    <a:pt x="395" y="417"/>
                  </a:cubicBezTo>
                  <a:cubicBezTo>
                    <a:pt x="417" y="433"/>
                    <a:pt x="417" y="433"/>
                    <a:pt x="417" y="433"/>
                  </a:cubicBezTo>
                  <a:cubicBezTo>
                    <a:pt x="440" y="423"/>
                    <a:pt x="440" y="423"/>
                    <a:pt x="440" y="423"/>
                  </a:cubicBezTo>
                  <a:cubicBezTo>
                    <a:pt x="454" y="427"/>
                    <a:pt x="454" y="427"/>
                    <a:pt x="454" y="427"/>
                  </a:cubicBezTo>
                  <a:cubicBezTo>
                    <a:pt x="466" y="424"/>
                    <a:pt x="466" y="424"/>
                    <a:pt x="466" y="424"/>
                  </a:cubicBezTo>
                  <a:cubicBezTo>
                    <a:pt x="478" y="402"/>
                    <a:pt x="478" y="402"/>
                    <a:pt x="478" y="402"/>
                  </a:cubicBezTo>
                  <a:cubicBezTo>
                    <a:pt x="501" y="384"/>
                    <a:pt x="501" y="384"/>
                    <a:pt x="501" y="384"/>
                  </a:cubicBezTo>
                  <a:cubicBezTo>
                    <a:pt x="520" y="392"/>
                    <a:pt x="520" y="392"/>
                    <a:pt x="520" y="392"/>
                  </a:cubicBezTo>
                  <a:cubicBezTo>
                    <a:pt x="540" y="435"/>
                    <a:pt x="540" y="435"/>
                    <a:pt x="540" y="435"/>
                  </a:cubicBezTo>
                  <a:cubicBezTo>
                    <a:pt x="611" y="431"/>
                    <a:pt x="611" y="431"/>
                    <a:pt x="611" y="431"/>
                  </a:cubicBezTo>
                  <a:cubicBezTo>
                    <a:pt x="611" y="442"/>
                    <a:pt x="611" y="442"/>
                    <a:pt x="611" y="442"/>
                  </a:cubicBezTo>
                  <a:cubicBezTo>
                    <a:pt x="611" y="442"/>
                    <a:pt x="659" y="448"/>
                    <a:pt x="670" y="460"/>
                  </a:cubicBezTo>
                  <a:cubicBezTo>
                    <a:pt x="677" y="472"/>
                    <a:pt x="687" y="496"/>
                    <a:pt x="687" y="496"/>
                  </a:cubicBezTo>
                  <a:cubicBezTo>
                    <a:pt x="706" y="497"/>
                    <a:pt x="706" y="497"/>
                    <a:pt x="706" y="497"/>
                  </a:cubicBezTo>
                  <a:cubicBezTo>
                    <a:pt x="709" y="512"/>
                    <a:pt x="709" y="512"/>
                    <a:pt x="709" y="512"/>
                  </a:cubicBezTo>
                  <a:cubicBezTo>
                    <a:pt x="753" y="526"/>
                    <a:pt x="753" y="526"/>
                    <a:pt x="753" y="526"/>
                  </a:cubicBezTo>
                  <a:cubicBezTo>
                    <a:pt x="768" y="515"/>
                    <a:pt x="768" y="515"/>
                    <a:pt x="768" y="515"/>
                  </a:cubicBezTo>
                  <a:cubicBezTo>
                    <a:pt x="768" y="515"/>
                    <a:pt x="779" y="519"/>
                    <a:pt x="787" y="508"/>
                  </a:cubicBezTo>
                  <a:cubicBezTo>
                    <a:pt x="799" y="501"/>
                    <a:pt x="800" y="478"/>
                    <a:pt x="800" y="478"/>
                  </a:cubicBezTo>
                  <a:cubicBezTo>
                    <a:pt x="815" y="471"/>
                    <a:pt x="815" y="471"/>
                    <a:pt x="815" y="471"/>
                  </a:cubicBezTo>
                  <a:cubicBezTo>
                    <a:pt x="815" y="471"/>
                    <a:pt x="830" y="483"/>
                    <a:pt x="837" y="484"/>
                  </a:cubicBezTo>
                  <a:cubicBezTo>
                    <a:pt x="845" y="484"/>
                    <a:pt x="856" y="481"/>
                    <a:pt x="856" y="481"/>
                  </a:cubicBezTo>
                  <a:cubicBezTo>
                    <a:pt x="856" y="481"/>
                    <a:pt x="871" y="485"/>
                    <a:pt x="882" y="478"/>
                  </a:cubicBezTo>
                  <a:cubicBezTo>
                    <a:pt x="890" y="467"/>
                    <a:pt x="884" y="444"/>
                    <a:pt x="884" y="444"/>
                  </a:cubicBezTo>
                  <a:cubicBezTo>
                    <a:pt x="916" y="396"/>
                    <a:pt x="916" y="396"/>
                    <a:pt x="916" y="396"/>
                  </a:cubicBezTo>
                  <a:cubicBezTo>
                    <a:pt x="916" y="396"/>
                    <a:pt x="916" y="396"/>
                    <a:pt x="916" y="396"/>
                  </a:cubicBezTo>
                  <a:cubicBezTo>
                    <a:pt x="917" y="396"/>
                    <a:pt x="923" y="395"/>
                    <a:pt x="931" y="388"/>
                  </a:cubicBezTo>
                  <a:cubicBezTo>
                    <a:pt x="931" y="385"/>
                    <a:pt x="932" y="385"/>
                    <a:pt x="935" y="385"/>
                  </a:cubicBezTo>
                  <a:cubicBezTo>
                    <a:pt x="943" y="370"/>
                    <a:pt x="941" y="343"/>
                    <a:pt x="941" y="343"/>
                  </a:cubicBezTo>
                  <a:cubicBezTo>
                    <a:pt x="934" y="339"/>
                    <a:pt x="934" y="339"/>
                    <a:pt x="934" y="339"/>
                  </a:cubicBezTo>
                  <a:cubicBezTo>
                    <a:pt x="927" y="320"/>
                    <a:pt x="927" y="320"/>
                    <a:pt x="927" y="320"/>
                  </a:cubicBezTo>
                  <a:cubicBezTo>
                    <a:pt x="917" y="285"/>
                    <a:pt x="917" y="285"/>
                    <a:pt x="917" y="285"/>
                  </a:cubicBezTo>
                  <a:cubicBezTo>
                    <a:pt x="906" y="280"/>
                    <a:pt x="906" y="280"/>
                    <a:pt x="906" y="280"/>
                  </a:cubicBezTo>
                  <a:cubicBezTo>
                    <a:pt x="903" y="265"/>
                    <a:pt x="903" y="265"/>
                    <a:pt x="903" y="265"/>
                  </a:cubicBezTo>
                  <a:cubicBezTo>
                    <a:pt x="878" y="256"/>
                    <a:pt x="878" y="256"/>
                    <a:pt x="878" y="256"/>
                  </a:cubicBezTo>
                  <a:cubicBezTo>
                    <a:pt x="886" y="237"/>
                    <a:pt x="886" y="237"/>
                    <a:pt x="886" y="237"/>
                  </a:cubicBezTo>
                  <a:cubicBezTo>
                    <a:pt x="886" y="237"/>
                    <a:pt x="879" y="226"/>
                    <a:pt x="871" y="225"/>
                  </a:cubicBezTo>
                  <a:cubicBezTo>
                    <a:pt x="860" y="225"/>
                    <a:pt x="841" y="235"/>
                    <a:pt x="841" y="235"/>
                  </a:cubicBezTo>
                  <a:cubicBezTo>
                    <a:pt x="850" y="197"/>
                    <a:pt x="850" y="197"/>
                    <a:pt x="850" y="197"/>
                  </a:cubicBezTo>
                  <a:cubicBezTo>
                    <a:pt x="844" y="182"/>
                    <a:pt x="844" y="182"/>
                    <a:pt x="844" y="182"/>
                  </a:cubicBezTo>
                  <a:cubicBezTo>
                    <a:pt x="855" y="167"/>
                    <a:pt x="855" y="167"/>
                    <a:pt x="855" y="167"/>
                  </a:cubicBezTo>
                  <a:cubicBezTo>
                    <a:pt x="857" y="129"/>
                    <a:pt x="857" y="129"/>
                    <a:pt x="857" y="129"/>
                  </a:cubicBezTo>
                  <a:cubicBezTo>
                    <a:pt x="857" y="129"/>
                    <a:pt x="847" y="117"/>
                    <a:pt x="839" y="113"/>
                  </a:cubicBezTo>
                  <a:cubicBezTo>
                    <a:pt x="832" y="109"/>
                    <a:pt x="806" y="104"/>
                    <a:pt x="806" y="104"/>
                  </a:cubicBezTo>
                  <a:cubicBezTo>
                    <a:pt x="800" y="80"/>
                    <a:pt x="800" y="80"/>
                    <a:pt x="800" y="80"/>
                  </a:cubicBezTo>
                  <a:cubicBezTo>
                    <a:pt x="800" y="80"/>
                    <a:pt x="784" y="84"/>
                    <a:pt x="772" y="86"/>
                  </a:cubicBezTo>
                  <a:cubicBezTo>
                    <a:pt x="768" y="86"/>
                    <a:pt x="764" y="86"/>
                    <a:pt x="762" y="86"/>
                  </a:cubicBezTo>
                  <a:cubicBezTo>
                    <a:pt x="750" y="89"/>
                    <a:pt x="725" y="77"/>
                    <a:pt x="725" y="77"/>
                  </a:cubicBezTo>
                  <a:cubicBezTo>
                    <a:pt x="683" y="102"/>
                    <a:pt x="683" y="102"/>
                    <a:pt x="683" y="102"/>
                  </a:cubicBezTo>
                  <a:cubicBezTo>
                    <a:pt x="672" y="93"/>
                    <a:pt x="672" y="93"/>
                    <a:pt x="672" y="93"/>
                  </a:cubicBezTo>
                  <a:cubicBezTo>
                    <a:pt x="638" y="92"/>
                    <a:pt x="638" y="92"/>
                    <a:pt x="638" y="92"/>
                  </a:cubicBezTo>
                  <a:cubicBezTo>
                    <a:pt x="631" y="91"/>
                    <a:pt x="635" y="72"/>
                    <a:pt x="628" y="64"/>
                  </a:cubicBezTo>
                  <a:cubicBezTo>
                    <a:pt x="621" y="60"/>
                    <a:pt x="606" y="52"/>
                    <a:pt x="606" y="52"/>
                  </a:cubicBezTo>
                  <a:cubicBezTo>
                    <a:pt x="607" y="37"/>
                    <a:pt x="607" y="37"/>
                    <a:pt x="607" y="37"/>
                  </a:cubicBezTo>
                  <a:cubicBezTo>
                    <a:pt x="607" y="37"/>
                    <a:pt x="592" y="44"/>
                    <a:pt x="584" y="43"/>
                  </a:cubicBezTo>
                  <a:cubicBezTo>
                    <a:pt x="577" y="43"/>
                    <a:pt x="570" y="27"/>
                    <a:pt x="570" y="27"/>
                  </a:cubicBezTo>
                  <a:cubicBezTo>
                    <a:pt x="558" y="34"/>
                    <a:pt x="558" y="34"/>
                    <a:pt x="558" y="34"/>
                  </a:cubicBezTo>
                  <a:cubicBezTo>
                    <a:pt x="548" y="19"/>
                    <a:pt x="548" y="19"/>
                    <a:pt x="548" y="19"/>
                  </a:cubicBezTo>
                  <a:cubicBezTo>
                    <a:pt x="533" y="18"/>
                    <a:pt x="533" y="18"/>
                    <a:pt x="533" y="18"/>
                  </a:cubicBezTo>
                  <a:cubicBezTo>
                    <a:pt x="511" y="2"/>
                    <a:pt x="511" y="2"/>
                    <a:pt x="511" y="2"/>
                  </a:cubicBezTo>
                  <a:cubicBezTo>
                    <a:pt x="507" y="20"/>
                    <a:pt x="507" y="20"/>
                    <a:pt x="507" y="20"/>
                  </a:cubicBezTo>
                  <a:cubicBezTo>
                    <a:pt x="496" y="1"/>
                    <a:pt x="496" y="1"/>
                    <a:pt x="496" y="1"/>
                  </a:cubicBezTo>
                  <a:cubicBezTo>
                    <a:pt x="485" y="0"/>
                    <a:pt x="485" y="0"/>
                    <a:pt x="485" y="0"/>
                  </a:cubicBezTo>
                  <a:cubicBezTo>
                    <a:pt x="465" y="30"/>
                    <a:pt x="465" y="30"/>
                    <a:pt x="465" y="30"/>
                  </a:cubicBezTo>
                  <a:cubicBezTo>
                    <a:pt x="447" y="25"/>
                    <a:pt x="447" y="25"/>
                    <a:pt x="447" y="25"/>
                  </a:cubicBezTo>
                  <a:cubicBezTo>
                    <a:pt x="434" y="48"/>
                    <a:pt x="434" y="48"/>
                    <a:pt x="434" y="48"/>
                  </a:cubicBezTo>
                  <a:cubicBezTo>
                    <a:pt x="424" y="36"/>
                    <a:pt x="424" y="36"/>
                    <a:pt x="424" y="36"/>
                  </a:cubicBezTo>
                  <a:cubicBezTo>
                    <a:pt x="412" y="47"/>
                    <a:pt x="412" y="47"/>
                    <a:pt x="412" y="47"/>
                  </a:cubicBezTo>
                  <a:cubicBezTo>
                    <a:pt x="407" y="62"/>
                    <a:pt x="407" y="62"/>
                    <a:pt x="407" y="62"/>
                  </a:cubicBezTo>
                  <a:cubicBezTo>
                    <a:pt x="400" y="61"/>
                    <a:pt x="400" y="61"/>
                    <a:pt x="400" y="61"/>
                  </a:cubicBezTo>
                  <a:cubicBezTo>
                    <a:pt x="399" y="80"/>
                    <a:pt x="399" y="80"/>
                    <a:pt x="399" y="80"/>
                  </a:cubicBezTo>
                  <a:cubicBezTo>
                    <a:pt x="415" y="154"/>
                    <a:pt x="415" y="154"/>
                    <a:pt x="415" y="154"/>
                  </a:cubicBezTo>
                  <a:cubicBezTo>
                    <a:pt x="415" y="154"/>
                    <a:pt x="424" y="192"/>
                    <a:pt x="423" y="212"/>
                  </a:cubicBezTo>
                  <a:cubicBezTo>
                    <a:pt x="419" y="227"/>
                    <a:pt x="396" y="237"/>
                    <a:pt x="388" y="240"/>
                  </a:cubicBezTo>
                  <a:cubicBezTo>
                    <a:pt x="380" y="244"/>
                    <a:pt x="372" y="266"/>
                    <a:pt x="342" y="277"/>
                  </a:cubicBezTo>
                  <a:cubicBezTo>
                    <a:pt x="315" y="291"/>
                    <a:pt x="312" y="260"/>
                    <a:pt x="312" y="260"/>
                  </a:cubicBezTo>
                  <a:cubicBezTo>
                    <a:pt x="282" y="258"/>
                    <a:pt x="282" y="258"/>
                    <a:pt x="282" y="258"/>
                  </a:cubicBezTo>
                  <a:cubicBezTo>
                    <a:pt x="275" y="258"/>
                    <a:pt x="276" y="235"/>
                    <a:pt x="276" y="227"/>
                  </a:cubicBezTo>
                  <a:cubicBezTo>
                    <a:pt x="273" y="224"/>
                    <a:pt x="266" y="212"/>
                    <a:pt x="266" y="212"/>
                  </a:cubicBezTo>
                  <a:cubicBezTo>
                    <a:pt x="266" y="200"/>
                    <a:pt x="266" y="200"/>
                    <a:pt x="266" y="200"/>
                  </a:cubicBezTo>
                  <a:cubicBezTo>
                    <a:pt x="241" y="188"/>
                    <a:pt x="241" y="188"/>
                    <a:pt x="241" y="188"/>
                  </a:cubicBezTo>
                  <a:cubicBezTo>
                    <a:pt x="241" y="188"/>
                    <a:pt x="238" y="172"/>
                    <a:pt x="227" y="168"/>
                  </a:cubicBezTo>
                  <a:cubicBezTo>
                    <a:pt x="216" y="163"/>
                    <a:pt x="194" y="151"/>
                    <a:pt x="194" y="151"/>
                  </a:cubicBezTo>
                  <a:cubicBezTo>
                    <a:pt x="184" y="116"/>
                    <a:pt x="184" y="116"/>
                    <a:pt x="184" y="116"/>
                  </a:cubicBezTo>
                  <a:cubicBezTo>
                    <a:pt x="77" y="176"/>
                    <a:pt x="77" y="176"/>
                    <a:pt x="77" y="176"/>
                  </a:cubicBezTo>
                  <a:cubicBezTo>
                    <a:pt x="47" y="247"/>
                    <a:pt x="47" y="247"/>
                    <a:pt x="47" y="247"/>
                  </a:cubicBezTo>
                  <a:cubicBezTo>
                    <a:pt x="49" y="293"/>
                    <a:pt x="49" y="293"/>
                    <a:pt x="49" y="293"/>
                  </a:cubicBezTo>
                  <a:cubicBezTo>
                    <a:pt x="5" y="352"/>
                    <a:pt x="5" y="352"/>
                    <a:pt x="5" y="352"/>
                  </a:cubicBezTo>
                  <a:cubicBezTo>
                    <a:pt x="11" y="395"/>
                    <a:pt x="11" y="395"/>
                    <a:pt x="11" y="395"/>
                  </a:cubicBezTo>
                  <a:cubicBezTo>
                    <a:pt x="5" y="433"/>
                    <a:pt x="5" y="433"/>
                    <a:pt x="5" y="433"/>
                  </a:cubicBezTo>
                  <a:cubicBezTo>
                    <a:pt x="9" y="433"/>
                    <a:pt x="9" y="433"/>
                    <a:pt x="9" y="433"/>
                  </a:cubicBezTo>
                  <a:cubicBezTo>
                    <a:pt x="10" y="418"/>
                    <a:pt x="10" y="418"/>
                    <a:pt x="10" y="418"/>
                  </a:cubicBezTo>
                  <a:cubicBezTo>
                    <a:pt x="17" y="418"/>
                    <a:pt x="17" y="418"/>
                    <a:pt x="17" y="418"/>
                  </a:cubicBezTo>
                  <a:cubicBezTo>
                    <a:pt x="16" y="448"/>
                    <a:pt x="16" y="448"/>
                    <a:pt x="16" y="448"/>
                  </a:cubicBezTo>
                  <a:cubicBezTo>
                    <a:pt x="12" y="452"/>
                    <a:pt x="12" y="452"/>
                    <a:pt x="12" y="452"/>
                  </a:cubicBezTo>
                  <a:cubicBezTo>
                    <a:pt x="5" y="440"/>
                    <a:pt x="5" y="440"/>
                    <a:pt x="5" y="440"/>
                  </a:cubicBezTo>
                  <a:cubicBezTo>
                    <a:pt x="0" y="459"/>
                    <a:pt x="0" y="459"/>
                    <a:pt x="0" y="459"/>
                  </a:cubicBezTo>
                  <a:cubicBezTo>
                    <a:pt x="6" y="498"/>
                    <a:pt x="6" y="498"/>
                    <a:pt x="6" y="498"/>
                  </a:cubicBezTo>
                  <a:cubicBezTo>
                    <a:pt x="16" y="517"/>
                    <a:pt x="16" y="517"/>
                    <a:pt x="16" y="517"/>
                  </a:cubicBezTo>
                  <a:cubicBezTo>
                    <a:pt x="28" y="506"/>
                    <a:pt x="28" y="506"/>
                    <a:pt x="28" y="506"/>
                  </a:cubicBezTo>
                  <a:lnTo>
                    <a:pt x="31" y="51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0" name="Freeform 464">
              <a:extLst>
                <a:ext uri="{FF2B5EF4-FFF2-40B4-BE49-F238E27FC236}">
                  <a16:creationId xmlns:a16="http://schemas.microsoft.com/office/drawing/2014/main" id="{66D2C1CC-EDB5-3F1B-ECC4-A1E377688052}"/>
                </a:ext>
              </a:extLst>
            </p:cNvPr>
            <p:cNvSpPr>
              <a:spLocks/>
            </p:cNvSpPr>
            <p:nvPr/>
          </p:nvSpPr>
          <p:spPr bwMode="gray">
            <a:xfrm>
              <a:off x="11300529" y="2407835"/>
              <a:ext cx="7192" cy="0"/>
            </a:xfrm>
            <a:custGeom>
              <a:avLst/>
              <a:gdLst>
                <a:gd name="T0" fmla="*/ 0 w 10"/>
                <a:gd name="T1" fmla="*/ 10 w 10"/>
                <a:gd name="T2" fmla="*/ 0 w 10"/>
              </a:gdLst>
              <a:ahLst/>
              <a:cxnLst>
                <a:cxn ang="0">
                  <a:pos x="T0" y="0"/>
                </a:cxn>
                <a:cxn ang="0">
                  <a:pos x="T1" y="0"/>
                </a:cxn>
                <a:cxn ang="0">
                  <a:pos x="T2" y="0"/>
                </a:cxn>
              </a:cxnLst>
              <a:rect l="0" t="0" r="r" b="b"/>
              <a:pathLst>
                <a:path w="10">
                  <a:moveTo>
                    <a:pt x="0" y="0"/>
                  </a:moveTo>
                  <a:cubicBezTo>
                    <a:pt x="2" y="0"/>
                    <a:pt x="6" y="0"/>
                    <a:pt x="10" y="0"/>
                  </a:cubicBezTo>
                  <a:cubicBezTo>
                    <a:pt x="6" y="0"/>
                    <a:pt x="3"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1" name="Freeform 465">
              <a:extLst>
                <a:ext uri="{FF2B5EF4-FFF2-40B4-BE49-F238E27FC236}">
                  <a16:creationId xmlns:a16="http://schemas.microsoft.com/office/drawing/2014/main" id="{F5DB1637-C02C-5FE9-B54B-AA4B92470FA8}"/>
                </a:ext>
              </a:extLst>
            </p:cNvPr>
            <p:cNvSpPr>
              <a:spLocks/>
            </p:cNvSpPr>
            <p:nvPr/>
          </p:nvSpPr>
          <p:spPr bwMode="gray">
            <a:xfrm>
              <a:off x="11392226" y="25930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2" name="Freeform 466">
              <a:extLst>
                <a:ext uri="{FF2B5EF4-FFF2-40B4-BE49-F238E27FC236}">
                  <a16:creationId xmlns:a16="http://schemas.microsoft.com/office/drawing/2014/main" id="{F012B328-665E-8C5B-7AF4-9A64A2A5FF44}"/>
                </a:ext>
              </a:extLst>
            </p:cNvPr>
            <p:cNvSpPr>
              <a:spLocks/>
            </p:cNvSpPr>
            <p:nvPr/>
          </p:nvSpPr>
          <p:spPr bwMode="gray">
            <a:xfrm>
              <a:off x="11462347" y="3632258"/>
              <a:ext cx="366787" cy="408141"/>
            </a:xfrm>
            <a:custGeom>
              <a:avLst/>
              <a:gdLst>
                <a:gd name="T0" fmla="*/ 93 w 616"/>
                <a:gd name="T1" fmla="*/ 145 h 685"/>
                <a:gd name="T2" fmla="*/ 157 w 616"/>
                <a:gd name="T3" fmla="*/ 228 h 685"/>
                <a:gd name="T4" fmla="*/ 227 w 616"/>
                <a:gd name="T5" fmla="*/ 319 h 685"/>
                <a:gd name="T6" fmla="*/ 279 w 616"/>
                <a:gd name="T7" fmla="*/ 345 h 685"/>
                <a:gd name="T8" fmla="*/ 288 w 616"/>
                <a:gd name="T9" fmla="*/ 387 h 685"/>
                <a:gd name="T10" fmla="*/ 323 w 616"/>
                <a:gd name="T11" fmla="*/ 427 h 685"/>
                <a:gd name="T12" fmla="*/ 323 w 616"/>
                <a:gd name="T13" fmla="*/ 507 h 685"/>
                <a:gd name="T14" fmla="*/ 308 w 616"/>
                <a:gd name="T15" fmla="*/ 518 h 685"/>
                <a:gd name="T16" fmla="*/ 320 w 616"/>
                <a:gd name="T17" fmla="*/ 580 h 685"/>
                <a:gd name="T18" fmla="*/ 339 w 616"/>
                <a:gd name="T19" fmla="*/ 650 h 685"/>
                <a:gd name="T20" fmla="*/ 327 w 616"/>
                <a:gd name="T21" fmla="*/ 672 h 685"/>
                <a:gd name="T22" fmla="*/ 353 w 616"/>
                <a:gd name="T23" fmla="*/ 685 h 685"/>
                <a:gd name="T24" fmla="*/ 364 w 616"/>
                <a:gd name="T25" fmla="*/ 674 h 685"/>
                <a:gd name="T26" fmla="*/ 406 w 616"/>
                <a:gd name="T27" fmla="*/ 668 h 685"/>
                <a:gd name="T28" fmla="*/ 389 w 616"/>
                <a:gd name="T29" fmla="*/ 625 h 685"/>
                <a:gd name="T30" fmla="*/ 432 w 616"/>
                <a:gd name="T31" fmla="*/ 585 h 685"/>
                <a:gd name="T32" fmla="*/ 422 w 616"/>
                <a:gd name="T33" fmla="*/ 566 h 685"/>
                <a:gd name="T34" fmla="*/ 453 w 616"/>
                <a:gd name="T35" fmla="*/ 544 h 685"/>
                <a:gd name="T36" fmla="*/ 455 w 616"/>
                <a:gd name="T37" fmla="*/ 495 h 685"/>
                <a:gd name="T38" fmla="*/ 432 w 616"/>
                <a:gd name="T39" fmla="*/ 428 h 685"/>
                <a:gd name="T40" fmla="*/ 480 w 616"/>
                <a:gd name="T41" fmla="*/ 450 h 685"/>
                <a:gd name="T42" fmla="*/ 503 w 616"/>
                <a:gd name="T43" fmla="*/ 420 h 685"/>
                <a:gd name="T44" fmla="*/ 544 w 616"/>
                <a:gd name="T45" fmla="*/ 441 h 685"/>
                <a:gd name="T46" fmla="*/ 560 w 616"/>
                <a:gd name="T47" fmla="*/ 415 h 685"/>
                <a:gd name="T48" fmla="*/ 574 w 616"/>
                <a:gd name="T49" fmla="*/ 435 h 685"/>
                <a:gd name="T50" fmla="*/ 616 w 616"/>
                <a:gd name="T51" fmla="*/ 418 h 685"/>
                <a:gd name="T52" fmla="*/ 575 w 616"/>
                <a:gd name="T53" fmla="*/ 401 h 685"/>
                <a:gd name="T54" fmla="*/ 564 w 616"/>
                <a:gd name="T55" fmla="*/ 320 h 685"/>
                <a:gd name="T56" fmla="*/ 516 w 616"/>
                <a:gd name="T57" fmla="*/ 306 h 685"/>
                <a:gd name="T58" fmla="*/ 500 w 616"/>
                <a:gd name="T59" fmla="*/ 244 h 685"/>
                <a:gd name="T60" fmla="*/ 487 w 616"/>
                <a:gd name="T61" fmla="*/ 213 h 685"/>
                <a:gd name="T62" fmla="*/ 475 w 616"/>
                <a:gd name="T63" fmla="*/ 232 h 685"/>
                <a:gd name="T64" fmla="*/ 446 w 616"/>
                <a:gd name="T65" fmla="*/ 207 h 685"/>
                <a:gd name="T66" fmla="*/ 427 w 616"/>
                <a:gd name="T67" fmla="*/ 206 h 685"/>
                <a:gd name="T68" fmla="*/ 413 w 616"/>
                <a:gd name="T69" fmla="*/ 183 h 685"/>
                <a:gd name="T70" fmla="*/ 423 w 616"/>
                <a:gd name="T71" fmla="*/ 137 h 685"/>
                <a:gd name="T72" fmla="*/ 396 w 616"/>
                <a:gd name="T73" fmla="*/ 79 h 685"/>
                <a:gd name="T74" fmla="*/ 384 w 616"/>
                <a:gd name="T75" fmla="*/ 93 h 685"/>
                <a:gd name="T76" fmla="*/ 357 w 616"/>
                <a:gd name="T77" fmla="*/ 96 h 685"/>
                <a:gd name="T78" fmla="*/ 340 w 616"/>
                <a:gd name="T79" fmla="*/ 65 h 685"/>
                <a:gd name="T80" fmla="*/ 292 w 616"/>
                <a:gd name="T81" fmla="*/ 58 h 685"/>
                <a:gd name="T82" fmla="*/ 291 w 616"/>
                <a:gd name="T83" fmla="*/ 81 h 685"/>
                <a:gd name="T84" fmla="*/ 273 w 616"/>
                <a:gd name="T85" fmla="*/ 65 h 685"/>
                <a:gd name="T86" fmla="*/ 258 w 616"/>
                <a:gd name="T87" fmla="*/ 68 h 685"/>
                <a:gd name="T88" fmla="*/ 262 w 616"/>
                <a:gd name="T89" fmla="*/ 46 h 685"/>
                <a:gd name="T90" fmla="*/ 221 w 616"/>
                <a:gd name="T91" fmla="*/ 59 h 685"/>
                <a:gd name="T92" fmla="*/ 214 w 616"/>
                <a:gd name="T93" fmla="*/ 39 h 685"/>
                <a:gd name="T94" fmla="*/ 192 w 616"/>
                <a:gd name="T95" fmla="*/ 38 h 685"/>
                <a:gd name="T96" fmla="*/ 148 w 616"/>
                <a:gd name="T97" fmla="*/ 13 h 685"/>
                <a:gd name="T98" fmla="*/ 125 w 616"/>
                <a:gd name="T99" fmla="*/ 31 h 685"/>
                <a:gd name="T100" fmla="*/ 99 w 616"/>
                <a:gd name="T101" fmla="*/ 26 h 685"/>
                <a:gd name="T102" fmla="*/ 83 w 616"/>
                <a:gd name="T103" fmla="*/ 45 h 685"/>
                <a:gd name="T104" fmla="*/ 61 w 616"/>
                <a:gd name="T105" fmla="*/ 32 h 685"/>
                <a:gd name="T106" fmla="*/ 56 w 616"/>
                <a:gd name="T107" fmla="*/ 55 h 685"/>
                <a:gd name="T108" fmla="*/ 19 w 616"/>
                <a:gd name="T109" fmla="*/ 45 h 685"/>
                <a:gd name="T110" fmla="*/ 22 w 616"/>
                <a:gd name="T111" fmla="*/ 72 h 685"/>
                <a:gd name="T112" fmla="*/ 10 w 616"/>
                <a:gd name="T113" fmla="*/ 72 h 685"/>
                <a:gd name="T114" fmla="*/ 10 w 616"/>
                <a:gd name="T115" fmla="*/ 83 h 685"/>
                <a:gd name="T116" fmla="*/ 21 w 616"/>
                <a:gd name="T117" fmla="*/ 84 h 685"/>
                <a:gd name="T118" fmla="*/ 93 w 616"/>
                <a:gd name="T119" fmla="*/ 145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6" h="685">
                  <a:moveTo>
                    <a:pt x="93" y="145"/>
                  </a:moveTo>
                  <a:cubicBezTo>
                    <a:pt x="117" y="199"/>
                    <a:pt x="135" y="212"/>
                    <a:pt x="157" y="228"/>
                  </a:cubicBezTo>
                  <a:cubicBezTo>
                    <a:pt x="174" y="248"/>
                    <a:pt x="227" y="319"/>
                    <a:pt x="227" y="319"/>
                  </a:cubicBezTo>
                  <a:cubicBezTo>
                    <a:pt x="227" y="319"/>
                    <a:pt x="276" y="329"/>
                    <a:pt x="279" y="345"/>
                  </a:cubicBezTo>
                  <a:cubicBezTo>
                    <a:pt x="285" y="360"/>
                    <a:pt x="288" y="387"/>
                    <a:pt x="288" y="387"/>
                  </a:cubicBezTo>
                  <a:cubicBezTo>
                    <a:pt x="288" y="387"/>
                    <a:pt x="317" y="396"/>
                    <a:pt x="323" y="427"/>
                  </a:cubicBezTo>
                  <a:cubicBezTo>
                    <a:pt x="326" y="458"/>
                    <a:pt x="323" y="507"/>
                    <a:pt x="323" y="507"/>
                  </a:cubicBezTo>
                  <a:cubicBezTo>
                    <a:pt x="308" y="518"/>
                    <a:pt x="308" y="518"/>
                    <a:pt x="308" y="518"/>
                  </a:cubicBezTo>
                  <a:cubicBezTo>
                    <a:pt x="320" y="580"/>
                    <a:pt x="320" y="580"/>
                    <a:pt x="320" y="580"/>
                  </a:cubicBezTo>
                  <a:cubicBezTo>
                    <a:pt x="339" y="650"/>
                    <a:pt x="339" y="650"/>
                    <a:pt x="339" y="650"/>
                  </a:cubicBezTo>
                  <a:cubicBezTo>
                    <a:pt x="327" y="672"/>
                    <a:pt x="327" y="672"/>
                    <a:pt x="327" y="672"/>
                  </a:cubicBezTo>
                  <a:cubicBezTo>
                    <a:pt x="353" y="685"/>
                    <a:pt x="353" y="685"/>
                    <a:pt x="353" y="685"/>
                  </a:cubicBezTo>
                  <a:cubicBezTo>
                    <a:pt x="364" y="674"/>
                    <a:pt x="364" y="674"/>
                    <a:pt x="364" y="674"/>
                  </a:cubicBezTo>
                  <a:cubicBezTo>
                    <a:pt x="364" y="674"/>
                    <a:pt x="394" y="683"/>
                    <a:pt x="406" y="668"/>
                  </a:cubicBezTo>
                  <a:cubicBezTo>
                    <a:pt x="418" y="657"/>
                    <a:pt x="389" y="625"/>
                    <a:pt x="389" y="625"/>
                  </a:cubicBezTo>
                  <a:cubicBezTo>
                    <a:pt x="432" y="585"/>
                    <a:pt x="432" y="585"/>
                    <a:pt x="432" y="585"/>
                  </a:cubicBezTo>
                  <a:cubicBezTo>
                    <a:pt x="422" y="566"/>
                    <a:pt x="422" y="566"/>
                    <a:pt x="422" y="566"/>
                  </a:cubicBezTo>
                  <a:cubicBezTo>
                    <a:pt x="453" y="544"/>
                    <a:pt x="453" y="544"/>
                    <a:pt x="453" y="544"/>
                  </a:cubicBezTo>
                  <a:cubicBezTo>
                    <a:pt x="455" y="495"/>
                    <a:pt x="455" y="495"/>
                    <a:pt x="455" y="495"/>
                  </a:cubicBezTo>
                  <a:cubicBezTo>
                    <a:pt x="455" y="495"/>
                    <a:pt x="412" y="447"/>
                    <a:pt x="432" y="428"/>
                  </a:cubicBezTo>
                  <a:cubicBezTo>
                    <a:pt x="490" y="385"/>
                    <a:pt x="468" y="449"/>
                    <a:pt x="480" y="450"/>
                  </a:cubicBezTo>
                  <a:cubicBezTo>
                    <a:pt x="491" y="450"/>
                    <a:pt x="503" y="420"/>
                    <a:pt x="503" y="420"/>
                  </a:cubicBezTo>
                  <a:cubicBezTo>
                    <a:pt x="503" y="420"/>
                    <a:pt x="528" y="445"/>
                    <a:pt x="544" y="441"/>
                  </a:cubicBezTo>
                  <a:cubicBezTo>
                    <a:pt x="559" y="438"/>
                    <a:pt x="552" y="415"/>
                    <a:pt x="560" y="415"/>
                  </a:cubicBezTo>
                  <a:cubicBezTo>
                    <a:pt x="567" y="416"/>
                    <a:pt x="574" y="435"/>
                    <a:pt x="574" y="435"/>
                  </a:cubicBezTo>
                  <a:cubicBezTo>
                    <a:pt x="616" y="418"/>
                    <a:pt x="616" y="418"/>
                    <a:pt x="616" y="418"/>
                  </a:cubicBezTo>
                  <a:cubicBezTo>
                    <a:pt x="616" y="418"/>
                    <a:pt x="590" y="405"/>
                    <a:pt x="575" y="401"/>
                  </a:cubicBezTo>
                  <a:cubicBezTo>
                    <a:pt x="561" y="396"/>
                    <a:pt x="578" y="340"/>
                    <a:pt x="564" y="320"/>
                  </a:cubicBezTo>
                  <a:cubicBezTo>
                    <a:pt x="554" y="297"/>
                    <a:pt x="538" y="311"/>
                    <a:pt x="516" y="306"/>
                  </a:cubicBezTo>
                  <a:cubicBezTo>
                    <a:pt x="490" y="301"/>
                    <a:pt x="500" y="244"/>
                    <a:pt x="500" y="244"/>
                  </a:cubicBezTo>
                  <a:cubicBezTo>
                    <a:pt x="487" y="213"/>
                    <a:pt x="487" y="213"/>
                    <a:pt x="487" y="213"/>
                  </a:cubicBezTo>
                  <a:cubicBezTo>
                    <a:pt x="475" y="232"/>
                    <a:pt x="475" y="232"/>
                    <a:pt x="475" y="232"/>
                  </a:cubicBezTo>
                  <a:cubicBezTo>
                    <a:pt x="475" y="232"/>
                    <a:pt x="449" y="211"/>
                    <a:pt x="446" y="207"/>
                  </a:cubicBezTo>
                  <a:cubicBezTo>
                    <a:pt x="442" y="203"/>
                    <a:pt x="427" y="206"/>
                    <a:pt x="427" y="206"/>
                  </a:cubicBezTo>
                  <a:cubicBezTo>
                    <a:pt x="413" y="183"/>
                    <a:pt x="413" y="183"/>
                    <a:pt x="413" y="183"/>
                  </a:cubicBezTo>
                  <a:cubicBezTo>
                    <a:pt x="413" y="183"/>
                    <a:pt x="422" y="160"/>
                    <a:pt x="423" y="137"/>
                  </a:cubicBezTo>
                  <a:cubicBezTo>
                    <a:pt x="424" y="118"/>
                    <a:pt x="396" y="79"/>
                    <a:pt x="396" y="79"/>
                  </a:cubicBezTo>
                  <a:cubicBezTo>
                    <a:pt x="384" y="93"/>
                    <a:pt x="384" y="93"/>
                    <a:pt x="384" y="93"/>
                  </a:cubicBezTo>
                  <a:cubicBezTo>
                    <a:pt x="357" y="96"/>
                    <a:pt x="357" y="96"/>
                    <a:pt x="357" y="96"/>
                  </a:cubicBezTo>
                  <a:cubicBezTo>
                    <a:pt x="340" y="65"/>
                    <a:pt x="340" y="65"/>
                    <a:pt x="340" y="65"/>
                  </a:cubicBezTo>
                  <a:cubicBezTo>
                    <a:pt x="340" y="65"/>
                    <a:pt x="303" y="59"/>
                    <a:pt x="292" y="58"/>
                  </a:cubicBezTo>
                  <a:cubicBezTo>
                    <a:pt x="280" y="58"/>
                    <a:pt x="291" y="81"/>
                    <a:pt x="291" y="81"/>
                  </a:cubicBezTo>
                  <a:cubicBezTo>
                    <a:pt x="273" y="65"/>
                    <a:pt x="273" y="65"/>
                    <a:pt x="273" y="65"/>
                  </a:cubicBezTo>
                  <a:cubicBezTo>
                    <a:pt x="258" y="68"/>
                    <a:pt x="258" y="68"/>
                    <a:pt x="258" y="68"/>
                  </a:cubicBezTo>
                  <a:cubicBezTo>
                    <a:pt x="262" y="46"/>
                    <a:pt x="262" y="46"/>
                    <a:pt x="262" y="46"/>
                  </a:cubicBezTo>
                  <a:cubicBezTo>
                    <a:pt x="221" y="59"/>
                    <a:pt x="221" y="59"/>
                    <a:pt x="221" y="59"/>
                  </a:cubicBezTo>
                  <a:cubicBezTo>
                    <a:pt x="214" y="39"/>
                    <a:pt x="214" y="39"/>
                    <a:pt x="214" y="39"/>
                  </a:cubicBezTo>
                  <a:cubicBezTo>
                    <a:pt x="192" y="38"/>
                    <a:pt x="192" y="38"/>
                    <a:pt x="192" y="38"/>
                  </a:cubicBezTo>
                  <a:cubicBezTo>
                    <a:pt x="192" y="38"/>
                    <a:pt x="174" y="22"/>
                    <a:pt x="148" y="13"/>
                  </a:cubicBezTo>
                  <a:cubicBezTo>
                    <a:pt x="118" y="0"/>
                    <a:pt x="125" y="31"/>
                    <a:pt x="125" y="31"/>
                  </a:cubicBezTo>
                  <a:cubicBezTo>
                    <a:pt x="99" y="26"/>
                    <a:pt x="99" y="26"/>
                    <a:pt x="99" y="26"/>
                  </a:cubicBezTo>
                  <a:cubicBezTo>
                    <a:pt x="83" y="45"/>
                    <a:pt x="83" y="45"/>
                    <a:pt x="83" y="45"/>
                  </a:cubicBezTo>
                  <a:cubicBezTo>
                    <a:pt x="61" y="32"/>
                    <a:pt x="61" y="32"/>
                    <a:pt x="61" y="32"/>
                  </a:cubicBezTo>
                  <a:cubicBezTo>
                    <a:pt x="61" y="32"/>
                    <a:pt x="64" y="55"/>
                    <a:pt x="56" y="55"/>
                  </a:cubicBezTo>
                  <a:cubicBezTo>
                    <a:pt x="45" y="54"/>
                    <a:pt x="42" y="39"/>
                    <a:pt x="19" y="45"/>
                  </a:cubicBezTo>
                  <a:cubicBezTo>
                    <a:pt x="0" y="48"/>
                    <a:pt x="22" y="72"/>
                    <a:pt x="22" y="72"/>
                  </a:cubicBezTo>
                  <a:cubicBezTo>
                    <a:pt x="10" y="72"/>
                    <a:pt x="10" y="72"/>
                    <a:pt x="10" y="72"/>
                  </a:cubicBezTo>
                  <a:cubicBezTo>
                    <a:pt x="10" y="83"/>
                    <a:pt x="10" y="83"/>
                    <a:pt x="10" y="83"/>
                  </a:cubicBezTo>
                  <a:cubicBezTo>
                    <a:pt x="13" y="83"/>
                    <a:pt x="17" y="83"/>
                    <a:pt x="21" y="84"/>
                  </a:cubicBezTo>
                  <a:cubicBezTo>
                    <a:pt x="21" y="84"/>
                    <a:pt x="73" y="94"/>
                    <a:pt x="93" y="1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3" name="Freeform 467">
              <a:extLst>
                <a:ext uri="{FF2B5EF4-FFF2-40B4-BE49-F238E27FC236}">
                  <a16:creationId xmlns:a16="http://schemas.microsoft.com/office/drawing/2014/main" id="{F3CAF19A-DF13-1206-F8E4-543DC850EC46}"/>
                </a:ext>
              </a:extLst>
            </p:cNvPr>
            <p:cNvSpPr>
              <a:spLocks/>
            </p:cNvSpPr>
            <p:nvPr/>
          </p:nvSpPr>
          <p:spPr bwMode="gray">
            <a:xfrm>
              <a:off x="10894187" y="3682601"/>
              <a:ext cx="933151" cy="668848"/>
            </a:xfrm>
            <a:custGeom>
              <a:avLst/>
              <a:gdLst>
                <a:gd name="T0" fmla="*/ 1428 w 1565"/>
                <a:gd name="T1" fmla="*/ 623 h 1122"/>
                <a:gd name="T2" fmla="*/ 1356 w 1565"/>
                <a:gd name="T3" fmla="*/ 639 h 1122"/>
                <a:gd name="T4" fmla="*/ 1280 w 1565"/>
                <a:gd name="T5" fmla="*/ 589 h 1122"/>
                <a:gd name="T6" fmla="*/ 1261 w 1565"/>
                <a:gd name="T7" fmla="*/ 435 h 1122"/>
                <a:gd name="T8" fmla="*/ 1241 w 1565"/>
                <a:gd name="T9" fmla="*/ 304 h 1122"/>
                <a:gd name="T10" fmla="*/ 1110 w 1565"/>
                <a:gd name="T11" fmla="*/ 145 h 1122"/>
                <a:gd name="T12" fmla="*/ 963 w 1565"/>
                <a:gd name="T13" fmla="*/ 0 h 1122"/>
                <a:gd name="T14" fmla="*/ 778 w 1565"/>
                <a:gd name="T15" fmla="*/ 118 h 1122"/>
                <a:gd name="T16" fmla="*/ 598 w 1565"/>
                <a:gd name="T17" fmla="*/ 132 h 1122"/>
                <a:gd name="T18" fmla="*/ 410 w 1565"/>
                <a:gd name="T19" fmla="*/ 138 h 1122"/>
                <a:gd name="T20" fmla="*/ 344 w 1565"/>
                <a:gd name="T21" fmla="*/ 204 h 1122"/>
                <a:gd name="T22" fmla="*/ 258 w 1565"/>
                <a:gd name="T23" fmla="*/ 273 h 1122"/>
                <a:gd name="T24" fmla="*/ 240 w 1565"/>
                <a:gd name="T25" fmla="*/ 344 h 1122"/>
                <a:gd name="T26" fmla="*/ 191 w 1565"/>
                <a:gd name="T27" fmla="*/ 442 h 1122"/>
                <a:gd name="T28" fmla="*/ 162 w 1565"/>
                <a:gd name="T29" fmla="*/ 486 h 1122"/>
                <a:gd name="T30" fmla="*/ 147 w 1565"/>
                <a:gd name="T31" fmla="*/ 573 h 1122"/>
                <a:gd name="T32" fmla="*/ 41 w 1565"/>
                <a:gd name="T33" fmla="*/ 599 h 1122"/>
                <a:gd name="T34" fmla="*/ 20 w 1565"/>
                <a:gd name="T35" fmla="*/ 648 h 1122"/>
                <a:gd name="T36" fmla="*/ 57 w 1565"/>
                <a:gd name="T37" fmla="*/ 657 h 1122"/>
                <a:gd name="T38" fmla="*/ 91 w 1565"/>
                <a:gd name="T39" fmla="*/ 727 h 1122"/>
                <a:gd name="T40" fmla="*/ 148 w 1565"/>
                <a:gd name="T41" fmla="*/ 795 h 1122"/>
                <a:gd name="T42" fmla="*/ 230 w 1565"/>
                <a:gd name="T43" fmla="*/ 814 h 1122"/>
                <a:gd name="T44" fmla="*/ 234 w 1565"/>
                <a:gd name="T45" fmla="*/ 891 h 1122"/>
                <a:gd name="T46" fmla="*/ 276 w 1565"/>
                <a:gd name="T47" fmla="*/ 939 h 1122"/>
                <a:gd name="T48" fmla="*/ 390 w 1565"/>
                <a:gd name="T49" fmla="*/ 910 h 1122"/>
                <a:gd name="T50" fmla="*/ 422 w 1565"/>
                <a:gd name="T51" fmla="*/ 942 h 1122"/>
                <a:gd name="T52" fmla="*/ 412 w 1565"/>
                <a:gd name="T53" fmla="*/ 1007 h 1122"/>
                <a:gd name="T54" fmla="*/ 434 w 1565"/>
                <a:gd name="T55" fmla="*/ 1023 h 1122"/>
                <a:gd name="T56" fmla="*/ 472 w 1565"/>
                <a:gd name="T57" fmla="*/ 1086 h 1122"/>
                <a:gd name="T58" fmla="*/ 606 w 1565"/>
                <a:gd name="T59" fmla="*/ 1100 h 1122"/>
                <a:gd name="T60" fmla="*/ 752 w 1565"/>
                <a:gd name="T61" fmla="*/ 1092 h 1122"/>
                <a:gd name="T62" fmla="*/ 853 w 1565"/>
                <a:gd name="T63" fmla="*/ 1100 h 1122"/>
                <a:gd name="T64" fmla="*/ 997 w 1565"/>
                <a:gd name="T65" fmla="*/ 1042 h 1122"/>
                <a:gd name="T66" fmla="*/ 1229 w 1565"/>
                <a:gd name="T67" fmla="*/ 965 h 1122"/>
                <a:gd name="T68" fmla="*/ 1320 w 1565"/>
                <a:gd name="T69" fmla="*/ 950 h 1122"/>
                <a:gd name="T70" fmla="*/ 1430 w 1565"/>
                <a:gd name="T71" fmla="*/ 994 h 1122"/>
                <a:gd name="T72" fmla="*/ 1462 w 1565"/>
                <a:gd name="T73" fmla="*/ 785 h 1122"/>
                <a:gd name="T74" fmla="*/ 1422 w 1565"/>
                <a:gd name="T75" fmla="*/ 756 h 1122"/>
                <a:gd name="T76" fmla="*/ 1474 w 1565"/>
                <a:gd name="T77" fmla="*/ 694 h 1122"/>
                <a:gd name="T78" fmla="*/ 1484 w 1565"/>
                <a:gd name="T79" fmla="*/ 717 h 1122"/>
                <a:gd name="T80" fmla="*/ 1478 w 1565"/>
                <a:gd name="T81" fmla="*/ 759 h 1122"/>
                <a:gd name="T82" fmla="*/ 1556 w 1565"/>
                <a:gd name="T83" fmla="*/ 624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65" h="1122">
                  <a:moveTo>
                    <a:pt x="1556" y="621"/>
                  </a:moveTo>
                  <a:cubicBezTo>
                    <a:pt x="1556" y="621"/>
                    <a:pt x="1542" y="586"/>
                    <a:pt x="1505" y="577"/>
                  </a:cubicBezTo>
                  <a:cubicBezTo>
                    <a:pt x="1472" y="571"/>
                    <a:pt x="1428" y="623"/>
                    <a:pt x="1428" y="623"/>
                  </a:cubicBezTo>
                  <a:cubicBezTo>
                    <a:pt x="1410" y="622"/>
                    <a:pt x="1410" y="622"/>
                    <a:pt x="1410" y="622"/>
                  </a:cubicBezTo>
                  <a:cubicBezTo>
                    <a:pt x="1408" y="649"/>
                    <a:pt x="1408" y="649"/>
                    <a:pt x="1408" y="649"/>
                  </a:cubicBezTo>
                  <a:cubicBezTo>
                    <a:pt x="1408" y="649"/>
                    <a:pt x="1397" y="652"/>
                    <a:pt x="1356" y="639"/>
                  </a:cubicBezTo>
                  <a:cubicBezTo>
                    <a:pt x="1319" y="629"/>
                    <a:pt x="1324" y="610"/>
                    <a:pt x="1324" y="610"/>
                  </a:cubicBezTo>
                  <a:cubicBezTo>
                    <a:pt x="1306" y="602"/>
                    <a:pt x="1306" y="602"/>
                    <a:pt x="1306" y="602"/>
                  </a:cubicBezTo>
                  <a:cubicBezTo>
                    <a:pt x="1280" y="589"/>
                    <a:pt x="1280" y="589"/>
                    <a:pt x="1280" y="589"/>
                  </a:cubicBezTo>
                  <a:cubicBezTo>
                    <a:pt x="1292" y="567"/>
                    <a:pt x="1292" y="567"/>
                    <a:pt x="1292" y="567"/>
                  </a:cubicBezTo>
                  <a:cubicBezTo>
                    <a:pt x="1273" y="497"/>
                    <a:pt x="1273" y="497"/>
                    <a:pt x="1273" y="497"/>
                  </a:cubicBezTo>
                  <a:cubicBezTo>
                    <a:pt x="1261" y="435"/>
                    <a:pt x="1261" y="435"/>
                    <a:pt x="1261" y="435"/>
                  </a:cubicBezTo>
                  <a:cubicBezTo>
                    <a:pt x="1276" y="424"/>
                    <a:pt x="1276" y="424"/>
                    <a:pt x="1276" y="424"/>
                  </a:cubicBezTo>
                  <a:cubicBezTo>
                    <a:pt x="1276" y="424"/>
                    <a:pt x="1279" y="375"/>
                    <a:pt x="1276" y="344"/>
                  </a:cubicBezTo>
                  <a:cubicBezTo>
                    <a:pt x="1270" y="313"/>
                    <a:pt x="1241" y="304"/>
                    <a:pt x="1241" y="304"/>
                  </a:cubicBezTo>
                  <a:cubicBezTo>
                    <a:pt x="1241" y="304"/>
                    <a:pt x="1238" y="277"/>
                    <a:pt x="1232" y="262"/>
                  </a:cubicBezTo>
                  <a:cubicBezTo>
                    <a:pt x="1229" y="246"/>
                    <a:pt x="1180" y="236"/>
                    <a:pt x="1180" y="236"/>
                  </a:cubicBezTo>
                  <a:cubicBezTo>
                    <a:pt x="1180" y="236"/>
                    <a:pt x="1127" y="165"/>
                    <a:pt x="1110" y="145"/>
                  </a:cubicBezTo>
                  <a:cubicBezTo>
                    <a:pt x="1088" y="129"/>
                    <a:pt x="1070" y="116"/>
                    <a:pt x="1046" y="62"/>
                  </a:cubicBezTo>
                  <a:cubicBezTo>
                    <a:pt x="1026" y="11"/>
                    <a:pt x="974" y="1"/>
                    <a:pt x="974" y="1"/>
                  </a:cubicBezTo>
                  <a:cubicBezTo>
                    <a:pt x="963" y="0"/>
                    <a:pt x="963" y="0"/>
                    <a:pt x="963" y="0"/>
                  </a:cubicBezTo>
                  <a:cubicBezTo>
                    <a:pt x="951" y="0"/>
                    <a:pt x="941" y="4"/>
                    <a:pt x="933" y="9"/>
                  </a:cubicBezTo>
                  <a:cubicBezTo>
                    <a:pt x="902" y="30"/>
                    <a:pt x="892" y="77"/>
                    <a:pt x="892" y="77"/>
                  </a:cubicBezTo>
                  <a:cubicBezTo>
                    <a:pt x="892" y="77"/>
                    <a:pt x="831" y="105"/>
                    <a:pt x="778" y="118"/>
                  </a:cubicBezTo>
                  <a:cubicBezTo>
                    <a:pt x="721" y="130"/>
                    <a:pt x="761" y="155"/>
                    <a:pt x="727" y="165"/>
                  </a:cubicBezTo>
                  <a:cubicBezTo>
                    <a:pt x="693" y="171"/>
                    <a:pt x="662" y="124"/>
                    <a:pt x="647" y="119"/>
                  </a:cubicBezTo>
                  <a:cubicBezTo>
                    <a:pt x="629" y="111"/>
                    <a:pt x="598" y="132"/>
                    <a:pt x="598" y="132"/>
                  </a:cubicBezTo>
                  <a:cubicBezTo>
                    <a:pt x="598" y="132"/>
                    <a:pt x="515" y="132"/>
                    <a:pt x="474" y="134"/>
                  </a:cubicBezTo>
                  <a:cubicBezTo>
                    <a:pt x="429" y="135"/>
                    <a:pt x="449" y="102"/>
                    <a:pt x="427" y="101"/>
                  </a:cubicBezTo>
                  <a:cubicBezTo>
                    <a:pt x="408" y="100"/>
                    <a:pt x="410" y="138"/>
                    <a:pt x="410" y="138"/>
                  </a:cubicBezTo>
                  <a:cubicBezTo>
                    <a:pt x="395" y="134"/>
                    <a:pt x="395" y="134"/>
                    <a:pt x="395" y="134"/>
                  </a:cubicBezTo>
                  <a:cubicBezTo>
                    <a:pt x="387" y="153"/>
                    <a:pt x="387" y="153"/>
                    <a:pt x="387" y="153"/>
                  </a:cubicBezTo>
                  <a:cubicBezTo>
                    <a:pt x="344" y="204"/>
                    <a:pt x="344" y="204"/>
                    <a:pt x="344" y="204"/>
                  </a:cubicBezTo>
                  <a:cubicBezTo>
                    <a:pt x="314" y="203"/>
                    <a:pt x="314" y="203"/>
                    <a:pt x="314" y="203"/>
                  </a:cubicBezTo>
                  <a:cubicBezTo>
                    <a:pt x="302" y="214"/>
                    <a:pt x="302" y="214"/>
                    <a:pt x="302" y="214"/>
                  </a:cubicBezTo>
                  <a:cubicBezTo>
                    <a:pt x="258" y="273"/>
                    <a:pt x="258" y="273"/>
                    <a:pt x="258" y="273"/>
                  </a:cubicBezTo>
                  <a:cubicBezTo>
                    <a:pt x="261" y="296"/>
                    <a:pt x="261" y="296"/>
                    <a:pt x="261" y="296"/>
                  </a:cubicBezTo>
                  <a:cubicBezTo>
                    <a:pt x="249" y="307"/>
                    <a:pt x="249" y="307"/>
                    <a:pt x="249" y="307"/>
                  </a:cubicBezTo>
                  <a:cubicBezTo>
                    <a:pt x="240" y="344"/>
                    <a:pt x="240" y="344"/>
                    <a:pt x="240" y="344"/>
                  </a:cubicBezTo>
                  <a:cubicBezTo>
                    <a:pt x="212" y="385"/>
                    <a:pt x="212" y="385"/>
                    <a:pt x="212" y="385"/>
                  </a:cubicBezTo>
                  <a:cubicBezTo>
                    <a:pt x="215" y="404"/>
                    <a:pt x="215" y="404"/>
                    <a:pt x="215" y="404"/>
                  </a:cubicBezTo>
                  <a:cubicBezTo>
                    <a:pt x="191" y="442"/>
                    <a:pt x="191" y="442"/>
                    <a:pt x="191" y="442"/>
                  </a:cubicBezTo>
                  <a:cubicBezTo>
                    <a:pt x="197" y="457"/>
                    <a:pt x="197" y="457"/>
                    <a:pt x="197" y="457"/>
                  </a:cubicBezTo>
                  <a:cubicBezTo>
                    <a:pt x="177" y="487"/>
                    <a:pt x="177" y="487"/>
                    <a:pt x="177" y="487"/>
                  </a:cubicBezTo>
                  <a:cubicBezTo>
                    <a:pt x="162" y="486"/>
                    <a:pt x="162" y="486"/>
                    <a:pt x="162" y="486"/>
                  </a:cubicBezTo>
                  <a:cubicBezTo>
                    <a:pt x="168" y="532"/>
                    <a:pt x="168" y="532"/>
                    <a:pt x="168" y="532"/>
                  </a:cubicBezTo>
                  <a:cubicBezTo>
                    <a:pt x="152" y="543"/>
                    <a:pt x="152" y="543"/>
                    <a:pt x="152" y="543"/>
                  </a:cubicBezTo>
                  <a:cubicBezTo>
                    <a:pt x="152" y="543"/>
                    <a:pt x="159" y="562"/>
                    <a:pt x="147" y="573"/>
                  </a:cubicBezTo>
                  <a:cubicBezTo>
                    <a:pt x="135" y="588"/>
                    <a:pt x="117" y="572"/>
                    <a:pt x="95" y="575"/>
                  </a:cubicBezTo>
                  <a:cubicBezTo>
                    <a:pt x="76" y="578"/>
                    <a:pt x="82" y="605"/>
                    <a:pt x="71" y="608"/>
                  </a:cubicBezTo>
                  <a:cubicBezTo>
                    <a:pt x="59" y="611"/>
                    <a:pt x="41" y="599"/>
                    <a:pt x="41" y="599"/>
                  </a:cubicBezTo>
                  <a:cubicBezTo>
                    <a:pt x="33" y="610"/>
                    <a:pt x="33" y="610"/>
                    <a:pt x="33" y="610"/>
                  </a:cubicBezTo>
                  <a:cubicBezTo>
                    <a:pt x="0" y="608"/>
                    <a:pt x="0" y="608"/>
                    <a:pt x="0" y="608"/>
                  </a:cubicBezTo>
                  <a:cubicBezTo>
                    <a:pt x="20" y="648"/>
                    <a:pt x="20" y="648"/>
                    <a:pt x="20" y="648"/>
                  </a:cubicBezTo>
                  <a:cubicBezTo>
                    <a:pt x="39" y="645"/>
                    <a:pt x="39" y="645"/>
                    <a:pt x="39" y="645"/>
                  </a:cubicBezTo>
                  <a:cubicBezTo>
                    <a:pt x="50" y="657"/>
                    <a:pt x="50" y="657"/>
                    <a:pt x="50" y="657"/>
                  </a:cubicBezTo>
                  <a:cubicBezTo>
                    <a:pt x="57" y="657"/>
                    <a:pt x="57" y="657"/>
                    <a:pt x="57" y="657"/>
                  </a:cubicBezTo>
                  <a:cubicBezTo>
                    <a:pt x="57" y="657"/>
                    <a:pt x="59" y="695"/>
                    <a:pt x="70" y="696"/>
                  </a:cubicBezTo>
                  <a:cubicBezTo>
                    <a:pt x="82" y="696"/>
                    <a:pt x="104" y="686"/>
                    <a:pt x="104" y="686"/>
                  </a:cubicBezTo>
                  <a:cubicBezTo>
                    <a:pt x="91" y="727"/>
                    <a:pt x="91" y="727"/>
                    <a:pt x="91" y="727"/>
                  </a:cubicBezTo>
                  <a:cubicBezTo>
                    <a:pt x="110" y="736"/>
                    <a:pt x="110" y="736"/>
                    <a:pt x="110" y="736"/>
                  </a:cubicBezTo>
                  <a:cubicBezTo>
                    <a:pt x="98" y="755"/>
                    <a:pt x="98" y="755"/>
                    <a:pt x="98" y="755"/>
                  </a:cubicBezTo>
                  <a:cubicBezTo>
                    <a:pt x="148" y="795"/>
                    <a:pt x="148" y="795"/>
                    <a:pt x="148" y="795"/>
                  </a:cubicBezTo>
                  <a:cubicBezTo>
                    <a:pt x="167" y="788"/>
                    <a:pt x="167" y="788"/>
                    <a:pt x="167" y="788"/>
                  </a:cubicBezTo>
                  <a:cubicBezTo>
                    <a:pt x="181" y="804"/>
                    <a:pt x="181" y="804"/>
                    <a:pt x="181" y="804"/>
                  </a:cubicBezTo>
                  <a:cubicBezTo>
                    <a:pt x="181" y="804"/>
                    <a:pt x="227" y="787"/>
                    <a:pt x="230" y="814"/>
                  </a:cubicBezTo>
                  <a:cubicBezTo>
                    <a:pt x="228" y="845"/>
                    <a:pt x="208" y="867"/>
                    <a:pt x="208" y="867"/>
                  </a:cubicBezTo>
                  <a:cubicBezTo>
                    <a:pt x="238" y="876"/>
                    <a:pt x="238" y="876"/>
                    <a:pt x="238" y="876"/>
                  </a:cubicBezTo>
                  <a:cubicBezTo>
                    <a:pt x="234" y="891"/>
                    <a:pt x="234" y="891"/>
                    <a:pt x="234" y="891"/>
                  </a:cubicBezTo>
                  <a:cubicBezTo>
                    <a:pt x="207" y="901"/>
                    <a:pt x="207" y="901"/>
                    <a:pt x="207" y="901"/>
                  </a:cubicBezTo>
                  <a:cubicBezTo>
                    <a:pt x="207" y="901"/>
                    <a:pt x="237" y="907"/>
                    <a:pt x="248" y="911"/>
                  </a:cubicBezTo>
                  <a:cubicBezTo>
                    <a:pt x="255" y="915"/>
                    <a:pt x="261" y="935"/>
                    <a:pt x="276" y="939"/>
                  </a:cubicBezTo>
                  <a:cubicBezTo>
                    <a:pt x="291" y="947"/>
                    <a:pt x="307" y="921"/>
                    <a:pt x="318" y="933"/>
                  </a:cubicBezTo>
                  <a:cubicBezTo>
                    <a:pt x="332" y="942"/>
                    <a:pt x="331" y="972"/>
                    <a:pt x="342" y="969"/>
                  </a:cubicBezTo>
                  <a:cubicBezTo>
                    <a:pt x="357" y="970"/>
                    <a:pt x="364" y="909"/>
                    <a:pt x="390" y="910"/>
                  </a:cubicBezTo>
                  <a:cubicBezTo>
                    <a:pt x="420" y="915"/>
                    <a:pt x="441" y="935"/>
                    <a:pt x="441" y="935"/>
                  </a:cubicBezTo>
                  <a:cubicBezTo>
                    <a:pt x="437" y="950"/>
                    <a:pt x="437" y="950"/>
                    <a:pt x="437" y="950"/>
                  </a:cubicBezTo>
                  <a:cubicBezTo>
                    <a:pt x="422" y="942"/>
                    <a:pt x="422" y="942"/>
                    <a:pt x="422" y="942"/>
                  </a:cubicBezTo>
                  <a:cubicBezTo>
                    <a:pt x="414" y="965"/>
                    <a:pt x="414" y="965"/>
                    <a:pt x="414" y="965"/>
                  </a:cubicBezTo>
                  <a:cubicBezTo>
                    <a:pt x="402" y="964"/>
                    <a:pt x="402" y="964"/>
                    <a:pt x="402" y="964"/>
                  </a:cubicBezTo>
                  <a:cubicBezTo>
                    <a:pt x="412" y="1007"/>
                    <a:pt x="412" y="1007"/>
                    <a:pt x="412" y="1007"/>
                  </a:cubicBezTo>
                  <a:cubicBezTo>
                    <a:pt x="412" y="1007"/>
                    <a:pt x="435" y="992"/>
                    <a:pt x="438" y="1008"/>
                  </a:cubicBezTo>
                  <a:cubicBezTo>
                    <a:pt x="441" y="1011"/>
                    <a:pt x="439" y="1016"/>
                    <a:pt x="436" y="1020"/>
                  </a:cubicBezTo>
                  <a:cubicBezTo>
                    <a:pt x="435" y="1021"/>
                    <a:pt x="435" y="1022"/>
                    <a:pt x="434" y="1023"/>
                  </a:cubicBezTo>
                  <a:cubicBezTo>
                    <a:pt x="449" y="1028"/>
                    <a:pt x="466" y="1040"/>
                    <a:pt x="474" y="1040"/>
                  </a:cubicBezTo>
                  <a:cubicBezTo>
                    <a:pt x="488" y="1045"/>
                    <a:pt x="500" y="1038"/>
                    <a:pt x="499" y="1053"/>
                  </a:cubicBezTo>
                  <a:cubicBezTo>
                    <a:pt x="502" y="1072"/>
                    <a:pt x="476" y="1067"/>
                    <a:pt x="472" y="1086"/>
                  </a:cubicBezTo>
                  <a:cubicBezTo>
                    <a:pt x="471" y="1105"/>
                    <a:pt x="485" y="1110"/>
                    <a:pt x="504" y="1111"/>
                  </a:cubicBezTo>
                  <a:cubicBezTo>
                    <a:pt x="523" y="1115"/>
                    <a:pt x="561" y="1086"/>
                    <a:pt x="573" y="1087"/>
                  </a:cubicBezTo>
                  <a:cubicBezTo>
                    <a:pt x="584" y="1088"/>
                    <a:pt x="606" y="1100"/>
                    <a:pt x="606" y="1100"/>
                  </a:cubicBezTo>
                  <a:cubicBezTo>
                    <a:pt x="632" y="1101"/>
                    <a:pt x="632" y="1101"/>
                    <a:pt x="632" y="1101"/>
                  </a:cubicBezTo>
                  <a:cubicBezTo>
                    <a:pt x="632" y="1101"/>
                    <a:pt x="664" y="1122"/>
                    <a:pt x="698" y="1120"/>
                  </a:cubicBezTo>
                  <a:cubicBezTo>
                    <a:pt x="736" y="1118"/>
                    <a:pt x="740" y="1099"/>
                    <a:pt x="752" y="1092"/>
                  </a:cubicBezTo>
                  <a:cubicBezTo>
                    <a:pt x="767" y="1089"/>
                    <a:pt x="770" y="1096"/>
                    <a:pt x="782" y="1097"/>
                  </a:cubicBezTo>
                  <a:cubicBezTo>
                    <a:pt x="796" y="1102"/>
                    <a:pt x="831" y="1088"/>
                    <a:pt x="831" y="1088"/>
                  </a:cubicBezTo>
                  <a:cubicBezTo>
                    <a:pt x="853" y="1100"/>
                    <a:pt x="853" y="1100"/>
                    <a:pt x="853" y="1100"/>
                  </a:cubicBezTo>
                  <a:cubicBezTo>
                    <a:pt x="876" y="1090"/>
                    <a:pt x="876" y="1090"/>
                    <a:pt x="876" y="1090"/>
                  </a:cubicBezTo>
                  <a:cubicBezTo>
                    <a:pt x="876" y="1090"/>
                    <a:pt x="882" y="1106"/>
                    <a:pt x="927" y="1100"/>
                  </a:cubicBezTo>
                  <a:cubicBezTo>
                    <a:pt x="969" y="1091"/>
                    <a:pt x="982" y="1061"/>
                    <a:pt x="997" y="1042"/>
                  </a:cubicBezTo>
                  <a:cubicBezTo>
                    <a:pt x="1013" y="1020"/>
                    <a:pt x="1041" y="987"/>
                    <a:pt x="1064" y="984"/>
                  </a:cubicBezTo>
                  <a:cubicBezTo>
                    <a:pt x="1083" y="981"/>
                    <a:pt x="1136" y="949"/>
                    <a:pt x="1167" y="943"/>
                  </a:cubicBezTo>
                  <a:cubicBezTo>
                    <a:pt x="1197" y="933"/>
                    <a:pt x="1214" y="961"/>
                    <a:pt x="1229" y="965"/>
                  </a:cubicBezTo>
                  <a:cubicBezTo>
                    <a:pt x="1244" y="970"/>
                    <a:pt x="1264" y="948"/>
                    <a:pt x="1271" y="948"/>
                  </a:cubicBezTo>
                  <a:cubicBezTo>
                    <a:pt x="1279" y="949"/>
                    <a:pt x="1278" y="964"/>
                    <a:pt x="1289" y="968"/>
                  </a:cubicBezTo>
                  <a:cubicBezTo>
                    <a:pt x="1300" y="972"/>
                    <a:pt x="1320" y="950"/>
                    <a:pt x="1320" y="950"/>
                  </a:cubicBezTo>
                  <a:cubicBezTo>
                    <a:pt x="1333" y="986"/>
                    <a:pt x="1333" y="986"/>
                    <a:pt x="1333" y="986"/>
                  </a:cubicBezTo>
                  <a:cubicBezTo>
                    <a:pt x="1333" y="986"/>
                    <a:pt x="1363" y="995"/>
                    <a:pt x="1374" y="995"/>
                  </a:cubicBezTo>
                  <a:cubicBezTo>
                    <a:pt x="1389" y="1000"/>
                    <a:pt x="1430" y="994"/>
                    <a:pt x="1430" y="994"/>
                  </a:cubicBezTo>
                  <a:cubicBezTo>
                    <a:pt x="1430" y="994"/>
                    <a:pt x="1439" y="964"/>
                    <a:pt x="1436" y="937"/>
                  </a:cubicBezTo>
                  <a:cubicBezTo>
                    <a:pt x="1438" y="906"/>
                    <a:pt x="1421" y="871"/>
                    <a:pt x="1421" y="871"/>
                  </a:cubicBezTo>
                  <a:cubicBezTo>
                    <a:pt x="1462" y="785"/>
                    <a:pt x="1462" y="785"/>
                    <a:pt x="1462" y="785"/>
                  </a:cubicBezTo>
                  <a:cubicBezTo>
                    <a:pt x="1435" y="807"/>
                    <a:pt x="1435" y="807"/>
                    <a:pt x="1435" y="807"/>
                  </a:cubicBezTo>
                  <a:cubicBezTo>
                    <a:pt x="1437" y="765"/>
                    <a:pt x="1437" y="765"/>
                    <a:pt x="1437" y="765"/>
                  </a:cubicBezTo>
                  <a:cubicBezTo>
                    <a:pt x="1422" y="756"/>
                    <a:pt x="1422" y="756"/>
                    <a:pt x="1422" y="756"/>
                  </a:cubicBezTo>
                  <a:cubicBezTo>
                    <a:pt x="1449" y="742"/>
                    <a:pt x="1449" y="742"/>
                    <a:pt x="1449" y="742"/>
                  </a:cubicBezTo>
                  <a:cubicBezTo>
                    <a:pt x="1449" y="742"/>
                    <a:pt x="1439" y="723"/>
                    <a:pt x="1443" y="700"/>
                  </a:cubicBezTo>
                  <a:cubicBezTo>
                    <a:pt x="1448" y="677"/>
                    <a:pt x="1474" y="694"/>
                    <a:pt x="1474" y="694"/>
                  </a:cubicBezTo>
                  <a:cubicBezTo>
                    <a:pt x="1469" y="709"/>
                    <a:pt x="1469" y="709"/>
                    <a:pt x="1469" y="709"/>
                  </a:cubicBezTo>
                  <a:cubicBezTo>
                    <a:pt x="1476" y="728"/>
                    <a:pt x="1476" y="728"/>
                    <a:pt x="1476" y="728"/>
                  </a:cubicBezTo>
                  <a:cubicBezTo>
                    <a:pt x="1484" y="717"/>
                    <a:pt x="1484" y="717"/>
                    <a:pt x="1484" y="717"/>
                  </a:cubicBezTo>
                  <a:cubicBezTo>
                    <a:pt x="1491" y="729"/>
                    <a:pt x="1491" y="729"/>
                    <a:pt x="1491" y="729"/>
                  </a:cubicBezTo>
                  <a:cubicBezTo>
                    <a:pt x="1464" y="747"/>
                    <a:pt x="1464" y="747"/>
                    <a:pt x="1464" y="747"/>
                  </a:cubicBezTo>
                  <a:cubicBezTo>
                    <a:pt x="1478" y="759"/>
                    <a:pt x="1478" y="759"/>
                    <a:pt x="1478" y="759"/>
                  </a:cubicBezTo>
                  <a:cubicBezTo>
                    <a:pt x="1478" y="759"/>
                    <a:pt x="1498" y="741"/>
                    <a:pt x="1505" y="734"/>
                  </a:cubicBezTo>
                  <a:cubicBezTo>
                    <a:pt x="1517" y="730"/>
                    <a:pt x="1536" y="731"/>
                    <a:pt x="1552" y="709"/>
                  </a:cubicBezTo>
                  <a:cubicBezTo>
                    <a:pt x="1565" y="693"/>
                    <a:pt x="1558" y="637"/>
                    <a:pt x="1556" y="624"/>
                  </a:cubicBezTo>
                  <a:cubicBezTo>
                    <a:pt x="1556" y="624"/>
                    <a:pt x="1556" y="625"/>
                    <a:pt x="1555" y="625"/>
                  </a:cubicBezTo>
                  <a:lnTo>
                    <a:pt x="1556" y="6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4" name="Freeform 468">
              <a:extLst>
                <a:ext uri="{FF2B5EF4-FFF2-40B4-BE49-F238E27FC236}">
                  <a16:creationId xmlns:a16="http://schemas.microsoft.com/office/drawing/2014/main" id="{40019095-D9B6-BCC5-CCB6-F773A25D5C6E}"/>
                </a:ext>
              </a:extLst>
            </p:cNvPr>
            <p:cNvSpPr>
              <a:spLocks/>
            </p:cNvSpPr>
            <p:nvPr/>
          </p:nvSpPr>
          <p:spPr bwMode="gray">
            <a:xfrm>
              <a:off x="11757215" y="4133893"/>
              <a:ext cx="10788" cy="10788"/>
            </a:xfrm>
            <a:custGeom>
              <a:avLst/>
              <a:gdLst>
                <a:gd name="T0" fmla="*/ 0 w 6"/>
                <a:gd name="T1" fmla="*/ 5 h 6"/>
                <a:gd name="T2" fmla="*/ 4 w 6"/>
                <a:gd name="T3" fmla="*/ 6 h 6"/>
                <a:gd name="T4" fmla="*/ 6 w 6"/>
                <a:gd name="T5" fmla="*/ 3 h 6"/>
                <a:gd name="T6" fmla="*/ 4 w 6"/>
                <a:gd name="T7" fmla="*/ 0 h 6"/>
                <a:gd name="T8" fmla="*/ 0 w 6"/>
                <a:gd name="T9" fmla="*/ 5 h 6"/>
              </a:gdLst>
              <a:ahLst/>
              <a:cxnLst>
                <a:cxn ang="0">
                  <a:pos x="T0" y="T1"/>
                </a:cxn>
                <a:cxn ang="0">
                  <a:pos x="T2" y="T3"/>
                </a:cxn>
                <a:cxn ang="0">
                  <a:pos x="T4" y="T5"/>
                </a:cxn>
                <a:cxn ang="0">
                  <a:pos x="T6" y="T7"/>
                </a:cxn>
                <a:cxn ang="0">
                  <a:pos x="T8" y="T9"/>
                </a:cxn>
              </a:cxnLst>
              <a:rect l="0" t="0" r="r" b="b"/>
              <a:pathLst>
                <a:path w="6" h="6">
                  <a:moveTo>
                    <a:pt x="0" y="5"/>
                  </a:moveTo>
                  <a:lnTo>
                    <a:pt x="4" y="6"/>
                  </a:lnTo>
                  <a:lnTo>
                    <a:pt x="6" y="3"/>
                  </a:lnTo>
                  <a:lnTo>
                    <a:pt x="4"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5" name="Freeform 469">
              <a:extLst>
                <a:ext uri="{FF2B5EF4-FFF2-40B4-BE49-F238E27FC236}">
                  <a16:creationId xmlns:a16="http://schemas.microsoft.com/office/drawing/2014/main" id="{2B93D226-C1A2-101B-2C4F-A88BC2F148DE}"/>
                </a:ext>
              </a:extLst>
            </p:cNvPr>
            <p:cNvSpPr>
              <a:spLocks/>
            </p:cNvSpPr>
            <p:nvPr/>
          </p:nvSpPr>
          <p:spPr bwMode="gray">
            <a:xfrm>
              <a:off x="10894187" y="4043994"/>
              <a:ext cx="19778" cy="1798"/>
            </a:xfrm>
            <a:custGeom>
              <a:avLst/>
              <a:gdLst>
                <a:gd name="T0" fmla="*/ 0 w 11"/>
                <a:gd name="T1" fmla="*/ 0 h 1"/>
                <a:gd name="T2" fmla="*/ 11 w 11"/>
                <a:gd name="T3" fmla="*/ 1 h 1"/>
                <a:gd name="T4" fmla="*/ 0 w 11"/>
                <a:gd name="T5" fmla="*/ 0 h 1"/>
                <a:gd name="T6" fmla="*/ 0 w 11"/>
                <a:gd name="T7" fmla="*/ 0 h 1"/>
              </a:gdLst>
              <a:ahLst/>
              <a:cxnLst>
                <a:cxn ang="0">
                  <a:pos x="T0" y="T1"/>
                </a:cxn>
                <a:cxn ang="0">
                  <a:pos x="T2" y="T3"/>
                </a:cxn>
                <a:cxn ang="0">
                  <a:pos x="T4" y="T5"/>
                </a:cxn>
                <a:cxn ang="0">
                  <a:pos x="T6" y="T7"/>
                </a:cxn>
              </a:cxnLst>
              <a:rect l="0" t="0" r="r" b="b"/>
              <a:pathLst>
                <a:path w="11" h="1">
                  <a:moveTo>
                    <a:pt x="0" y="0"/>
                  </a:moveTo>
                  <a:lnTo>
                    <a:pt x="11" y="1"/>
                  </a:lnTo>
                  <a:lnTo>
                    <a:pt x="0"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6" name="Freeform 470">
              <a:extLst>
                <a:ext uri="{FF2B5EF4-FFF2-40B4-BE49-F238E27FC236}">
                  <a16:creationId xmlns:a16="http://schemas.microsoft.com/office/drawing/2014/main" id="{AD82EA36-7236-6357-359D-711F438BE2FB}"/>
                </a:ext>
              </a:extLst>
            </p:cNvPr>
            <p:cNvSpPr>
              <a:spLocks/>
            </p:cNvSpPr>
            <p:nvPr/>
          </p:nvSpPr>
          <p:spPr bwMode="gray">
            <a:xfrm>
              <a:off x="11467741" y="3682601"/>
              <a:ext cx="7192" cy="0"/>
            </a:xfrm>
            <a:custGeom>
              <a:avLst/>
              <a:gdLst>
                <a:gd name="T0" fmla="*/ 11 w 11"/>
                <a:gd name="T1" fmla="*/ 1 h 1"/>
                <a:gd name="T2" fmla="*/ 0 w 11"/>
                <a:gd name="T3" fmla="*/ 0 h 1"/>
                <a:gd name="T4" fmla="*/ 0 w 11"/>
                <a:gd name="T5" fmla="*/ 0 h 1"/>
                <a:gd name="T6" fmla="*/ 11 w 11"/>
                <a:gd name="T7" fmla="*/ 1 h 1"/>
              </a:gdLst>
              <a:ahLst/>
              <a:cxnLst>
                <a:cxn ang="0">
                  <a:pos x="T0" y="T1"/>
                </a:cxn>
                <a:cxn ang="0">
                  <a:pos x="T2" y="T3"/>
                </a:cxn>
                <a:cxn ang="0">
                  <a:pos x="T4" y="T5"/>
                </a:cxn>
                <a:cxn ang="0">
                  <a:pos x="T6" y="T7"/>
                </a:cxn>
              </a:cxnLst>
              <a:rect l="0" t="0" r="r" b="b"/>
              <a:pathLst>
                <a:path w="11" h="1">
                  <a:moveTo>
                    <a:pt x="11" y="1"/>
                  </a:moveTo>
                  <a:cubicBezTo>
                    <a:pt x="7" y="0"/>
                    <a:pt x="3" y="0"/>
                    <a:pt x="0" y="0"/>
                  </a:cubicBezTo>
                  <a:cubicBezTo>
                    <a:pt x="0" y="0"/>
                    <a:pt x="0" y="0"/>
                    <a:pt x="0" y="0"/>
                  </a:cubicBezTo>
                  <a:lnTo>
                    <a:pt x="11"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7" name="Freeform 471">
              <a:extLst>
                <a:ext uri="{FF2B5EF4-FFF2-40B4-BE49-F238E27FC236}">
                  <a16:creationId xmlns:a16="http://schemas.microsoft.com/office/drawing/2014/main" id="{ECAFE3BA-918E-27B8-AFEF-FF3E664C2A23}"/>
                </a:ext>
              </a:extLst>
            </p:cNvPr>
            <p:cNvSpPr>
              <a:spLocks/>
            </p:cNvSpPr>
            <p:nvPr/>
          </p:nvSpPr>
          <p:spPr bwMode="gray">
            <a:xfrm>
              <a:off x="11656528" y="4033206"/>
              <a:ext cx="16183" cy="7192"/>
            </a:xfrm>
            <a:custGeom>
              <a:avLst/>
              <a:gdLst>
                <a:gd name="T0" fmla="*/ 9 w 9"/>
                <a:gd name="T1" fmla="*/ 4 h 4"/>
                <a:gd name="T2" fmla="*/ 9 w 9"/>
                <a:gd name="T3" fmla="*/ 4 h 4"/>
                <a:gd name="T4" fmla="*/ 0 w 9"/>
                <a:gd name="T5" fmla="*/ 0 h 4"/>
                <a:gd name="T6" fmla="*/ 9 w 9"/>
                <a:gd name="T7" fmla="*/ 4 h 4"/>
              </a:gdLst>
              <a:ahLst/>
              <a:cxnLst>
                <a:cxn ang="0">
                  <a:pos x="T0" y="T1"/>
                </a:cxn>
                <a:cxn ang="0">
                  <a:pos x="T2" y="T3"/>
                </a:cxn>
                <a:cxn ang="0">
                  <a:pos x="T4" y="T5"/>
                </a:cxn>
                <a:cxn ang="0">
                  <a:pos x="T6" y="T7"/>
                </a:cxn>
              </a:cxnLst>
              <a:rect l="0" t="0" r="r" b="b"/>
              <a:pathLst>
                <a:path w="9" h="4">
                  <a:moveTo>
                    <a:pt x="9" y="4"/>
                  </a:moveTo>
                  <a:lnTo>
                    <a:pt x="9" y="4"/>
                  </a:lnTo>
                  <a:lnTo>
                    <a:pt x="0" y="0"/>
                  </a:lnTo>
                  <a:lnTo>
                    <a:pt x="9"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8" name="Freeform 472">
              <a:extLst>
                <a:ext uri="{FF2B5EF4-FFF2-40B4-BE49-F238E27FC236}">
                  <a16:creationId xmlns:a16="http://schemas.microsoft.com/office/drawing/2014/main" id="{4C830DD7-DF7D-1DAD-C010-A07954738A03}"/>
                </a:ext>
              </a:extLst>
            </p:cNvPr>
            <p:cNvSpPr>
              <a:spLocks/>
            </p:cNvSpPr>
            <p:nvPr/>
          </p:nvSpPr>
          <p:spPr bwMode="gray">
            <a:xfrm>
              <a:off x="10854631" y="2060825"/>
              <a:ext cx="17980" cy="14383"/>
            </a:xfrm>
            <a:custGeom>
              <a:avLst/>
              <a:gdLst>
                <a:gd name="T0" fmla="*/ 5 w 10"/>
                <a:gd name="T1" fmla="*/ 6 h 8"/>
                <a:gd name="T2" fmla="*/ 9 w 10"/>
                <a:gd name="T3" fmla="*/ 8 h 8"/>
                <a:gd name="T4" fmla="*/ 10 w 10"/>
                <a:gd name="T5" fmla="*/ 4 h 8"/>
                <a:gd name="T6" fmla="*/ 4 w 10"/>
                <a:gd name="T7" fmla="*/ 0 h 8"/>
                <a:gd name="T8" fmla="*/ 2 w 10"/>
                <a:gd name="T9" fmla="*/ 2 h 8"/>
                <a:gd name="T10" fmla="*/ 3 w 10"/>
                <a:gd name="T11" fmla="*/ 3 h 8"/>
                <a:gd name="T12" fmla="*/ 0 w 10"/>
                <a:gd name="T13" fmla="*/ 7 h 8"/>
                <a:gd name="T14" fmla="*/ 3 w 10"/>
                <a:gd name="T15" fmla="*/ 7 h 8"/>
                <a:gd name="T16" fmla="*/ 5 w 10"/>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5" y="6"/>
                  </a:moveTo>
                  <a:lnTo>
                    <a:pt x="9" y="8"/>
                  </a:lnTo>
                  <a:lnTo>
                    <a:pt x="10" y="4"/>
                  </a:lnTo>
                  <a:lnTo>
                    <a:pt x="4" y="0"/>
                  </a:lnTo>
                  <a:lnTo>
                    <a:pt x="2" y="2"/>
                  </a:lnTo>
                  <a:lnTo>
                    <a:pt x="3" y="3"/>
                  </a:lnTo>
                  <a:lnTo>
                    <a:pt x="0" y="7"/>
                  </a:lnTo>
                  <a:lnTo>
                    <a:pt x="3" y="7"/>
                  </a:lnTo>
                  <a:lnTo>
                    <a:pt x="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9" name="Freeform 473">
              <a:extLst>
                <a:ext uri="{FF2B5EF4-FFF2-40B4-BE49-F238E27FC236}">
                  <a16:creationId xmlns:a16="http://schemas.microsoft.com/office/drawing/2014/main" id="{EFBC5721-EF9C-1B8A-ECA6-214AB50DE2AC}"/>
                </a:ext>
              </a:extLst>
            </p:cNvPr>
            <p:cNvSpPr>
              <a:spLocks/>
            </p:cNvSpPr>
            <p:nvPr/>
          </p:nvSpPr>
          <p:spPr bwMode="gray">
            <a:xfrm>
              <a:off x="10771925" y="1677855"/>
              <a:ext cx="26971" cy="19778"/>
            </a:xfrm>
            <a:custGeom>
              <a:avLst/>
              <a:gdLst>
                <a:gd name="T0" fmla="*/ 44 w 44"/>
                <a:gd name="T1" fmla="*/ 24 h 35"/>
                <a:gd name="T2" fmla="*/ 37 w 44"/>
                <a:gd name="T3" fmla="*/ 12 h 35"/>
                <a:gd name="T4" fmla="*/ 22 w 44"/>
                <a:gd name="T5" fmla="*/ 16 h 35"/>
                <a:gd name="T6" fmla="*/ 18 w 44"/>
                <a:gd name="T7" fmla="*/ 8 h 35"/>
                <a:gd name="T8" fmla="*/ 15 w 44"/>
                <a:gd name="T9" fmla="*/ 0 h 35"/>
                <a:gd name="T10" fmla="*/ 0 w 44"/>
                <a:gd name="T11" fmla="*/ 7 h 35"/>
                <a:gd name="T12" fmla="*/ 14 w 44"/>
                <a:gd name="T13" fmla="*/ 31 h 35"/>
                <a:gd name="T14" fmla="*/ 44 w 44"/>
                <a:gd name="T15" fmla="*/ 24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5">
                  <a:moveTo>
                    <a:pt x="44" y="24"/>
                  </a:moveTo>
                  <a:cubicBezTo>
                    <a:pt x="37" y="12"/>
                    <a:pt x="37" y="12"/>
                    <a:pt x="37" y="12"/>
                  </a:cubicBezTo>
                  <a:cubicBezTo>
                    <a:pt x="37" y="12"/>
                    <a:pt x="26" y="16"/>
                    <a:pt x="22" y="16"/>
                  </a:cubicBezTo>
                  <a:cubicBezTo>
                    <a:pt x="14" y="15"/>
                    <a:pt x="18" y="8"/>
                    <a:pt x="18" y="8"/>
                  </a:cubicBezTo>
                  <a:cubicBezTo>
                    <a:pt x="15" y="0"/>
                    <a:pt x="15" y="0"/>
                    <a:pt x="15" y="0"/>
                  </a:cubicBezTo>
                  <a:cubicBezTo>
                    <a:pt x="0" y="7"/>
                    <a:pt x="0" y="7"/>
                    <a:pt x="0" y="7"/>
                  </a:cubicBezTo>
                  <a:cubicBezTo>
                    <a:pt x="14" y="31"/>
                    <a:pt x="14" y="31"/>
                    <a:pt x="14" y="31"/>
                  </a:cubicBezTo>
                  <a:cubicBezTo>
                    <a:pt x="32" y="35"/>
                    <a:pt x="44" y="24"/>
                    <a:pt x="44"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0" name="Freeform 474">
              <a:extLst>
                <a:ext uri="{FF2B5EF4-FFF2-40B4-BE49-F238E27FC236}">
                  <a16:creationId xmlns:a16="http://schemas.microsoft.com/office/drawing/2014/main" id="{D192DB2E-A479-E30E-3B3D-E5B5865A01DD}"/>
                </a:ext>
              </a:extLst>
            </p:cNvPr>
            <p:cNvSpPr>
              <a:spLocks/>
            </p:cNvSpPr>
            <p:nvPr/>
          </p:nvSpPr>
          <p:spPr bwMode="gray">
            <a:xfrm>
              <a:off x="10737762" y="2120157"/>
              <a:ext cx="16183" cy="14383"/>
            </a:xfrm>
            <a:custGeom>
              <a:avLst/>
              <a:gdLst>
                <a:gd name="T0" fmla="*/ 0 w 9"/>
                <a:gd name="T1" fmla="*/ 2 h 8"/>
                <a:gd name="T2" fmla="*/ 6 w 9"/>
                <a:gd name="T3" fmla="*/ 8 h 8"/>
                <a:gd name="T4" fmla="*/ 9 w 9"/>
                <a:gd name="T5" fmla="*/ 4 h 8"/>
                <a:gd name="T6" fmla="*/ 2 w 9"/>
                <a:gd name="T7" fmla="*/ 0 h 8"/>
                <a:gd name="T8" fmla="*/ 0 w 9"/>
                <a:gd name="T9" fmla="*/ 2 h 8"/>
              </a:gdLst>
              <a:ahLst/>
              <a:cxnLst>
                <a:cxn ang="0">
                  <a:pos x="T0" y="T1"/>
                </a:cxn>
                <a:cxn ang="0">
                  <a:pos x="T2" y="T3"/>
                </a:cxn>
                <a:cxn ang="0">
                  <a:pos x="T4" y="T5"/>
                </a:cxn>
                <a:cxn ang="0">
                  <a:pos x="T6" y="T7"/>
                </a:cxn>
                <a:cxn ang="0">
                  <a:pos x="T8" y="T9"/>
                </a:cxn>
              </a:cxnLst>
              <a:rect l="0" t="0" r="r" b="b"/>
              <a:pathLst>
                <a:path w="9" h="8">
                  <a:moveTo>
                    <a:pt x="0" y="2"/>
                  </a:moveTo>
                  <a:lnTo>
                    <a:pt x="6" y="8"/>
                  </a:lnTo>
                  <a:lnTo>
                    <a:pt x="9" y="4"/>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1" name="Freeform 475">
              <a:extLst>
                <a:ext uri="{FF2B5EF4-FFF2-40B4-BE49-F238E27FC236}">
                  <a16:creationId xmlns:a16="http://schemas.microsoft.com/office/drawing/2014/main" id="{B679CC73-AF5A-53BC-00B6-8C8DE51C8C63}"/>
                </a:ext>
              </a:extLst>
            </p:cNvPr>
            <p:cNvSpPr>
              <a:spLocks/>
            </p:cNvSpPr>
            <p:nvPr/>
          </p:nvSpPr>
          <p:spPr bwMode="gray">
            <a:xfrm>
              <a:off x="10978691" y="2125552"/>
              <a:ext cx="8991" cy="5395"/>
            </a:xfrm>
            <a:custGeom>
              <a:avLst/>
              <a:gdLst>
                <a:gd name="T0" fmla="*/ 5 w 5"/>
                <a:gd name="T1" fmla="*/ 0 h 3"/>
                <a:gd name="T2" fmla="*/ 0 w 5"/>
                <a:gd name="T3" fmla="*/ 2 h 3"/>
                <a:gd name="T4" fmla="*/ 5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2"/>
                  </a:lnTo>
                  <a:lnTo>
                    <a:pt x="5" y="3"/>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2" name="Freeform 476">
              <a:extLst>
                <a:ext uri="{FF2B5EF4-FFF2-40B4-BE49-F238E27FC236}">
                  <a16:creationId xmlns:a16="http://schemas.microsoft.com/office/drawing/2014/main" id="{47D1F5EF-ADAE-6896-3A66-8798D51F7936}"/>
                </a:ext>
              </a:extLst>
            </p:cNvPr>
            <p:cNvSpPr>
              <a:spLocks/>
            </p:cNvSpPr>
            <p:nvPr/>
          </p:nvSpPr>
          <p:spPr bwMode="gray">
            <a:xfrm>
              <a:off x="10782711" y="1670663"/>
              <a:ext cx="12586" cy="8991"/>
            </a:xfrm>
            <a:custGeom>
              <a:avLst/>
              <a:gdLst>
                <a:gd name="T0" fmla="*/ 7 w 7"/>
                <a:gd name="T1" fmla="*/ 0 h 5"/>
                <a:gd name="T2" fmla="*/ 0 w 7"/>
                <a:gd name="T3" fmla="*/ 1 h 5"/>
                <a:gd name="T4" fmla="*/ 4 w 7"/>
                <a:gd name="T5" fmla="*/ 5 h 5"/>
                <a:gd name="T6" fmla="*/ 7 w 7"/>
                <a:gd name="T7" fmla="*/ 0 h 5"/>
              </a:gdLst>
              <a:ahLst/>
              <a:cxnLst>
                <a:cxn ang="0">
                  <a:pos x="T0" y="T1"/>
                </a:cxn>
                <a:cxn ang="0">
                  <a:pos x="T2" y="T3"/>
                </a:cxn>
                <a:cxn ang="0">
                  <a:pos x="T4" y="T5"/>
                </a:cxn>
                <a:cxn ang="0">
                  <a:pos x="T6" y="T7"/>
                </a:cxn>
              </a:cxnLst>
              <a:rect l="0" t="0" r="r" b="b"/>
              <a:pathLst>
                <a:path w="7" h="5">
                  <a:moveTo>
                    <a:pt x="7" y="0"/>
                  </a:moveTo>
                  <a:lnTo>
                    <a:pt x="0" y="1"/>
                  </a:lnTo>
                  <a:lnTo>
                    <a:pt x="4" y="5"/>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3" name="Freeform 477">
              <a:extLst>
                <a:ext uri="{FF2B5EF4-FFF2-40B4-BE49-F238E27FC236}">
                  <a16:creationId xmlns:a16="http://schemas.microsoft.com/office/drawing/2014/main" id="{2C3F9F1D-3309-572E-E143-C636D764809D}"/>
                </a:ext>
              </a:extLst>
            </p:cNvPr>
            <p:cNvSpPr>
              <a:spLocks/>
            </p:cNvSpPr>
            <p:nvPr/>
          </p:nvSpPr>
          <p:spPr bwMode="gray">
            <a:xfrm>
              <a:off x="10833055" y="1663472"/>
              <a:ext cx="12586" cy="8991"/>
            </a:xfrm>
            <a:custGeom>
              <a:avLst/>
              <a:gdLst>
                <a:gd name="T0" fmla="*/ 4 w 7"/>
                <a:gd name="T1" fmla="*/ 5 h 5"/>
                <a:gd name="T2" fmla="*/ 7 w 7"/>
                <a:gd name="T3" fmla="*/ 3 h 5"/>
                <a:gd name="T4" fmla="*/ 3 w 7"/>
                <a:gd name="T5" fmla="*/ 0 h 5"/>
                <a:gd name="T6" fmla="*/ 0 w 7"/>
                <a:gd name="T7" fmla="*/ 5 h 5"/>
                <a:gd name="T8" fmla="*/ 4 w 7"/>
                <a:gd name="T9" fmla="*/ 5 h 5"/>
              </a:gdLst>
              <a:ahLst/>
              <a:cxnLst>
                <a:cxn ang="0">
                  <a:pos x="T0" y="T1"/>
                </a:cxn>
                <a:cxn ang="0">
                  <a:pos x="T2" y="T3"/>
                </a:cxn>
                <a:cxn ang="0">
                  <a:pos x="T4" y="T5"/>
                </a:cxn>
                <a:cxn ang="0">
                  <a:pos x="T6" y="T7"/>
                </a:cxn>
                <a:cxn ang="0">
                  <a:pos x="T8" y="T9"/>
                </a:cxn>
              </a:cxnLst>
              <a:rect l="0" t="0" r="r" b="b"/>
              <a:pathLst>
                <a:path w="7" h="5">
                  <a:moveTo>
                    <a:pt x="4" y="5"/>
                  </a:moveTo>
                  <a:lnTo>
                    <a:pt x="7" y="3"/>
                  </a:lnTo>
                  <a:lnTo>
                    <a:pt x="3" y="0"/>
                  </a:lnTo>
                  <a:lnTo>
                    <a:pt x="0" y="5"/>
                  </a:lnTo>
                  <a:lnTo>
                    <a:pt x="4"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4" name="Freeform 478">
              <a:extLst>
                <a:ext uri="{FF2B5EF4-FFF2-40B4-BE49-F238E27FC236}">
                  <a16:creationId xmlns:a16="http://schemas.microsoft.com/office/drawing/2014/main" id="{01E3F436-CAB2-2304-311B-A63BA4096B2E}"/>
                </a:ext>
              </a:extLst>
            </p:cNvPr>
            <p:cNvSpPr>
              <a:spLocks/>
            </p:cNvSpPr>
            <p:nvPr/>
          </p:nvSpPr>
          <p:spPr bwMode="gray">
            <a:xfrm>
              <a:off x="10710793" y="2068017"/>
              <a:ext cx="39556" cy="55738"/>
            </a:xfrm>
            <a:custGeom>
              <a:avLst/>
              <a:gdLst>
                <a:gd name="T0" fmla="*/ 28 w 67"/>
                <a:gd name="T1" fmla="*/ 92 h 92"/>
                <a:gd name="T2" fmla="*/ 43 w 67"/>
                <a:gd name="T3" fmla="*/ 81 h 92"/>
                <a:gd name="T4" fmla="*/ 44 w 67"/>
                <a:gd name="T5" fmla="*/ 66 h 92"/>
                <a:gd name="T6" fmla="*/ 36 w 67"/>
                <a:gd name="T7" fmla="*/ 66 h 92"/>
                <a:gd name="T8" fmla="*/ 37 w 67"/>
                <a:gd name="T9" fmla="*/ 51 h 92"/>
                <a:gd name="T10" fmla="*/ 45 w 67"/>
                <a:gd name="T11" fmla="*/ 47 h 92"/>
                <a:gd name="T12" fmla="*/ 48 w 67"/>
                <a:gd name="T13" fmla="*/ 63 h 92"/>
                <a:gd name="T14" fmla="*/ 67 w 67"/>
                <a:gd name="T15" fmla="*/ 60 h 92"/>
                <a:gd name="T16" fmla="*/ 64 w 67"/>
                <a:gd name="T17" fmla="*/ 33 h 92"/>
                <a:gd name="T18" fmla="*/ 49 w 67"/>
                <a:gd name="T19" fmla="*/ 32 h 92"/>
                <a:gd name="T20" fmla="*/ 49 w 67"/>
                <a:gd name="T21" fmla="*/ 24 h 92"/>
                <a:gd name="T22" fmla="*/ 34 w 67"/>
                <a:gd name="T23" fmla="*/ 27 h 92"/>
                <a:gd name="T24" fmla="*/ 31 w 67"/>
                <a:gd name="T25" fmla="*/ 12 h 92"/>
                <a:gd name="T26" fmla="*/ 12 w 67"/>
                <a:gd name="T27" fmla="*/ 15 h 92"/>
                <a:gd name="T28" fmla="*/ 12 w 67"/>
                <a:gd name="T29" fmla="*/ 26 h 92"/>
                <a:gd name="T30" fmla="*/ 22 w 67"/>
                <a:gd name="T31" fmla="*/ 46 h 92"/>
                <a:gd name="T32" fmla="*/ 11 w 67"/>
                <a:gd name="T33" fmla="*/ 53 h 92"/>
                <a:gd name="T34" fmla="*/ 8 w 67"/>
                <a:gd name="T35" fmla="*/ 38 h 92"/>
                <a:gd name="T36" fmla="*/ 0 w 67"/>
                <a:gd name="T37" fmla="*/ 49 h 92"/>
                <a:gd name="T38" fmla="*/ 13 w 67"/>
                <a:gd name="T39" fmla="*/ 88 h 92"/>
                <a:gd name="T40" fmla="*/ 28 w 67"/>
                <a:gd name="T4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92">
                  <a:moveTo>
                    <a:pt x="28" y="92"/>
                  </a:moveTo>
                  <a:cubicBezTo>
                    <a:pt x="43" y="81"/>
                    <a:pt x="43" y="81"/>
                    <a:pt x="43" y="81"/>
                  </a:cubicBezTo>
                  <a:cubicBezTo>
                    <a:pt x="44" y="66"/>
                    <a:pt x="44" y="66"/>
                    <a:pt x="44" y="66"/>
                  </a:cubicBezTo>
                  <a:cubicBezTo>
                    <a:pt x="36" y="66"/>
                    <a:pt x="36" y="66"/>
                    <a:pt x="36" y="66"/>
                  </a:cubicBezTo>
                  <a:cubicBezTo>
                    <a:pt x="37" y="51"/>
                    <a:pt x="37" y="51"/>
                    <a:pt x="37" y="51"/>
                  </a:cubicBezTo>
                  <a:cubicBezTo>
                    <a:pt x="45" y="47"/>
                    <a:pt x="45" y="47"/>
                    <a:pt x="45" y="47"/>
                  </a:cubicBezTo>
                  <a:cubicBezTo>
                    <a:pt x="45" y="47"/>
                    <a:pt x="44" y="55"/>
                    <a:pt x="48" y="63"/>
                  </a:cubicBezTo>
                  <a:cubicBezTo>
                    <a:pt x="51" y="66"/>
                    <a:pt x="67" y="60"/>
                    <a:pt x="67" y="60"/>
                  </a:cubicBezTo>
                  <a:cubicBezTo>
                    <a:pt x="64" y="33"/>
                    <a:pt x="64" y="33"/>
                    <a:pt x="64" y="33"/>
                  </a:cubicBezTo>
                  <a:cubicBezTo>
                    <a:pt x="49" y="32"/>
                    <a:pt x="49" y="32"/>
                    <a:pt x="49" y="32"/>
                  </a:cubicBezTo>
                  <a:cubicBezTo>
                    <a:pt x="49" y="24"/>
                    <a:pt x="49" y="24"/>
                    <a:pt x="49" y="24"/>
                  </a:cubicBezTo>
                  <a:cubicBezTo>
                    <a:pt x="34" y="27"/>
                    <a:pt x="34" y="27"/>
                    <a:pt x="34" y="27"/>
                  </a:cubicBezTo>
                  <a:cubicBezTo>
                    <a:pt x="34" y="27"/>
                    <a:pt x="31" y="20"/>
                    <a:pt x="31" y="12"/>
                  </a:cubicBezTo>
                  <a:cubicBezTo>
                    <a:pt x="31" y="8"/>
                    <a:pt x="21" y="0"/>
                    <a:pt x="12" y="15"/>
                  </a:cubicBezTo>
                  <a:cubicBezTo>
                    <a:pt x="12" y="26"/>
                    <a:pt x="12" y="26"/>
                    <a:pt x="12" y="26"/>
                  </a:cubicBezTo>
                  <a:cubicBezTo>
                    <a:pt x="22" y="46"/>
                    <a:pt x="22" y="46"/>
                    <a:pt x="22" y="46"/>
                  </a:cubicBezTo>
                  <a:cubicBezTo>
                    <a:pt x="11" y="53"/>
                    <a:pt x="11" y="53"/>
                    <a:pt x="11" y="53"/>
                  </a:cubicBezTo>
                  <a:cubicBezTo>
                    <a:pt x="8" y="38"/>
                    <a:pt x="8" y="38"/>
                    <a:pt x="8" y="38"/>
                  </a:cubicBezTo>
                  <a:cubicBezTo>
                    <a:pt x="0" y="49"/>
                    <a:pt x="0" y="49"/>
                    <a:pt x="0" y="49"/>
                  </a:cubicBezTo>
                  <a:cubicBezTo>
                    <a:pt x="13" y="88"/>
                    <a:pt x="13" y="88"/>
                    <a:pt x="13" y="88"/>
                  </a:cubicBezTo>
                  <a:lnTo>
                    <a:pt x="28" y="9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5" name="Freeform 479">
              <a:extLst>
                <a:ext uri="{FF2B5EF4-FFF2-40B4-BE49-F238E27FC236}">
                  <a16:creationId xmlns:a16="http://schemas.microsoft.com/office/drawing/2014/main" id="{489DE85D-405D-DE6F-AD2E-BCDC4E1C2411}"/>
                </a:ext>
              </a:extLst>
            </p:cNvPr>
            <p:cNvSpPr>
              <a:spLocks/>
            </p:cNvSpPr>
            <p:nvPr/>
          </p:nvSpPr>
          <p:spPr bwMode="gray">
            <a:xfrm>
              <a:off x="10750348" y="2109369"/>
              <a:ext cx="10788" cy="10788"/>
            </a:xfrm>
            <a:custGeom>
              <a:avLst/>
              <a:gdLst>
                <a:gd name="T0" fmla="*/ 8 w 20"/>
                <a:gd name="T1" fmla="*/ 3 h 19"/>
                <a:gd name="T2" fmla="*/ 12 w 20"/>
                <a:gd name="T3" fmla="*/ 19 h 19"/>
                <a:gd name="T4" fmla="*/ 8 w 20"/>
                <a:gd name="T5" fmla="*/ 3 h 19"/>
              </a:gdLst>
              <a:ahLst/>
              <a:cxnLst>
                <a:cxn ang="0">
                  <a:pos x="T0" y="T1"/>
                </a:cxn>
                <a:cxn ang="0">
                  <a:pos x="T2" y="T3"/>
                </a:cxn>
                <a:cxn ang="0">
                  <a:pos x="T4" y="T5"/>
                </a:cxn>
              </a:cxnLst>
              <a:rect l="0" t="0" r="r" b="b"/>
              <a:pathLst>
                <a:path w="20" h="19">
                  <a:moveTo>
                    <a:pt x="8" y="3"/>
                  </a:moveTo>
                  <a:cubicBezTo>
                    <a:pt x="1" y="7"/>
                    <a:pt x="0" y="18"/>
                    <a:pt x="12" y="19"/>
                  </a:cubicBezTo>
                  <a:cubicBezTo>
                    <a:pt x="19" y="15"/>
                    <a:pt x="20" y="0"/>
                    <a:pt x="8"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6" name="Freeform 480">
              <a:extLst>
                <a:ext uri="{FF2B5EF4-FFF2-40B4-BE49-F238E27FC236}">
                  <a16:creationId xmlns:a16="http://schemas.microsoft.com/office/drawing/2014/main" id="{A05EF811-0614-B828-8C34-C9919582764F}"/>
                </a:ext>
              </a:extLst>
            </p:cNvPr>
            <p:cNvSpPr>
              <a:spLocks/>
            </p:cNvSpPr>
            <p:nvPr/>
          </p:nvSpPr>
          <p:spPr bwMode="gray">
            <a:xfrm>
              <a:off x="10678430" y="708746"/>
              <a:ext cx="767737" cy="1434786"/>
            </a:xfrm>
            <a:custGeom>
              <a:avLst/>
              <a:gdLst>
                <a:gd name="T0" fmla="*/ 1075 w 1288"/>
                <a:gd name="T1" fmla="*/ 2008 h 2406"/>
                <a:gd name="T2" fmla="*/ 1255 w 1288"/>
                <a:gd name="T3" fmla="*/ 1680 h 2406"/>
                <a:gd name="T4" fmla="*/ 1234 w 1288"/>
                <a:gd name="T5" fmla="*/ 1477 h 2406"/>
                <a:gd name="T6" fmla="*/ 1101 w 1288"/>
                <a:gd name="T7" fmla="*/ 1363 h 2406"/>
                <a:gd name="T8" fmla="*/ 1039 w 1288"/>
                <a:gd name="T9" fmla="*/ 1169 h 2406"/>
                <a:gd name="T10" fmla="*/ 990 w 1288"/>
                <a:gd name="T11" fmla="*/ 1079 h 2406"/>
                <a:gd name="T12" fmla="*/ 953 w 1288"/>
                <a:gd name="T13" fmla="*/ 993 h 2406"/>
                <a:gd name="T14" fmla="*/ 962 w 1288"/>
                <a:gd name="T15" fmla="*/ 879 h 2406"/>
                <a:gd name="T16" fmla="*/ 874 w 1288"/>
                <a:gd name="T17" fmla="*/ 522 h 2406"/>
                <a:gd name="T18" fmla="*/ 688 w 1288"/>
                <a:gd name="T19" fmla="*/ 326 h 2406"/>
                <a:gd name="T20" fmla="*/ 688 w 1288"/>
                <a:gd name="T21" fmla="*/ 169 h 2406"/>
                <a:gd name="T22" fmla="*/ 568 w 1288"/>
                <a:gd name="T23" fmla="*/ 3 h 2406"/>
                <a:gd name="T24" fmla="*/ 436 w 1288"/>
                <a:gd name="T25" fmla="*/ 111 h 2406"/>
                <a:gd name="T26" fmla="*/ 390 w 1288"/>
                <a:gd name="T27" fmla="*/ 385 h 2406"/>
                <a:gd name="T28" fmla="*/ 271 w 1288"/>
                <a:gd name="T29" fmla="*/ 360 h 2406"/>
                <a:gd name="T30" fmla="*/ 159 w 1288"/>
                <a:gd name="T31" fmla="*/ 366 h 2406"/>
                <a:gd name="T32" fmla="*/ 45 w 1288"/>
                <a:gd name="T33" fmla="*/ 307 h 2406"/>
                <a:gd name="T34" fmla="*/ 30 w 1288"/>
                <a:gd name="T35" fmla="*/ 325 h 2406"/>
                <a:gd name="T36" fmla="*/ 87 w 1288"/>
                <a:gd name="T37" fmla="*/ 389 h 2406"/>
                <a:gd name="T38" fmla="*/ 137 w 1288"/>
                <a:gd name="T39" fmla="*/ 422 h 2406"/>
                <a:gd name="T40" fmla="*/ 300 w 1288"/>
                <a:gd name="T41" fmla="*/ 541 h 2406"/>
                <a:gd name="T42" fmla="*/ 325 w 1288"/>
                <a:gd name="T43" fmla="*/ 661 h 2406"/>
                <a:gd name="T44" fmla="*/ 350 w 1288"/>
                <a:gd name="T45" fmla="*/ 769 h 2406"/>
                <a:gd name="T46" fmla="*/ 348 w 1288"/>
                <a:gd name="T47" fmla="*/ 895 h 2406"/>
                <a:gd name="T48" fmla="*/ 399 w 1288"/>
                <a:gd name="T49" fmla="*/ 997 h 2406"/>
                <a:gd name="T50" fmla="*/ 457 w 1288"/>
                <a:gd name="T51" fmla="*/ 1050 h 2406"/>
                <a:gd name="T52" fmla="*/ 530 w 1288"/>
                <a:gd name="T53" fmla="*/ 1156 h 2406"/>
                <a:gd name="T54" fmla="*/ 529 w 1288"/>
                <a:gd name="T55" fmla="*/ 1194 h 2406"/>
                <a:gd name="T56" fmla="*/ 474 w 1288"/>
                <a:gd name="T57" fmla="*/ 1234 h 2406"/>
                <a:gd name="T58" fmla="*/ 452 w 1288"/>
                <a:gd name="T59" fmla="*/ 1309 h 2406"/>
                <a:gd name="T60" fmla="*/ 384 w 1288"/>
                <a:gd name="T61" fmla="*/ 1421 h 2406"/>
                <a:gd name="T62" fmla="*/ 340 w 1288"/>
                <a:gd name="T63" fmla="*/ 1469 h 2406"/>
                <a:gd name="T64" fmla="*/ 317 w 1288"/>
                <a:gd name="T65" fmla="*/ 1494 h 2406"/>
                <a:gd name="T66" fmla="*/ 312 w 1288"/>
                <a:gd name="T67" fmla="*/ 1521 h 2406"/>
                <a:gd name="T68" fmla="*/ 284 w 1288"/>
                <a:gd name="T69" fmla="*/ 1550 h 2406"/>
                <a:gd name="T70" fmla="*/ 284 w 1288"/>
                <a:gd name="T71" fmla="*/ 1623 h 2406"/>
                <a:gd name="T72" fmla="*/ 209 w 1288"/>
                <a:gd name="T73" fmla="*/ 1627 h 2406"/>
                <a:gd name="T74" fmla="*/ 202 w 1288"/>
                <a:gd name="T75" fmla="*/ 1707 h 2406"/>
                <a:gd name="T76" fmla="*/ 172 w 1288"/>
                <a:gd name="T77" fmla="*/ 1786 h 2406"/>
                <a:gd name="T78" fmla="*/ 208 w 1288"/>
                <a:gd name="T79" fmla="*/ 1894 h 2406"/>
                <a:gd name="T80" fmla="*/ 232 w 1288"/>
                <a:gd name="T81" fmla="*/ 1961 h 2406"/>
                <a:gd name="T82" fmla="*/ 255 w 1288"/>
                <a:gd name="T83" fmla="*/ 2015 h 2406"/>
                <a:gd name="T84" fmla="*/ 236 w 1288"/>
                <a:gd name="T85" fmla="*/ 2033 h 2406"/>
                <a:gd name="T86" fmla="*/ 248 w 1288"/>
                <a:gd name="T87" fmla="*/ 2099 h 2406"/>
                <a:gd name="T88" fmla="*/ 237 w 1288"/>
                <a:gd name="T89" fmla="*/ 2167 h 2406"/>
                <a:gd name="T90" fmla="*/ 240 w 1288"/>
                <a:gd name="T91" fmla="*/ 2183 h 2406"/>
                <a:gd name="T92" fmla="*/ 267 w 1288"/>
                <a:gd name="T93" fmla="*/ 2249 h 2406"/>
                <a:gd name="T94" fmla="*/ 296 w 1288"/>
                <a:gd name="T95" fmla="*/ 2262 h 2406"/>
                <a:gd name="T96" fmla="*/ 349 w 1288"/>
                <a:gd name="T97" fmla="*/ 2264 h 2406"/>
                <a:gd name="T98" fmla="*/ 391 w 1288"/>
                <a:gd name="T99" fmla="*/ 2312 h 2406"/>
                <a:gd name="T100" fmla="*/ 432 w 1288"/>
                <a:gd name="T101" fmla="*/ 2318 h 2406"/>
                <a:gd name="T102" fmla="*/ 461 w 1288"/>
                <a:gd name="T103" fmla="*/ 2350 h 2406"/>
                <a:gd name="T104" fmla="*/ 464 w 1288"/>
                <a:gd name="T105" fmla="*/ 2366 h 2406"/>
                <a:gd name="T106" fmla="*/ 510 w 1288"/>
                <a:gd name="T107" fmla="*/ 2341 h 2406"/>
                <a:gd name="T108" fmla="*/ 581 w 1288"/>
                <a:gd name="T109" fmla="*/ 2341 h 2406"/>
                <a:gd name="T110" fmla="*/ 633 w 1288"/>
                <a:gd name="T111" fmla="*/ 2339 h 2406"/>
                <a:gd name="T112" fmla="*/ 738 w 1288"/>
                <a:gd name="T113" fmla="*/ 2260 h 2406"/>
                <a:gd name="T114" fmla="*/ 772 w 1288"/>
                <a:gd name="T115" fmla="*/ 2243 h 2406"/>
                <a:gd name="T116" fmla="*/ 774 w 1288"/>
                <a:gd name="T117" fmla="*/ 2204 h 2406"/>
                <a:gd name="T118" fmla="*/ 872 w 1288"/>
                <a:gd name="T119" fmla="*/ 2190 h 2406"/>
                <a:gd name="T120" fmla="*/ 986 w 1288"/>
                <a:gd name="T121" fmla="*/ 2161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8" h="2406">
                  <a:moveTo>
                    <a:pt x="1015" y="2101"/>
                  </a:moveTo>
                  <a:cubicBezTo>
                    <a:pt x="1054" y="2049"/>
                    <a:pt x="1054" y="2049"/>
                    <a:pt x="1054" y="2049"/>
                  </a:cubicBezTo>
                  <a:cubicBezTo>
                    <a:pt x="1070" y="2039"/>
                    <a:pt x="1070" y="2039"/>
                    <a:pt x="1070" y="2039"/>
                  </a:cubicBezTo>
                  <a:cubicBezTo>
                    <a:pt x="1075" y="2008"/>
                    <a:pt x="1075" y="2008"/>
                    <a:pt x="1075" y="2008"/>
                  </a:cubicBezTo>
                  <a:cubicBezTo>
                    <a:pt x="1122" y="1961"/>
                    <a:pt x="1122" y="1961"/>
                    <a:pt x="1122" y="1961"/>
                  </a:cubicBezTo>
                  <a:cubicBezTo>
                    <a:pt x="1122" y="1961"/>
                    <a:pt x="1143" y="1912"/>
                    <a:pt x="1155" y="1894"/>
                  </a:cubicBezTo>
                  <a:cubicBezTo>
                    <a:pt x="1167" y="1875"/>
                    <a:pt x="1197" y="1804"/>
                    <a:pt x="1210" y="1766"/>
                  </a:cubicBezTo>
                  <a:cubicBezTo>
                    <a:pt x="1223" y="1725"/>
                    <a:pt x="1255" y="1680"/>
                    <a:pt x="1255" y="1680"/>
                  </a:cubicBezTo>
                  <a:cubicBezTo>
                    <a:pt x="1267" y="1650"/>
                    <a:pt x="1267" y="1650"/>
                    <a:pt x="1267" y="1650"/>
                  </a:cubicBezTo>
                  <a:cubicBezTo>
                    <a:pt x="1275" y="1635"/>
                    <a:pt x="1287" y="1552"/>
                    <a:pt x="1288" y="1529"/>
                  </a:cubicBezTo>
                  <a:cubicBezTo>
                    <a:pt x="1285" y="1510"/>
                    <a:pt x="1244" y="1508"/>
                    <a:pt x="1244" y="1508"/>
                  </a:cubicBezTo>
                  <a:cubicBezTo>
                    <a:pt x="1234" y="1477"/>
                    <a:pt x="1234" y="1477"/>
                    <a:pt x="1234" y="1477"/>
                  </a:cubicBezTo>
                  <a:cubicBezTo>
                    <a:pt x="1179" y="1447"/>
                    <a:pt x="1179" y="1447"/>
                    <a:pt x="1179" y="1447"/>
                  </a:cubicBezTo>
                  <a:cubicBezTo>
                    <a:pt x="1139" y="1438"/>
                    <a:pt x="1139" y="1438"/>
                    <a:pt x="1139" y="1438"/>
                  </a:cubicBezTo>
                  <a:cubicBezTo>
                    <a:pt x="1070" y="1385"/>
                    <a:pt x="1070" y="1385"/>
                    <a:pt x="1070" y="1385"/>
                  </a:cubicBezTo>
                  <a:cubicBezTo>
                    <a:pt x="1101" y="1363"/>
                    <a:pt x="1101" y="1363"/>
                    <a:pt x="1101" y="1363"/>
                  </a:cubicBezTo>
                  <a:cubicBezTo>
                    <a:pt x="1098" y="1348"/>
                    <a:pt x="1098" y="1348"/>
                    <a:pt x="1098" y="1348"/>
                  </a:cubicBezTo>
                  <a:cubicBezTo>
                    <a:pt x="1098" y="1348"/>
                    <a:pt x="1119" y="1295"/>
                    <a:pt x="1105" y="1264"/>
                  </a:cubicBezTo>
                  <a:cubicBezTo>
                    <a:pt x="1092" y="1233"/>
                    <a:pt x="1057" y="1254"/>
                    <a:pt x="1040" y="1223"/>
                  </a:cubicBezTo>
                  <a:cubicBezTo>
                    <a:pt x="1019" y="1187"/>
                    <a:pt x="1039" y="1169"/>
                    <a:pt x="1039" y="1169"/>
                  </a:cubicBezTo>
                  <a:cubicBezTo>
                    <a:pt x="1025" y="1138"/>
                    <a:pt x="1025" y="1138"/>
                    <a:pt x="1025" y="1138"/>
                  </a:cubicBezTo>
                  <a:cubicBezTo>
                    <a:pt x="987" y="1155"/>
                    <a:pt x="987" y="1155"/>
                    <a:pt x="987" y="1155"/>
                  </a:cubicBezTo>
                  <a:cubicBezTo>
                    <a:pt x="967" y="1097"/>
                    <a:pt x="967" y="1097"/>
                    <a:pt x="967" y="1097"/>
                  </a:cubicBezTo>
                  <a:cubicBezTo>
                    <a:pt x="990" y="1079"/>
                    <a:pt x="990" y="1079"/>
                    <a:pt x="990" y="1079"/>
                  </a:cubicBezTo>
                  <a:cubicBezTo>
                    <a:pt x="988" y="1060"/>
                    <a:pt x="988" y="1060"/>
                    <a:pt x="988" y="1060"/>
                  </a:cubicBezTo>
                  <a:cubicBezTo>
                    <a:pt x="950" y="1065"/>
                    <a:pt x="950" y="1065"/>
                    <a:pt x="950" y="1065"/>
                  </a:cubicBezTo>
                  <a:cubicBezTo>
                    <a:pt x="963" y="1024"/>
                    <a:pt x="963" y="1024"/>
                    <a:pt x="963" y="1024"/>
                  </a:cubicBezTo>
                  <a:cubicBezTo>
                    <a:pt x="953" y="993"/>
                    <a:pt x="953" y="993"/>
                    <a:pt x="953" y="993"/>
                  </a:cubicBezTo>
                  <a:cubicBezTo>
                    <a:pt x="969" y="974"/>
                    <a:pt x="969" y="974"/>
                    <a:pt x="969" y="974"/>
                  </a:cubicBezTo>
                  <a:cubicBezTo>
                    <a:pt x="943" y="966"/>
                    <a:pt x="943" y="966"/>
                    <a:pt x="943" y="966"/>
                  </a:cubicBezTo>
                  <a:cubicBezTo>
                    <a:pt x="985" y="945"/>
                    <a:pt x="985" y="945"/>
                    <a:pt x="985" y="945"/>
                  </a:cubicBezTo>
                  <a:cubicBezTo>
                    <a:pt x="985" y="945"/>
                    <a:pt x="979" y="910"/>
                    <a:pt x="962" y="879"/>
                  </a:cubicBezTo>
                  <a:cubicBezTo>
                    <a:pt x="949" y="847"/>
                    <a:pt x="905" y="822"/>
                    <a:pt x="905" y="822"/>
                  </a:cubicBezTo>
                  <a:cubicBezTo>
                    <a:pt x="894" y="814"/>
                    <a:pt x="899" y="780"/>
                    <a:pt x="874" y="760"/>
                  </a:cubicBezTo>
                  <a:cubicBezTo>
                    <a:pt x="852" y="743"/>
                    <a:pt x="818" y="680"/>
                    <a:pt x="818" y="680"/>
                  </a:cubicBezTo>
                  <a:cubicBezTo>
                    <a:pt x="818" y="680"/>
                    <a:pt x="876" y="557"/>
                    <a:pt x="874" y="522"/>
                  </a:cubicBezTo>
                  <a:cubicBezTo>
                    <a:pt x="872" y="488"/>
                    <a:pt x="830" y="486"/>
                    <a:pt x="830" y="486"/>
                  </a:cubicBezTo>
                  <a:cubicBezTo>
                    <a:pt x="788" y="427"/>
                    <a:pt x="788" y="427"/>
                    <a:pt x="788" y="427"/>
                  </a:cubicBezTo>
                  <a:cubicBezTo>
                    <a:pt x="718" y="412"/>
                    <a:pt x="718" y="412"/>
                    <a:pt x="718" y="412"/>
                  </a:cubicBezTo>
                  <a:cubicBezTo>
                    <a:pt x="688" y="326"/>
                    <a:pt x="688" y="326"/>
                    <a:pt x="688" y="326"/>
                  </a:cubicBezTo>
                  <a:cubicBezTo>
                    <a:pt x="703" y="254"/>
                    <a:pt x="703" y="254"/>
                    <a:pt x="703" y="254"/>
                  </a:cubicBezTo>
                  <a:cubicBezTo>
                    <a:pt x="666" y="249"/>
                    <a:pt x="666" y="249"/>
                    <a:pt x="666" y="249"/>
                  </a:cubicBezTo>
                  <a:cubicBezTo>
                    <a:pt x="697" y="208"/>
                    <a:pt x="697" y="208"/>
                    <a:pt x="697" y="208"/>
                  </a:cubicBezTo>
                  <a:cubicBezTo>
                    <a:pt x="697" y="208"/>
                    <a:pt x="687" y="192"/>
                    <a:pt x="688" y="169"/>
                  </a:cubicBezTo>
                  <a:cubicBezTo>
                    <a:pt x="689" y="150"/>
                    <a:pt x="721" y="102"/>
                    <a:pt x="721" y="102"/>
                  </a:cubicBezTo>
                  <a:cubicBezTo>
                    <a:pt x="696" y="63"/>
                    <a:pt x="696" y="63"/>
                    <a:pt x="696" y="63"/>
                  </a:cubicBezTo>
                  <a:cubicBezTo>
                    <a:pt x="619" y="48"/>
                    <a:pt x="619" y="48"/>
                    <a:pt x="619" y="48"/>
                  </a:cubicBezTo>
                  <a:cubicBezTo>
                    <a:pt x="619" y="48"/>
                    <a:pt x="587" y="0"/>
                    <a:pt x="568" y="3"/>
                  </a:cubicBezTo>
                  <a:cubicBezTo>
                    <a:pt x="546" y="6"/>
                    <a:pt x="510" y="46"/>
                    <a:pt x="510" y="46"/>
                  </a:cubicBezTo>
                  <a:cubicBezTo>
                    <a:pt x="510" y="46"/>
                    <a:pt x="488" y="37"/>
                    <a:pt x="465" y="48"/>
                  </a:cubicBezTo>
                  <a:cubicBezTo>
                    <a:pt x="446" y="55"/>
                    <a:pt x="448" y="97"/>
                    <a:pt x="448" y="97"/>
                  </a:cubicBezTo>
                  <a:cubicBezTo>
                    <a:pt x="436" y="111"/>
                    <a:pt x="436" y="111"/>
                    <a:pt x="436" y="111"/>
                  </a:cubicBezTo>
                  <a:cubicBezTo>
                    <a:pt x="423" y="229"/>
                    <a:pt x="423" y="229"/>
                    <a:pt x="423" y="229"/>
                  </a:cubicBezTo>
                  <a:cubicBezTo>
                    <a:pt x="423" y="229"/>
                    <a:pt x="429" y="260"/>
                    <a:pt x="432" y="280"/>
                  </a:cubicBezTo>
                  <a:cubicBezTo>
                    <a:pt x="431" y="299"/>
                    <a:pt x="419" y="313"/>
                    <a:pt x="411" y="324"/>
                  </a:cubicBezTo>
                  <a:cubicBezTo>
                    <a:pt x="399" y="339"/>
                    <a:pt x="390" y="385"/>
                    <a:pt x="390" y="385"/>
                  </a:cubicBezTo>
                  <a:cubicBezTo>
                    <a:pt x="369" y="357"/>
                    <a:pt x="369" y="357"/>
                    <a:pt x="369" y="357"/>
                  </a:cubicBezTo>
                  <a:cubicBezTo>
                    <a:pt x="324" y="351"/>
                    <a:pt x="324" y="351"/>
                    <a:pt x="324" y="351"/>
                  </a:cubicBezTo>
                  <a:cubicBezTo>
                    <a:pt x="324" y="351"/>
                    <a:pt x="321" y="335"/>
                    <a:pt x="302" y="335"/>
                  </a:cubicBezTo>
                  <a:cubicBezTo>
                    <a:pt x="280" y="334"/>
                    <a:pt x="271" y="360"/>
                    <a:pt x="271" y="360"/>
                  </a:cubicBezTo>
                  <a:cubicBezTo>
                    <a:pt x="240" y="381"/>
                    <a:pt x="240" y="381"/>
                    <a:pt x="240" y="381"/>
                  </a:cubicBezTo>
                  <a:cubicBezTo>
                    <a:pt x="215" y="365"/>
                    <a:pt x="215" y="365"/>
                    <a:pt x="215" y="365"/>
                  </a:cubicBezTo>
                  <a:cubicBezTo>
                    <a:pt x="178" y="363"/>
                    <a:pt x="178" y="363"/>
                    <a:pt x="178" y="363"/>
                  </a:cubicBezTo>
                  <a:cubicBezTo>
                    <a:pt x="159" y="366"/>
                    <a:pt x="159" y="366"/>
                    <a:pt x="159" y="366"/>
                  </a:cubicBezTo>
                  <a:cubicBezTo>
                    <a:pt x="159" y="366"/>
                    <a:pt x="153" y="335"/>
                    <a:pt x="131" y="311"/>
                  </a:cubicBezTo>
                  <a:cubicBezTo>
                    <a:pt x="113" y="291"/>
                    <a:pt x="93" y="256"/>
                    <a:pt x="93" y="256"/>
                  </a:cubicBezTo>
                  <a:cubicBezTo>
                    <a:pt x="93" y="256"/>
                    <a:pt x="60" y="243"/>
                    <a:pt x="44" y="261"/>
                  </a:cubicBezTo>
                  <a:cubicBezTo>
                    <a:pt x="24" y="275"/>
                    <a:pt x="49" y="300"/>
                    <a:pt x="45" y="307"/>
                  </a:cubicBezTo>
                  <a:cubicBezTo>
                    <a:pt x="38" y="314"/>
                    <a:pt x="9" y="294"/>
                    <a:pt x="9" y="294"/>
                  </a:cubicBezTo>
                  <a:cubicBezTo>
                    <a:pt x="0" y="313"/>
                    <a:pt x="0" y="313"/>
                    <a:pt x="0" y="313"/>
                  </a:cubicBezTo>
                  <a:cubicBezTo>
                    <a:pt x="19" y="313"/>
                    <a:pt x="19" y="313"/>
                    <a:pt x="19" y="313"/>
                  </a:cubicBezTo>
                  <a:cubicBezTo>
                    <a:pt x="30" y="325"/>
                    <a:pt x="30" y="325"/>
                    <a:pt x="30" y="325"/>
                  </a:cubicBezTo>
                  <a:cubicBezTo>
                    <a:pt x="32" y="345"/>
                    <a:pt x="32" y="345"/>
                    <a:pt x="32" y="345"/>
                  </a:cubicBezTo>
                  <a:cubicBezTo>
                    <a:pt x="65" y="362"/>
                    <a:pt x="65" y="362"/>
                    <a:pt x="65" y="362"/>
                  </a:cubicBezTo>
                  <a:cubicBezTo>
                    <a:pt x="80" y="362"/>
                    <a:pt x="80" y="362"/>
                    <a:pt x="80" y="362"/>
                  </a:cubicBezTo>
                  <a:cubicBezTo>
                    <a:pt x="87" y="389"/>
                    <a:pt x="87" y="389"/>
                    <a:pt x="87" y="389"/>
                  </a:cubicBezTo>
                  <a:cubicBezTo>
                    <a:pt x="101" y="394"/>
                    <a:pt x="101" y="394"/>
                    <a:pt x="101" y="394"/>
                  </a:cubicBezTo>
                  <a:cubicBezTo>
                    <a:pt x="108" y="406"/>
                    <a:pt x="108" y="406"/>
                    <a:pt x="108" y="406"/>
                  </a:cubicBezTo>
                  <a:cubicBezTo>
                    <a:pt x="123" y="406"/>
                    <a:pt x="123" y="406"/>
                    <a:pt x="123" y="406"/>
                  </a:cubicBezTo>
                  <a:cubicBezTo>
                    <a:pt x="137" y="422"/>
                    <a:pt x="137" y="422"/>
                    <a:pt x="137" y="422"/>
                  </a:cubicBezTo>
                  <a:cubicBezTo>
                    <a:pt x="137" y="422"/>
                    <a:pt x="182" y="432"/>
                    <a:pt x="215" y="453"/>
                  </a:cubicBezTo>
                  <a:cubicBezTo>
                    <a:pt x="247" y="470"/>
                    <a:pt x="249" y="508"/>
                    <a:pt x="249" y="508"/>
                  </a:cubicBezTo>
                  <a:cubicBezTo>
                    <a:pt x="261" y="497"/>
                    <a:pt x="261" y="497"/>
                    <a:pt x="261" y="497"/>
                  </a:cubicBezTo>
                  <a:cubicBezTo>
                    <a:pt x="261" y="497"/>
                    <a:pt x="293" y="529"/>
                    <a:pt x="300" y="541"/>
                  </a:cubicBezTo>
                  <a:cubicBezTo>
                    <a:pt x="307" y="553"/>
                    <a:pt x="289" y="552"/>
                    <a:pt x="284" y="567"/>
                  </a:cubicBezTo>
                  <a:cubicBezTo>
                    <a:pt x="280" y="582"/>
                    <a:pt x="287" y="594"/>
                    <a:pt x="290" y="609"/>
                  </a:cubicBezTo>
                  <a:cubicBezTo>
                    <a:pt x="296" y="629"/>
                    <a:pt x="288" y="651"/>
                    <a:pt x="288" y="651"/>
                  </a:cubicBezTo>
                  <a:cubicBezTo>
                    <a:pt x="325" y="661"/>
                    <a:pt x="325" y="661"/>
                    <a:pt x="325" y="661"/>
                  </a:cubicBezTo>
                  <a:cubicBezTo>
                    <a:pt x="328" y="684"/>
                    <a:pt x="328" y="684"/>
                    <a:pt x="328" y="684"/>
                  </a:cubicBezTo>
                  <a:cubicBezTo>
                    <a:pt x="316" y="691"/>
                    <a:pt x="316" y="691"/>
                    <a:pt x="316" y="691"/>
                  </a:cubicBezTo>
                  <a:cubicBezTo>
                    <a:pt x="316" y="691"/>
                    <a:pt x="312" y="698"/>
                    <a:pt x="311" y="717"/>
                  </a:cubicBezTo>
                  <a:cubicBezTo>
                    <a:pt x="310" y="740"/>
                    <a:pt x="343" y="757"/>
                    <a:pt x="350" y="769"/>
                  </a:cubicBezTo>
                  <a:cubicBezTo>
                    <a:pt x="357" y="785"/>
                    <a:pt x="352" y="807"/>
                    <a:pt x="352" y="807"/>
                  </a:cubicBezTo>
                  <a:cubicBezTo>
                    <a:pt x="352" y="807"/>
                    <a:pt x="359" y="823"/>
                    <a:pt x="362" y="838"/>
                  </a:cubicBezTo>
                  <a:cubicBezTo>
                    <a:pt x="365" y="850"/>
                    <a:pt x="349" y="857"/>
                    <a:pt x="337" y="876"/>
                  </a:cubicBezTo>
                  <a:cubicBezTo>
                    <a:pt x="329" y="890"/>
                    <a:pt x="348" y="895"/>
                    <a:pt x="348" y="895"/>
                  </a:cubicBezTo>
                  <a:cubicBezTo>
                    <a:pt x="348" y="895"/>
                    <a:pt x="348" y="899"/>
                    <a:pt x="343" y="918"/>
                  </a:cubicBezTo>
                  <a:cubicBezTo>
                    <a:pt x="342" y="933"/>
                    <a:pt x="364" y="938"/>
                    <a:pt x="372" y="942"/>
                  </a:cubicBezTo>
                  <a:cubicBezTo>
                    <a:pt x="379" y="950"/>
                    <a:pt x="375" y="961"/>
                    <a:pt x="378" y="973"/>
                  </a:cubicBezTo>
                  <a:cubicBezTo>
                    <a:pt x="381" y="989"/>
                    <a:pt x="399" y="997"/>
                    <a:pt x="399" y="997"/>
                  </a:cubicBezTo>
                  <a:cubicBezTo>
                    <a:pt x="402" y="1024"/>
                    <a:pt x="402" y="1024"/>
                    <a:pt x="402" y="1024"/>
                  </a:cubicBezTo>
                  <a:cubicBezTo>
                    <a:pt x="417" y="1017"/>
                    <a:pt x="417" y="1017"/>
                    <a:pt x="417" y="1017"/>
                  </a:cubicBezTo>
                  <a:cubicBezTo>
                    <a:pt x="457" y="1042"/>
                    <a:pt x="457" y="1042"/>
                    <a:pt x="457" y="1042"/>
                  </a:cubicBezTo>
                  <a:cubicBezTo>
                    <a:pt x="457" y="1050"/>
                    <a:pt x="457" y="1050"/>
                    <a:pt x="457" y="1050"/>
                  </a:cubicBezTo>
                  <a:cubicBezTo>
                    <a:pt x="483" y="1047"/>
                    <a:pt x="483" y="1047"/>
                    <a:pt x="483" y="1047"/>
                  </a:cubicBezTo>
                  <a:cubicBezTo>
                    <a:pt x="509" y="1060"/>
                    <a:pt x="509" y="1060"/>
                    <a:pt x="509" y="1060"/>
                  </a:cubicBezTo>
                  <a:cubicBezTo>
                    <a:pt x="509" y="1060"/>
                    <a:pt x="523" y="1076"/>
                    <a:pt x="533" y="1099"/>
                  </a:cubicBezTo>
                  <a:cubicBezTo>
                    <a:pt x="547" y="1123"/>
                    <a:pt x="530" y="1156"/>
                    <a:pt x="530" y="1156"/>
                  </a:cubicBezTo>
                  <a:cubicBezTo>
                    <a:pt x="545" y="1161"/>
                    <a:pt x="545" y="1161"/>
                    <a:pt x="545" y="1161"/>
                  </a:cubicBezTo>
                  <a:cubicBezTo>
                    <a:pt x="555" y="1196"/>
                    <a:pt x="555" y="1196"/>
                    <a:pt x="555" y="1196"/>
                  </a:cubicBezTo>
                  <a:cubicBezTo>
                    <a:pt x="533" y="1183"/>
                    <a:pt x="533" y="1183"/>
                    <a:pt x="533" y="1183"/>
                  </a:cubicBezTo>
                  <a:cubicBezTo>
                    <a:pt x="529" y="1194"/>
                    <a:pt x="529" y="1194"/>
                    <a:pt x="529" y="1194"/>
                  </a:cubicBezTo>
                  <a:cubicBezTo>
                    <a:pt x="558" y="1211"/>
                    <a:pt x="558" y="1211"/>
                    <a:pt x="558" y="1211"/>
                  </a:cubicBezTo>
                  <a:cubicBezTo>
                    <a:pt x="546" y="1222"/>
                    <a:pt x="546" y="1222"/>
                    <a:pt x="546" y="1222"/>
                  </a:cubicBezTo>
                  <a:cubicBezTo>
                    <a:pt x="546" y="1222"/>
                    <a:pt x="520" y="1213"/>
                    <a:pt x="501" y="1216"/>
                  </a:cubicBezTo>
                  <a:cubicBezTo>
                    <a:pt x="486" y="1219"/>
                    <a:pt x="474" y="1234"/>
                    <a:pt x="474" y="1234"/>
                  </a:cubicBezTo>
                  <a:cubicBezTo>
                    <a:pt x="473" y="1264"/>
                    <a:pt x="473" y="1264"/>
                    <a:pt x="473" y="1264"/>
                  </a:cubicBezTo>
                  <a:cubicBezTo>
                    <a:pt x="465" y="1272"/>
                    <a:pt x="465" y="1272"/>
                    <a:pt x="465" y="1272"/>
                  </a:cubicBezTo>
                  <a:cubicBezTo>
                    <a:pt x="464" y="1306"/>
                    <a:pt x="464" y="1306"/>
                    <a:pt x="464" y="1306"/>
                  </a:cubicBezTo>
                  <a:cubicBezTo>
                    <a:pt x="452" y="1309"/>
                    <a:pt x="452" y="1309"/>
                    <a:pt x="452" y="1309"/>
                  </a:cubicBezTo>
                  <a:cubicBezTo>
                    <a:pt x="436" y="1339"/>
                    <a:pt x="436" y="1339"/>
                    <a:pt x="436" y="1339"/>
                  </a:cubicBezTo>
                  <a:cubicBezTo>
                    <a:pt x="403" y="1406"/>
                    <a:pt x="403" y="1406"/>
                    <a:pt x="403" y="1406"/>
                  </a:cubicBezTo>
                  <a:cubicBezTo>
                    <a:pt x="410" y="1426"/>
                    <a:pt x="410" y="1426"/>
                    <a:pt x="410" y="1426"/>
                  </a:cubicBezTo>
                  <a:cubicBezTo>
                    <a:pt x="384" y="1421"/>
                    <a:pt x="384" y="1421"/>
                    <a:pt x="384" y="1421"/>
                  </a:cubicBezTo>
                  <a:cubicBezTo>
                    <a:pt x="386" y="1455"/>
                    <a:pt x="386" y="1455"/>
                    <a:pt x="386" y="1455"/>
                  </a:cubicBezTo>
                  <a:cubicBezTo>
                    <a:pt x="359" y="1469"/>
                    <a:pt x="359" y="1469"/>
                    <a:pt x="359" y="1469"/>
                  </a:cubicBezTo>
                  <a:cubicBezTo>
                    <a:pt x="347" y="1484"/>
                    <a:pt x="347" y="1484"/>
                    <a:pt x="347" y="1484"/>
                  </a:cubicBezTo>
                  <a:cubicBezTo>
                    <a:pt x="340" y="1469"/>
                    <a:pt x="340" y="1469"/>
                    <a:pt x="340" y="1469"/>
                  </a:cubicBezTo>
                  <a:cubicBezTo>
                    <a:pt x="329" y="1472"/>
                    <a:pt x="329" y="1472"/>
                    <a:pt x="329" y="1472"/>
                  </a:cubicBezTo>
                  <a:cubicBezTo>
                    <a:pt x="328" y="1479"/>
                    <a:pt x="328" y="1479"/>
                    <a:pt x="328" y="1479"/>
                  </a:cubicBezTo>
                  <a:cubicBezTo>
                    <a:pt x="321" y="1483"/>
                    <a:pt x="321" y="1483"/>
                    <a:pt x="321" y="1483"/>
                  </a:cubicBezTo>
                  <a:cubicBezTo>
                    <a:pt x="317" y="1494"/>
                    <a:pt x="317" y="1494"/>
                    <a:pt x="317" y="1494"/>
                  </a:cubicBezTo>
                  <a:cubicBezTo>
                    <a:pt x="335" y="1495"/>
                    <a:pt x="335" y="1495"/>
                    <a:pt x="335" y="1495"/>
                  </a:cubicBezTo>
                  <a:cubicBezTo>
                    <a:pt x="342" y="1499"/>
                    <a:pt x="342" y="1499"/>
                    <a:pt x="342" y="1499"/>
                  </a:cubicBezTo>
                  <a:cubicBezTo>
                    <a:pt x="334" y="1529"/>
                    <a:pt x="334" y="1529"/>
                    <a:pt x="334" y="1529"/>
                  </a:cubicBezTo>
                  <a:cubicBezTo>
                    <a:pt x="334" y="1529"/>
                    <a:pt x="323" y="1514"/>
                    <a:pt x="312" y="1521"/>
                  </a:cubicBezTo>
                  <a:cubicBezTo>
                    <a:pt x="296" y="1528"/>
                    <a:pt x="303" y="1547"/>
                    <a:pt x="303" y="1547"/>
                  </a:cubicBezTo>
                  <a:cubicBezTo>
                    <a:pt x="302" y="1559"/>
                    <a:pt x="302" y="1559"/>
                    <a:pt x="302" y="1559"/>
                  </a:cubicBezTo>
                  <a:cubicBezTo>
                    <a:pt x="298" y="1566"/>
                    <a:pt x="294" y="1570"/>
                    <a:pt x="294" y="1570"/>
                  </a:cubicBezTo>
                  <a:cubicBezTo>
                    <a:pt x="284" y="1550"/>
                    <a:pt x="284" y="1550"/>
                    <a:pt x="284" y="1550"/>
                  </a:cubicBezTo>
                  <a:cubicBezTo>
                    <a:pt x="280" y="1554"/>
                    <a:pt x="280" y="1554"/>
                    <a:pt x="280" y="1554"/>
                  </a:cubicBezTo>
                  <a:cubicBezTo>
                    <a:pt x="287" y="1577"/>
                    <a:pt x="287" y="1577"/>
                    <a:pt x="287" y="1577"/>
                  </a:cubicBezTo>
                  <a:cubicBezTo>
                    <a:pt x="275" y="1576"/>
                    <a:pt x="275" y="1576"/>
                    <a:pt x="275" y="1576"/>
                  </a:cubicBezTo>
                  <a:cubicBezTo>
                    <a:pt x="275" y="1576"/>
                    <a:pt x="289" y="1615"/>
                    <a:pt x="284" y="1623"/>
                  </a:cubicBezTo>
                  <a:cubicBezTo>
                    <a:pt x="280" y="1634"/>
                    <a:pt x="262" y="1625"/>
                    <a:pt x="254" y="1625"/>
                  </a:cubicBezTo>
                  <a:cubicBezTo>
                    <a:pt x="228" y="1624"/>
                    <a:pt x="228" y="1624"/>
                    <a:pt x="228" y="1624"/>
                  </a:cubicBezTo>
                  <a:cubicBezTo>
                    <a:pt x="228" y="1624"/>
                    <a:pt x="228" y="1639"/>
                    <a:pt x="220" y="1639"/>
                  </a:cubicBezTo>
                  <a:cubicBezTo>
                    <a:pt x="216" y="1639"/>
                    <a:pt x="209" y="1627"/>
                    <a:pt x="209" y="1627"/>
                  </a:cubicBezTo>
                  <a:cubicBezTo>
                    <a:pt x="204" y="1653"/>
                    <a:pt x="204" y="1653"/>
                    <a:pt x="204" y="1653"/>
                  </a:cubicBezTo>
                  <a:cubicBezTo>
                    <a:pt x="229" y="1685"/>
                    <a:pt x="229" y="1685"/>
                    <a:pt x="229" y="1685"/>
                  </a:cubicBezTo>
                  <a:cubicBezTo>
                    <a:pt x="207" y="1680"/>
                    <a:pt x="207" y="1680"/>
                    <a:pt x="207" y="1680"/>
                  </a:cubicBezTo>
                  <a:cubicBezTo>
                    <a:pt x="202" y="1707"/>
                    <a:pt x="202" y="1707"/>
                    <a:pt x="202" y="1707"/>
                  </a:cubicBezTo>
                  <a:cubicBezTo>
                    <a:pt x="202" y="1707"/>
                    <a:pt x="205" y="1715"/>
                    <a:pt x="205" y="1722"/>
                  </a:cubicBezTo>
                  <a:cubicBezTo>
                    <a:pt x="205" y="1726"/>
                    <a:pt x="190" y="1725"/>
                    <a:pt x="190" y="1725"/>
                  </a:cubicBezTo>
                  <a:cubicBezTo>
                    <a:pt x="178" y="1744"/>
                    <a:pt x="178" y="1744"/>
                    <a:pt x="178" y="1744"/>
                  </a:cubicBezTo>
                  <a:cubicBezTo>
                    <a:pt x="172" y="1786"/>
                    <a:pt x="172" y="1786"/>
                    <a:pt x="172" y="1786"/>
                  </a:cubicBezTo>
                  <a:cubicBezTo>
                    <a:pt x="187" y="1786"/>
                    <a:pt x="187" y="1786"/>
                    <a:pt x="187" y="1786"/>
                  </a:cubicBezTo>
                  <a:cubicBezTo>
                    <a:pt x="187" y="1786"/>
                    <a:pt x="175" y="1801"/>
                    <a:pt x="178" y="1816"/>
                  </a:cubicBezTo>
                  <a:cubicBezTo>
                    <a:pt x="178" y="1832"/>
                    <a:pt x="203" y="1841"/>
                    <a:pt x="210" y="1856"/>
                  </a:cubicBezTo>
                  <a:cubicBezTo>
                    <a:pt x="221" y="1872"/>
                    <a:pt x="208" y="1894"/>
                    <a:pt x="208" y="1894"/>
                  </a:cubicBezTo>
                  <a:cubicBezTo>
                    <a:pt x="207" y="1925"/>
                    <a:pt x="207" y="1925"/>
                    <a:pt x="207" y="1925"/>
                  </a:cubicBezTo>
                  <a:cubicBezTo>
                    <a:pt x="218" y="1937"/>
                    <a:pt x="218" y="1937"/>
                    <a:pt x="218" y="1937"/>
                  </a:cubicBezTo>
                  <a:cubicBezTo>
                    <a:pt x="229" y="1930"/>
                    <a:pt x="229" y="1930"/>
                    <a:pt x="229" y="1930"/>
                  </a:cubicBezTo>
                  <a:cubicBezTo>
                    <a:pt x="229" y="1930"/>
                    <a:pt x="228" y="1953"/>
                    <a:pt x="232" y="1961"/>
                  </a:cubicBezTo>
                  <a:cubicBezTo>
                    <a:pt x="235" y="1972"/>
                    <a:pt x="245" y="1984"/>
                    <a:pt x="245" y="1984"/>
                  </a:cubicBezTo>
                  <a:cubicBezTo>
                    <a:pt x="241" y="1992"/>
                    <a:pt x="241" y="1992"/>
                    <a:pt x="241" y="1992"/>
                  </a:cubicBezTo>
                  <a:cubicBezTo>
                    <a:pt x="252" y="1996"/>
                    <a:pt x="252" y="1996"/>
                    <a:pt x="252" y="1996"/>
                  </a:cubicBezTo>
                  <a:cubicBezTo>
                    <a:pt x="255" y="2015"/>
                    <a:pt x="255" y="2015"/>
                    <a:pt x="255" y="2015"/>
                  </a:cubicBezTo>
                  <a:cubicBezTo>
                    <a:pt x="241" y="2011"/>
                    <a:pt x="241" y="2011"/>
                    <a:pt x="241" y="2011"/>
                  </a:cubicBezTo>
                  <a:cubicBezTo>
                    <a:pt x="240" y="2022"/>
                    <a:pt x="240" y="2022"/>
                    <a:pt x="240" y="2022"/>
                  </a:cubicBezTo>
                  <a:cubicBezTo>
                    <a:pt x="247" y="2034"/>
                    <a:pt x="247" y="2034"/>
                    <a:pt x="247" y="2034"/>
                  </a:cubicBezTo>
                  <a:cubicBezTo>
                    <a:pt x="236" y="2033"/>
                    <a:pt x="236" y="2033"/>
                    <a:pt x="236" y="2033"/>
                  </a:cubicBezTo>
                  <a:cubicBezTo>
                    <a:pt x="246" y="2049"/>
                    <a:pt x="246" y="2049"/>
                    <a:pt x="246" y="2049"/>
                  </a:cubicBezTo>
                  <a:cubicBezTo>
                    <a:pt x="239" y="2053"/>
                    <a:pt x="239" y="2053"/>
                    <a:pt x="239" y="2053"/>
                  </a:cubicBezTo>
                  <a:cubicBezTo>
                    <a:pt x="252" y="2076"/>
                    <a:pt x="252" y="2076"/>
                    <a:pt x="252" y="2076"/>
                  </a:cubicBezTo>
                  <a:cubicBezTo>
                    <a:pt x="252" y="2076"/>
                    <a:pt x="255" y="2092"/>
                    <a:pt x="248" y="2099"/>
                  </a:cubicBezTo>
                  <a:cubicBezTo>
                    <a:pt x="240" y="2106"/>
                    <a:pt x="250" y="2126"/>
                    <a:pt x="250" y="2126"/>
                  </a:cubicBezTo>
                  <a:cubicBezTo>
                    <a:pt x="250" y="2126"/>
                    <a:pt x="235" y="2129"/>
                    <a:pt x="234" y="2144"/>
                  </a:cubicBezTo>
                  <a:cubicBezTo>
                    <a:pt x="238" y="2156"/>
                    <a:pt x="245" y="2168"/>
                    <a:pt x="245" y="2168"/>
                  </a:cubicBezTo>
                  <a:cubicBezTo>
                    <a:pt x="237" y="2167"/>
                    <a:pt x="237" y="2167"/>
                    <a:pt x="237" y="2167"/>
                  </a:cubicBezTo>
                  <a:cubicBezTo>
                    <a:pt x="226" y="2155"/>
                    <a:pt x="226" y="2155"/>
                    <a:pt x="226" y="2155"/>
                  </a:cubicBezTo>
                  <a:cubicBezTo>
                    <a:pt x="222" y="2178"/>
                    <a:pt x="222" y="2178"/>
                    <a:pt x="222" y="2178"/>
                  </a:cubicBezTo>
                  <a:cubicBezTo>
                    <a:pt x="248" y="2179"/>
                    <a:pt x="248" y="2179"/>
                    <a:pt x="248" y="2179"/>
                  </a:cubicBezTo>
                  <a:cubicBezTo>
                    <a:pt x="240" y="2183"/>
                    <a:pt x="240" y="2183"/>
                    <a:pt x="240" y="2183"/>
                  </a:cubicBezTo>
                  <a:cubicBezTo>
                    <a:pt x="243" y="2202"/>
                    <a:pt x="243" y="2202"/>
                    <a:pt x="243" y="2202"/>
                  </a:cubicBezTo>
                  <a:cubicBezTo>
                    <a:pt x="254" y="2210"/>
                    <a:pt x="254" y="2210"/>
                    <a:pt x="254" y="2210"/>
                  </a:cubicBezTo>
                  <a:cubicBezTo>
                    <a:pt x="254" y="2210"/>
                    <a:pt x="246" y="2217"/>
                    <a:pt x="253" y="2233"/>
                  </a:cubicBezTo>
                  <a:cubicBezTo>
                    <a:pt x="260" y="2249"/>
                    <a:pt x="267" y="2249"/>
                    <a:pt x="267" y="2249"/>
                  </a:cubicBezTo>
                  <a:cubicBezTo>
                    <a:pt x="278" y="2261"/>
                    <a:pt x="278" y="2261"/>
                    <a:pt x="278" y="2261"/>
                  </a:cubicBezTo>
                  <a:cubicBezTo>
                    <a:pt x="279" y="2242"/>
                    <a:pt x="279" y="2242"/>
                    <a:pt x="279" y="2242"/>
                  </a:cubicBezTo>
                  <a:cubicBezTo>
                    <a:pt x="298" y="2228"/>
                    <a:pt x="298" y="2228"/>
                    <a:pt x="298" y="2228"/>
                  </a:cubicBezTo>
                  <a:cubicBezTo>
                    <a:pt x="296" y="2262"/>
                    <a:pt x="296" y="2262"/>
                    <a:pt x="296" y="2262"/>
                  </a:cubicBezTo>
                  <a:cubicBezTo>
                    <a:pt x="304" y="2262"/>
                    <a:pt x="304" y="2262"/>
                    <a:pt x="304" y="2262"/>
                  </a:cubicBezTo>
                  <a:cubicBezTo>
                    <a:pt x="308" y="2247"/>
                    <a:pt x="308" y="2247"/>
                    <a:pt x="308" y="2247"/>
                  </a:cubicBezTo>
                  <a:cubicBezTo>
                    <a:pt x="326" y="2263"/>
                    <a:pt x="326" y="2263"/>
                    <a:pt x="326" y="2263"/>
                  </a:cubicBezTo>
                  <a:cubicBezTo>
                    <a:pt x="349" y="2264"/>
                    <a:pt x="349" y="2264"/>
                    <a:pt x="349" y="2264"/>
                  </a:cubicBezTo>
                  <a:cubicBezTo>
                    <a:pt x="371" y="2273"/>
                    <a:pt x="371" y="2273"/>
                    <a:pt x="371" y="2273"/>
                  </a:cubicBezTo>
                  <a:cubicBezTo>
                    <a:pt x="393" y="2274"/>
                    <a:pt x="393" y="2274"/>
                    <a:pt x="393" y="2274"/>
                  </a:cubicBezTo>
                  <a:cubicBezTo>
                    <a:pt x="384" y="2304"/>
                    <a:pt x="384" y="2304"/>
                    <a:pt x="384" y="2304"/>
                  </a:cubicBezTo>
                  <a:cubicBezTo>
                    <a:pt x="391" y="2312"/>
                    <a:pt x="391" y="2312"/>
                    <a:pt x="391" y="2312"/>
                  </a:cubicBezTo>
                  <a:cubicBezTo>
                    <a:pt x="414" y="2302"/>
                    <a:pt x="414" y="2302"/>
                    <a:pt x="414" y="2302"/>
                  </a:cubicBezTo>
                  <a:cubicBezTo>
                    <a:pt x="441" y="2280"/>
                    <a:pt x="441" y="2280"/>
                    <a:pt x="441" y="2280"/>
                  </a:cubicBezTo>
                  <a:cubicBezTo>
                    <a:pt x="445" y="2284"/>
                    <a:pt x="445" y="2284"/>
                    <a:pt x="445" y="2284"/>
                  </a:cubicBezTo>
                  <a:cubicBezTo>
                    <a:pt x="432" y="2318"/>
                    <a:pt x="432" y="2318"/>
                    <a:pt x="432" y="2318"/>
                  </a:cubicBezTo>
                  <a:cubicBezTo>
                    <a:pt x="450" y="2331"/>
                    <a:pt x="450" y="2331"/>
                    <a:pt x="450" y="2331"/>
                  </a:cubicBezTo>
                  <a:cubicBezTo>
                    <a:pt x="446" y="2346"/>
                    <a:pt x="446" y="2346"/>
                    <a:pt x="446" y="2346"/>
                  </a:cubicBezTo>
                  <a:cubicBezTo>
                    <a:pt x="461" y="2342"/>
                    <a:pt x="461" y="2342"/>
                    <a:pt x="461" y="2342"/>
                  </a:cubicBezTo>
                  <a:cubicBezTo>
                    <a:pt x="461" y="2350"/>
                    <a:pt x="461" y="2350"/>
                    <a:pt x="461" y="2350"/>
                  </a:cubicBezTo>
                  <a:cubicBezTo>
                    <a:pt x="433" y="2372"/>
                    <a:pt x="433" y="2372"/>
                    <a:pt x="433" y="2372"/>
                  </a:cubicBezTo>
                  <a:cubicBezTo>
                    <a:pt x="437" y="2380"/>
                    <a:pt x="437" y="2380"/>
                    <a:pt x="437" y="2380"/>
                  </a:cubicBezTo>
                  <a:cubicBezTo>
                    <a:pt x="456" y="2380"/>
                    <a:pt x="456" y="2380"/>
                    <a:pt x="456" y="2380"/>
                  </a:cubicBezTo>
                  <a:cubicBezTo>
                    <a:pt x="464" y="2366"/>
                    <a:pt x="464" y="2366"/>
                    <a:pt x="464" y="2366"/>
                  </a:cubicBezTo>
                  <a:cubicBezTo>
                    <a:pt x="464" y="2366"/>
                    <a:pt x="471" y="2374"/>
                    <a:pt x="470" y="2381"/>
                  </a:cubicBezTo>
                  <a:cubicBezTo>
                    <a:pt x="474" y="2389"/>
                    <a:pt x="439" y="2406"/>
                    <a:pt x="439" y="2406"/>
                  </a:cubicBezTo>
                  <a:cubicBezTo>
                    <a:pt x="477" y="2397"/>
                    <a:pt x="477" y="2397"/>
                    <a:pt x="477" y="2397"/>
                  </a:cubicBezTo>
                  <a:cubicBezTo>
                    <a:pt x="510" y="2341"/>
                    <a:pt x="510" y="2341"/>
                    <a:pt x="510" y="2341"/>
                  </a:cubicBezTo>
                  <a:cubicBezTo>
                    <a:pt x="501" y="2371"/>
                    <a:pt x="501" y="2371"/>
                    <a:pt x="501" y="2371"/>
                  </a:cubicBezTo>
                  <a:cubicBezTo>
                    <a:pt x="542" y="2362"/>
                    <a:pt x="542" y="2362"/>
                    <a:pt x="542" y="2362"/>
                  </a:cubicBezTo>
                  <a:cubicBezTo>
                    <a:pt x="573" y="2340"/>
                    <a:pt x="573" y="2340"/>
                    <a:pt x="573" y="2340"/>
                  </a:cubicBezTo>
                  <a:cubicBezTo>
                    <a:pt x="581" y="2341"/>
                    <a:pt x="581" y="2341"/>
                    <a:pt x="581" y="2341"/>
                  </a:cubicBezTo>
                  <a:cubicBezTo>
                    <a:pt x="604" y="2326"/>
                    <a:pt x="604" y="2326"/>
                    <a:pt x="604" y="2326"/>
                  </a:cubicBezTo>
                  <a:cubicBezTo>
                    <a:pt x="615" y="2331"/>
                    <a:pt x="615" y="2331"/>
                    <a:pt x="615" y="2331"/>
                  </a:cubicBezTo>
                  <a:cubicBezTo>
                    <a:pt x="622" y="2346"/>
                    <a:pt x="622" y="2346"/>
                    <a:pt x="622" y="2346"/>
                  </a:cubicBezTo>
                  <a:cubicBezTo>
                    <a:pt x="633" y="2339"/>
                    <a:pt x="633" y="2339"/>
                    <a:pt x="633" y="2339"/>
                  </a:cubicBezTo>
                  <a:cubicBezTo>
                    <a:pt x="635" y="2313"/>
                    <a:pt x="635" y="2313"/>
                    <a:pt x="635" y="2313"/>
                  </a:cubicBezTo>
                  <a:cubicBezTo>
                    <a:pt x="688" y="2288"/>
                    <a:pt x="688" y="2288"/>
                    <a:pt x="688" y="2288"/>
                  </a:cubicBezTo>
                  <a:cubicBezTo>
                    <a:pt x="692" y="2281"/>
                    <a:pt x="692" y="2281"/>
                    <a:pt x="692" y="2281"/>
                  </a:cubicBezTo>
                  <a:cubicBezTo>
                    <a:pt x="738" y="2260"/>
                    <a:pt x="738" y="2260"/>
                    <a:pt x="738" y="2260"/>
                  </a:cubicBezTo>
                  <a:cubicBezTo>
                    <a:pt x="739" y="2233"/>
                    <a:pt x="739" y="2233"/>
                    <a:pt x="739" y="2233"/>
                  </a:cubicBezTo>
                  <a:cubicBezTo>
                    <a:pt x="739" y="2233"/>
                    <a:pt x="746" y="2257"/>
                    <a:pt x="757" y="2257"/>
                  </a:cubicBezTo>
                  <a:cubicBezTo>
                    <a:pt x="768" y="2258"/>
                    <a:pt x="783" y="2251"/>
                    <a:pt x="783" y="2251"/>
                  </a:cubicBezTo>
                  <a:cubicBezTo>
                    <a:pt x="772" y="2243"/>
                    <a:pt x="772" y="2243"/>
                    <a:pt x="772" y="2243"/>
                  </a:cubicBezTo>
                  <a:cubicBezTo>
                    <a:pt x="777" y="2231"/>
                    <a:pt x="777" y="2231"/>
                    <a:pt x="777" y="2231"/>
                  </a:cubicBezTo>
                  <a:cubicBezTo>
                    <a:pt x="795" y="2244"/>
                    <a:pt x="795" y="2244"/>
                    <a:pt x="795" y="2244"/>
                  </a:cubicBezTo>
                  <a:cubicBezTo>
                    <a:pt x="795" y="2236"/>
                    <a:pt x="795" y="2236"/>
                    <a:pt x="795" y="2236"/>
                  </a:cubicBezTo>
                  <a:cubicBezTo>
                    <a:pt x="774" y="2204"/>
                    <a:pt x="774" y="2204"/>
                    <a:pt x="774" y="2204"/>
                  </a:cubicBezTo>
                  <a:cubicBezTo>
                    <a:pt x="774" y="2204"/>
                    <a:pt x="807" y="2229"/>
                    <a:pt x="826" y="2222"/>
                  </a:cubicBezTo>
                  <a:cubicBezTo>
                    <a:pt x="841" y="2211"/>
                    <a:pt x="834" y="2200"/>
                    <a:pt x="834" y="2200"/>
                  </a:cubicBezTo>
                  <a:cubicBezTo>
                    <a:pt x="857" y="2197"/>
                    <a:pt x="857" y="2197"/>
                    <a:pt x="857" y="2197"/>
                  </a:cubicBezTo>
                  <a:cubicBezTo>
                    <a:pt x="872" y="2190"/>
                    <a:pt x="872" y="2190"/>
                    <a:pt x="872" y="2190"/>
                  </a:cubicBezTo>
                  <a:cubicBezTo>
                    <a:pt x="895" y="2191"/>
                    <a:pt x="895" y="2191"/>
                    <a:pt x="895" y="2191"/>
                  </a:cubicBezTo>
                  <a:cubicBezTo>
                    <a:pt x="910" y="2173"/>
                    <a:pt x="910" y="2173"/>
                    <a:pt x="910" y="2173"/>
                  </a:cubicBezTo>
                  <a:cubicBezTo>
                    <a:pt x="944" y="2178"/>
                    <a:pt x="944" y="2178"/>
                    <a:pt x="944" y="2178"/>
                  </a:cubicBezTo>
                  <a:cubicBezTo>
                    <a:pt x="986" y="2161"/>
                    <a:pt x="986" y="2161"/>
                    <a:pt x="986" y="2161"/>
                  </a:cubicBezTo>
                  <a:cubicBezTo>
                    <a:pt x="986" y="2157"/>
                    <a:pt x="986" y="2157"/>
                    <a:pt x="986" y="2157"/>
                  </a:cubicBezTo>
                  <a:lnTo>
                    <a:pt x="1015" y="210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7" name="Freeform 481">
              <a:extLst>
                <a:ext uri="{FF2B5EF4-FFF2-40B4-BE49-F238E27FC236}">
                  <a16:creationId xmlns:a16="http://schemas.microsoft.com/office/drawing/2014/main" id="{87D1AC1D-264F-244B-EA45-2EF8549680E7}"/>
                </a:ext>
              </a:extLst>
            </p:cNvPr>
            <p:cNvSpPr>
              <a:spLocks/>
            </p:cNvSpPr>
            <p:nvPr/>
          </p:nvSpPr>
          <p:spPr bwMode="gray">
            <a:xfrm>
              <a:off x="10700005" y="2096784"/>
              <a:ext cx="10788" cy="19778"/>
            </a:xfrm>
            <a:custGeom>
              <a:avLst/>
              <a:gdLst>
                <a:gd name="T0" fmla="*/ 3 w 6"/>
                <a:gd name="T1" fmla="*/ 0 h 11"/>
                <a:gd name="T2" fmla="*/ 0 w 6"/>
                <a:gd name="T3" fmla="*/ 11 h 11"/>
                <a:gd name="T4" fmla="*/ 6 w 6"/>
                <a:gd name="T5" fmla="*/ 8 h 11"/>
                <a:gd name="T6" fmla="*/ 3 w 6"/>
                <a:gd name="T7" fmla="*/ 0 h 11"/>
              </a:gdLst>
              <a:ahLst/>
              <a:cxnLst>
                <a:cxn ang="0">
                  <a:pos x="T0" y="T1"/>
                </a:cxn>
                <a:cxn ang="0">
                  <a:pos x="T2" y="T3"/>
                </a:cxn>
                <a:cxn ang="0">
                  <a:pos x="T4" y="T5"/>
                </a:cxn>
                <a:cxn ang="0">
                  <a:pos x="T6" y="T7"/>
                </a:cxn>
              </a:cxnLst>
              <a:rect l="0" t="0" r="r" b="b"/>
              <a:pathLst>
                <a:path w="6" h="11">
                  <a:moveTo>
                    <a:pt x="3" y="0"/>
                  </a:moveTo>
                  <a:lnTo>
                    <a:pt x="0" y="11"/>
                  </a:lnTo>
                  <a:lnTo>
                    <a:pt x="6" y="8"/>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8" name="Freeform 482">
              <a:extLst>
                <a:ext uri="{FF2B5EF4-FFF2-40B4-BE49-F238E27FC236}">
                  <a16:creationId xmlns:a16="http://schemas.microsoft.com/office/drawing/2014/main" id="{2EA67260-C1F1-BF66-3570-F1961C7E74B0}"/>
                </a:ext>
              </a:extLst>
            </p:cNvPr>
            <p:cNvSpPr>
              <a:spLocks/>
            </p:cNvSpPr>
            <p:nvPr/>
          </p:nvSpPr>
          <p:spPr bwMode="gray">
            <a:xfrm>
              <a:off x="10958914" y="1406361"/>
              <a:ext cx="26971" cy="19778"/>
            </a:xfrm>
            <a:custGeom>
              <a:avLst/>
              <a:gdLst>
                <a:gd name="T0" fmla="*/ 7 w 46"/>
                <a:gd name="T1" fmla="*/ 33 h 33"/>
                <a:gd name="T2" fmla="*/ 29 w 46"/>
                <a:gd name="T3" fmla="*/ 31 h 33"/>
                <a:gd name="T4" fmla="*/ 26 w 46"/>
                <a:gd name="T5" fmla="*/ 15 h 33"/>
                <a:gd name="T6" fmla="*/ 45 w 46"/>
                <a:gd name="T7" fmla="*/ 12 h 33"/>
                <a:gd name="T8" fmla="*/ 46 w 46"/>
                <a:gd name="T9" fmla="*/ 5 h 33"/>
                <a:gd name="T10" fmla="*/ 30 w 46"/>
                <a:gd name="T11" fmla="*/ 12 h 33"/>
                <a:gd name="T12" fmla="*/ 27 w 46"/>
                <a:gd name="T13" fmla="*/ 0 h 33"/>
                <a:gd name="T14" fmla="*/ 0 w 46"/>
                <a:gd name="T15" fmla="*/ 10 h 33"/>
                <a:gd name="T16" fmla="*/ 0 w 46"/>
                <a:gd name="T17" fmla="*/ 25 h 33"/>
                <a:gd name="T18" fmla="*/ 7 w 46"/>
                <a:gd name="T1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3">
                  <a:moveTo>
                    <a:pt x="7" y="33"/>
                  </a:moveTo>
                  <a:cubicBezTo>
                    <a:pt x="29" y="31"/>
                    <a:pt x="29" y="31"/>
                    <a:pt x="29" y="31"/>
                  </a:cubicBezTo>
                  <a:cubicBezTo>
                    <a:pt x="26" y="15"/>
                    <a:pt x="26" y="15"/>
                    <a:pt x="26" y="15"/>
                  </a:cubicBezTo>
                  <a:cubicBezTo>
                    <a:pt x="45" y="12"/>
                    <a:pt x="45" y="12"/>
                    <a:pt x="45" y="12"/>
                  </a:cubicBezTo>
                  <a:cubicBezTo>
                    <a:pt x="46" y="5"/>
                    <a:pt x="46" y="5"/>
                    <a:pt x="46" y="5"/>
                  </a:cubicBezTo>
                  <a:cubicBezTo>
                    <a:pt x="30" y="12"/>
                    <a:pt x="30" y="12"/>
                    <a:pt x="30" y="12"/>
                  </a:cubicBezTo>
                  <a:cubicBezTo>
                    <a:pt x="27" y="0"/>
                    <a:pt x="27" y="0"/>
                    <a:pt x="27" y="0"/>
                  </a:cubicBezTo>
                  <a:cubicBezTo>
                    <a:pt x="0" y="10"/>
                    <a:pt x="0" y="10"/>
                    <a:pt x="0" y="10"/>
                  </a:cubicBezTo>
                  <a:cubicBezTo>
                    <a:pt x="0" y="25"/>
                    <a:pt x="0" y="25"/>
                    <a:pt x="0" y="25"/>
                  </a:cubicBezTo>
                  <a:cubicBezTo>
                    <a:pt x="0" y="29"/>
                    <a:pt x="7" y="33"/>
                    <a:pt x="7" y="3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9" name="Freeform 483">
              <a:extLst>
                <a:ext uri="{FF2B5EF4-FFF2-40B4-BE49-F238E27FC236}">
                  <a16:creationId xmlns:a16="http://schemas.microsoft.com/office/drawing/2014/main" id="{462F40EA-05D5-57AF-B407-CEA1E9785868}"/>
                </a:ext>
              </a:extLst>
            </p:cNvPr>
            <p:cNvSpPr>
              <a:spLocks/>
            </p:cNvSpPr>
            <p:nvPr/>
          </p:nvSpPr>
          <p:spPr bwMode="gray">
            <a:xfrm>
              <a:off x="10833055" y="2102178"/>
              <a:ext cx="23374" cy="10788"/>
            </a:xfrm>
            <a:custGeom>
              <a:avLst/>
              <a:gdLst>
                <a:gd name="T0" fmla="*/ 23 w 39"/>
                <a:gd name="T1" fmla="*/ 16 h 19"/>
                <a:gd name="T2" fmla="*/ 27 w 39"/>
                <a:gd name="T3" fmla="*/ 1 h 19"/>
                <a:gd name="T4" fmla="*/ 23 w 39"/>
                <a:gd name="T5" fmla="*/ 16 h 19"/>
              </a:gdLst>
              <a:ahLst/>
              <a:cxnLst>
                <a:cxn ang="0">
                  <a:pos x="T0" y="T1"/>
                </a:cxn>
                <a:cxn ang="0">
                  <a:pos x="T2" y="T3"/>
                </a:cxn>
                <a:cxn ang="0">
                  <a:pos x="T4" y="T5"/>
                </a:cxn>
              </a:cxnLst>
              <a:rect l="0" t="0" r="r" b="b"/>
              <a:pathLst>
                <a:path w="39" h="19">
                  <a:moveTo>
                    <a:pt x="23" y="16"/>
                  </a:moveTo>
                  <a:cubicBezTo>
                    <a:pt x="23" y="16"/>
                    <a:pt x="39" y="1"/>
                    <a:pt x="27" y="1"/>
                  </a:cubicBezTo>
                  <a:cubicBezTo>
                    <a:pt x="16" y="0"/>
                    <a:pt x="0" y="19"/>
                    <a:pt x="23"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0" name="Freeform 484">
              <a:extLst>
                <a:ext uri="{FF2B5EF4-FFF2-40B4-BE49-F238E27FC236}">
                  <a16:creationId xmlns:a16="http://schemas.microsoft.com/office/drawing/2014/main" id="{DA737943-5FFE-42D7-B661-2DD862204AC1}"/>
                </a:ext>
              </a:extLst>
            </p:cNvPr>
            <p:cNvSpPr>
              <a:spLocks/>
            </p:cNvSpPr>
            <p:nvPr/>
          </p:nvSpPr>
          <p:spPr bwMode="gray">
            <a:xfrm>
              <a:off x="10852832" y="2093189"/>
              <a:ext cx="16183" cy="16183"/>
            </a:xfrm>
            <a:custGeom>
              <a:avLst/>
              <a:gdLst>
                <a:gd name="T0" fmla="*/ 27 w 27"/>
                <a:gd name="T1" fmla="*/ 8 h 26"/>
                <a:gd name="T2" fmla="*/ 13 w 27"/>
                <a:gd name="T3" fmla="*/ 3 h 26"/>
                <a:gd name="T4" fmla="*/ 8 w 27"/>
                <a:gd name="T5" fmla="*/ 15 h 26"/>
                <a:gd name="T6" fmla="*/ 0 w 27"/>
                <a:gd name="T7" fmla="*/ 22 h 26"/>
                <a:gd name="T8" fmla="*/ 4 w 27"/>
                <a:gd name="T9" fmla="*/ 26 h 26"/>
                <a:gd name="T10" fmla="*/ 27 w 27"/>
                <a:gd name="T11" fmla="*/ 8 h 26"/>
              </a:gdLst>
              <a:ahLst/>
              <a:cxnLst>
                <a:cxn ang="0">
                  <a:pos x="T0" y="T1"/>
                </a:cxn>
                <a:cxn ang="0">
                  <a:pos x="T2" y="T3"/>
                </a:cxn>
                <a:cxn ang="0">
                  <a:pos x="T4" y="T5"/>
                </a:cxn>
                <a:cxn ang="0">
                  <a:pos x="T6" y="T7"/>
                </a:cxn>
                <a:cxn ang="0">
                  <a:pos x="T8" y="T9"/>
                </a:cxn>
                <a:cxn ang="0">
                  <a:pos x="T10" y="T11"/>
                </a:cxn>
              </a:cxnLst>
              <a:rect l="0" t="0" r="r" b="b"/>
              <a:pathLst>
                <a:path w="27" h="26">
                  <a:moveTo>
                    <a:pt x="27" y="8"/>
                  </a:moveTo>
                  <a:cubicBezTo>
                    <a:pt x="27" y="8"/>
                    <a:pt x="20" y="0"/>
                    <a:pt x="13" y="3"/>
                  </a:cubicBezTo>
                  <a:cubicBezTo>
                    <a:pt x="5" y="7"/>
                    <a:pt x="8" y="15"/>
                    <a:pt x="8" y="15"/>
                  </a:cubicBezTo>
                  <a:cubicBezTo>
                    <a:pt x="0" y="22"/>
                    <a:pt x="0" y="22"/>
                    <a:pt x="0" y="22"/>
                  </a:cubicBezTo>
                  <a:cubicBezTo>
                    <a:pt x="4" y="26"/>
                    <a:pt x="4" y="26"/>
                    <a:pt x="4" y="26"/>
                  </a:cubicBezTo>
                  <a:lnTo>
                    <a:pt x="2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1" name="Freeform 485">
              <a:extLst>
                <a:ext uri="{FF2B5EF4-FFF2-40B4-BE49-F238E27FC236}">
                  <a16:creationId xmlns:a16="http://schemas.microsoft.com/office/drawing/2014/main" id="{7A6F9C2A-8EA4-2252-AC5C-5D65CEE8B265}"/>
                </a:ext>
              </a:extLst>
            </p:cNvPr>
            <p:cNvSpPr>
              <a:spLocks/>
            </p:cNvSpPr>
            <p:nvPr/>
          </p:nvSpPr>
          <p:spPr bwMode="gray">
            <a:xfrm>
              <a:off x="10874408" y="2096784"/>
              <a:ext cx="5395" cy="7192"/>
            </a:xfrm>
            <a:custGeom>
              <a:avLst/>
              <a:gdLst>
                <a:gd name="T0" fmla="*/ 3 w 3"/>
                <a:gd name="T1" fmla="*/ 3 h 4"/>
                <a:gd name="T2" fmla="*/ 3 w 3"/>
                <a:gd name="T3" fmla="*/ 0 h 4"/>
                <a:gd name="T4" fmla="*/ 0 w 3"/>
                <a:gd name="T5" fmla="*/ 0 h 4"/>
                <a:gd name="T6" fmla="*/ 0 w 3"/>
                <a:gd name="T7" fmla="*/ 4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lnTo>
                    <a:pt x="3" y="0"/>
                  </a:lnTo>
                  <a:lnTo>
                    <a:pt x="0" y="0"/>
                  </a:lnTo>
                  <a:lnTo>
                    <a:pt x="0" y="4"/>
                  </a:lnTo>
                  <a:lnTo>
                    <a:pt x="3"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2" name="Freeform 486">
              <a:extLst>
                <a:ext uri="{FF2B5EF4-FFF2-40B4-BE49-F238E27FC236}">
                  <a16:creationId xmlns:a16="http://schemas.microsoft.com/office/drawing/2014/main" id="{F3E0D921-DEFB-6046-3151-B4A999CC92A2}"/>
                </a:ext>
              </a:extLst>
            </p:cNvPr>
            <p:cNvSpPr>
              <a:spLocks/>
            </p:cNvSpPr>
            <p:nvPr/>
          </p:nvSpPr>
          <p:spPr bwMode="gray">
            <a:xfrm>
              <a:off x="10815076" y="2037451"/>
              <a:ext cx="7192" cy="8991"/>
            </a:xfrm>
            <a:custGeom>
              <a:avLst/>
              <a:gdLst>
                <a:gd name="T0" fmla="*/ 4 w 4"/>
                <a:gd name="T1" fmla="*/ 1 h 5"/>
                <a:gd name="T2" fmla="*/ 2 w 4"/>
                <a:gd name="T3" fmla="*/ 0 h 5"/>
                <a:gd name="T4" fmla="*/ 0 w 4"/>
                <a:gd name="T5" fmla="*/ 1 h 5"/>
                <a:gd name="T6" fmla="*/ 3 w 4"/>
                <a:gd name="T7" fmla="*/ 5 h 5"/>
                <a:gd name="T8" fmla="*/ 4 w 4"/>
                <a:gd name="T9" fmla="*/ 1 h 5"/>
              </a:gdLst>
              <a:ahLst/>
              <a:cxnLst>
                <a:cxn ang="0">
                  <a:pos x="T0" y="T1"/>
                </a:cxn>
                <a:cxn ang="0">
                  <a:pos x="T2" y="T3"/>
                </a:cxn>
                <a:cxn ang="0">
                  <a:pos x="T4" y="T5"/>
                </a:cxn>
                <a:cxn ang="0">
                  <a:pos x="T6" y="T7"/>
                </a:cxn>
                <a:cxn ang="0">
                  <a:pos x="T8" y="T9"/>
                </a:cxn>
              </a:cxnLst>
              <a:rect l="0" t="0" r="r" b="b"/>
              <a:pathLst>
                <a:path w="4" h="5">
                  <a:moveTo>
                    <a:pt x="4" y="1"/>
                  </a:moveTo>
                  <a:lnTo>
                    <a:pt x="2" y="0"/>
                  </a:lnTo>
                  <a:lnTo>
                    <a:pt x="0" y="1"/>
                  </a:lnTo>
                  <a:lnTo>
                    <a:pt x="3" y="5"/>
                  </a:lnTo>
                  <a:lnTo>
                    <a:pt x="4"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3" name="Freeform 487">
              <a:extLst>
                <a:ext uri="{FF2B5EF4-FFF2-40B4-BE49-F238E27FC236}">
                  <a16:creationId xmlns:a16="http://schemas.microsoft.com/office/drawing/2014/main" id="{4589855B-D57A-4848-41D9-CE6E436266BD}"/>
                </a:ext>
              </a:extLst>
            </p:cNvPr>
            <p:cNvSpPr>
              <a:spLocks/>
            </p:cNvSpPr>
            <p:nvPr/>
          </p:nvSpPr>
          <p:spPr bwMode="gray">
            <a:xfrm>
              <a:off x="10901379" y="2077006"/>
              <a:ext cx="35959" cy="43151"/>
            </a:xfrm>
            <a:custGeom>
              <a:avLst/>
              <a:gdLst>
                <a:gd name="T0" fmla="*/ 14 w 20"/>
                <a:gd name="T1" fmla="*/ 21 h 24"/>
                <a:gd name="T2" fmla="*/ 19 w 20"/>
                <a:gd name="T3" fmla="*/ 12 h 24"/>
                <a:gd name="T4" fmla="*/ 17 w 20"/>
                <a:gd name="T5" fmla="*/ 7 h 24"/>
                <a:gd name="T6" fmla="*/ 20 w 20"/>
                <a:gd name="T7" fmla="*/ 1 h 24"/>
                <a:gd name="T8" fmla="*/ 18 w 20"/>
                <a:gd name="T9" fmla="*/ 0 h 24"/>
                <a:gd name="T10" fmla="*/ 16 w 20"/>
                <a:gd name="T11" fmla="*/ 5 h 24"/>
                <a:gd name="T12" fmla="*/ 11 w 20"/>
                <a:gd name="T13" fmla="*/ 6 h 24"/>
                <a:gd name="T14" fmla="*/ 8 w 20"/>
                <a:gd name="T15" fmla="*/ 8 h 24"/>
                <a:gd name="T16" fmla="*/ 2 w 20"/>
                <a:gd name="T17" fmla="*/ 9 h 24"/>
                <a:gd name="T18" fmla="*/ 0 w 20"/>
                <a:gd name="T19" fmla="*/ 13 h 24"/>
                <a:gd name="T20" fmla="*/ 4 w 20"/>
                <a:gd name="T21" fmla="*/ 13 h 24"/>
                <a:gd name="T22" fmla="*/ 0 w 20"/>
                <a:gd name="T23" fmla="*/ 18 h 24"/>
                <a:gd name="T24" fmla="*/ 0 w 20"/>
                <a:gd name="T25" fmla="*/ 24 h 24"/>
                <a:gd name="T26" fmla="*/ 8 w 20"/>
                <a:gd name="T27" fmla="*/ 21 h 24"/>
                <a:gd name="T28" fmla="*/ 14 w 20"/>
                <a:gd name="T29"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21"/>
                  </a:moveTo>
                  <a:lnTo>
                    <a:pt x="19" y="12"/>
                  </a:lnTo>
                  <a:lnTo>
                    <a:pt x="17" y="7"/>
                  </a:lnTo>
                  <a:lnTo>
                    <a:pt x="20" y="1"/>
                  </a:lnTo>
                  <a:lnTo>
                    <a:pt x="18" y="0"/>
                  </a:lnTo>
                  <a:lnTo>
                    <a:pt x="16" y="5"/>
                  </a:lnTo>
                  <a:lnTo>
                    <a:pt x="11" y="6"/>
                  </a:lnTo>
                  <a:lnTo>
                    <a:pt x="8" y="8"/>
                  </a:lnTo>
                  <a:lnTo>
                    <a:pt x="2" y="9"/>
                  </a:lnTo>
                  <a:lnTo>
                    <a:pt x="0" y="13"/>
                  </a:lnTo>
                  <a:lnTo>
                    <a:pt x="4" y="13"/>
                  </a:lnTo>
                  <a:lnTo>
                    <a:pt x="0" y="18"/>
                  </a:lnTo>
                  <a:lnTo>
                    <a:pt x="0" y="24"/>
                  </a:lnTo>
                  <a:lnTo>
                    <a:pt x="8" y="21"/>
                  </a:lnTo>
                  <a:lnTo>
                    <a:pt x="14"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4" name="Freeform 488">
              <a:extLst>
                <a:ext uri="{FF2B5EF4-FFF2-40B4-BE49-F238E27FC236}">
                  <a16:creationId xmlns:a16="http://schemas.microsoft.com/office/drawing/2014/main" id="{EF068592-DDB6-E1E9-09A7-321856D90C56}"/>
                </a:ext>
              </a:extLst>
            </p:cNvPr>
            <p:cNvSpPr>
              <a:spLocks/>
            </p:cNvSpPr>
            <p:nvPr/>
          </p:nvSpPr>
          <p:spPr bwMode="gray">
            <a:xfrm>
              <a:off x="11133317" y="2059027"/>
              <a:ext cx="8991" cy="8991"/>
            </a:xfrm>
            <a:custGeom>
              <a:avLst/>
              <a:gdLst>
                <a:gd name="T0" fmla="*/ 5 w 5"/>
                <a:gd name="T1" fmla="*/ 0 h 5"/>
                <a:gd name="T2" fmla="*/ 0 w 5"/>
                <a:gd name="T3" fmla="*/ 1 h 5"/>
                <a:gd name="T4" fmla="*/ 1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1"/>
                  </a:lnTo>
                  <a:lnTo>
                    <a:pt x="1" y="5"/>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5" name="Freeform 489">
              <a:extLst>
                <a:ext uri="{FF2B5EF4-FFF2-40B4-BE49-F238E27FC236}">
                  <a16:creationId xmlns:a16="http://schemas.microsoft.com/office/drawing/2014/main" id="{DB65C6DE-BE2E-F856-6EC5-43669E5717DE}"/>
                </a:ext>
              </a:extLst>
            </p:cNvPr>
            <p:cNvSpPr>
              <a:spLocks/>
            </p:cNvSpPr>
            <p:nvPr/>
          </p:nvSpPr>
          <p:spPr bwMode="gray">
            <a:xfrm>
              <a:off x="11181863" y="2024866"/>
              <a:ext cx="14383" cy="8991"/>
            </a:xfrm>
            <a:custGeom>
              <a:avLst/>
              <a:gdLst>
                <a:gd name="T0" fmla="*/ 8 w 8"/>
                <a:gd name="T1" fmla="*/ 3 h 5"/>
                <a:gd name="T2" fmla="*/ 7 w 8"/>
                <a:gd name="T3" fmla="*/ 0 h 5"/>
                <a:gd name="T4" fmla="*/ 0 w 8"/>
                <a:gd name="T5" fmla="*/ 1 h 5"/>
                <a:gd name="T6" fmla="*/ 3 w 8"/>
                <a:gd name="T7" fmla="*/ 5 h 5"/>
                <a:gd name="T8" fmla="*/ 8 w 8"/>
                <a:gd name="T9" fmla="*/ 3 h 5"/>
              </a:gdLst>
              <a:ahLst/>
              <a:cxnLst>
                <a:cxn ang="0">
                  <a:pos x="T0" y="T1"/>
                </a:cxn>
                <a:cxn ang="0">
                  <a:pos x="T2" y="T3"/>
                </a:cxn>
                <a:cxn ang="0">
                  <a:pos x="T4" y="T5"/>
                </a:cxn>
                <a:cxn ang="0">
                  <a:pos x="T6" y="T7"/>
                </a:cxn>
                <a:cxn ang="0">
                  <a:pos x="T8" y="T9"/>
                </a:cxn>
              </a:cxnLst>
              <a:rect l="0" t="0" r="r" b="b"/>
              <a:pathLst>
                <a:path w="8" h="5">
                  <a:moveTo>
                    <a:pt x="8" y="3"/>
                  </a:moveTo>
                  <a:lnTo>
                    <a:pt x="7" y="0"/>
                  </a:lnTo>
                  <a:lnTo>
                    <a:pt x="0" y="1"/>
                  </a:lnTo>
                  <a:lnTo>
                    <a:pt x="3" y="5"/>
                  </a:lnTo>
                  <a:lnTo>
                    <a:pt x="8"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6" name="Freeform 490">
              <a:extLst>
                <a:ext uri="{FF2B5EF4-FFF2-40B4-BE49-F238E27FC236}">
                  <a16:creationId xmlns:a16="http://schemas.microsoft.com/office/drawing/2014/main" id="{89041EA0-EBF1-4A73-9D5E-2BE95D4FFE0E}"/>
                </a:ext>
              </a:extLst>
            </p:cNvPr>
            <p:cNvSpPr>
              <a:spLocks/>
            </p:cNvSpPr>
            <p:nvPr/>
          </p:nvSpPr>
          <p:spPr bwMode="gray">
            <a:xfrm>
              <a:off x="10822267" y="2044642"/>
              <a:ext cx="17980" cy="14383"/>
            </a:xfrm>
            <a:custGeom>
              <a:avLst/>
              <a:gdLst>
                <a:gd name="T0" fmla="*/ 10 w 29"/>
                <a:gd name="T1" fmla="*/ 24 h 25"/>
                <a:gd name="T2" fmla="*/ 18 w 29"/>
                <a:gd name="T3" fmla="*/ 16 h 25"/>
                <a:gd name="T4" fmla="*/ 4 w 29"/>
                <a:gd name="T5" fmla="*/ 8 h 25"/>
                <a:gd name="T6" fmla="*/ 10 w 29"/>
                <a:gd name="T7" fmla="*/ 24 h 25"/>
              </a:gdLst>
              <a:ahLst/>
              <a:cxnLst>
                <a:cxn ang="0">
                  <a:pos x="T0" y="T1"/>
                </a:cxn>
                <a:cxn ang="0">
                  <a:pos x="T2" y="T3"/>
                </a:cxn>
                <a:cxn ang="0">
                  <a:pos x="T4" y="T5"/>
                </a:cxn>
                <a:cxn ang="0">
                  <a:pos x="T6" y="T7"/>
                </a:cxn>
              </a:cxnLst>
              <a:rect l="0" t="0" r="r" b="b"/>
              <a:pathLst>
                <a:path w="29" h="25">
                  <a:moveTo>
                    <a:pt x="10" y="24"/>
                  </a:moveTo>
                  <a:cubicBezTo>
                    <a:pt x="29" y="25"/>
                    <a:pt x="29" y="25"/>
                    <a:pt x="18" y="16"/>
                  </a:cubicBezTo>
                  <a:cubicBezTo>
                    <a:pt x="4" y="4"/>
                    <a:pt x="0" y="0"/>
                    <a:pt x="4" y="8"/>
                  </a:cubicBezTo>
                  <a:lnTo>
                    <a:pt x="1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7" name="Freeform 491">
              <a:extLst>
                <a:ext uri="{FF2B5EF4-FFF2-40B4-BE49-F238E27FC236}">
                  <a16:creationId xmlns:a16="http://schemas.microsoft.com/office/drawing/2014/main" id="{098B68D5-AB75-601C-E067-60A2D614CC55}"/>
                </a:ext>
              </a:extLst>
            </p:cNvPr>
            <p:cNvSpPr>
              <a:spLocks/>
            </p:cNvSpPr>
            <p:nvPr/>
          </p:nvSpPr>
          <p:spPr bwMode="gray">
            <a:xfrm>
              <a:off x="11171075" y="2032057"/>
              <a:ext cx="10788" cy="7192"/>
            </a:xfrm>
            <a:custGeom>
              <a:avLst/>
              <a:gdLst>
                <a:gd name="T0" fmla="*/ 4 w 6"/>
                <a:gd name="T1" fmla="*/ 0 h 4"/>
                <a:gd name="T2" fmla="*/ 0 w 6"/>
                <a:gd name="T3" fmla="*/ 2 h 4"/>
                <a:gd name="T4" fmla="*/ 6 w 6"/>
                <a:gd name="T5" fmla="*/ 4 h 4"/>
                <a:gd name="T6" fmla="*/ 4 w 6"/>
                <a:gd name="T7" fmla="*/ 0 h 4"/>
              </a:gdLst>
              <a:ahLst/>
              <a:cxnLst>
                <a:cxn ang="0">
                  <a:pos x="T0" y="T1"/>
                </a:cxn>
                <a:cxn ang="0">
                  <a:pos x="T2" y="T3"/>
                </a:cxn>
                <a:cxn ang="0">
                  <a:pos x="T4" y="T5"/>
                </a:cxn>
                <a:cxn ang="0">
                  <a:pos x="T6" y="T7"/>
                </a:cxn>
              </a:cxnLst>
              <a:rect l="0" t="0" r="r" b="b"/>
              <a:pathLst>
                <a:path w="6" h="4">
                  <a:moveTo>
                    <a:pt x="4" y="0"/>
                  </a:moveTo>
                  <a:lnTo>
                    <a:pt x="0" y="2"/>
                  </a:lnTo>
                  <a:lnTo>
                    <a:pt x="6" y="4"/>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8" name="Freeform 492">
              <a:extLst>
                <a:ext uri="{FF2B5EF4-FFF2-40B4-BE49-F238E27FC236}">
                  <a16:creationId xmlns:a16="http://schemas.microsoft.com/office/drawing/2014/main" id="{1D4A455E-57C6-8E4F-14FF-720256FF08A4}"/>
                </a:ext>
              </a:extLst>
            </p:cNvPr>
            <p:cNvSpPr>
              <a:spLocks/>
            </p:cNvSpPr>
            <p:nvPr/>
          </p:nvSpPr>
          <p:spPr bwMode="gray">
            <a:xfrm>
              <a:off x="11126125" y="4238175"/>
              <a:ext cx="632888" cy="449494"/>
            </a:xfrm>
            <a:custGeom>
              <a:avLst/>
              <a:gdLst>
                <a:gd name="T0" fmla="*/ 942 w 1059"/>
                <a:gd name="T1" fmla="*/ 53 h 754"/>
                <a:gd name="T2" fmla="*/ 898 w 1059"/>
                <a:gd name="T3" fmla="*/ 35 h 754"/>
                <a:gd name="T4" fmla="*/ 838 w 1059"/>
                <a:gd name="T5" fmla="*/ 32 h 754"/>
                <a:gd name="T6" fmla="*/ 673 w 1059"/>
                <a:gd name="T7" fmla="*/ 51 h 754"/>
                <a:gd name="T8" fmla="*/ 536 w 1059"/>
                <a:gd name="T9" fmla="*/ 167 h 754"/>
                <a:gd name="T10" fmla="*/ 462 w 1059"/>
                <a:gd name="T11" fmla="*/ 167 h 754"/>
                <a:gd name="T12" fmla="*/ 391 w 1059"/>
                <a:gd name="T13" fmla="*/ 164 h 754"/>
                <a:gd name="T14" fmla="*/ 307 w 1059"/>
                <a:gd name="T15" fmla="*/ 187 h 754"/>
                <a:gd name="T16" fmla="*/ 215 w 1059"/>
                <a:gd name="T17" fmla="*/ 167 h 754"/>
                <a:gd name="T18" fmla="*/ 113 w 1059"/>
                <a:gd name="T19" fmla="*/ 178 h 754"/>
                <a:gd name="T20" fmla="*/ 108 w 1059"/>
                <a:gd name="T21" fmla="*/ 120 h 754"/>
                <a:gd name="T22" fmla="*/ 43 w 1059"/>
                <a:gd name="T23" fmla="*/ 90 h 754"/>
                <a:gd name="T24" fmla="*/ 29 w 1059"/>
                <a:gd name="T25" fmla="*/ 131 h 754"/>
                <a:gd name="T26" fmla="*/ 0 w 1059"/>
                <a:gd name="T27" fmla="*/ 195 h 754"/>
                <a:gd name="T28" fmla="*/ 38 w 1059"/>
                <a:gd name="T29" fmla="*/ 262 h 754"/>
                <a:gd name="T30" fmla="*/ 129 w 1059"/>
                <a:gd name="T31" fmla="*/ 327 h 754"/>
                <a:gd name="T32" fmla="*/ 84 w 1059"/>
                <a:gd name="T33" fmla="*/ 398 h 754"/>
                <a:gd name="T34" fmla="*/ 30 w 1059"/>
                <a:gd name="T35" fmla="*/ 430 h 754"/>
                <a:gd name="T36" fmla="*/ 36 w 1059"/>
                <a:gd name="T37" fmla="*/ 468 h 754"/>
                <a:gd name="T38" fmla="*/ 33 w 1059"/>
                <a:gd name="T39" fmla="*/ 537 h 754"/>
                <a:gd name="T40" fmla="*/ 94 w 1059"/>
                <a:gd name="T41" fmla="*/ 586 h 754"/>
                <a:gd name="T42" fmla="*/ 133 w 1059"/>
                <a:gd name="T43" fmla="*/ 634 h 754"/>
                <a:gd name="T44" fmla="*/ 150 w 1059"/>
                <a:gd name="T45" fmla="*/ 680 h 754"/>
                <a:gd name="T46" fmla="*/ 199 w 1059"/>
                <a:gd name="T47" fmla="*/ 751 h 754"/>
                <a:gd name="T48" fmla="*/ 233 w 1059"/>
                <a:gd name="T49" fmla="*/ 742 h 754"/>
                <a:gd name="T50" fmla="*/ 282 w 1059"/>
                <a:gd name="T51" fmla="*/ 729 h 754"/>
                <a:gd name="T52" fmla="*/ 302 w 1059"/>
                <a:gd name="T53" fmla="*/ 718 h 754"/>
                <a:gd name="T54" fmla="*/ 332 w 1059"/>
                <a:gd name="T55" fmla="*/ 712 h 754"/>
                <a:gd name="T56" fmla="*/ 348 w 1059"/>
                <a:gd name="T57" fmla="*/ 678 h 754"/>
                <a:gd name="T58" fmla="*/ 379 w 1059"/>
                <a:gd name="T59" fmla="*/ 668 h 754"/>
                <a:gd name="T60" fmla="*/ 431 w 1059"/>
                <a:gd name="T61" fmla="*/ 667 h 754"/>
                <a:gd name="T62" fmla="*/ 464 w 1059"/>
                <a:gd name="T63" fmla="*/ 688 h 754"/>
                <a:gd name="T64" fmla="*/ 501 w 1059"/>
                <a:gd name="T65" fmla="*/ 693 h 754"/>
                <a:gd name="T66" fmla="*/ 567 w 1059"/>
                <a:gd name="T67" fmla="*/ 727 h 754"/>
                <a:gd name="T68" fmla="*/ 677 w 1059"/>
                <a:gd name="T69" fmla="*/ 694 h 754"/>
                <a:gd name="T70" fmla="*/ 689 w 1059"/>
                <a:gd name="T71" fmla="*/ 595 h 754"/>
                <a:gd name="T72" fmla="*/ 743 w 1059"/>
                <a:gd name="T73" fmla="*/ 563 h 754"/>
                <a:gd name="T74" fmla="*/ 775 w 1059"/>
                <a:gd name="T75" fmla="*/ 519 h 754"/>
                <a:gd name="T76" fmla="*/ 855 w 1059"/>
                <a:gd name="T77" fmla="*/ 481 h 754"/>
                <a:gd name="T78" fmla="*/ 889 w 1059"/>
                <a:gd name="T79" fmla="*/ 471 h 754"/>
                <a:gd name="T80" fmla="*/ 963 w 1059"/>
                <a:gd name="T81" fmla="*/ 490 h 754"/>
                <a:gd name="T82" fmla="*/ 990 w 1059"/>
                <a:gd name="T83" fmla="*/ 483 h 754"/>
                <a:gd name="T84" fmla="*/ 1020 w 1059"/>
                <a:gd name="T85" fmla="*/ 477 h 754"/>
                <a:gd name="T86" fmla="*/ 966 w 1059"/>
                <a:gd name="T87" fmla="*/ 425 h 754"/>
                <a:gd name="T88" fmla="*/ 931 w 1059"/>
                <a:gd name="T89" fmla="*/ 373 h 754"/>
                <a:gd name="T90" fmla="*/ 893 w 1059"/>
                <a:gd name="T91" fmla="*/ 391 h 754"/>
                <a:gd name="T92" fmla="*/ 936 w 1059"/>
                <a:gd name="T93" fmla="*/ 354 h 754"/>
                <a:gd name="T94" fmla="*/ 971 w 1059"/>
                <a:gd name="T95" fmla="*/ 310 h 754"/>
                <a:gd name="T96" fmla="*/ 957 w 1059"/>
                <a:gd name="T97" fmla="*/ 206 h 754"/>
                <a:gd name="T98" fmla="*/ 969 w 1059"/>
                <a:gd name="T99" fmla="*/ 192 h 754"/>
                <a:gd name="T100" fmla="*/ 1035 w 1059"/>
                <a:gd name="T101" fmla="*/ 145 h 754"/>
                <a:gd name="T102" fmla="*/ 1046 w 1059"/>
                <a:gd name="T103" fmla="*/ 80 h 754"/>
                <a:gd name="T104" fmla="*/ 983 w 1059"/>
                <a:gd name="T105" fmla="*/ 6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9" h="754">
                  <a:moveTo>
                    <a:pt x="983" y="62"/>
                  </a:moveTo>
                  <a:cubicBezTo>
                    <a:pt x="972" y="62"/>
                    <a:pt x="942" y="53"/>
                    <a:pt x="942" y="53"/>
                  </a:cubicBezTo>
                  <a:cubicBezTo>
                    <a:pt x="929" y="17"/>
                    <a:pt x="929" y="17"/>
                    <a:pt x="929" y="17"/>
                  </a:cubicBezTo>
                  <a:cubicBezTo>
                    <a:pt x="929" y="17"/>
                    <a:pt x="909" y="39"/>
                    <a:pt x="898" y="35"/>
                  </a:cubicBezTo>
                  <a:cubicBezTo>
                    <a:pt x="887" y="31"/>
                    <a:pt x="888" y="16"/>
                    <a:pt x="880" y="15"/>
                  </a:cubicBezTo>
                  <a:cubicBezTo>
                    <a:pt x="873" y="15"/>
                    <a:pt x="853" y="37"/>
                    <a:pt x="838" y="32"/>
                  </a:cubicBezTo>
                  <a:cubicBezTo>
                    <a:pt x="823" y="28"/>
                    <a:pt x="806" y="0"/>
                    <a:pt x="776" y="10"/>
                  </a:cubicBezTo>
                  <a:cubicBezTo>
                    <a:pt x="745" y="16"/>
                    <a:pt x="692" y="48"/>
                    <a:pt x="673" y="51"/>
                  </a:cubicBezTo>
                  <a:cubicBezTo>
                    <a:pt x="650" y="54"/>
                    <a:pt x="622" y="87"/>
                    <a:pt x="606" y="109"/>
                  </a:cubicBezTo>
                  <a:cubicBezTo>
                    <a:pt x="591" y="128"/>
                    <a:pt x="578" y="158"/>
                    <a:pt x="536" y="167"/>
                  </a:cubicBezTo>
                  <a:cubicBezTo>
                    <a:pt x="491" y="173"/>
                    <a:pt x="485" y="157"/>
                    <a:pt x="485" y="157"/>
                  </a:cubicBezTo>
                  <a:cubicBezTo>
                    <a:pt x="462" y="167"/>
                    <a:pt x="462" y="167"/>
                    <a:pt x="462" y="167"/>
                  </a:cubicBezTo>
                  <a:cubicBezTo>
                    <a:pt x="440" y="155"/>
                    <a:pt x="440" y="155"/>
                    <a:pt x="440" y="155"/>
                  </a:cubicBezTo>
                  <a:cubicBezTo>
                    <a:pt x="440" y="155"/>
                    <a:pt x="405" y="169"/>
                    <a:pt x="391" y="164"/>
                  </a:cubicBezTo>
                  <a:cubicBezTo>
                    <a:pt x="379" y="163"/>
                    <a:pt x="376" y="156"/>
                    <a:pt x="361" y="159"/>
                  </a:cubicBezTo>
                  <a:cubicBezTo>
                    <a:pt x="349" y="166"/>
                    <a:pt x="345" y="185"/>
                    <a:pt x="307" y="187"/>
                  </a:cubicBezTo>
                  <a:cubicBezTo>
                    <a:pt x="273" y="189"/>
                    <a:pt x="241" y="168"/>
                    <a:pt x="241" y="168"/>
                  </a:cubicBezTo>
                  <a:cubicBezTo>
                    <a:pt x="215" y="167"/>
                    <a:pt x="215" y="167"/>
                    <a:pt x="215" y="167"/>
                  </a:cubicBezTo>
                  <a:cubicBezTo>
                    <a:pt x="215" y="167"/>
                    <a:pt x="193" y="155"/>
                    <a:pt x="182" y="154"/>
                  </a:cubicBezTo>
                  <a:cubicBezTo>
                    <a:pt x="170" y="153"/>
                    <a:pt x="132" y="182"/>
                    <a:pt x="113" y="178"/>
                  </a:cubicBezTo>
                  <a:cubicBezTo>
                    <a:pt x="94" y="177"/>
                    <a:pt x="80" y="172"/>
                    <a:pt x="81" y="153"/>
                  </a:cubicBezTo>
                  <a:cubicBezTo>
                    <a:pt x="85" y="134"/>
                    <a:pt x="111" y="139"/>
                    <a:pt x="108" y="120"/>
                  </a:cubicBezTo>
                  <a:cubicBezTo>
                    <a:pt x="109" y="105"/>
                    <a:pt x="97" y="112"/>
                    <a:pt x="83" y="107"/>
                  </a:cubicBezTo>
                  <a:cubicBezTo>
                    <a:pt x="75" y="107"/>
                    <a:pt x="58" y="95"/>
                    <a:pt x="43" y="90"/>
                  </a:cubicBezTo>
                  <a:cubicBezTo>
                    <a:pt x="39" y="96"/>
                    <a:pt x="34" y="101"/>
                    <a:pt x="34" y="101"/>
                  </a:cubicBezTo>
                  <a:cubicBezTo>
                    <a:pt x="34" y="101"/>
                    <a:pt x="37" y="120"/>
                    <a:pt x="29" y="131"/>
                  </a:cubicBezTo>
                  <a:cubicBezTo>
                    <a:pt x="21" y="139"/>
                    <a:pt x="10" y="142"/>
                    <a:pt x="10" y="142"/>
                  </a:cubicBezTo>
                  <a:cubicBezTo>
                    <a:pt x="0" y="195"/>
                    <a:pt x="0" y="195"/>
                    <a:pt x="0" y="195"/>
                  </a:cubicBezTo>
                  <a:cubicBezTo>
                    <a:pt x="28" y="227"/>
                    <a:pt x="28" y="227"/>
                    <a:pt x="28" y="227"/>
                  </a:cubicBezTo>
                  <a:cubicBezTo>
                    <a:pt x="38" y="262"/>
                    <a:pt x="38" y="262"/>
                    <a:pt x="38" y="262"/>
                  </a:cubicBezTo>
                  <a:cubicBezTo>
                    <a:pt x="38" y="262"/>
                    <a:pt x="79" y="271"/>
                    <a:pt x="93" y="284"/>
                  </a:cubicBezTo>
                  <a:cubicBezTo>
                    <a:pt x="111" y="296"/>
                    <a:pt x="129" y="327"/>
                    <a:pt x="129" y="327"/>
                  </a:cubicBezTo>
                  <a:cubicBezTo>
                    <a:pt x="96" y="379"/>
                    <a:pt x="96" y="379"/>
                    <a:pt x="96" y="379"/>
                  </a:cubicBezTo>
                  <a:cubicBezTo>
                    <a:pt x="96" y="379"/>
                    <a:pt x="92" y="394"/>
                    <a:pt x="84" y="398"/>
                  </a:cubicBezTo>
                  <a:cubicBezTo>
                    <a:pt x="73" y="401"/>
                    <a:pt x="58" y="393"/>
                    <a:pt x="47" y="404"/>
                  </a:cubicBezTo>
                  <a:cubicBezTo>
                    <a:pt x="31" y="415"/>
                    <a:pt x="30" y="430"/>
                    <a:pt x="30" y="430"/>
                  </a:cubicBezTo>
                  <a:cubicBezTo>
                    <a:pt x="49" y="435"/>
                    <a:pt x="49" y="435"/>
                    <a:pt x="49" y="435"/>
                  </a:cubicBezTo>
                  <a:cubicBezTo>
                    <a:pt x="36" y="468"/>
                    <a:pt x="36" y="468"/>
                    <a:pt x="36" y="468"/>
                  </a:cubicBezTo>
                  <a:cubicBezTo>
                    <a:pt x="61" y="496"/>
                    <a:pt x="61" y="496"/>
                    <a:pt x="61" y="496"/>
                  </a:cubicBezTo>
                  <a:cubicBezTo>
                    <a:pt x="33" y="537"/>
                    <a:pt x="33" y="537"/>
                    <a:pt x="33" y="537"/>
                  </a:cubicBezTo>
                  <a:cubicBezTo>
                    <a:pt x="33" y="537"/>
                    <a:pt x="55" y="550"/>
                    <a:pt x="62" y="558"/>
                  </a:cubicBezTo>
                  <a:cubicBezTo>
                    <a:pt x="69" y="569"/>
                    <a:pt x="79" y="589"/>
                    <a:pt x="94" y="586"/>
                  </a:cubicBezTo>
                  <a:cubicBezTo>
                    <a:pt x="132" y="588"/>
                    <a:pt x="132" y="588"/>
                    <a:pt x="132" y="588"/>
                  </a:cubicBezTo>
                  <a:cubicBezTo>
                    <a:pt x="133" y="634"/>
                    <a:pt x="133" y="634"/>
                    <a:pt x="133" y="634"/>
                  </a:cubicBezTo>
                  <a:cubicBezTo>
                    <a:pt x="163" y="650"/>
                    <a:pt x="163" y="650"/>
                    <a:pt x="163" y="650"/>
                  </a:cubicBezTo>
                  <a:cubicBezTo>
                    <a:pt x="150" y="680"/>
                    <a:pt x="150" y="680"/>
                    <a:pt x="150" y="680"/>
                  </a:cubicBezTo>
                  <a:cubicBezTo>
                    <a:pt x="162" y="754"/>
                    <a:pt x="162" y="754"/>
                    <a:pt x="162" y="754"/>
                  </a:cubicBezTo>
                  <a:cubicBezTo>
                    <a:pt x="199" y="751"/>
                    <a:pt x="199" y="751"/>
                    <a:pt x="199" y="751"/>
                  </a:cubicBezTo>
                  <a:cubicBezTo>
                    <a:pt x="215" y="733"/>
                    <a:pt x="215" y="733"/>
                    <a:pt x="215" y="733"/>
                  </a:cubicBezTo>
                  <a:cubicBezTo>
                    <a:pt x="233" y="742"/>
                    <a:pt x="233" y="742"/>
                    <a:pt x="233" y="742"/>
                  </a:cubicBezTo>
                  <a:cubicBezTo>
                    <a:pt x="241" y="727"/>
                    <a:pt x="241" y="727"/>
                    <a:pt x="241" y="727"/>
                  </a:cubicBezTo>
                  <a:cubicBezTo>
                    <a:pt x="282" y="729"/>
                    <a:pt x="282" y="729"/>
                    <a:pt x="282" y="729"/>
                  </a:cubicBezTo>
                  <a:cubicBezTo>
                    <a:pt x="290" y="721"/>
                    <a:pt x="290" y="721"/>
                    <a:pt x="290" y="721"/>
                  </a:cubicBezTo>
                  <a:cubicBezTo>
                    <a:pt x="302" y="718"/>
                    <a:pt x="302" y="718"/>
                    <a:pt x="302" y="718"/>
                  </a:cubicBezTo>
                  <a:cubicBezTo>
                    <a:pt x="325" y="700"/>
                    <a:pt x="325" y="700"/>
                    <a:pt x="325" y="700"/>
                  </a:cubicBezTo>
                  <a:cubicBezTo>
                    <a:pt x="332" y="712"/>
                    <a:pt x="332" y="712"/>
                    <a:pt x="332" y="712"/>
                  </a:cubicBezTo>
                  <a:cubicBezTo>
                    <a:pt x="351" y="698"/>
                    <a:pt x="351" y="698"/>
                    <a:pt x="351" y="698"/>
                  </a:cubicBezTo>
                  <a:cubicBezTo>
                    <a:pt x="348" y="678"/>
                    <a:pt x="348" y="678"/>
                    <a:pt x="348" y="678"/>
                  </a:cubicBezTo>
                  <a:cubicBezTo>
                    <a:pt x="371" y="679"/>
                    <a:pt x="371" y="679"/>
                    <a:pt x="371" y="679"/>
                  </a:cubicBezTo>
                  <a:cubicBezTo>
                    <a:pt x="379" y="668"/>
                    <a:pt x="379" y="668"/>
                    <a:pt x="379" y="668"/>
                  </a:cubicBezTo>
                  <a:cubicBezTo>
                    <a:pt x="379" y="668"/>
                    <a:pt x="389" y="688"/>
                    <a:pt x="397" y="684"/>
                  </a:cubicBezTo>
                  <a:cubicBezTo>
                    <a:pt x="405" y="677"/>
                    <a:pt x="431" y="667"/>
                    <a:pt x="431" y="667"/>
                  </a:cubicBezTo>
                  <a:cubicBezTo>
                    <a:pt x="449" y="691"/>
                    <a:pt x="449" y="691"/>
                    <a:pt x="449" y="691"/>
                  </a:cubicBezTo>
                  <a:cubicBezTo>
                    <a:pt x="464" y="688"/>
                    <a:pt x="464" y="688"/>
                    <a:pt x="464" y="688"/>
                  </a:cubicBezTo>
                  <a:cubicBezTo>
                    <a:pt x="482" y="711"/>
                    <a:pt x="482" y="711"/>
                    <a:pt x="482" y="711"/>
                  </a:cubicBezTo>
                  <a:cubicBezTo>
                    <a:pt x="501" y="693"/>
                    <a:pt x="501" y="693"/>
                    <a:pt x="501" y="693"/>
                  </a:cubicBezTo>
                  <a:cubicBezTo>
                    <a:pt x="549" y="711"/>
                    <a:pt x="549" y="711"/>
                    <a:pt x="549" y="711"/>
                  </a:cubicBezTo>
                  <a:cubicBezTo>
                    <a:pt x="549" y="711"/>
                    <a:pt x="559" y="730"/>
                    <a:pt x="567" y="727"/>
                  </a:cubicBezTo>
                  <a:cubicBezTo>
                    <a:pt x="571" y="727"/>
                    <a:pt x="655" y="689"/>
                    <a:pt x="655" y="689"/>
                  </a:cubicBezTo>
                  <a:cubicBezTo>
                    <a:pt x="677" y="694"/>
                    <a:pt x="677" y="694"/>
                    <a:pt x="677" y="694"/>
                  </a:cubicBezTo>
                  <a:cubicBezTo>
                    <a:pt x="677" y="694"/>
                    <a:pt x="711" y="684"/>
                    <a:pt x="716" y="658"/>
                  </a:cubicBezTo>
                  <a:cubicBezTo>
                    <a:pt x="717" y="627"/>
                    <a:pt x="681" y="606"/>
                    <a:pt x="689" y="595"/>
                  </a:cubicBezTo>
                  <a:cubicBezTo>
                    <a:pt x="700" y="588"/>
                    <a:pt x="738" y="586"/>
                    <a:pt x="738" y="586"/>
                  </a:cubicBezTo>
                  <a:cubicBezTo>
                    <a:pt x="738" y="586"/>
                    <a:pt x="731" y="570"/>
                    <a:pt x="743" y="563"/>
                  </a:cubicBezTo>
                  <a:cubicBezTo>
                    <a:pt x="751" y="556"/>
                    <a:pt x="769" y="568"/>
                    <a:pt x="777" y="557"/>
                  </a:cubicBezTo>
                  <a:cubicBezTo>
                    <a:pt x="781" y="542"/>
                    <a:pt x="763" y="526"/>
                    <a:pt x="775" y="519"/>
                  </a:cubicBezTo>
                  <a:cubicBezTo>
                    <a:pt x="790" y="516"/>
                    <a:pt x="812" y="528"/>
                    <a:pt x="827" y="514"/>
                  </a:cubicBezTo>
                  <a:cubicBezTo>
                    <a:pt x="847" y="499"/>
                    <a:pt x="847" y="488"/>
                    <a:pt x="855" y="481"/>
                  </a:cubicBezTo>
                  <a:cubicBezTo>
                    <a:pt x="863" y="477"/>
                    <a:pt x="866" y="489"/>
                    <a:pt x="866" y="489"/>
                  </a:cubicBezTo>
                  <a:cubicBezTo>
                    <a:pt x="866" y="489"/>
                    <a:pt x="874" y="470"/>
                    <a:pt x="889" y="471"/>
                  </a:cubicBezTo>
                  <a:cubicBezTo>
                    <a:pt x="900" y="475"/>
                    <a:pt x="914" y="499"/>
                    <a:pt x="929" y="503"/>
                  </a:cubicBezTo>
                  <a:cubicBezTo>
                    <a:pt x="948" y="504"/>
                    <a:pt x="963" y="490"/>
                    <a:pt x="963" y="490"/>
                  </a:cubicBezTo>
                  <a:cubicBezTo>
                    <a:pt x="989" y="502"/>
                    <a:pt x="989" y="502"/>
                    <a:pt x="989" y="502"/>
                  </a:cubicBezTo>
                  <a:cubicBezTo>
                    <a:pt x="990" y="483"/>
                    <a:pt x="990" y="483"/>
                    <a:pt x="990" y="483"/>
                  </a:cubicBezTo>
                  <a:cubicBezTo>
                    <a:pt x="1001" y="484"/>
                    <a:pt x="1001" y="484"/>
                    <a:pt x="1001" y="484"/>
                  </a:cubicBezTo>
                  <a:cubicBezTo>
                    <a:pt x="1020" y="477"/>
                    <a:pt x="1020" y="477"/>
                    <a:pt x="1020" y="477"/>
                  </a:cubicBezTo>
                  <a:cubicBezTo>
                    <a:pt x="988" y="441"/>
                    <a:pt x="988" y="441"/>
                    <a:pt x="988" y="441"/>
                  </a:cubicBezTo>
                  <a:cubicBezTo>
                    <a:pt x="966" y="425"/>
                    <a:pt x="966" y="425"/>
                    <a:pt x="966" y="425"/>
                  </a:cubicBezTo>
                  <a:cubicBezTo>
                    <a:pt x="963" y="405"/>
                    <a:pt x="963" y="405"/>
                    <a:pt x="963" y="405"/>
                  </a:cubicBezTo>
                  <a:cubicBezTo>
                    <a:pt x="931" y="373"/>
                    <a:pt x="931" y="373"/>
                    <a:pt x="931" y="373"/>
                  </a:cubicBezTo>
                  <a:cubicBezTo>
                    <a:pt x="931" y="373"/>
                    <a:pt x="927" y="385"/>
                    <a:pt x="919" y="392"/>
                  </a:cubicBezTo>
                  <a:cubicBezTo>
                    <a:pt x="911" y="399"/>
                    <a:pt x="893" y="391"/>
                    <a:pt x="893" y="391"/>
                  </a:cubicBezTo>
                  <a:cubicBezTo>
                    <a:pt x="909" y="357"/>
                    <a:pt x="909" y="357"/>
                    <a:pt x="909" y="357"/>
                  </a:cubicBezTo>
                  <a:cubicBezTo>
                    <a:pt x="936" y="354"/>
                    <a:pt x="936" y="354"/>
                    <a:pt x="936" y="354"/>
                  </a:cubicBezTo>
                  <a:cubicBezTo>
                    <a:pt x="937" y="320"/>
                    <a:pt x="937" y="320"/>
                    <a:pt x="937" y="320"/>
                  </a:cubicBezTo>
                  <a:cubicBezTo>
                    <a:pt x="971" y="310"/>
                    <a:pt x="971" y="310"/>
                    <a:pt x="971" y="310"/>
                  </a:cubicBezTo>
                  <a:cubicBezTo>
                    <a:pt x="971" y="310"/>
                    <a:pt x="961" y="294"/>
                    <a:pt x="958" y="268"/>
                  </a:cubicBezTo>
                  <a:cubicBezTo>
                    <a:pt x="959" y="245"/>
                    <a:pt x="957" y="206"/>
                    <a:pt x="957" y="206"/>
                  </a:cubicBezTo>
                  <a:cubicBezTo>
                    <a:pt x="928" y="205"/>
                    <a:pt x="928" y="205"/>
                    <a:pt x="928" y="205"/>
                  </a:cubicBezTo>
                  <a:cubicBezTo>
                    <a:pt x="928" y="205"/>
                    <a:pt x="965" y="199"/>
                    <a:pt x="969" y="192"/>
                  </a:cubicBezTo>
                  <a:cubicBezTo>
                    <a:pt x="973" y="184"/>
                    <a:pt x="956" y="164"/>
                    <a:pt x="982" y="150"/>
                  </a:cubicBezTo>
                  <a:cubicBezTo>
                    <a:pt x="1010" y="132"/>
                    <a:pt x="1035" y="145"/>
                    <a:pt x="1035" y="145"/>
                  </a:cubicBezTo>
                  <a:cubicBezTo>
                    <a:pt x="1059" y="104"/>
                    <a:pt x="1059" y="104"/>
                    <a:pt x="1059" y="104"/>
                  </a:cubicBezTo>
                  <a:cubicBezTo>
                    <a:pt x="1059" y="104"/>
                    <a:pt x="1049" y="92"/>
                    <a:pt x="1046" y="80"/>
                  </a:cubicBezTo>
                  <a:cubicBezTo>
                    <a:pt x="1042" y="73"/>
                    <a:pt x="1039" y="61"/>
                    <a:pt x="1039" y="61"/>
                  </a:cubicBezTo>
                  <a:cubicBezTo>
                    <a:pt x="1039" y="61"/>
                    <a:pt x="998" y="67"/>
                    <a:pt x="983" y="6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9" name="Freeform 493">
              <a:extLst>
                <a:ext uri="{FF2B5EF4-FFF2-40B4-BE49-F238E27FC236}">
                  <a16:creationId xmlns:a16="http://schemas.microsoft.com/office/drawing/2014/main" id="{5D186B11-CA07-2541-4AE8-0637749765ED}"/>
                </a:ext>
              </a:extLst>
            </p:cNvPr>
            <p:cNvSpPr>
              <a:spLocks/>
            </p:cNvSpPr>
            <p:nvPr/>
          </p:nvSpPr>
          <p:spPr bwMode="gray">
            <a:xfrm>
              <a:off x="11320307" y="5138963"/>
              <a:ext cx="12586" cy="17980"/>
            </a:xfrm>
            <a:custGeom>
              <a:avLst/>
              <a:gdLst>
                <a:gd name="T0" fmla="*/ 7 w 7"/>
                <a:gd name="T1" fmla="*/ 7 h 10"/>
                <a:gd name="T2" fmla="*/ 5 w 7"/>
                <a:gd name="T3" fmla="*/ 0 h 10"/>
                <a:gd name="T4" fmla="*/ 0 w 7"/>
                <a:gd name="T5" fmla="*/ 5 h 10"/>
                <a:gd name="T6" fmla="*/ 2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5" y="0"/>
                  </a:lnTo>
                  <a:lnTo>
                    <a:pt x="0" y="5"/>
                  </a:lnTo>
                  <a:lnTo>
                    <a:pt x="2" y="10"/>
                  </a:lnTo>
                  <a:lnTo>
                    <a:pt x="7"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0" name="Freeform 494">
              <a:extLst>
                <a:ext uri="{FF2B5EF4-FFF2-40B4-BE49-F238E27FC236}">
                  <a16:creationId xmlns:a16="http://schemas.microsoft.com/office/drawing/2014/main" id="{95F66677-BCBF-2B88-702F-BC7F657738CF}"/>
                </a:ext>
              </a:extLst>
            </p:cNvPr>
            <p:cNvSpPr>
              <a:spLocks/>
            </p:cNvSpPr>
            <p:nvPr/>
          </p:nvSpPr>
          <p:spPr bwMode="gray">
            <a:xfrm>
              <a:off x="11284346" y="5369104"/>
              <a:ext cx="23374" cy="30566"/>
            </a:xfrm>
            <a:custGeom>
              <a:avLst/>
              <a:gdLst>
                <a:gd name="T0" fmla="*/ 0 w 13"/>
                <a:gd name="T1" fmla="*/ 12 h 17"/>
                <a:gd name="T2" fmla="*/ 11 w 13"/>
                <a:gd name="T3" fmla="*/ 17 h 17"/>
                <a:gd name="T4" fmla="*/ 13 w 13"/>
                <a:gd name="T5" fmla="*/ 9 h 17"/>
                <a:gd name="T6" fmla="*/ 2 w 13"/>
                <a:gd name="T7" fmla="*/ 0 h 17"/>
                <a:gd name="T8" fmla="*/ 0 w 13"/>
                <a:gd name="T9" fmla="*/ 12 h 17"/>
              </a:gdLst>
              <a:ahLst/>
              <a:cxnLst>
                <a:cxn ang="0">
                  <a:pos x="T0" y="T1"/>
                </a:cxn>
                <a:cxn ang="0">
                  <a:pos x="T2" y="T3"/>
                </a:cxn>
                <a:cxn ang="0">
                  <a:pos x="T4" y="T5"/>
                </a:cxn>
                <a:cxn ang="0">
                  <a:pos x="T6" y="T7"/>
                </a:cxn>
                <a:cxn ang="0">
                  <a:pos x="T8" y="T9"/>
                </a:cxn>
              </a:cxnLst>
              <a:rect l="0" t="0" r="r" b="b"/>
              <a:pathLst>
                <a:path w="13" h="17">
                  <a:moveTo>
                    <a:pt x="0" y="12"/>
                  </a:moveTo>
                  <a:lnTo>
                    <a:pt x="11" y="17"/>
                  </a:lnTo>
                  <a:lnTo>
                    <a:pt x="13" y="9"/>
                  </a:lnTo>
                  <a:lnTo>
                    <a:pt x="2" y="0"/>
                  </a:lnTo>
                  <a:lnTo>
                    <a:pt x="0"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1" name="Freeform 495">
              <a:extLst>
                <a:ext uri="{FF2B5EF4-FFF2-40B4-BE49-F238E27FC236}">
                  <a16:creationId xmlns:a16="http://schemas.microsoft.com/office/drawing/2014/main" id="{FE030945-319F-4B60-29DD-A535BD03AE72}"/>
                </a:ext>
              </a:extLst>
            </p:cNvPr>
            <p:cNvSpPr>
              <a:spLocks/>
            </p:cNvSpPr>
            <p:nvPr/>
          </p:nvSpPr>
          <p:spPr bwMode="gray">
            <a:xfrm>
              <a:off x="11323902" y="5171326"/>
              <a:ext cx="17980" cy="16183"/>
            </a:xfrm>
            <a:custGeom>
              <a:avLst/>
              <a:gdLst>
                <a:gd name="T0" fmla="*/ 3 w 10"/>
                <a:gd name="T1" fmla="*/ 9 h 9"/>
                <a:gd name="T2" fmla="*/ 10 w 10"/>
                <a:gd name="T3" fmla="*/ 0 h 9"/>
                <a:gd name="T4" fmla="*/ 0 w 10"/>
                <a:gd name="T5" fmla="*/ 0 h 9"/>
                <a:gd name="T6" fmla="*/ 3 w 10"/>
                <a:gd name="T7" fmla="*/ 9 h 9"/>
              </a:gdLst>
              <a:ahLst/>
              <a:cxnLst>
                <a:cxn ang="0">
                  <a:pos x="T0" y="T1"/>
                </a:cxn>
                <a:cxn ang="0">
                  <a:pos x="T2" y="T3"/>
                </a:cxn>
                <a:cxn ang="0">
                  <a:pos x="T4" y="T5"/>
                </a:cxn>
                <a:cxn ang="0">
                  <a:pos x="T6" y="T7"/>
                </a:cxn>
              </a:cxnLst>
              <a:rect l="0" t="0" r="r" b="b"/>
              <a:pathLst>
                <a:path w="10" h="9">
                  <a:moveTo>
                    <a:pt x="3" y="9"/>
                  </a:moveTo>
                  <a:lnTo>
                    <a:pt x="10" y="0"/>
                  </a:lnTo>
                  <a:lnTo>
                    <a:pt x="0" y="0"/>
                  </a:lnTo>
                  <a:lnTo>
                    <a:pt x="3"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2" name="Freeform 496">
              <a:extLst>
                <a:ext uri="{FF2B5EF4-FFF2-40B4-BE49-F238E27FC236}">
                  <a16:creationId xmlns:a16="http://schemas.microsoft.com/office/drawing/2014/main" id="{448F9057-E9FE-FC05-09F1-161681B3D298}"/>
                </a:ext>
              </a:extLst>
            </p:cNvPr>
            <p:cNvSpPr>
              <a:spLocks/>
            </p:cNvSpPr>
            <p:nvPr/>
          </p:nvSpPr>
          <p:spPr bwMode="gray">
            <a:xfrm>
              <a:off x="11687093" y="5183911"/>
              <a:ext cx="17980" cy="5395"/>
            </a:xfrm>
            <a:custGeom>
              <a:avLst/>
              <a:gdLst>
                <a:gd name="T0" fmla="*/ 0 w 10"/>
                <a:gd name="T1" fmla="*/ 3 h 3"/>
                <a:gd name="T2" fmla="*/ 7 w 10"/>
                <a:gd name="T3" fmla="*/ 3 h 3"/>
                <a:gd name="T4" fmla="*/ 10 w 10"/>
                <a:gd name="T5" fmla="*/ 1 h 3"/>
                <a:gd name="T6" fmla="*/ 0 w 10"/>
                <a:gd name="T7" fmla="*/ 0 h 3"/>
                <a:gd name="T8" fmla="*/ 0 w 10"/>
                <a:gd name="T9" fmla="*/ 3 h 3"/>
              </a:gdLst>
              <a:ahLst/>
              <a:cxnLst>
                <a:cxn ang="0">
                  <a:pos x="T0" y="T1"/>
                </a:cxn>
                <a:cxn ang="0">
                  <a:pos x="T2" y="T3"/>
                </a:cxn>
                <a:cxn ang="0">
                  <a:pos x="T4" y="T5"/>
                </a:cxn>
                <a:cxn ang="0">
                  <a:pos x="T6" y="T7"/>
                </a:cxn>
                <a:cxn ang="0">
                  <a:pos x="T8" y="T9"/>
                </a:cxn>
              </a:cxnLst>
              <a:rect l="0" t="0" r="r" b="b"/>
              <a:pathLst>
                <a:path w="10" h="3">
                  <a:moveTo>
                    <a:pt x="0" y="3"/>
                  </a:moveTo>
                  <a:lnTo>
                    <a:pt x="7" y="3"/>
                  </a:lnTo>
                  <a:lnTo>
                    <a:pt x="10" y="1"/>
                  </a:lnTo>
                  <a:lnTo>
                    <a:pt x="0"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3" name="Freeform 497">
              <a:extLst>
                <a:ext uri="{FF2B5EF4-FFF2-40B4-BE49-F238E27FC236}">
                  <a16:creationId xmlns:a16="http://schemas.microsoft.com/office/drawing/2014/main" id="{9BA81404-956A-F8B0-C328-4953F5C66E8D}"/>
                </a:ext>
              </a:extLst>
            </p:cNvPr>
            <p:cNvSpPr>
              <a:spLocks/>
            </p:cNvSpPr>
            <p:nvPr/>
          </p:nvSpPr>
          <p:spPr bwMode="gray">
            <a:xfrm>
              <a:off x="11710467" y="5160538"/>
              <a:ext cx="14383" cy="8991"/>
            </a:xfrm>
            <a:custGeom>
              <a:avLst/>
              <a:gdLst>
                <a:gd name="T0" fmla="*/ 5 w 8"/>
                <a:gd name="T1" fmla="*/ 5 h 5"/>
                <a:gd name="T2" fmla="*/ 8 w 8"/>
                <a:gd name="T3" fmla="*/ 3 h 5"/>
                <a:gd name="T4" fmla="*/ 0 w 8"/>
                <a:gd name="T5" fmla="*/ 0 h 5"/>
                <a:gd name="T6" fmla="*/ 5 w 8"/>
                <a:gd name="T7" fmla="*/ 5 h 5"/>
              </a:gdLst>
              <a:ahLst/>
              <a:cxnLst>
                <a:cxn ang="0">
                  <a:pos x="T0" y="T1"/>
                </a:cxn>
                <a:cxn ang="0">
                  <a:pos x="T2" y="T3"/>
                </a:cxn>
                <a:cxn ang="0">
                  <a:pos x="T4" y="T5"/>
                </a:cxn>
                <a:cxn ang="0">
                  <a:pos x="T6" y="T7"/>
                </a:cxn>
              </a:cxnLst>
              <a:rect l="0" t="0" r="r" b="b"/>
              <a:pathLst>
                <a:path w="8" h="5">
                  <a:moveTo>
                    <a:pt x="5" y="5"/>
                  </a:moveTo>
                  <a:lnTo>
                    <a:pt x="8" y="3"/>
                  </a:lnTo>
                  <a:lnTo>
                    <a:pt x="0"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4" name="Freeform 498">
              <a:extLst>
                <a:ext uri="{FF2B5EF4-FFF2-40B4-BE49-F238E27FC236}">
                  <a16:creationId xmlns:a16="http://schemas.microsoft.com/office/drawing/2014/main" id="{CC54F866-90AF-A64B-1AD0-19E1980AF866}"/>
                </a:ext>
              </a:extLst>
            </p:cNvPr>
            <p:cNvSpPr>
              <a:spLocks/>
            </p:cNvSpPr>
            <p:nvPr/>
          </p:nvSpPr>
          <p:spPr bwMode="gray">
            <a:xfrm>
              <a:off x="11009257" y="5174923"/>
              <a:ext cx="44950" cy="43151"/>
            </a:xfrm>
            <a:custGeom>
              <a:avLst/>
              <a:gdLst>
                <a:gd name="T0" fmla="*/ 0 w 25"/>
                <a:gd name="T1" fmla="*/ 5 h 24"/>
                <a:gd name="T2" fmla="*/ 4 w 25"/>
                <a:gd name="T3" fmla="*/ 15 h 24"/>
                <a:gd name="T4" fmla="*/ 19 w 25"/>
                <a:gd name="T5" fmla="*/ 24 h 24"/>
                <a:gd name="T6" fmla="*/ 19 w 25"/>
                <a:gd name="T7" fmla="*/ 16 h 24"/>
                <a:gd name="T8" fmla="*/ 25 w 25"/>
                <a:gd name="T9" fmla="*/ 12 h 24"/>
                <a:gd name="T10" fmla="*/ 6 w 25"/>
                <a:gd name="T11" fmla="*/ 0 h 24"/>
                <a:gd name="T12" fmla="*/ 0 w 25"/>
                <a:gd name="T13" fmla="*/ 5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0" y="5"/>
                  </a:moveTo>
                  <a:lnTo>
                    <a:pt x="4" y="15"/>
                  </a:lnTo>
                  <a:lnTo>
                    <a:pt x="19" y="24"/>
                  </a:lnTo>
                  <a:lnTo>
                    <a:pt x="19" y="16"/>
                  </a:lnTo>
                  <a:lnTo>
                    <a:pt x="25" y="12"/>
                  </a:lnTo>
                  <a:lnTo>
                    <a:pt x="6"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5" name="Freeform 499">
              <a:extLst>
                <a:ext uri="{FF2B5EF4-FFF2-40B4-BE49-F238E27FC236}">
                  <a16:creationId xmlns:a16="http://schemas.microsoft.com/office/drawing/2014/main" id="{972C6AC9-16BD-4D1A-165A-1C96CF6636CD}"/>
                </a:ext>
              </a:extLst>
            </p:cNvPr>
            <p:cNvSpPr>
              <a:spLocks/>
            </p:cNvSpPr>
            <p:nvPr/>
          </p:nvSpPr>
          <p:spPr bwMode="gray">
            <a:xfrm>
              <a:off x="11667317" y="5111993"/>
              <a:ext cx="53939" cy="34162"/>
            </a:xfrm>
            <a:custGeom>
              <a:avLst/>
              <a:gdLst>
                <a:gd name="T0" fmla="*/ 14 w 91"/>
                <a:gd name="T1" fmla="*/ 44 h 57"/>
                <a:gd name="T2" fmla="*/ 26 w 91"/>
                <a:gd name="T3" fmla="*/ 37 h 57"/>
                <a:gd name="T4" fmla="*/ 59 w 91"/>
                <a:gd name="T5" fmla="*/ 53 h 57"/>
                <a:gd name="T6" fmla="*/ 86 w 91"/>
                <a:gd name="T7" fmla="*/ 28 h 57"/>
                <a:gd name="T8" fmla="*/ 91 w 91"/>
                <a:gd name="T9" fmla="*/ 9 h 57"/>
                <a:gd name="T10" fmla="*/ 76 w 91"/>
                <a:gd name="T11" fmla="*/ 8 h 57"/>
                <a:gd name="T12" fmla="*/ 75 w 91"/>
                <a:gd name="T13" fmla="*/ 16 h 57"/>
                <a:gd name="T14" fmla="*/ 38 w 91"/>
                <a:gd name="T15" fmla="*/ 10 h 57"/>
                <a:gd name="T16" fmla="*/ 0 w 91"/>
                <a:gd name="T17" fmla="*/ 32 h 57"/>
                <a:gd name="T18" fmla="*/ 3 w 91"/>
                <a:gd name="T19" fmla="*/ 51 h 57"/>
                <a:gd name="T20" fmla="*/ 14 w 91"/>
                <a:gd name="T21" fmla="*/ 4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57">
                  <a:moveTo>
                    <a:pt x="14" y="44"/>
                  </a:moveTo>
                  <a:cubicBezTo>
                    <a:pt x="26" y="37"/>
                    <a:pt x="26" y="37"/>
                    <a:pt x="26" y="37"/>
                  </a:cubicBezTo>
                  <a:cubicBezTo>
                    <a:pt x="26" y="37"/>
                    <a:pt x="47" y="57"/>
                    <a:pt x="59" y="53"/>
                  </a:cubicBezTo>
                  <a:cubicBezTo>
                    <a:pt x="66" y="50"/>
                    <a:pt x="86" y="28"/>
                    <a:pt x="86" y="28"/>
                  </a:cubicBezTo>
                  <a:cubicBezTo>
                    <a:pt x="91" y="9"/>
                    <a:pt x="91" y="9"/>
                    <a:pt x="91" y="9"/>
                  </a:cubicBezTo>
                  <a:cubicBezTo>
                    <a:pt x="76" y="8"/>
                    <a:pt x="76" y="8"/>
                    <a:pt x="76" y="8"/>
                  </a:cubicBezTo>
                  <a:cubicBezTo>
                    <a:pt x="75" y="16"/>
                    <a:pt x="75" y="16"/>
                    <a:pt x="75" y="16"/>
                  </a:cubicBezTo>
                  <a:cubicBezTo>
                    <a:pt x="75" y="16"/>
                    <a:pt x="61" y="0"/>
                    <a:pt x="38" y="10"/>
                  </a:cubicBezTo>
                  <a:cubicBezTo>
                    <a:pt x="15" y="21"/>
                    <a:pt x="0" y="32"/>
                    <a:pt x="0" y="32"/>
                  </a:cubicBezTo>
                  <a:cubicBezTo>
                    <a:pt x="3" y="51"/>
                    <a:pt x="3" y="51"/>
                    <a:pt x="3" y="51"/>
                  </a:cubicBezTo>
                  <a:lnTo>
                    <a:pt x="14" y="4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6" name="Freeform 500">
              <a:extLst>
                <a:ext uri="{FF2B5EF4-FFF2-40B4-BE49-F238E27FC236}">
                  <a16:creationId xmlns:a16="http://schemas.microsoft.com/office/drawing/2014/main" id="{B2E95DE1-8B34-7546-1FAD-A48DC5F7B503}"/>
                </a:ext>
              </a:extLst>
            </p:cNvPr>
            <p:cNvSpPr>
              <a:spLocks/>
            </p:cNvSpPr>
            <p:nvPr/>
          </p:nvSpPr>
          <p:spPr bwMode="gray">
            <a:xfrm>
              <a:off x="11818347" y="5279205"/>
              <a:ext cx="62930" cy="88101"/>
            </a:xfrm>
            <a:custGeom>
              <a:avLst/>
              <a:gdLst>
                <a:gd name="T0" fmla="*/ 59 w 104"/>
                <a:gd name="T1" fmla="*/ 21 h 146"/>
                <a:gd name="T2" fmla="*/ 35 w 104"/>
                <a:gd name="T3" fmla="*/ 50 h 146"/>
                <a:gd name="T4" fmla="*/ 20 w 104"/>
                <a:gd name="T5" fmla="*/ 61 h 146"/>
                <a:gd name="T6" fmla="*/ 19 w 104"/>
                <a:gd name="T7" fmla="*/ 72 h 146"/>
                <a:gd name="T8" fmla="*/ 7 w 104"/>
                <a:gd name="T9" fmla="*/ 87 h 146"/>
                <a:gd name="T10" fmla="*/ 22 w 104"/>
                <a:gd name="T11" fmla="*/ 99 h 146"/>
                <a:gd name="T12" fmla="*/ 21 w 104"/>
                <a:gd name="T13" fmla="*/ 122 h 146"/>
                <a:gd name="T14" fmla="*/ 27 w 104"/>
                <a:gd name="T15" fmla="*/ 145 h 146"/>
                <a:gd name="T16" fmla="*/ 58 w 104"/>
                <a:gd name="T17" fmla="*/ 113 h 146"/>
                <a:gd name="T18" fmla="*/ 74 w 104"/>
                <a:gd name="T19" fmla="*/ 94 h 146"/>
                <a:gd name="T20" fmla="*/ 85 w 104"/>
                <a:gd name="T21" fmla="*/ 95 h 146"/>
                <a:gd name="T22" fmla="*/ 90 w 104"/>
                <a:gd name="T23" fmla="*/ 83 h 146"/>
                <a:gd name="T24" fmla="*/ 83 w 104"/>
                <a:gd name="T25" fmla="*/ 75 h 146"/>
                <a:gd name="T26" fmla="*/ 95 w 104"/>
                <a:gd name="T27" fmla="*/ 57 h 146"/>
                <a:gd name="T28" fmla="*/ 104 w 104"/>
                <a:gd name="T29" fmla="*/ 19 h 146"/>
                <a:gd name="T30" fmla="*/ 97 w 104"/>
                <a:gd name="T31" fmla="*/ 0 h 146"/>
                <a:gd name="T32" fmla="*/ 59 w 104"/>
                <a:gd name="T33" fmla="*/ 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46">
                  <a:moveTo>
                    <a:pt x="59" y="21"/>
                  </a:moveTo>
                  <a:cubicBezTo>
                    <a:pt x="43" y="31"/>
                    <a:pt x="35" y="50"/>
                    <a:pt x="35" y="50"/>
                  </a:cubicBezTo>
                  <a:cubicBezTo>
                    <a:pt x="35" y="50"/>
                    <a:pt x="20" y="57"/>
                    <a:pt x="20" y="61"/>
                  </a:cubicBezTo>
                  <a:cubicBezTo>
                    <a:pt x="19" y="72"/>
                    <a:pt x="19" y="72"/>
                    <a:pt x="19" y="72"/>
                  </a:cubicBezTo>
                  <a:cubicBezTo>
                    <a:pt x="19" y="72"/>
                    <a:pt x="0" y="79"/>
                    <a:pt x="7" y="87"/>
                  </a:cubicBezTo>
                  <a:cubicBezTo>
                    <a:pt x="15" y="91"/>
                    <a:pt x="22" y="99"/>
                    <a:pt x="22" y="99"/>
                  </a:cubicBezTo>
                  <a:cubicBezTo>
                    <a:pt x="21" y="122"/>
                    <a:pt x="21" y="122"/>
                    <a:pt x="21" y="122"/>
                  </a:cubicBezTo>
                  <a:cubicBezTo>
                    <a:pt x="20" y="130"/>
                    <a:pt x="27" y="145"/>
                    <a:pt x="27" y="145"/>
                  </a:cubicBezTo>
                  <a:cubicBezTo>
                    <a:pt x="38" y="146"/>
                    <a:pt x="54" y="120"/>
                    <a:pt x="58" y="113"/>
                  </a:cubicBezTo>
                  <a:cubicBezTo>
                    <a:pt x="63" y="105"/>
                    <a:pt x="74" y="94"/>
                    <a:pt x="74" y="94"/>
                  </a:cubicBezTo>
                  <a:cubicBezTo>
                    <a:pt x="85" y="95"/>
                    <a:pt x="85" y="95"/>
                    <a:pt x="85" y="95"/>
                  </a:cubicBezTo>
                  <a:cubicBezTo>
                    <a:pt x="90" y="83"/>
                    <a:pt x="90" y="83"/>
                    <a:pt x="90" y="83"/>
                  </a:cubicBezTo>
                  <a:cubicBezTo>
                    <a:pt x="90" y="83"/>
                    <a:pt x="82" y="83"/>
                    <a:pt x="83" y="75"/>
                  </a:cubicBezTo>
                  <a:cubicBezTo>
                    <a:pt x="87" y="64"/>
                    <a:pt x="95" y="57"/>
                    <a:pt x="95" y="57"/>
                  </a:cubicBezTo>
                  <a:cubicBezTo>
                    <a:pt x="95" y="57"/>
                    <a:pt x="103" y="31"/>
                    <a:pt x="104" y="19"/>
                  </a:cubicBezTo>
                  <a:cubicBezTo>
                    <a:pt x="104" y="8"/>
                    <a:pt x="97" y="0"/>
                    <a:pt x="97" y="0"/>
                  </a:cubicBezTo>
                  <a:cubicBezTo>
                    <a:pt x="97" y="0"/>
                    <a:pt x="71" y="10"/>
                    <a:pt x="59"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7" name="Freeform 501">
              <a:extLst>
                <a:ext uri="{FF2B5EF4-FFF2-40B4-BE49-F238E27FC236}">
                  <a16:creationId xmlns:a16="http://schemas.microsoft.com/office/drawing/2014/main" id="{A5AAE54F-D4CD-D20C-DD23-D31090EE4178}"/>
                </a:ext>
              </a:extLst>
            </p:cNvPr>
            <p:cNvSpPr>
              <a:spLocks/>
            </p:cNvSpPr>
            <p:nvPr/>
          </p:nvSpPr>
          <p:spPr bwMode="gray">
            <a:xfrm>
              <a:off x="10886994" y="4919610"/>
              <a:ext cx="59334" cy="64727"/>
            </a:xfrm>
            <a:custGeom>
              <a:avLst/>
              <a:gdLst>
                <a:gd name="T0" fmla="*/ 62 w 98"/>
                <a:gd name="T1" fmla="*/ 73 h 110"/>
                <a:gd name="T2" fmla="*/ 63 w 98"/>
                <a:gd name="T3" fmla="*/ 51 h 110"/>
                <a:gd name="T4" fmla="*/ 42 w 98"/>
                <a:gd name="T5" fmla="*/ 34 h 110"/>
                <a:gd name="T6" fmla="*/ 57 w 98"/>
                <a:gd name="T7" fmla="*/ 27 h 110"/>
                <a:gd name="T8" fmla="*/ 20 w 98"/>
                <a:gd name="T9" fmla="*/ 10 h 110"/>
                <a:gd name="T10" fmla="*/ 15 w 98"/>
                <a:gd name="T11" fmla="*/ 48 h 110"/>
                <a:gd name="T12" fmla="*/ 40 w 98"/>
                <a:gd name="T13" fmla="*/ 69 h 110"/>
                <a:gd name="T14" fmla="*/ 47 w 98"/>
                <a:gd name="T15" fmla="*/ 92 h 110"/>
                <a:gd name="T16" fmla="*/ 98 w 98"/>
                <a:gd name="T17" fmla="*/ 110 h 110"/>
                <a:gd name="T18" fmla="*/ 84 w 98"/>
                <a:gd name="T19" fmla="*/ 86 h 110"/>
                <a:gd name="T20" fmla="*/ 62 w 98"/>
                <a:gd name="T21" fmla="*/ 7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110">
                  <a:moveTo>
                    <a:pt x="62" y="73"/>
                  </a:moveTo>
                  <a:cubicBezTo>
                    <a:pt x="56" y="58"/>
                    <a:pt x="63" y="51"/>
                    <a:pt x="63" y="51"/>
                  </a:cubicBezTo>
                  <a:cubicBezTo>
                    <a:pt x="42" y="34"/>
                    <a:pt x="42" y="34"/>
                    <a:pt x="42" y="34"/>
                  </a:cubicBezTo>
                  <a:cubicBezTo>
                    <a:pt x="42" y="34"/>
                    <a:pt x="57" y="39"/>
                    <a:pt x="57" y="27"/>
                  </a:cubicBezTo>
                  <a:cubicBezTo>
                    <a:pt x="58" y="12"/>
                    <a:pt x="43" y="0"/>
                    <a:pt x="20" y="10"/>
                  </a:cubicBezTo>
                  <a:cubicBezTo>
                    <a:pt x="1" y="21"/>
                    <a:pt x="0" y="40"/>
                    <a:pt x="15" y="48"/>
                  </a:cubicBezTo>
                  <a:cubicBezTo>
                    <a:pt x="26" y="56"/>
                    <a:pt x="40" y="69"/>
                    <a:pt x="40" y="69"/>
                  </a:cubicBezTo>
                  <a:cubicBezTo>
                    <a:pt x="40" y="69"/>
                    <a:pt x="32" y="83"/>
                    <a:pt x="47" y="92"/>
                  </a:cubicBezTo>
                  <a:cubicBezTo>
                    <a:pt x="98" y="110"/>
                    <a:pt x="98" y="110"/>
                    <a:pt x="98" y="110"/>
                  </a:cubicBezTo>
                  <a:cubicBezTo>
                    <a:pt x="84" y="86"/>
                    <a:pt x="84" y="86"/>
                    <a:pt x="84" y="86"/>
                  </a:cubicBezTo>
                  <a:cubicBezTo>
                    <a:pt x="84" y="86"/>
                    <a:pt x="69" y="89"/>
                    <a:pt x="62" y="7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8" name="Freeform 502">
              <a:extLst>
                <a:ext uri="{FF2B5EF4-FFF2-40B4-BE49-F238E27FC236}">
                  <a16:creationId xmlns:a16="http://schemas.microsoft.com/office/drawing/2014/main" id="{1A9BE4F9-2B00-8CC5-BA1A-9E111361EE24}"/>
                </a:ext>
              </a:extLst>
            </p:cNvPr>
            <p:cNvSpPr>
              <a:spLocks/>
            </p:cNvSpPr>
            <p:nvPr/>
          </p:nvSpPr>
          <p:spPr bwMode="gray">
            <a:xfrm>
              <a:off x="10980489" y="5103003"/>
              <a:ext cx="46747" cy="57535"/>
            </a:xfrm>
            <a:custGeom>
              <a:avLst/>
              <a:gdLst>
                <a:gd name="T0" fmla="*/ 67 w 79"/>
                <a:gd name="T1" fmla="*/ 93 h 96"/>
                <a:gd name="T2" fmla="*/ 62 w 79"/>
                <a:gd name="T3" fmla="*/ 47 h 96"/>
                <a:gd name="T4" fmla="*/ 30 w 79"/>
                <a:gd name="T5" fmla="*/ 0 h 96"/>
                <a:gd name="T6" fmla="*/ 23 w 79"/>
                <a:gd name="T7" fmla="*/ 3 h 96"/>
                <a:gd name="T8" fmla="*/ 22 w 79"/>
                <a:gd name="T9" fmla="*/ 22 h 96"/>
                <a:gd name="T10" fmla="*/ 10 w 79"/>
                <a:gd name="T11" fmla="*/ 29 h 96"/>
                <a:gd name="T12" fmla="*/ 19 w 79"/>
                <a:gd name="T13" fmla="*/ 83 h 96"/>
                <a:gd name="T14" fmla="*/ 53 w 79"/>
                <a:gd name="T15" fmla="*/ 81 h 96"/>
                <a:gd name="T16" fmla="*/ 67 w 79"/>
                <a:gd name="T17" fmla="*/ 9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96">
                  <a:moveTo>
                    <a:pt x="67" y="93"/>
                  </a:moveTo>
                  <a:cubicBezTo>
                    <a:pt x="79" y="86"/>
                    <a:pt x="76" y="67"/>
                    <a:pt x="62" y="47"/>
                  </a:cubicBezTo>
                  <a:cubicBezTo>
                    <a:pt x="48" y="27"/>
                    <a:pt x="30" y="0"/>
                    <a:pt x="30" y="0"/>
                  </a:cubicBezTo>
                  <a:cubicBezTo>
                    <a:pt x="23" y="3"/>
                    <a:pt x="23" y="3"/>
                    <a:pt x="23" y="3"/>
                  </a:cubicBezTo>
                  <a:cubicBezTo>
                    <a:pt x="22" y="22"/>
                    <a:pt x="22" y="22"/>
                    <a:pt x="22" y="22"/>
                  </a:cubicBezTo>
                  <a:cubicBezTo>
                    <a:pt x="10" y="29"/>
                    <a:pt x="10" y="29"/>
                    <a:pt x="10" y="29"/>
                  </a:cubicBezTo>
                  <a:cubicBezTo>
                    <a:pt x="10" y="29"/>
                    <a:pt x="0" y="83"/>
                    <a:pt x="19" y="83"/>
                  </a:cubicBezTo>
                  <a:cubicBezTo>
                    <a:pt x="34" y="84"/>
                    <a:pt x="53" y="81"/>
                    <a:pt x="53" y="81"/>
                  </a:cubicBezTo>
                  <a:cubicBezTo>
                    <a:pt x="53" y="81"/>
                    <a:pt x="52" y="96"/>
                    <a:pt x="67" y="9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9" name="Freeform 503">
              <a:extLst>
                <a:ext uri="{FF2B5EF4-FFF2-40B4-BE49-F238E27FC236}">
                  <a16:creationId xmlns:a16="http://schemas.microsoft.com/office/drawing/2014/main" id="{B42FE143-57BB-1E9B-8890-8337DF3C73B5}"/>
                </a:ext>
              </a:extLst>
            </p:cNvPr>
            <p:cNvSpPr>
              <a:spLocks/>
            </p:cNvSpPr>
            <p:nvPr/>
          </p:nvSpPr>
          <p:spPr bwMode="gray">
            <a:xfrm>
              <a:off x="10969701" y="5115589"/>
              <a:ext cx="10788" cy="30566"/>
            </a:xfrm>
            <a:custGeom>
              <a:avLst/>
              <a:gdLst>
                <a:gd name="T0" fmla="*/ 0 w 6"/>
                <a:gd name="T1" fmla="*/ 9 h 17"/>
                <a:gd name="T2" fmla="*/ 0 w 6"/>
                <a:gd name="T3" fmla="*/ 15 h 17"/>
                <a:gd name="T4" fmla="*/ 4 w 6"/>
                <a:gd name="T5" fmla="*/ 17 h 17"/>
                <a:gd name="T6" fmla="*/ 6 w 6"/>
                <a:gd name="T7" fmla="*/ 4 h 17"/>
                <a:gd name="T8" fmla="*/ 5 w 6"/>
                <a:gd name="T9" fmla="*/ 0 h 17"/>
                <a:gd name="T10" fmla="*/ 0 w 6"/>
                <a:gd name="T11" fmla="*/ 9 h 17"/>
              </a:gdLst>
              <a:ahLst/>
              <a:cxnLst>
                <a:cxn ang="0">
                  <a:pos x="T0" y="T1"/>
                </a:cxn>
                <a:cxn ang="0">
                  <a:pos x="T2" y="T3"/>
                </a:cxn>
                <a:cxn ang="0">
                  <a:pos x="T4" y="T5"/>
                </a:cxn>
                <a:cxn ang="0">
                  <a:pos x="T6" y="T7"/>
                </a:cxn>
                <a:cxn ang="0">
                  <a:pos x="T8" y="T9"/>
                </a:cxn>
                <a:cxn ang="0">
                  <a:pos x="T10" y="T11"/>
                </a:cxn>
              </a:cxnLst>
              <a:rect l="0" t="0" r="r" b="b"/>
              <a:pathLst>
                <a:path w="6" h="17">
                  <a:moveTo>
                    <a:pt x="0" y="9"/>
                  </a:moveTo>
                  <a:lnTo>
                    <a:pt x="0" y="15"/>
                  </a:lnTo>
                  <a:lnTo>
                    <a:pt x="4" y="17"/>
                  </a:lnTo>
                  <a:lnTo>
                    <a:pt x="6" y="4"/>
                  </a:lnTo>
                  <a:lnTo>
                    <a:pt x="5" y="0"/>
                  </a:lnTo>
                  <a:lnTo>
                    <a:pt x="0"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0" name="Freeform 504">
              <a:extLst>
                <a:ext uri="{FF2B5EF4-FFF2-40B4-BE49-F238E27FC236}">
                  <a16:creationId xmlns:a16="http://schemas.microsoft.com/office/drawing/2014/main" id="{FC96BADD-3B7B-D2C3-2F8C-2DE18E81AF4B}"/>
                </a:ext>
              </a:extLst>
            </p:cNvPr>
            <p:cNvSpPr>
              <a:spLocks/>
            </p:cNvSpPr>
            <p:nvPr/>
          </p:nvSpPr>
          <p:spPr bwMode="gray">
            <a:xfrm>
              <a:off x="11009257" y="5097608"/>
              <a:ext cx="28768" cy="34162"/>
            </a:xfrm>
            <a:custGeom>
              <a:avLst/>
              <a:gdLst>
                <a:gd name="T0" fmla="*/ 17 w 47"/>
                <a:gd name="T1" fmla="*/ 46 h 58"/>
                <a:gd name="T2" fmla="*/ 39 w 47"/>
                <a:gd name="T3" fmla="*/ 58 h 58"/>
                <a:gd name="T4" fmla="*/ 33 w 47"/>
                <a:gd name="T5" fmla="*/ 35 h 58"/>
                <a:gd name="T6" fmla="*/ 15 w 47"/>
                <a:gd name="T7" fmla="*/ 0 h 58"/>
                <a:gd name="T8" fmla="*/ 0 w 47"/>
                <a:gd name="T9" fmla="*/ 3 h 58"/>
                <a:gd name="T10" fmla="*/ 17 w 47"/>
                <a:gd name="T11" fmla="*/ 46 h 58"/>
              </a:gdLst>
              <a:ahLst/>
              <a:cxnLst>
                <a:cxn ang="0">
                  <a:pos x="T0" y="T1"/>
                </a:cxn>
                <a:cxn ang="0">
                  <a:pos x="T2" y="T3"/>
                </a:cxn>
                <a:cxn ang="0">
                  <a:pos x="T4" y="T5"/>
                </a:cxn>
                <a:cxn ang="0">
                  <a:pos x="T6" y="T7"/>
                </a:cxn>
                <a:cxn ang="0">
                  <a:pos x="T8" y="T9"/>
                </a:cxn>
                <a:cxn ang="0">
                  <a:pos x="T10" y="T11"/>
                </a:cxn>
              </a:cxnLst>
              <a:rect l="0" t="0" r="r" b="b"/>
              <a:pathLst>
                <a:path w="47" h="58">
                  <a:moveTo>
                    <a:pt x="17" y="46"/>
                  </a:moveTo>
                  <a:cubicBezTo>
                    <a:pt x="28" y="50"/>
                    <a:pt x="39" y="58"/>
                    <a:pt x="39" y="58"/>
                  </a:cubicBezTo>
                  <a:cubicBezTo>
                    <a:pt x="39" y="58"/>
                    <a:pt x="47" y="51"/>
                    <a:pt x="33" y="35"/>
                  </a:cubicBezTo>
                  <a:cubicBezTo>
                    <a:pt x="22" y="23"/>
                    <a:pt x="15" y="0"/>
                    <a:pt x="15" y="0"/>
                  </a:cubicBezTo>
                  <a:cubicBezTo>
                    <a:pt x="0" y="3"/>
                    <a:pt x="0" y="3"/>
                    <a:pt x="0" y="3"/>
                  </a:cubicBezTo>
                  <a:cubicBezTo>
                    <a:pt x="0" y="3"/>
                    <a:pt x="6" y="38"/>
                    <a:pt x="17" y="4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1" name="Freeform 505">
              <a:extLst>
                <a:ext uri="{FF2B5EF4-FFF2-40B4-BE49-F238E27FC236}">
                  <a16:creationId xmlns:a16="http://schemas.microsoft.com/office/drawing/2014/main" id="{D3878710-D73C-BED7-491D-C8F69147C13A}"/>
                </a:ext>
              </a:extLst>
            </p:cNvPr>
            <p:cNvSpPr>
              <a:spLocks/>
            </p:cNvSpPr>
            <p:nvPr/>
          </p:nvSpPr>
          <p:spPr bwMode="gray">
            <a:xfrm>
              <a:off x="11611579" y="5027488"/>
              <a:ext cx="14383" cy="7192"/>
            </a:xfrm>
            <a:custGeom>
              <a:avLst/>
              <a:gdLst>
                <a:gd name="T0" fmla="*/ 2 w 8"/>
                <a:gd name="T1" fmla="*/ 4 h 4"/>
                <a:gd name="T2" fmla="*/ 8 w 8"/>
                <a:gd name="T3" fmla="*/ 3 h 4"/>
                <a:gd name="T4" fmla="*/ 0 w 8"/>
                <a:gd name="T5" fmla="*/ 0 h 4"/>
                <a:gd name="T6" fmla="*/ 2 w 8"/>
                <a:gd name="T7" fmla="*/ 4 h 4"/>
              </a:gdLst>
              <a:ahLst/>
              <a:cxnLst>
                <a:cxn ang="0">
                  <a:pos x="T0" y="T1"/>
                </a:cxn>
                <a:cxn ang="0">
                  <a:pos x="T2" y="T3"/>
                </a:cxn>
                <a:cxn ang="0">
                  <a:pos x="T4" y="T5"/>
                </a:cxn>
                <a:cxn ang="0">
                  <a:pos x="T6" y="T7"/>
                </a:cxn>
              </a:cxnLst>
              <a:rect l="0" t="0" r="r" b="b"/>
              <a:pathLst>
                <a:path w="8" h="4">
                  <a:moveTo>
                    <a:pt x="2" y="4"/>
                  </a:moveTo>
                  <a:lnTo>
                    <a:pt x="8" y="3"/>
                  </a:lnTo>
                  <a:lnTo>
                    <a:pt x="0" y="0"/>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2" name="Freeform 506">
              <a:extLst>
                <a:ext uri="{FF2B5EF4-FFF2-40B4-BE49-F238E27FC236}">
                  <a16:creationId xmlns:a16="http://schemas.microsoft.com/office/drawing/2014/main" id="{1477E00C-25BC-FC10-1676-6D52F0FC18D0}"/>
                </a:ext>
              </a:extLst>
            </p:cNvPr>
            <p:cNvSpPr>
              <a:spLocks/>
            </p:cNvSpPr>
            <p:nvPr/>
          </p:nvSpPr>
          <p:spPr bwMode="gray">
            <a:xfrm>
              <a:off x="11496508" y="5164134"/>
              <a:ext cx="28768" cy="16183"/>
            </a:xfrm>
            <a:custGeom>
              <a:avLst/>
              <a:gdLst>
                <a:gd name="T0" fmla="*/ 1 w 16"/>
                <a:gd name="T1" fmla="*/ 0 h 9"/>
                <a:gd name="T2" fmla="*/ 0 w 16"/>
                <a:gd name="T3" fmla="*/ 2 h 9"/>
                <a:gd name="T4" fmla="*/ 6 w 16"/>
                <a:gd name="T5" fmla="*/ 6 h 9"/>
                <a:gd name="T6" fmla="*/ 7 w 16"/>
                <a:gd name="T7" fmla="*/ 9 h 9"/>
                <a:gd name="T8" fmla="*/ 16 w 16"/>
                <a:gd name="T9" fmla="*/ 5 h 9"/>
                <a:gd name="T10" fmla="*/ 15 w 16"/>
                <a:gd name="T11" fmla="*/ 0 h 9"/>
                <a:gd name="T12" fmla="*/ 1 w 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6" h="9">
                  <a:moveTo>
                    <a:pt x="1" y="0"/>
                  </a:moveTo>
                  <a:lnTo>
                    <a:pt x="0" y="2"/>
                  </a:lnTo>
                  <a:lnTo>
                    <a:pt x="6" y="6"/>
                  </a:lnTo>
                  <a:lnTo>
                    <a:pt x="7" y="9"/>
                  </a:lnTo>
                  <a:lnTo>
                    <a:pt x="16" y="5"/>
                  </a:lnTo>
                  <a:lnTo>
                    <a:pt x="15"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3" name="Freeform 507">
              <a:extLst>
                <a:ext uri="{FF2B5EF4-FFF2-40B4-BE49-F238E27FC236}">
                  <a16:creationId xmlns:a16="http://schemas.microsoft.com/office/drawing/2014/main" id="{EDEDE2EA-E7C1-BA4D-E20F-1FCCA4764E99}"/>
                </a:ext>
              </a:extLst>
            </p:cNvPr>
            <p:cNvSpPr>
              <a:spLocks/>
            </p:cNvSpPr>
            <p:nvPr/>
          </p:nvSpPr>
          <p:spPr bwMode="gray">
            <a:xfrm>
              <a:off x="11498307" y="4754196"/>
              <a:ext cx="30566" cy="35959"/>
            </a:xfrm>
            <a:custGeom>
              <a:avLst/>
              <a:gdLst>
                <a:gd name="T0" fmla="*/ 35 w 53"/>
                <a:gd name="T1" fmla="*/ 20 h 63"/>
                <a:gd name="T2" fmla="*/ 0 w 53"/>
                <a:gd name="T3" fmla="*/ 38 h 63"/>
                <a:gd name="T4" fmla="*/ 30 w 53"/>
                <a:gd name="T5" fmla="*/ 54 h 63"/>
                <a:gd name="T6" fmla="*/ 35 w 53"/>
                <a:gd name="T7" fmla="*/ 20 h 63"/>
              </a:gdLst>
              <a:ahLst/>
              <a:cxnLst>
                <a:cxn ang="0">
                  <a:pos x="T0" y="T1"/>
                </a:cxn>
                <a:cxn ang="0">
                  <a:pos x="T2" y="T3"/>
                </a:cxn>
                <a:cxn ang="0">
                  <a:pos x="T4" y="T5"/>
                </a:cxn>
                <a:cxn ang="0">
                  <a:pos x="T6" y="T7"/>
                </a:cxn>
              </a:cxnLst>
              <a:rect l="0" t="0" r="r" b="b"/>
              <a:pathLst>
                <a:path w="53" h="63">
                  <a:moveTo>
                    <a:pt x="35" y="20"/>
                  </a:moveTo>
                  <a:cubicBezTo>
                    <a:pt x="17" y="0"/>
                    <a:pt x="0" y="38"/>
                    <a:pt x="0" y="38"/>
                  </a:cubicBezTo>
                  <a:cubicBezTo>
                    <a:pt x="0" y="38"/>
                    <a:pt x="19" y="46"/>
                    <a:pt x="30" y="54"/>
                  </a:cubicBezTo>
                  <a:cubicBezTo>
                    <a:pt x="41" y="63"/>
                    <a:pt x="53" y="40"/>
                    <a:pt x="35" y="2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4" name="Freeform 508">
              <a:extLst>
                <a:ext uri="{FF2B5EF4-FFF2-40B4-BE49-F238E27FC236}">
                  <a16:creationId xmlns:a16="http://schemas.microsoft.com/office/drawing/2014/main" id="{75CDD855-565C-7358-5440-93790A262033}"/>
                </a:ext>
              </a:extLst>
            </p:cNvPr>
            <p:cNvSpPr>
              <a:spLocks/>
            </p:cNvSpPr>
            <p:nvPr/>
          </p:nvSpPr>
          <p:spPr bwMode="gray">
            <a:xfrm>
              <a:off x="11462347" y="4901630"/>
              <a:ext cx="14383" cy="26971"/>
            </a:xfrm>
            <a:custGeom>
              <a:avLst/>
              <a:gdLst>
                <a:gd name="T0" fmla="*/ 20 w 25"/>
                <a:gd name="T1" fmla="*/ 24 h 46"/>
                <a:gd name="T2" fmla="*/ 1 w 25"/>
                <a:gd name="T3" fmla="*/ 19 h 46"/>
                <a:gd name="T4" fmla="*/ 20 w 25"/>
                <a:gd name="T5" fmla="*/ 24 h 46"/>
              </a:gdLst>
              <a:ahLst/>
              <a:cxnLst>
                <a:cxn ang="0">
                  <a:pos x="T0" y="T1"/>
                </a:cxn>
                <a:cxn ang="0">
                  <a:pos x="T2" y="T3"/>
                </a:cxn>
                <a:cxn ang="0">
                  <a:pos x="T4" y="T5"/>
                </a:cxn>
              </a:cxnLst>
              <a:rect l="0" t="0" r="r" b="b"/>
              <a:pathLst>
                <a:path w="25" h="46">
                  <a:moveTo>
                    <a:pt x="20" y="24"/>
                  </a:moveTo>
                  <a:cubicBezTo>
                    <a:pt x="25" y="1"/>
                    <a:pt x="6" y="0"/>
                    <a:pt x="1" y="19"/>
                  </a:cubicBezTo>
                  <a:cubicBezTo>
                    <a:pt x="0" y="46"/>
                    <a:pt x="11" y="43"/>
                    <a:pt x="20"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5" name="Freeform 509">
              <a:extLst>
                <a:ext uri="{FF2B5EF4-FFF2-40B4-BE49-F238E27FC236}">
                  <a16:creationId xmlns:a16="http://schemas.microsoft.com/office/drawing/2014/main" id="{10FDA1B5-C43E-B70D-655C-6E46BDA5051E}"/>
                </a:ext>
              </a:extLst>
            </p:cNvPr>
            <p:cNvSpPr>
              <a:spLocks/>
            </p:cNvSpPr>
            <p:nvPr/>
          </p:nvSpPr>
          <p:spPr bwMode="gray">
            <a:xfrm>
              <a:off x="11465944" y="4833306"/>
              <a:ext cx="41354" cy="41354"/>
            </a:xfrm>
            <a:custGeom>
              <a:avLst/>
              <a:gdLst>
                <a:gd name="T0" fmla="*/ 36 w 69"/>
                <a:gd name="T1" fmla="*/ 63 h 69"/>
                <a:gd name="T2" fmla="*/ 37 w 69"/>
                <a:gd name="T3" fmla="*/ 44 h 69"/>
                <a:gd name="T4" fmla="*/ 58 w 69"/>
                <a:gd name="T5" fmla="*/ 65 h 69"/>
                <a:gd name="T6" fmla="*/ 56 w 69"/>
                <a:gd name="T7" fmla="*/ 38 h 69"/>
                <a:gd name="T8" fmla="*/ 69 w 69"/>
                <a:gd name="T9" fmla="*/ 0 h 69"/>
                <a:gd name="T10" fmla="*/ 61 w 69"/>
                <a:gd name="T11" fmla="*/ 0 h 69"/>
                <a:gd name="T12" fmla="*/ 45 w 69"/>
                <a:gd name="T13" fmla="*/ 22 h 69"/>
                <a:gd name="T14" fmla="*/ 0 w 69"/>
                <a:gd name="T15" fmla="*/ 27 h 69"/>
                <a:gd name="T16" fmla="*/ 6 w 69"/>
                <a:gd name="T17" fmla="*/ 58 h 69"/>
                <a:gd name="T18" fmla="*/ 36 w 69"/>
                <a:gd name="T19" fmla="*/ 6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36" y="63"/>
                  </a:moveTo>
                  <a:cubicBezTo>
                    <a:pt x="37" y="44"/>
                    <a:pt x="37" y="44"/>
                    <a:pt x="37" y="44"/>
                  </a:cubicBezTo>
                  <a:cubicBezTo>
                    <a:pt x="37" y="44"/>
                    <a:pt x="47" y="64"/>
                    <a:pt x="58" y="65"/>
                  </a:cubicBezTo>
                  <a:cubicBezTo>
                    <a:pt x="69" y="69"/>
                    <a:pt x="56" y="38"/>
                    <a:pt x="56" y="38"/>
                  </a:cubicBezTo>
                  <a:cubicBezTo>
                    <a:pt x="69" y="0"/>
                    <a:pt x="69" y="0"/>
                    <a:pt x="69" y="0"/>
                  </a:cubicBezTo>
                  <a:cubicBezTo>
                    <a:pt x="61" y="0"/>
                    <a:pt x="61" y="0"/>
                    <a:pt x="61" y="0"/>
                  </a:cubicBezTo>
                  <a:cubicBezTo>
                    <a:pt x="45" y="22"/>
                    <a:pt x="45" y="22"/>
                    <a:pt x="45" y="22"/>
                  </a:cubicBezTo>
                  <a:cubicBezTo>
                    <a:pt x="45" y="22"/>
                    <a:pt x="16" y="5"/>
                    <a:pt x="0" y="27"/>
                  </a:cubicBezTo>
                  <a:cubicBezTo>
                    <a:pt x="6" y="58"/>
                    <a:pt x="6" y="58"/>
                    <a:pt x="6" y="58"/>
                  </a:cubicBezTo>
                  <a:lnTo>
                    <a:pt x="36" y="6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6" name="Freeform 510">
              <a:extLst>
                <a:ext uri="{FF2B5EF4-FFF2-40B4-BE49-F238E27FC236}">
                  <a16:creationId xmlns:a16="http://schemas.microsoft.com/office/drawing/2014/main" id="{AC5A293A-2011-A287-BFE4-CAF8F824D956}"/>
                </a:ext>
              </a:extLst>
            </p:cNvPr>
            <p:cNvSpPr>
              <a:spLocks/>
            </p:cNvSpPr>
            <p:nvPr/>
          </p:nvSpPr>
          <p:spPr bwMode="gray">
            <a:xfrm>
              <a:off x="11440771" y="5232458"/>
              <a:ext cx="12586" cy="14383"/>
            </a:xfrm>
            <a:custGeom>
              <a:avLst/>
              <a:gdLst>
                <a:gd name="T0" fmla="*/ 4 w 7"/>
                <a:gd name="T1" fmla="*/ 8 h 8"/>
                <a:gd name="T2" fmla="*/ 7 w 7"/>
                <a:gd name="T3" fmla="*/ 3 h 8"/>
                <a:gd name="T4" fmla="*/ 5 w 7"/>
                <a:gd name="T5" fmla="*/ 0 h 8"/>
                <a:gd name="T6" fmla="*/ 1 w 7"/>
                <a:gd name="T7" fmla="*/ 2 h 8"/>
                <a:gd name="T8" fmla="*/ 0 w 7"/>
                <a:gd name="T9" fmla="*/ 8 h 8"/>
                <a:gd name="T10" fmla="*/ 4 w 7"/>
                <a:gd name="T11" fmla="*/ 8 h 8"/>
              </a:gdLst>
              <a:ahLst/>
              <a:cxnLst>
                <a:cxn ang="0">
                  <a:pos x="T0" y="T1"/>
                </a:cxn>
                <a:cxn ang="0">
                  <a:pos x="T2" y="T3"/>
                </a:cxn>
                <a:cxn ang="0">
                  <a:pos x="T4" y="T5"/>
                </a:cxn>
                <a:cxn ang="0">
                  <a:pos x="T6" y="T7"/>
                </a:cxn>
                <a:cxn ang="0">
                  <a:pos x="T8" y="T9"/>
                </a:cxn>
                <a:cxn ang="0">
                  <a:pos x="T10" y="T11"/>
                </a:cxn>
              </a:cxnLst>
              <a:rect l="0" t="0" r="r" b="b"/>
              <a:pathLst>
                <a:path w="7" h="8">
                  <a:moveTo>
                    <a:pt x="4" y="8"/>
                  </a:moveTo>
                  <a:lnTo>
                    <a:pt x="7" y="3"/>
                  </a:lnTo>
                  <a:lnTo>
                    <a:pt x="5" y="0"/>
                  </a:lnTo>
                  <a:lnTo>
                    <a:pt x="1" y="2"/>
                  </a:lnTo>
                  <a:lnTo>
                    <a:pt x="0" y="8"/>
                  </a:lnTo>
                  <a:lnTo>
                    <a:pt x="4"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7" name="Freeform 511">
              <a:extLst>
                <a:ext uri="{FF2B5EF4-FFF2-40B4-BE49-F238E27FC236}">
                  <a16:creationId xmlns:a16="http://schemas.microsoft.com/office/drawing/2014/main" id="{8C50654E-F0AD-E4EF-E24E-976BAD6D3996}"/>
                </a:ext>
              </a:extLst>
            </p:cNvPr>
            <p:cNvSpPr>
              <a:spLocks/>
            </p:cNvSpPr>
            <p:nvPr/>
          </p:nvSpPr>
          <p:spPr bwMode="gray">
            <a:xfrm>
              <a:off x="11541458" y="5219871"/>
              <a:ext cx="34162" cy="41354"/>
            </a:xfrm>
            <a:custGeom>
              <a:avLst/>
              <a:gdLst>
                <a:gd name="T0" fmla="*/ 28 w 57"/>
                <a:gd name="T1" fmla="*/ 0 h 72"/>
                <a:gd name="T2" fmla="*/ 4 w 57"/>
                <a:gd name="T3" fmla="*/ 33 h 72"/>
                <a:gd name="T4" fmla="*/ 11 w 57"/>
                <a:gd name="T5" fmla="*/ 52 h 72"/>
                <a:gd name="T6" fmla="*/ 29 w 57"/>
                <a:gd name="T7" fmla="*/ 72 h 72"/>
                <a:gd name="T8" fmla="*/ 49 w 57"/>
                <a:gd name="T9" fmla="*/ 43 h 72"/>
                <a:gd name="T10" fmla="*/ 57 w 57"/>
                <a:gd name="T11" fmla="*/ 16 h 72"/>
                <a:gd name="T12" fmla="*/ 28 w 57"/>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57" h="72">
                  <a:moveTo>
                    <a:pt x="28" y="0"/>
                  </a:moveTo>
                  <a:cubicBezTo>
                    <a:pt x="4" y="33"/>
                    <a:pt x="4" y="33"/>
                    <a:pt x="4" y="33"/>
                  </a:cubicBezTo>
                  <a:cubicBezTo>
                    <a:pt x="4" y="33"/>
                    <a:pt x="0" y="40"/>
                    <a:pt x="11" y="52"/>
                  </a:cubicBezTo>
                  <a:cubicBezTo>
                    <a:pt x="18" y="64"/>
                    <a:pt x="29" y="72"/>
                    <a:pt x="29" y="72"/>
                  </a:cubicBezTo>
                  <a:cubicBezTo>
                    <a:pt x="49" y="43"/>
                    <a:pt x="49" y="43"/>
                    <a:pt x="49" y="43"/>
                  </a:cubicBezTo>
                  <a:cubicBezTo>
                    <a:pt x="57" y="16"/>
                    <a:pt x="57" y="16"/>
                    <a:pt x="57" y="16"/>
                  </a:cubicBezTo>
                  <a:lnTo>
                    <a:pt x="2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8" name="Freeform 512">
              <a:extLst>
                <a:ext uri="{FF2B5EF4-FFF2-40B4-BE49-F238E27FC236}">
                  <a16:creationId xmlns:a16="http://schemas.microsoft.com/office/drawing/2014/main" id="{829840D8-5337-AF54-80A8-81997CF66F4E}"/>
                </a:ext>
              </a:extLst>
            </p:cNvPr>
            <p:cNvSpPr>
              <a:spLocks/>
            </p:cNvSpPr>
            <p:nvPr/>
          </p:nvSpPr>
          <p:spPr bwMode="gray">
            <a:xfrm>
              <a:off x="11552246" y="5315165"/>
              <a:ext cx="23374" cy="25171"/>
            </a:xfrm>
            <a:custGeom>
              <a:avLst/>
              <a:gdLst>
                <a:gd name="T0" fmla="*/ 13 w 13"/>
                <a:gd name="T1" fmla="*/ 12 h 14"/>
                <a:gd name="T2" fmla="*/ 6 w 13"/>
                <a:gd name="T3" fmla="*/ 0 h 14"/>
                <a:gd name="T4" fmla="*/ 0 w 13"/>
                <a:gd name="T5" fmla="*/ 3 h 14"/>
                <a:gd name="T6" fmla="*/ 4 w 13"/>
                <a:gd name="T7" fmla="*/ 14 h 14"/>
                <a:gd name="T8" fmla="*/ 13 w 13"/>
                <a:gd name="T9" fmla="*/ 12 h 14"/>
              </a:gdLst>
              <a:ahLst/>
              <a:cxnLst>
                <a:cxn ang="0">
                  <a:pos x="T0" y="T1"/>
                </a:cxn>
                <a:cxn ang="0">
                  <a:pos x="T2" y="T3"/>
                </a:cxn>
                <a:cxn ang="0">
                  <a:pos x="T4" y="T5"/>
                </a:cxn>
                <a:cxn ang="0">
                  <a:pos x="T6" y="T7"/>
                </a:cxn>
                <a:cxn ang="0">
                  <a:pos x="T8" y="T9"/>
                </a:cxn>
              </a:cxnLst>
              <a:rect l="0" t="0" r="r" b="b"/>
              <a:pathLst>
                <a:path w="13" h="14">
                  <a:moveTo>
                    <a:pt x="13" y="12"/>
                  </a:moveTo>
                  <a:lnTo>
                    <a:pt x="6" y="0"/>
                  </a:lnTo>
                  <a:lnTo>
                    <a:pt x="0" y="3"/>
                  </a:lnTo>
                  <a:lnTo>
                    <a:pt x="4" y="14"/>
                  </a:lnTo>
                  <a:lnTo>
                    <a:pt x="13"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9" name="Freeform 513">
              <a:extLst>
                <a:ext uri="{FF2B5EF4-FFF2-40B4-BE49-F238E27FC236}">
                  <a16:creationId xmlns:a16="http://schemas.microsoft.com/office/drawing/2014/main" id="{D7982565-6578-3D99-AE9C-14C8B1BE1DF3}"/>
                </a:ext>
              </a:extLst>
            </p:cNvPr>
            <p:cNvSpPr>
              <a:spLocks/>
            </p:cNvSpPr>
            <p:nvPr/>
          </p:nvSpPr>
          <p:spPr bwMode="gray">
            <a:xfrm>
              <a:off x="11561236" y="4910619"/>
              <a:ext cx="82707" cy="57535"/>
            </a:xfrm>
            <a:custGeom>
              <a:avLst/>
              <a:gdLst>
                <a:gd name="T0" fmla="*/ 0 w 139"/>
                <a:gd name="T1" fmla="*/ 61 h 94"/>
                <a:gd name="T2" fmla="*/ 40 w 139"/>
                <a:gd name="T3" fmla="*/ 78 h 94"/>
                <a:gd name="T4" fmla="*/ 60 w 139"/>
                <a:gd name="T5" fmla="*/ 64 h 94"/>
                <a:gd name="T6" fmla="*/ 52 w 139"/>
                <a:gd name="T7" fmla="*/ 75 h 94"/>
                <a:gd name="T8" fmla="*/ 62 w 139"/>
                <a:gd name="T9" fmla="*/ 94 h 94"/>
                <a:gd name="T10" fmla="*/ 107 w 139"/>
                <a:gd name="T11" fmla="*/ 93 h 94"/>
                <a:gd name="T12" fmla="*/ 139 w 139"/>
                <a:gd name="T13" fmla="*/ 60 h 94"/>
                <a:gd name="T14" fmla="*/ 99 w 139"/>
                <a:gd name="T15" fmla="*/ 23 h 94"/>
                <a:gd name="T16" fmla="*/ 78 w 139"/>
                <a:gd name="T17" fmla="*/ 3 h 94"/>
                <a:gd name="T18" fmla="*/ 51 w 139"/>
                <a:gd name="T19" fmla="*/ 21 h 94"/>
                <a:gd name="T20" fmla="*/ 1 w 139"/>
                <a:gd name="T21" fmla="*/ 30 h 94"/>
                <a:gd name="T22" fmla="*/ 0 w 139"/>
                <a:gd name="T23" fmla="*/ 6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9" h="94">
                  <a:moveTo>
                    <a:pt x="0" y="61"/>
                  </a:moveTo>
                  <a:cubicBezTo>
                    <a:pt x="40" y="78"/>
                    <a:pt x="40" y="78"/>
                    <a:pt x="40" y="78"/>
                  </a:cubicBezTo>
                  <a:cubicBezTo>
                    <a:pt x="60" y="64"/>
                    <a:pt x="60" y="64"/>
                    <a:pt x="60" y="64"/>
                  </a:cubicBezTo>
                  <a:cubicBezTo>
                    <a:pt x="52" y="75"/>
                    <a:pt x="52" y="75"/>
                    <a:pt x="52" y="75"/>
                  </a:cubicBezTo>
                  <a:cubicBezTo>
                    <a:pt x="62" y="94"/>
                    <a:pt x="62" y="94"/>
                    <a:pt x="62" y="94"/>
                  </a:cubicBezTo>
                  <a:cubicBezTo>
                    <a:pt x="107" y="93"/>
                    <a:pt x="107" y="93"/>
                    <a:pt x="107" y="93"/>
                  </a:cubicBezTo>
                  <a:cubicBezTo>
                    <a:pt x="107" y="93"/>
                    <a:pt x="138" y="79"/>
                    <a:pt x="139" y="60"/>
                  </a:cubicBezTo>
                  <a:cubicBezTo>
                    <a:pt x="139" y="41"/>
                    <a:pt x="99" y="23"/>
                    <a:pt x="99" y="23"/>
                  </a:cubicBezTo>
                  <a:cubicBezTo>
                    <a:pt x="99" y="23"/>
                    <a:pt x="93" y="0"/>
                    <a:pt x="78" y="3"/>
                  </a:cubicBezTo>
                  <a:cubicBezTo>
                    <a:pt x="59" y="6"/>
                    <a:pt x="51" y="21"/>
                    <a:pt x="51" y="21"/>
                  </a:cubicBezTo>
                  <a:cubicBezTo>
                    <a:pt x="1" y="30"/>
                    <a:pt x="1" y="30"/>
                    <a:pt x="1" y="30"/>
                  </a:cubicBezTo>
                  <a:lnTo>
                    <a:pt x="0" y="6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0" name="Freeform 514">
              <a:extLst>
                <a:ext uri="{FF2B5EF4-FFF2-40B4-BE49-F238E27FC236}">
                  <a16:creationId xmlns:a16="http://schemas.microsoft.com/office/drawing/2014/main" id="{693BA5B5-C979-AD4B-8881-CF1090B3D7FA}"/>
                </a:ext>
              </a:extLst>
            </p:cNvPr>
            <p:cNvSpPr>
              <a:spLocks/>
            </p:cNvSpPr>
            <p:nvPr/>
          </p:nvSpPr>
          <p:spPr bwMode="gray">
            <a:xfrm>
              <a:off x="11456953" y="5117387"/>
              <a:ext cx="39556" cy="44950"/>
            </a:xfrm>
            <a:custGeom>
              <a:avLst/>
              <a:gdLst>
                <a:gd name="T0" fmla="*/ 22 w 22"/>
                <a:gd name="T1" fmla="*/ 20 h 25"/>
                <a:gd name="T2" fmla="*/ 18 w 22"/>
                <a:gd name="T3" fmla="*/ 16 h 25"/>
                <a:gd name="T4" fmla="*/ 21 w 22"/>
                <a:gd name="T5" fmla="*/ 15 h 25"/>
                <a:gd name="T6" fmla="*/ 16 w 22"/>
                <a:gd name="T7" fmla="*/ 6 h 25"/>
                <a:gd name="T8" fmla="*/ 11 w 22"/>
                <a:gd name="T9" fmla="*/ 6 h 25"/>
                <a:gd name="T10" fmla="*/ 7 w 22"/>
                <a:gd name="T11" fmla="*/ 0 h 25"/>
                <a:gd name="T12" fmla="*/ 0 w 22"/>
                <a:gd name="T13" fmla="*/ 8 h 25"/>
                <a:gd name="T14" fmla="*/ 18 w 22"/>
                <a:gd name="T15" fmla="*/ 25 h 25"/>
                <a:gd name="T16" fmla="*/ 22 w 22"/>
                <a:gd name="T1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5">
                  <a:moveTo>
                    <a:pt x="22" y="20"/>
                  </a:moveTo>
                  <a:lnTo>
                    <a:pt x="18" y="16"/>
                  </a:lnTo>
                  <a:lnTo>
                    <a:pt x="21" y="15"/>
                  </a:lnTo>
                  <a:lnTo>
                    <a:pt x="16" y="6"/>
                  </a:lnTo>
                  <a:lnTo>
                    <a:pt x="11" y="6"/>
                  </a:lnTo>
                  <a:lnTo>
                    <a:pt x="7" y="0"/>
                  </a:lnTo>
                  <a:lnTo>
                    <a:pt x="0" y="8"/>
                  </a:lnTo>
                  <a:lnTo>
                    <a:pt x="18" y="25"/>
                  </a:lnTo>
                  <a:lnTo>
                    <a:pt x="22" y="2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1" name="Freeform 515">
              <a:extLst>
                <a:ext uri="{FF2B5EF4-FFF2-40B4-BE49-F238E27FC236}">
                  <a16:creationId xmlns:a16="http://schemas.microsoft.com/office/drawing/2014/main" id="{10FAAB03-CBFD-95C2-DCE5-C4EDDAEAAC60}"/>
                </a:ext>
              </a:extLst>
            </p:cNvPr>
            <p:cNvSpPr>
              <a:spLocks/>
            </p:cNvSpPr>
            <p:nvPr/>
          </p:nvSpPr>
          <p:spPr bwMode="gray">
            <a:xfrm>
              <a:off x="11386832" y="4734417"/>
              <a:ext cx="59334" cy="35959"/>
            </a:xfrm>
            <a:custGeom>
              <a:avLst/>
              <a:gdLst>
                <a:gd name="T0" fmla="*/ 48 w 101"/>
                <a:gd name="T1" fmla="*/ 2 h 61"/>
                <a:gd name="T2" fmla="*/ 46 w 101"/>
                <a:gd name="T3" fmla="*/ 55 h 61"/>
                <a:gd name="T4" fmla="*/ 48 w 101"/>
                <a:gd name="T5" fmla="*/ 2 h 61"/>
              </a:gdLst>
              <a:ahLst/>
              <a:cxnLst>
                <a:cxn ang="0">
                  <a:pos x="T0" y="T1"/>
                </a:cxn>
                <a:cxn ang="0">
                  <a:pos x="T2" y="T3"/>
                </a:cxn>
                <a:cxn ang="0">
                  <a:pos x="T4" y="T5"/>
                </a:cxn>
              </a:cxnLst>
              <a:rect l="0" t="0" r="r" b="b"/>
              <a:pathLst>
                <a:path w="101" h="61">
                  <a:moveTo>
                    <a:pt x="48" y="2"/>
                  </a:moveTo>
                  <a:cubicBezTo>
                    <a:pt x="0" y="0"/>
                    <a:pt x="13" y="50"/>
                    <a:pt x="46" y="55"/>
                  </a:cubicBezTo>
                  <a:cubicBezTo>
                    <a:pt x="83" y="61"/>
                    <a:pt x="101" y="4"/>
                    <a:pt x="48"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2" name="Freeform 516">
              <a:extLst>
                <a:ext uri="{FF2B5EF4-FFF2-40B4-BE49-F238E27FC236}">
                  <a16:creationId xmlns:a16="http://schemas.microsoft.com/office/drawing/2014/main" id="{BD554F64-75F5-E2F7-E5FC-95142CC6BCFC}"/>
                </a:ext>
              </a:extLst>
            </p:cNvPr>
            <p:cNvSpPr>
              <a:spLocks/>
            </p:cNvSpPr>
            <p:nvPr/>
          </p:nvSpPr>
          <p:spPr bwMode="gray">
            <a:xfrm>
              <a:off x="11412004" y="4989730"/>
              <a:ext cx="32364" cy="30566"/>
            </a:xfrm>
            <a:custGeom>
              <a:avLst/>
              <a:gdLst>
                <a:gd name="T0" fmla="*/ 12 w 18"/>
                <a:gd name="T1" fmla="*/ 11 h 17"/>
                <a:gd name="T2" fmla="*/ 4 w 18"/>
                <a:gd name="T3" fmla="*/ 0 h 17"/>
                <a:gd name="T4" fmla="*/ 0 w 18"/>
                <a:gd name="T5" fmla="*/ 8 h 17"/>
                <a:gd name="T6" fmla="*/ 9 w 18"/>
                <a:gd name="T7" fmla="*/ 17 h 17"/>
                <a:gd name="T8" fmla="*/ 18 w 18"/>
                <a:gd name="T9" fmla="*/ 9 h 17"/>
                <a:gd name="T10" fmla="*/ 12 w 18"/>
                <a:gd name="T11" fmla="*/ 11 h 17"/>
              </a:gdLst>
              <a:ahLst/>
              <a:cxnLst>
                <a:cxn ang="0">
                  <a:pos x="T0" y="T1"/>
                </a:cxn>
                <a:cxn ang="0">
                  <a:pos x="T2" y="T3"/>
                </a:cxn>
                <a:cxn ang="0">
                  <a:pos x="T4" y="T5"/>
                </a:cxn>
                <a:cxn ang="0">
                  <a:pos x="T6" y="T7"/>
                </a:cxn>
                <a:cxn ang="0">
                  <a:pos x="T8" y="T9"/>
                </a:cxn>
                <a:cxn ang="0">
                  <a:pos x="T10" y="T11"/>
                </a:cxn>
              </a:cxnLst>
              <a:rect l="0" t="0" r="r" b="b"/>
              <a:pathLst>
                <a:path w="18" h="17">
                  <a:moveTo>
                    <a:pt x="12" y="11"/>
                  </a:moveTo>
                  <a:lnTo>
                    <a:pt x="4" y="0"/>
                  </a:lnTo>
                  <a:lnTo>
                    <a:pt x="0" y="8"/>
                  </a:lnTo>
                  <a:lnTo>
                    <a:pt x="9" y="17"/>
                  </a:lnTo>
                  <a:lnTo>
                    <a:pt x="18" y="9"/>
                  </a:lnTo>
                  <a:lnTo>
                    <a:pt x="12"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3" name="Freeform 517">
              <a:extLst>
                <a:ext uri="{FF2B5EF4-FFF2-40B4-BE49-F238E27FC236}">
                  <a16:creationId xmlns:a16="http://schemas.microsoft.com/office/drawing/2014/main" id="{7F880F67-735F-AFA9-4601-738C4692D111}"/>
                </a:ext>
              </a:extLst>
            </p:cNvPr>
            <p:cNvSpPr>
              <a:spLocks/>
            </p:cNvSpPr>
            <p:nvPr/>
          </p:nvSpPr>
          <p:spPr bwMode="gray">
            <a:xfrm>
              <a:off x="11433580" y="5291790"/>
              <a:ext cx="28768" cy="26971"/>
            </a:xfrm>
            <a:custGeom>
              <a:avLst/>
              <a:gdLst>
                <a:gd name="T0" fmla="*/ 9 w 16"/>
                <a:gd name="T1" fmla="*/ 6 h 15"/>
                <a:gd name="T2" fmla="*/ 5 w 16"/>
                <a:gd name="T3" fmla="*/ 2 h 15"/>
                <a:gd name="T4" fmla="*/ 2 w 16"/>
                <a:gd name="T5" fmla="*/ 3 h 15"/>
                <a:gd name="T6" fmla="*/ 0 w 16"/>
                <a:gd name="T7" fmla="*/ 15 h 15"/>
                <a:gd name="T8" fmla="*/ 16 w 16"/>
                <a:gd name="T9" fmla="*/ 11 h 15"/>
                <a:gd name="T10" fmla="*/ 16 w 16"/>
                <a:gd name="T11" fmla="*/ 1 h 15"/>
                <a:gd name="T12" fmla="*/ 9 w 16"/>
                <a:gd name="T13" fmla="*/ 0 h 15"/>
                <a:gd name="T14" fmla="*/ 9 w 16"/>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
                  <a:moveTo>
                    <a:pt x="9" y="6"/>
                  </a:moveTo>
                  <a:lnTo>
                    <a:pt x="5" y="2"/>
                  </a:lnTo>
                  <a:lnTo>
                    <a:pt x="2" y="3"/>
                  </a:lnTo>
                  <a:lnTo>
                    <a:pt x="0" y="15"/>
                  </a:lnTo>
                  <a:lnTo>
                    <a:pt x="16" y="11"/>
                  </a:lnTo>
                  <a:lnTo>
                    <a:pt x="16" y="1"/>
                  </a:lnTo>
                  <a:lnTo>
                    <a:pt x="9" y="0"/>
                  </a:lnTo>
                  <a:lnTo>
                    <a:pt x="9"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4" name="Freeform 518">
              <a:extLst>
                <a:ext uri="{FF2B5EF4-FFF2-40B4-BE49-F238E27FC236}">
                  <a16:creationId xmlns:a16="http://schemas.microsoft.com/office/drawing/2014/main" id="{C012B89E-EA8F-4905-6AE5-8228679457EB}"/>
                </a:ext>
              </a:extLst>
            </p:cNvPr>
            <p:cNvSpPr>
              <a:spLocks/>
            </p:cNvSpPr>
            <p:nvPr/>
          </p:nvSpPr>
          <p:spPr bwMode="gray">
            <a:xfrm>
              <a:off x="11464144" y="5254033"/>
              <a:ext cx="16183" cy="19778"/>
            </a:xfrm>
            <a:custGeom>
              <a:avLst/>
              <a:gdLst>
                <a:gd name="T0" fmla="*/ 25 w 26"/>
                <a:gd name="T1" fmla="*/ 23 h 35"/>
                <a:gd name="T2" fmla="*/ 18 w 26"/>
                <a:gd name="T3" fmla="*/ 8 h 35"/>
                <a:gd name="T4" fmla="*/ 0 w 26"/>
                <a:gd name="T5" fmla="*/ 7 h 35"/>
                <a:gd name="T6" fmla="*/ 17 w 26"/>
                <a:gd name="T7" fmla="*/ 35 h 35"/>
                <a:gd name="T8" fmla="*/ 25 w 26"/>
                <a:gd name="T9" fmla="*/ 23 h 35"/>
              </a:gdLst>
              <a:ahLst/>
              <a:cxnLst>
                <a:cxn ang="0">
                  <a:pos x="T0" y="T1"/>
                </a:cxn>
                <a:cxn ang="0">
                  <a:pos x="T2" y="T3"/>
                </a:cxn>
                <a:cxn ang="0">
                  <a:pos x="T4" y="T5"/>
                </a:cxn>
                <a:cxn ang="0">
                  <a:pos x="T6" y="T7"/>
                </a:cxn>
                <a:cxn ang="0">
                  <a:pos x="T8" y="T9"/>
                </a:cxn>
              </a:cxnLst>
              <a:rect l="0" t="0" r="r" b="b"/>
              <a:pathLst>
                <a:path w="26" h="35">
                  <a:moveTo>
                    <a:pt x="25" y="23"/>
                  </a:moveTo>
                  <a:cubicBezTo>
                    <a:pt x="25" y="23"/>
                    <a:pt x="26" y="16"/>
                    <a:pt x="18" y="8"/>
                  </a:cubicBezTo>
                  <a:cubicBezTo>
                    <a:pt x="8" y="0"/>
                    <a:pt x="0" y="7"/>
                    <a:pt x="0" y="7"/>
                  </a:cubicBezTo>
                  <a:cubicBezTo>
                    <a:pt x="17" y="35"/>
                    <a:pt x="17" y="35"/>
                    <a:pt x="17" y="35"/>
                  </a:cubicBezTo>
                  <a:lnTo>
                    <a:pt x="25" y="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5" name="Freeform 519">
              <a:extLst>
                <a:ext uri="{FF2B5EF4-FFF2-40B4-BE49-F238E27FC236}">
                  <a16:creationId xmlns:a16="http://schemas.microsoft.com/office/drawing/2014/main" id="{1FF83C6E-7294-656A-C370-F09E3B609ADC}"/>
                </a:ext>
              </a:extLst>
            </p:cNvPr>
            <p:cNvSpPr>
              <a:spLocks/>
            </p:cNvSpPr>
            <p:nvPr/>
          </p:nvSpPr>
          <p:spPr bwMode="gray">
            <a:xfrm>
              <a:off x="11458751" y="5165932"/>
              <a:ext cx="14383" cy="14383"/>
            </a:xfrm>
            <a:custGeom>
              <a:avLst/>
              <a:gdLst>
                <a:gd name="T0" fmla="*/ 7 w 8"/>
                <a:gd name="T1" fmla="*/ 0 h 8"/>
                <a:gd name="T2" fmla="*/ 0 w 8"/>
                <a:gd name="T3" fmla="*/ 7 h 8"/>
                <a:gd name="T4" fmla="*/ 8 w 8"/>
                <a:gd name="T5" fmla="*/ 8 h 8"/>
                <a:gd name="T6" fmla="*/ 7 w 8"/>
                <a:gd name="T7" fmla="*/ 0 h 8"/>
              </a:gdLst>
              <a:ahLst/>
              <a:cxnLst>
                <a:cxn ang="0">
                  <a:pos x="T0" y="T1"/>
                </a:cxn>
                <a:cxn ang="0">
                  <a:pos x="T2" y="T3"/>
                </a:cxn>
                <a:cxn ang="0">
                  <a:pos x="T4" y="T5"/>
                </a:cxn>
                <a:cxn ang="0">
                  <a:pos x="T6" y="T7"/>
                </a:cxn>
              </a:cxnLst>
              <a:rect l="0" t="0" r="r" b="b"/>
              <a:pathLst>
                <a:path w="8" h="8">
                  <a:moveTo>
                    <a:pt x="7" y="0"/>
                  </a:moveTo>
                  <a:lnTo>
                    <a:pt x="0" y="7"/>
                  </a:lnTo>
                  <a:lnTo>
                    <a:pt x="8" y="8"/>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6" name="Freeform 520">
              <a:extLst>
                <a:ext uri="{FF2B5EF4-FFF2-40B4-BE49-F238E27FC236}">
                  <a16:creationId xmlns:a16="http://schemas.microsoft.com/office/drawing/2014/main" id="{584FC5FD-8A8A-6BF5-8B70-812164FA4692}"/>
                </a:ext>
              </a:extLst>
            </p:cNvPr>
            <p:cNvSpPr>
              <a:spLocks/>
            </p:cNvSpPr>
            <p:nvPr/>
          </p:nvSpPr>
          <p:spPr bwMode="gray">
            <a:xfrm>
              <a:off x="11573822" y="5022094"/>
              <a:ext cx="41354" cy="66525"/>
            </a:xfrm>
            <a:custGeom>
              <a:avLst/>
              <a:gdLst>
                <a:gd name="T0" fmla="*/ 12 w 70"/>
                <a:gd name="T1" fmla="*/ 86 h 110"/>
                <a:gd name="T2" fmla="*/ 44 w 70"/>
                <a:gd name="T3" fmla="*/ 110 h 110"/>
                <a:gd name="T4" fmla="*/ 69 w 70"/>
                <a:gd name="T5" fmla="*/ 62 h 110"/>
                <a:gd name="T6" fmla="*/ 49 w 70"/>
                <a:gd name="T7" fmla="*/ 0 h 110"/>
                <a:gd name="T8" fmla="*/ 0 w 70"/>
                <a:gd name="T9" fmla="*/ 16 h 110"/>
                <a:gd name="T10" fmla="*/ 10 w 70"/>
                <a:gd name="T11" fmla="*/ 36 h 110"/>
                <a:gd name="T12" fmla="*/ 31 w 70"/>
                <a:gd name="T13" fmla="*/ 60 h 110"/>
                <a:gd name="T14" fmla="*/ 12 w 70"/>
                <a:gd name="T15" fmla="*/ 86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10">
                  <a:moveTo>
                    <a:pt x="12" y="86"/>
                  </a:moveTo>
                  <a:cubicBezTo>
                    <a:pt x="44" y="110"/>
                    <a:pt x="44" y="110"/>
                    <a:pt x="44" y="110"/>
                  </a:cubicBezTo>
                  <a:cubicBezTo>
                    <a:pt x="44" y="110"/>
                    <a:pt x="68" y="81"/>
                    <a:pt x="69" y="62"/>
                  </a:cubicBezTo>
                  <a:cubicBezTo>
                    <a:pt x="70" y="39"/>
                    <a:pt x="49" y="0"/>
                    <a:pt x="49" y="0"/>
                  </a:cubicBezTo>
                  <a:cubicBezTo>
                    <a:pt x="0" y="16"/>
                    <a:pt x="0" y="16"/>
                    <a:pt x="0" y="16"/>
                  </a:cubicBezTo>
                  <a:cubicBezTo>
                    <a:pt x="10" y="36"/>
                    <a:pt x="10" y="36"/>
                    <a:pt x="10" y="36"/>
                  </a:cubicBezTo>
                  <a:cubicBezTo>
                    <a:pt x="10" y="36"/>
                    <a:pt x="24" y="48"/>
                    <a:pt x="31" y="60"/>
                  </a:cubicBezTo>
                  <a:cubicBezTo>
                    <a:pt x="39" y="68"/>
                    <a:pt x="12" y="86"/>
                    <a:pt x="12" y="8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7" name="Freeform 521">
              <a:extLst>
                <a:ext uri="{FF2B5EF4-FFF2-40B4-BE49-F238E27FC236}">
                  <a16:creationId xmlns:a16="http://schemas.microsoft.com/office/drawing/2014/main" id="{0446478C-12E6-977A-EB6E-641257C43CA4}"/>
                </a:ext>
              </a:extLst>
            </p:cNvPr>
            <p:cNvSpPr>
              <a:spLocks/>
            </p:cNvSpPr>
            <p:nvPr/>
          </p:nvSpPr>
          <p:spPr bwMode="gray">
            <a:xfrm>
              <a:off x="11593598" y="5243245"/>
              <a:ext cx="34162" cy="32364"/>
            </a:xfrm>
            <a:custGeom>
              <a:avLst/>
              <a:gdLst>
                <a:gd name="T0" fmla="*/ 19 w 19"/>
                <a:gd name="T1" fmla="*/ 3 h 18"/>
                <a:gd name="T2" fmla="*/ 12 w 19"/>
                <a:gd name="T3" fmla="*/ 0 h 18"/>
                <a:gd name="T4" fmla="*/ 0 w 19"/>
                <a:gd name="T5" fmla="*/ 18 h 18"/>
                <a:gd name="T6" fmla="*/ 9 w 19"/>
                <a:gd name="T7" fmla="*/ 16 h 18"/>
                <a:gd name="T8" fmla="*/ 13 w 19"/>
                <a:gd name="T9" fmla="*/ 7 h 18"/>
                <a:gd name="T10" fmla="*/ 19 w 19"/>
                <a:gd name="T11" fmla="*/ 3 h 18"/>
              </a:gdLst>
              <a:ahLst/>
              <a:cxnLst>
                <a:cxn ang="0">
                  <a:pos x="T0" y="T1"/>
                </a:cxn>
                <a:cxn ang="0">
                  <a:pos x="T2" y="T3"/>
                </a:cxn>
                <a:cxn ang="0">
                  <a:pos x="T4" y="T5"/>
                </a:cxn>
                <a:cxn ang="0">
                  <a:pos x="T6" y="T7"/>
                </a:cxn>
                <a:cxn ang="0">
                  <a:pos x="T8" y="T9"/>
                </a:cxn>
                <a:cxn ang="0">
                  <a:pos x="T10" y="T11"/>
                </a:cxn>
              </a:cxnLst>
              <a:rect l="0" t="0" r="r" b="b"/>
              <a:pathLst>
                <a:path w="19" h="18">
                  <a:moveTo>
                    <a:pt x="19" y="3"/>
                  </a:moveTo>
                  <a:lnTo>
                    <a:pt x="12" y="0"/>
                  </a:lnTo>
                  <a:lnTo>
                    <a:pt x="0" y="18"/>
                  </a:lnTo>
                  <a:lnTo>
                    <a:pt x="9" y="16"/>
                  </a:lnTo>
                  <a:lnTo>
                    <a:pt x="13" y="7"/>
                  </a:lnTo>
                  <a:lnTo>
                    <a:pt x="19"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8" name="Freeform 522">
              <a:extLst>
                <a:ext uri="{FF2B5EF4-FFF2-40B4-BE49-F238E27FC236}">
                  <a16:creationId xmlns:a16="http://schemas.microsoft.com/office/drawing/2014/main" id="{2494FAE3-EDA4-D2ED-8463-275514ED08B3}"/>
                </a:ext>
              </a:extLst>
            </p:cNvPr>
            <p:cNvSpPr>
              <a:spLocks/>
            </p:cNvSpPr>
            <p:nvPr/>
          </p:nvSpPr>
          <p:spPr bwMode="gray">
            <a:xfrm>
              <a:off x="11604387" y="5138963"/>
              <a:ext cx="41354" cy="35959"/>
            </a:xfrm>
            <a:custGeom>
              <a:avLst/>
              <a:gdLst>
                <a:gd name="T0" fmla="*/ 16 w 69"/>
                <a:gd name="T1" fmla="*/ 19 h 60"/>
                <a:gd name="T2" fmla="*/ 11 w 69"/>
                <a:gd name="T3" fmla="*/ 60 h 60"/>
                <a:gd name="T4" fmla="*/ 38 w 69"/>
                <a:gd name="T5" fmla="*/ 43 h 60"/>
                <a:gd name="T6" fmla="*/ 52 w 69"/>
                <a:gd name="T7" fmla="*/ 43 h 60"/>
                <a:gd name="T8" fmla="*/ 65 w 69"/>
                <a:gd name="T9" fmla="*/ 17 h 60"/>
                <a:gd name="T10" fmla="*/ 69 w 69"/>
                <a:gd name="T11" fmla="*/ 6 h 60"/>
                <a:gd name="T12" fmla="*/ 42 w 69"/>
                <a:gd name="T13" fmla="*/ 20 h 60"/>
                <a:gd name="T14" fmla="*/ 16 w 69"/>
                <a:gd name="T15" fmla="*/ 1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0">
                  <a:moveTo>
                    <a:pt x="16" y="19"/>
                  </a:moveTo>
                  <a:cubicBezTo>
                    <a:pt x="0" y="41"/>
                    <a:pt x="11" y="60"/>
                    <a:pt x="11" y="60"/>
                  </a:cubicBezTo>
                  <a:cubicBezTo>
                    <a:pt x="38" y="43"/>
                    <a:pt x="38" y="43"/>
                    <a:pt x="38" y="43"/>
                  </a:cubicBezTo>
                  <a:cubicBezTo>
                    <a:pt x="52" y="43"/>
                    <a:pt x="52" y="43"/>
                    <a:pt x="52" y="43"/>
                  </a:cubicBezTo>
                  <a:cubicBezTo>
                    <a:pt x="65" y="17"/>
                    <a:pt x="65" y="17"/>
                    <a:pt x="65" y="17"/>
                  </a:cubicBezTo>
                  <a:cubicBezTo>
                    <a:pt x="69" y="6"/>
                    <a:pt x="69" y="6"/>
                    <a:pt x="69" y="6"/>
                  </a:cubicBezTo>
                  <a:cubicBezTo>
                    <a:pt x="42" y="20"/>
                    <a:pt x="42" y="20"/>
                    <a:pt x="42" y="20"/>
                  </a:cubicBezTo>
                  <a:cubicBezTo>
                    <a:pt x="42" y="20"/>
                    <a:pt x="32" y="0"/>
                    <a:pt x="16"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9" name="Freeform 523">
              <a:extLst>
                <a:ext uri="{FF2B5EF4-FFF2-40B4-BE49-F238E27FC236}">
                  <a16:creationId xmlns:a16="http://schemas.microsoft.com/office/drawing/2014/main" id="{3B127C39-EE7D-4DA9-AB42-068CC06C5398}"/>
                </a:ext>
              </a:extLst>
            </p:cNvPr>
            <p:cNvSpPr>
              <a:spLocks/>
            </p:cNvSpPr>
            <p:nvPr/>
          </p:nvSpPr>
          <p:spPr bwMode="gray">
            <a:xfrm>
              <a:off x="11667317" y="5178518"/>
              <a:ext cx="8991" cy="21576"/>
            </a:xfrm>
            <a:custGeom>
              <a:avLst/>
              <a:gdLst>
                <a:gd name="T0" fmla="*/ 5 w 5"/>
                <a:gd name="T1" fmla="*/ 0 h 12"/>
                <a:gd name="T2" fmla="*/ 0 w 5"/>
                <a:gd name="T3" fmla="*/ 3 h 12"/>
                <a:gd name="T4" fmla="*/ 4 w 5"/>
                <a:gd name="T5" fmla="*/ 12 h 12"/>
                <a:gd name="T6" fmla="*/ 5 w 5"/>
                <a:gd name="T7" fmla="*/ 0 h 12"/>
              </a:gdLst>
              <a:ahLst/>
              <a:cxnLst>
                <a:cxn ang="0">
                  <a:pos x="T0" y="T1"/>
                </a:cxn>
                <a:cxn ang="0">
                  <a:pos x="T2" y="T3"/>
                </a:cxn>
                <a:cxn ang="0">
                  <a:pos x="T4" y="T5"/>
                </a:cxn>
                <a:cxn ang="0">
                  <a:pos x="T6" y="T7"/>
                </a:cxn>
              </a:cxnLst>
              <a:rect l="0" t="0" r="r" b="b"/>
              <a:pathLst>
                <a:path w="5" h="12">
                  <a:moveTo>
                    <a:pt x="5" y="0"/>
                  </a:moveTo>
                  <a:lnTo>
                    <a:pt x="0" y="3"/>
                  </a:lnTo>
                  <a:lnTo>
                    <a:pt x="4" y="12"/>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0" name="Freeform 524">
              <a:extLst>
                <a:ext uri="{FF2B5EF4-FFF2-40B4-BE49-F238E27FC236}">
                  <a16:creationId xmlns:a16="http://schemas.microsoft.com/office/drawing/2014/main" id="{F0381AD8-1D78-ABC8-F677-D49E3D6972AF}"/>
                </a:ext>
              </a:extLst>
            </p:cNvPr>
            <p:cNvSpPr>
              <a:spLocks/>
            </p:cNvSpPr>
            <p:nvPr/>
          </p:nvSpPr>
          <p:spPr bwMode="gray">
            <a:xfrm>
              <a:off x="11598993" y="5318760"/>
              <a:ext cx="16183" cy="16183"/>
            </a:xfrm>
            <a:custGeom>
              <a:avLst/>
              <a:gdLst>
                <a:gd name="T0" fmla="*/ 0 w 9"/>
                <a:gd name="T1" fmla="*/ 9 h 9"/>
                <a:gd name="T2" fmla="*/ 9 w 9"/>
                <a:gd name="T3" fmla="*/ 6 h 9"/>
                <a:gd name="T4" fmla="*/ 3 w 9"/>
                <a:gd name="T5" fmla="*/ 0 h 9"/>
                <a:gd name="T6" fmla="*/ 0 w 9"/>
                <a:gd name="T7" fmla="*/ 9 h 9"/>
              </a:gdLst>
              <a:ahLst/>
              <a:cxnLst>
                <a:cxn ang="0">
                  <a:pos x="T0" y="T1"/>
                </a:cxn>
                <a:cxn ang="0">
                  <a:pos x="T2" y="T3"/>
                </a:cxn>
                <a:cxn ang="0">
                  <a:pos x="T4" y="T5"/>
                </a:cxn>
                <a:cxn ang="0">
                  <a:pos x="T6" y="T7"/>
                </a:cxn>
              </a:cxnLst>
              <a:rect l="0" t="0" r="r" b="b"/>
              <a:pathLst>
                <a:path w="9" h="9">
                  <a:moveTo>
                    <a:pt x="0" y="9"/>
                  </a:moveTo>
                  <a:lnTo>
                    <a:pt x="9" y="6"/>
                  </a:lnTo>
                  <a:lnTo>
                    <a:pt x="3" y="0"/>
                  </a:lnTo>
                  <a:lnTo>
                    <a:pt x="0"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1" name="Freeform 525">
              <a:extLst>
                <a:ext uri="{FF2B5EF4-FFF2-40B4-BE49-F238E27FC236}">
                  <a16:creationId xmlns:a16="http://schemas.microsoft.com/office/drawing/2014/main" id="{14105C34-2BB8-4A41-5FEC-5C75F9CCBE7C}"/>
                </a:ext>
              </a:extLst>
            </p:cNvPr>
            <p:cNvSpPr>
              <a:spLocks/>
            </p:cNvSpPr>
            <p:nvPr/>
          </p:nvSpPr>
          <p:spPr bwMode="gray">
            <a:xfrm>
              <a:off x="11658327" y="5279205"/>
              <a:ext cx="21576" cy="25171"/>
            </a:xfrm>
            <a:custGeom>
              <a:avLst/>
              <a:gdLst>
                <a:gd name="T0" fmla="*/ 0 w 12"/>
                <a:gd name="T1" fmla="*/ 6 h 14"/>
                <a:gd name="T2" fmla="*/ 3 w 12"/>
                <a:gd name="T3" fmla="*/ 14 h 14"/>
                <a:gd name="T4" fmla="*/ 12 w 12"/>
                <a:gd name="T5" fmla="*/ 3 h 14"/>
                <a:gd name="T6" fmla="*/ 8 w 12"/>
                <a:gd name="T7" fmla="*/ 0 h 14"/>
                <a:gd name="T8" fmla="*/ 0 w 12"/>
                <a:gd name="T9" fmla="*/ 6 h 14"/>
              </a:gdLst>
              <a:ahLst/>
              <a:cxnLst>
                <a:cxn ang="0">
                  <a:pos x="T0" y="T1"/>
                </a:cxn>
                <a:cxn ang="0">
                  <a:pos x="T2" y="T3"/>
                </a:cxn>
                <a:cxn ang="0">
                  <a:pos x="T4" y="T5"/>
                </a:cxn>
                <a:cxn ang="0">
                  <a:pos x="T6" y="T7"/>
                </a:cxn>
                <a:cxn ang="0">
                  <a:pos x="T8" y="T9"/>
                </a:cxn>
              </a:cxnLst>
              <a:rect l="0" t="0" r="r" b="b"/>
              <a:pathLst>
                <a:path w="12" h="14">
                  <a:moveTo>
                    <a:pt x="0" y="6"/>
                  </a:moveTo>
                  <a:lnTo>
                    <a:pt x="3" y="14"/>
                  </a:lnTo>
                  <a:lnTo>
                    <a:pt x="12" y="3"/>
                  </a:lnTo>
                  <a:lnTo>
                    <a:pt x="8"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2" name="Freeform 526">
              <a:extLst>
                <a:ext uri="{FF2B5EF4-FFF2-40B4-BE49-F238E27FC236}">
                  <a16:creationId xmlns:a16="http://schemas.microsoft.com/office/drawing/2014/main" id="{60B76B01-9479-3EAF-883A-2A20612390C4}"/>
                </a:ext>
              </a:extLst>
            </p:cNvPr>
            <p:cNvSpPr>
              <a:spLocks/>
            </p:cNvSpPr>
            <p:nvPr/>
          </p:nvSpPr>
          <p:spPr bwMode="gray">
            <a:xfrm>
              <a:off x="11652933" y="5144355"/>
              <a:ext cx="12586" cy="12586"/>
            </a:xfrm>
            <a:custGeom>
              <a:avLst/>
              <a:gdLst>
                <a:gd name="T0" fmla="*/ 4 w 7"/>
                <a:gd name="T1" fmla="*/ 0 h 7"/>
                <a:gd name="T2" fmla="*/ 0 w 7"/>
                <a:gd name="T3" fmla="*/ 6 h 7"/>
                <a:gd name="T4" fmla="*/ 7 w 7"/>
                <a:gd name="T5" fmla="*/ 7 h 7"/>
                <a:gd name="T6" fmla="*/ 4 w 7"/>
                <a:gd name="T7" fmla="*/ 0 h 7"/>
              </a:gdLst>
              <a:ahLst/>
              <a:cxnLst>
                <a:cxn ang="0">
                  <a:pos x="T0" y="T1"/>
                </a:cxn>
                <a:cxn ang="0">
                  <a:pos x="T2" y="T3"/>
                </a:cxn>
                <a:cxn ang="0">
                  <a:pos x="T4" y="T5"/>
                </a:cxn>
                <a:cxn ang="0">
                  <a:pos x="T6" y="T7"/>
                </a:cxn>
              </a:cxnLst>
              <a:rect l="0" t="0" r="r" b="b"/>
              <a:pathLst>
                <a:path w="7" h="7">
                  <a:moveTo>
                    <a:pt x="4" y="0"/>
                  </a:moveTo>
                  <a:lnTo>
                    <a:pt x="0" y="6"/>
                  </a:lnTo>
                  <a:lnTo>
                    <a:pt x="7" y="7"/>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3" name="Freeform 527">
              <a:extLst>
                <a:ext uri="{FF2B5EF4-FFF2-40B4-BE49-F238E27FC236}">
                  <a16:creationId xmlns:a16="http://schemas.microsoft.com/office/drawing/2014/main" id="{AB1EFE2A-4917-8CAB-38BC-C2AD24A278C7}"/>
                </a:ext>
              </a:extLst>
            </p:cNvPr>
            <p:cNvSpPr>
              <a:spLocks/>
            </p:cNvSpPr>
            <p:nvPr/>
          </p:nvSpPr>
          <p:spPr bwMode="gray">
            <a:xfrm>
              <a:off x="11543256" y="5027488"/>
              <a:ext cx="7192" cy="14383"/>
            </a:xfrm>
            <a:custGeom>
              <a:avLst/>
              <a:gdLst>
                <a:gd name="T0" fmla="*/ 3 w 4"/>
                <a:gd name="T1" fmla="*/ 0 h 8"/>
                <a:gd name="T2" fmla="*/ 0 w 4"/>
                <a:gd name="T3" fmla="*/ 1 h 8"/>
                <a:gd name="T4" fmla="*/ 2 w 4"/>
                <a:gd name="T5" fmla="*/ 8 h 8"/>
                <a:gd name="T6" fmla="*/ 4 w 4"/>
                <a:gd name="T7" fmla="*/ 6 h 8"/>
                <a:gd name="T8" fmla="*/ 3 w 4"/>
                <a:gd name="T9" fmla="*/ 0 h 8"/>
              </a:gdLst>
              <a:ahLst/>
              <a:cxnLst>
                <a:cxn ang="0">
                  <a:pos x="T0" y="T1"/>
                </a:cxn>
                <a:cxn ang="0">
                  <a:pos x="T2" y="T3"/>
                </a:cxn>
                <a:cxn ang="0">
                  <a:pos x="T4" y="T5"/>
                </a:cxn>
                <a:cxn ang="0">
                  <a:pos x="T6" y="T7"/>
                </a:cxn>
                <a:cxn ang="0">
                  <a:pos x="T8" y="T9"/>
                </a:cxn>
              </a:cxnLst>
              <a:rect l="0" t="0" r="r" b="b"/>
              <a:pathLst>
                <a:path w="4" h="8">
                  <a:moveTo>
                    <a:pt x="3" y="0"/>
                  </a:moveTo>
                  <a:lnTo>
                    <a:pt x="0" y="1"/>
                  </a:lnTo>
                  <a:lnTo>
                    <a:pt x="2" y="8"/>
                  </a:lnTo>
                  <a:lnTo>
                    <a:pt x="4"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4" name="Freeform 528">
              <a:extLst>
                <a:ext uri="{FF2B5EF4-FFF2-40B4-BE49-F238E27FC236}">
                  <a16:creationId xmlns:a16="http://schemas.microsoft.com/office/drawing/2014/main" id="{F02E9C75-B2FF-4CB8-D86D-62992A6A3809}"/>
                </a:ext>
              </a:extLst>
            </p:cNvPr>
            <p:cNvSpPr>
              <a:spLocks/>
            </p:cNvSpPr>
            <p:nvPr/>
          </p:nvSpPr>
          <p:spPr bwMode="gray">
            <a:xfrm>
              <a:off x="11516286" y="5234255"/>
              <a:ext cx="21576" cy="26971"/>
            </a:xfrm>
            <a:custGeom>
              <a:avLst/>
              <a:gdLst>
                <a:gd name="T0" fmla="*/ 12 w 34"/>
                <a:gd name="T1" fmla="*/ 0 h 46"/>
                <a:gd name="T2" fmla="*/ 4 w 34"/>
                <a:gd name="T3" fmla="*/ 15 h 46"/>
                <a:gd name="T4" fmla="*/ 18 w 34"/>
                <a:gd name="T5" fmla="*/ 38 h 46"/>
                <a:gd name="T6" fmla="*/ 34 w 34"/>
                <a:gd name="T7" fmla="*/ 1 h 46"/>
                <a:gd name="T8" fmla="*/ 12 w 34"/>
                <a:gd name="T9" fmla="*/ 0 h 46"/>
              </a:gdLst>
              <a:ahLst/>
              <a:cxnLst>
                <a:cxn ang="0">
                  <a:pos x="T0" y="T1"/>
                </a:cxn>
                <a:cxn ang="0">
                  <a:pos x="T2" y="T3"/>
                </a:cxn>
                <a:cxn ang="0">
                  <a:pos x="T4" y="T5"/>
                </a:cxn>
                <a:cxn ang="0">
                  <a:pos x="T6" y="T7"/>
                </a:cxn>
                <a:cxn ang="0">
                  <a:pos x="T8" y="T9"/>
                </a:cxn>
              </a:cxnLst>
              <a:rect l="0" t="0" r="r" b="b"/>
              <a:pathLst>
                <a:path w="34" h="46">
                  <a:moveTo>
                    <a:pt x="12" y="0"/>
                  </a:moveTo>
                  <a:cubicBezTo>
                    <a:pt x="12" y="0"/>
                    <a:pt x="4" y="7"/>
                    <a:pt x="4" y="15"/>
                  </a:cubicBezTo>
                  <a:cubicBezTo>
                    <a:pt x="0" y="26"/>
                    <a:pt x="10" y="46"/>
                    <a:pt x="18" y="38"/>
                  </a:cubicBezTo>
                  <a:cubicBezTo>
                    <a:pt x="29" y="27"/>
                    <a:pt x="34" y="1"/>
                    <a:pt x="34" y="1"/>
                  </a:cubicBezTo>
                  <a:lnTo>
                    <a:pt x="1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5" name="Freeform 529">
              <a:extLst>
                <a:ext uri="{FF2B5EF4-FFF2-40B4-BE49-F238E27FC236}">
                  <a16:creationId xmlns:a16="http://schemas.microsoft.com/office/drawing/2014/main" id="{58EE8185-9EFE-57DE-0F71-3DD982115F14}"/>
                </a:ext>
              </a:extLst>
            </p:cNvPr>
            <p:cNvSpPr>
              <a:spLocks/>
            </p:cNvSpPr>
            <p:nvPr/>
          </p:nvSpPr>
          <p:spPr bwMode="gray">
            <a:xfrm>
              <a:off x="11539659" y="5275609"/>
              <a:ext cx="19778" cy="23374"/>
            </a:xfrm>
            <a:custGeom>
              <a:avLst/>
              <a:gdLst>
                <a:gd name="T0" fmla="*/ 11 w 11"/>
                <a:gd name="T1" fmla="*/ 9 h 13"/>
                <a:gd name="T2" fmla="*/ 0 w 11"/>
                <a:gd name="T3" fmla="*/ 0 h 13"/>
                <a:gd name="T4" fmla="*/ 0 w 11"/>
                <a:gd name="T5" fmla="*/ 7 h 13"/>
                <a:gd name="T6" fmla="*/ 8 w 11"/>
                <a:gd name="T7" fmla="*/ 13 h 13"/>
                <a:gd name="T8" fmla="*/ 11 w 11"/>
                <a:gd name="T9" fmla="*/ 9 h 13"/>
              </a:gdLst>
              <a:ahLst/>
              <a:cxnLst>
                <a:cxn ang="0">
                  <a:pos x="T0" y="T1"/>
                </a:cxn>
                <a:cxn ang="0">
                  <a:pos x="T2" y="T3"/>
                </a:cxn>
                <a:cxn ang="0">
                  <a:pos x="T4" y="T5"/>
                </a:cxn>
                <a:cxn ang="0">
                  <a:pos x="T6" y="T7"/>
                </a:cxn>
                <a:cxn ang="0">
                  <a:pos x="T8" y="T9"/>
                </a:cxn>
              </a:cxnLst>
              <a:rect l="0" t="0" r="r" b="b"/>
              <a:pathLst>
                <a:path w="11" h="13">
                  <a:moveTo>
                    <a:pt x="11" y="9"/>
                  </a:moveTo>
                  <a:lnTo>
                    <a:pt x="0" y="0"/>
                  </a:lnTo>
                  <a:lnTo>
                    <a:pt x="0" y="7"/>
                  </a:lnTo>
                  <a:lnTo>
                    <a:pt x="8" y="13"/>
                  </a:lnTo>
                  <a:lnTo>
                    <a:pt x="11"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6" name="Freeform 530">
              <a:extLst>
                <a:ext uri="{FF2B5EF4-FFF2-40B4-BE49-F238E27FC236}">
                  <a16:creationId xmlns:a16="http://schemas.microsoft.com/office/drawing/2014/main" id="{2B4CA8B6-3AE0-57D5-15D7-2BBF57A3474F}"/>
                </a:ext>
              </a:extLst>
            </p:cNvPr>
            <p:cNvSpPr>
              <a:spLocks/>
            </p:cNvSpPr>
            <p:nvPr/>
          </p:nvSpPr>
          <p:spPr bwMode="gray">
            <a:xfrm>
              <a:off x="11509095" y="5286397"/>
              <a:ext cx="23374" cy="19778"/>
            </a:xfrm>
            <a:custGeom>
              <a:avLst/>
              <a:gdLst>
                <a:gd name="T0" fmla="*/ 8 w 13"/>
                <a:gd name="T1" fmla="*/ 0 h 11"/>
                <a:gd name="T2" fmla="*/ 0 w 13"/>
                <a:gd name="T3" fmla="*/ 11 h 11"/>
                <a:gd name="T4" fmla="*/ 13 w 13"/>
                <a:gd name="T5" fmla="*/ 5 h 11"/>
                <a:gd name="T6" fmla="*/ 8 w 13"/>
                <a:gd name="T7" fmla="*/ 0 h 11"/>
              </a:gdLst>
              <a:ahLst/>
              <a:cxnLst>
                <a:cxn ang="0">
                  <a:pos x="T0" y="T1"/>
                </a:cxn>
                <a:cxn ang="0">
                  <a:pos x="T2" y="T3"/>
                </a:cxn>
                <a:cxn ang="0">
                  <a:pos x="T4" y="T5"/>
                </a:cxn>
                <a:cxn ang="0">
                  <a:pos x="T6" y="T7"/>
                </a:cxn>
              </a:cxnLst>
              <a:rect l="0" t="0" r="r" b="b"/>
              <a:pathLst>
                <a:path w="13" h="11">
                  <a:moveTo>
                    <a:pt x="8" y="0"/>
                  </a:moveTo>
                  <a:lnTo>
                    <a:pt x="0" y="11"/>
                  </a:lnTo>
                  <a:lnTo>
                    <a:pt x="13" y="5"/>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7" name="Freeform 531">
              <a:extLst>
                <a:ext uri="{FF2B5EF4-FFF2-40B4-BE49-F238E27FC236}">
                  <a16:creationId xmlns:a16="http://schemas.microsoft.com/office/drawing/2014/main" id="{27C6BCD5-0099-88E6-4E9E-1399D916DD85}"/>
                </a:ext>
              </a:extLst>
            </p:cNvPr>
            <p:cNvSpPr>
              <a:spLocks/>
            </p:cNvSpPr>
            <p:nvPr/>
          </p:nvSpPr>
          <p:spPr bwMode="gray">
            <a:xfrm>
              <a:off x="11491115" y="5300780"/>
              <a:ext cx="16183" cy="16183"/>
            </a:xfrm>
            <a:custGeom>
              <a:avLst/>
              <a:gdLst>
                <a:gd name="T0" fmla="*/ 9 w 9"/>
                <a:gd name="T1" fmla="*/ 5 h 9"/>
                <a:gd name="T2" fmla="*/ 2 w 9"/>
                <a:gd name="T3" fmla="*/ 0 h 9"/>
                <a:gd name="T4" fmla="*/ 0 w 9"/>
                <a:gd name="T5" fmla="*/ 2 h 9"/>
                <a:gd name="T6" fmla="*/ 7 w 9"/>
                <a:gd name="T7" fmla="*/ 9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lnTo>
                    <a:pt x="2" y="0"/>
                  </a:lnTo>
                  <a:lnTo>
                    <a:pt x="0" y="2"/>
                  </a:lnTo>
                  <a:lnTo>
                    <a:pt x="7" y="9"/>
                  </a:lnTo>
                  <a:lnTo>
                    <a:pt x="9"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8" name="Freeform 532">
              <a:extLst>
                <a:ext uri="{FF2B5EF4-FFF2-40B4-BE49-F238E27FC236}">
                  <a16:creationId xmlns:a16="http://schemas.microsoft.com/office/drawing/2014/main" id="{6DF4127B-921B-67F3-DD0B-4CBCCDCDEC57}"/>
                </a:ext>
              </a:extLst>
            </p:cNvPr>
            <p:cNvSpPr>
              <a:spLocks/>
            </p:cNvSpPr>
            <p:nvPr/>
          </p:nvSpPr>
          <p:spPr bwMode="gray">
            <a:xfrm>
              <a:off x="11485720" y="5185711"/>
              <a:ext cx="12586" cy="17980"/>
            </a:xfrm>
            <a:custGeom>
              <a:avLst/>
              <a:gdLst>
                <a:gd name="T0" fmla="*/ 3 w 7"/>
                <a:gd name="T1" fmla="*/ 0 h 10"/>
                <a:gd name="T2" fmla="*/ 0 w 7"/>
                <a:gd name="T3" fmla="*/ 0 h 10"/>
                <a:gd name="T4" fmla="*/ 0 w 7"/>
                <a:gd name="T5" fmla="*/ 10 h 10"/>
                <a:gd name="T6" fmla="*/ 7 w 7"/>
                <a:gd name="T7" fmla="*/ 8 h 10"/>
                <a:gd name="T8" fmla="*/ 3 w 7"/>
                <a:gd name="T9" fmla="*/ 0 h 10"/>
              </a:gdLst>
              <a:ahLst/>
              <a:cxnLst>
                <a:cxn ang="0">
                  <a:pos x="T0" y="T1"/>
                </a:cxn>
                <a:cxn ang="0">
                  <a:pos x="T2" y="T3"/>
                </a:cxn>
                <a:cxn ang="0">
                  <a:pos x="T4" y="T5"/>
                </a:cxn>
                <a:cxn ang="0">
                  <a:pos x="T6" y="T7"/>
                </a:cxn>
                <a:cxn ang="0">
                  <a:pos x="T8" y="T9"/>
                </a:cxn>
              </a:cxnLst>
              <a:rect l="0" t="0" r="r" b="b"/>
              <a:pathLst>
                <a:path w="7" h="10">
                  <a:moveTo>
                    <a:pt x="3" y="0"/>
                  </a:moveTo>
                  <a:lnTo>
                    <a:pt x="0" y="0"/>
                  </a:lnTo>
                  <a:lnTo>
                    <a:pt x="0" y="10"/>
                  </a:lnTo>
                  <a:lnTo>
                    <a:pt x="7" y="8"/>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9" name="Freeform 533">
              <a:extLst>
                <a:ext uri="{FF2B5EF4-FFF2-40B4-BE49-F238E27FC236}">
                  <a16:creationId xmlns:a16="http://schemas.microsoft.com/office/drawing/2014/main" id="{13A39190-EC53-1FE5-3198-E8F54D0A6315}"/>
                </a:ext>
              </a:extLst>
            </p:cNvPr>
            <p:cNvSpPr>
              <a:spLocks/>
            </p:cNvSpPr>
            <p:nvPr/>
          </p:nvSpPr>
          <p:spPr bwMode="gray">
            <a:xfrm>
              <a:off x="11505498" y="5246841"/>
              <a:ext cx="10788" cy="12586"/>
            </a:xfrm>
            <a:custGeom>
              <a:avLst/>
              <a:gdLst>
                <a:gd name="T0" fmla="*/ 5 w 6"/>
                <a:gd name="T1" fmla="*/ 0 h 7"/>
                <a:gd name="T2" fmla="*/ 0 w 6"/>
                <a:gd name="T3" fmla="*/ 6 h 7"/>
                <a:gd name="T4" fmla="*/ 6 w 6"/>
                <a:gd name="T5" fmla="*/ 7 h 7"/>
                <a:gd name="T6" fmla="*/ 5 w 6"/>
                <a:gd name="T7" fmla="*/ 0 h 7"/>
              </a:gdLst>
              <a:ahLst/>
              <a:cxnLst>
                <a:cxn ang="0">
                  <a:pos x="T0" y="T1"/>
                </a:cxn>
                <a:cxn ang="0">
                  <a:pos x="T2" y="T3"/>
                </a:cxn>
                <a:cxn ang="0">
                  <a:pos x="T4" y="T5"/>
                </a:cxn>
                <a:cxn ang="0">
                  <a:pos x="T6" y="T7"/>
                </a:cxn>
              </a:cxnLst>
              <a:rect l="0" t="0" r="r" b="b"/>
              <a:pathLst>
                <a:path w="6" h="7">
                  <a:moveTo>
                    <a:pt x="5" y="0"/>
                  </a:moveTo>
                  <a:lnTo>
                    <a:pt x="0" y="6"/>
                  </a:lnTo>
                  <a:lnTo>
                    <a:pt x="6" y="7"/>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0" name="Freeform 534">
              <a:extLst>
                <a:ext uri="{FF2B5EF4-FFF2-40B4-BE49-F238E27FC236}">
                  <a16:creationId xmlns:a16="http://schemas.microsoft.com/office/drawing/2014/main" id="{4E7519F4-3030-7D88-FCAB-63A894F167D2}"/>
                </a:ext>
              </a:extLst>
            </p:cNvPr>
            <p:cNvSpPr>
              <a:spLocks/>
            </p:cNvSpPr>
            <p:nvPr/>
          </p:nvSpPr>
          <p:spPr bwMode="gray">
            <a:xfrm>
              <a:off x="11528871" y="5182114"/>
              <a:ext cx="21576" cy="8991"/>
            </a:xfrm>
            <a:custGeom>
              <a:avLst/>
              <a:gdLst>
                <a:gd name="T0" fmla="*/ 4 w 12"/>
                <a:gd name="T1" fmla="*/ 0 h 5"/>
                <a:gd name="T2" fmla="*/ 0 w 12"/>
                <a:gd name="T3" fmla="*/ 4 h 5"/>
                <a:gd name="T4" fmla="*/ 5 w 12"/>
                <a:gd name="T5" fmla="*/ 5 h 5"/>
                <a:gd name="T6" fmla="*/ 12 w 12"/>
                <a:gd name="T7" fmla="*/ 0 h 5"/>
                <a:gd name="T8" fmla="*/ 4 w 12"/>
                <a:gd name="T9" fmla="*/ 0 h 5"/>
              </a:gdLst>
              <a:ahLst/>
              <a:cxnLst>
                <a:cxn ang="0">
                  <a:pos x="T0" y="T1"/>
                </a:cxn>
                <a:cxn ang="0">
                  <a:pos x="T2" y="T3"/>
                </a:cxn>
                <a:cxn ang="0">
                  <a:pos x="T4" y="T5"/>
                </a:cxn>
                <a:cxn ang="0">
                  <a:pos x="T6" y="T7"/>
                </a:cxn>
                <a:cxn ang="0">
                  <a:pos x="T8" y="T9"/>
                </a:cxn>
              </a:cxnLst>
              <a:rect l="0" t="0" r="r" b="b"/>
              <a:pathLst>
                <a:path w="12" h="5">
                  <a:moveTo>
                    <a:pt x="4" y="0"/>
                  </a:moveTo>
                  <a:lnTo>
                    <a:pt x="0" y="4"/>
                  </a:lnTo>
                  <a:lnTo>
                    <a:pt x="5" y="5"/>
                  </a:lnTo>
                  <a:lnTo>
                    <a:pt x="12" y="0"/>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1" name="Freeform 535">
              <a:extLst>
                <a:ext uri="{FF2B5EF4-FFF2-40B4-BE49-F238E27FC236}">
                  <a16:creationId xmlns:a16="http://schemas.microsoft.com/office/drawing/2014/main" id="{6397BB42-D18E-411B-6859-4696B41FCC61}"/>
                </a:ext>
              </a:extLst>
            </p:cNvPr>
            <p:cNvSpPr>
              <a:spLocks/>
            </p:cNvSpPr>
            <p:nvPr/>
          </p:nvSpPr>
          <p:spPr bwMode="gray">
            <a:xfrm>
              <a:off x="11719457" y="5219871"/>
              <a:ext cx="17980" cy="16183"/>
            </a:xfrm>
            <a:custGeom>
              <a:avLst/>
              <a:gdLst>
                <a:gd name="T0" fmla="*/ 8 w 10"/>
                <a:gd name="T1" fmla="*/ 0 h 9"/>
                <a:gd name="T2" fmla="*/ 0 w 10"/>
                <a:gd name="T3" fmla="*/ 0 h 9"/>
                <a:gd name="T4" fmla="*/ 2 w 10"/>
                <a:gd name="T5" fmla="*/ 9 h 9"/>
                <a:gd name="T6" fmla="*/ 10 w 10"/>
                <a:gd name="T7" fmla="*/ 8 h 9"/>
                <a:gd name="T8" fmla="*/ 8 w 10"/>
                <a:gd name="T9" fmla="*/ 0 h 9"/>
              </a:gdLst>
              <a:ahLst/>
              <a:cxnLst>
                <a:cxn ang="0">
                  <a:pos x="T0" y="T1"/>
                </a:cxn>
                <a:cxn ang="0">
                  <a:pos x="T2" y="T3"/>
                </a:cxn>
                <a:cxn ang="0">
                  <a:pos x="T4" y="T5"/>
                </a:cxn>
                <a:cxn ang="0">
                  <a:pos x="T6" y="T7"/>
                </a:cxn>
                <a:cxn ang="0">
                  <a:pos x="T8" y="T9"/>
                </a:cxn>
              </a:cxnLst>
              <a:rect l="0" t="0" r="r" b="b"/>
              <a:pathLst>
                <a:path w="10" h="9">
                  <a:moveTo>
                    <a:pt x="8" y="0"/>
                  </a:moveTo>
                  <a:lnTo>
                    <a:pt x="0" y="0"/>
                  </a:lnTo>
                  <a:lnTo>
                    <a:pt x="2" y="9"/>
                  </a:lnTo>
                  <a:lnTo>
                    <a:pt x="10" y="8"/>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2" name="Freeform 536">
              <a:extLst>
                <a:ext uri="{FF2B5EF4-FFF2-40B4-BE49-F238E27FC236}">
                  <a16:creationId xmlns:a16="http://schemas.microsoft.com/office/drawing/2014/main" id="{E0F5FD57-227B-A7A5-5F50-B0BCE27072EC}"/>
                </a:ext>
              </a:extLst>
            </p:cNvPr>
            <p:cNvSpPr>
              <a:spLocks/>
            </p:cNvSpPr>
            <p:nvPr/>
          </p:nvSpPr>
          <p:spPr bwMode="gray">
            <a:xfrm>
              <a:off x="11699681" y="5201891"/>
              <a:ext cx="16183" cy="12586"/>
            </a:xfrm>
            <a:custGeom>
              <a:avLst/>
              <a:gdLst>
                <a:gd name="T0" fmla="*/ 0 w 9"/>
                <a:gd name="T1" fmla="*/ 1 h 7"/>
                <a:gd name="T2" fmla="*/ 4 w 9"/>
                <a:gd name="T3" fmla="*/ 7 h 7"/>
                <a:gd name="T4" fmla="*/ 9 w 9"/>
                <a:gd name="T5" fmla="*/ 6 h 7"/>
                <a:gd name="T6" fmla="*/ 5 w 9"/>
                <a:gd name="T7" fmla="*/ 0 h 7"/>
                <a:gd name="T8" fmla="*/ 0 w 9"/>
                <a:gd name="T9" fmla="*/ 1 h 7"/>
              </a:gdLst>
              <a:ahLst/>
              <a:cxnLst>
                <a:cxn ang="0">
                  <a:pos x="T0" y="T1"/>
                </a:cxn>
                <a:cxn ang="0">
                  <a:pos x="T2" y="T3"/>
                </a:cxn>
                <a:cxn ang="0">
                  <a:pos x="T4" y="T5"/>
                </a:cxn>
                <a:cxn ang="0">
                  <a:pos x="T6" y="T7"/>
                </a:cxn>
                <a:cxn ang="0">
                  <a:pos x="T8" y="T9"/>
                </a:cxn>
              </a:cxnLst>
              <a:rect l="0" t="0" r="r" b="b"/>
              <a:pathLst>
                <a:path w="9" h="7">
                  <a:moveTo>
                    <a:pt x="0" y="1"/>
                  </a:moveTo>
                  <a:lnTo>
                    <a:pt x="4" y="7"/>
                  </a:lnTo>
                  <a:lnTo>
                    <a:pt x="9" y="6"/>
                  </a:lnTo>
                  <a:lnTo>
                    <a:pt x="5"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3" name="Freeform 537">
              <a:extLst>
                <a:ext uri="{FF2B5EF4-FFF2-40B4-BE49-F238E27FC236}">
                  <a16:creationId xmlns:a16="http://schemas.microsoft.com/office/drawing/2014/main" id="{95CFBC58-98FB-A8C2-1D6A-9824D56101F7}"/>
                </a:ext>
              </a:extLst>
            </p:cNvPr>
            <p:cNvSpPr>
              <a:spLocks/>
            </p:cNvSpPr>
            <p:nvPr/>
          </p:nvSpPr>
          <p:spPr bwMode="gray">
            <a:xfrm>
              <a:off x="11298731" y="4971750"/>
              <a:ext cx="17980" cy="12586"/>
            </a:xfrm>
            <a:custGeom>
              <a:avLst/>
              <a:gdLst>
                <a:gd name="T0" fmla="*/ 0 w 10"/>
                <a:gd name="T1" fmla="*/ 5 h 7"/>
                <a:gd name="T2" fmla="*/ 5 w 10"/>
                <a:gd name="T3" fmla="*/ 7 h 7"/>
                <a:gd name="T4" fmla="*/ 10 w 10"/>
                <a:gd name="T5" fmla="*/ 3 h 7"/>
                <a:gd name="T6" fmla="*/ 5 w 10"/>
                <a:gd name="T7" fmla="*/ 0 h 7"/>
                <a:gd name="T8" fmla="*/ 0 w 10"/>
                <a:gd name="T9" fmla="*/ 5 h 7"/>
              </a:gdLst>
              <a:ahLst/>
              <a:cxnLst>
                <a:cxn ang="0">
                  <a:pos x="T0" y="T1"/>
                </a:cxn>
                <a:cxn ang="0">
                  <a:pos x="T2" y="T3"/>
                </a:cxn>
                <a:cxn ang="0">
                  <a:pos x="T4" y="T5"/>
                </a:cxn>
                <a:cxn ang="0">
                  <a:pos x="T6" y="T7"/>
                </a:cxn>
                <a:cxn ang="0">
                  <a:pos x="T8" y="T9"/>
                </a:cxn>
              </a:cxnLst>
              <a:rect l="0" t="0" r="r" b="b"/>
              <a:pathLst>
                <a:path w="10" h="7">
                  <a:moveTo>
                    <a:pt x="0" y="5"/>
                  </a:moveTo>
                  <a:lnTo>
                    <a:pt x="5" y="7"/>
                  </a:lnTo>
                  <a:lnTo>
                    <a:pt x="10" y="3"/>
                  </a:lnTo>
                  <a:lnTo>
                    <a:pt x="5"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4" name="Freeform 538">
              <a:extLst>
                <a:ext uri="{FF2B5EF4-FFF2-40B4-BE49-F238E27FC236}">
                  <a16:creationId xmlns:a16="http://schemas.microsoft.com/office/drawing/2014/main" id="{660CA602-18F9-7392-07DE-1F2C5A92C3B0}"/>
                </a:ext>
              </a:extLst>
            </p:cNvPr>
            <p:cNvSpPr>
              <a:spLocks/>
            </p:cNvSpPr>
            <p:nvPr/>
          </p:nvSpPr>
          <p:spPr bwMode="gray">
            <a:xfrm>
              <a:off x="11796771" y="5315165"/>
              <a:ext cx="19778" cy="14383"/>
            </a:xfrm>
            <a:custGeom>
              <a:avLst/>
              <a:gdLst>
                <a:gd name="T0" fmla="*/ 19 w 34"/>
                <a:gd name="T1" fmla="*/ 7 h 22"/>
                <a:gd name="T2" fmla="*/ 18 w 34"/>
                <a:gd name="T3" fmla="*/ 18 h 22"/>
                <a:gd name="T4" fmla="*/ 19 w 34"/>
                <a:gd name="T5" fmla="*/ 7 h 22"/>
              </a:gdLst>
              <a:ahLst/>
              <a:cxnLst>
                <a:cxn ang="0">
                  <a:pos x="T0" y="T1"/>
                </a:cxn>
                <a:cxn ang="0">
                  <a:pos x="T2" y="T3"/>
                </a:cxn>
                <a:cxn ang="0">
                  <a:pos x="T4" y="T5"/>
                </a:cxn>
              </a:cxnLst>
              <a:rect l="0" t="0" r="r" b="b"/>
              <a:pathLst>
                <a:path w="34" h="22">
                  <a:moveTo>
                    <a:pt x="19" y="7"/>
                  </a:moveTo>
                  <a:cubicBezTo>
                    <a:pt x="0" y="14"/>
                    <a:pt x="7" y="22"/>
                    <a:pt x="18" y="18"/>
                  </a:cubicBezTo>
                  <a:cubicBezTo>
                    <a:pt x="33" y="19"/>
                    <a:pt x="34" y="0"/>
                    <a:pt x="19"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5" name="Freeform 539">
              <a:extLst>
                <a:ext uri="{FF2B5EF4-FFF2-40B4-BE49-F238E27FC236}">
                  <a16:creationId xmlns:a16="http://schemas.microsoft.com/office/drawing/2014/main" id="{4C4687DA-045D-2AC3-2067-469044A15935}"/>
                </a:ext>
              </a:extLst>
            </p:cNvPr>
            <p:cNvSpPr>
              <a:spLocks/>
            </p:cNvSpPr>
            <p:nvPr/>
          </p:nvSpPr>
          <p:spPr bwMode="gray">
            <a:xfrm>
              <a:off x="11431781" y="5198296"/>
              <a:ext cx="10788" cy="26971"/>
            </a:xfrm>
            <a:custGeom>
              <a:avLst/>
              <a:gdLst>
                <a:gd name="T0" fmla="*/ 0 w 20"/>
                <a:gd name="T1" fmla="*/ 29 h 45"/>
                <a:gd name="T2" fmla="*/ 3 w 20"/>
                <a:gd name="T3" fmla="*/ 45 h 45"/>
                <a:gd name="T4" fmla="*/ 15 w 20"/>
                <a:gd name="T5" fmla="*/ 22 h 45"/>
                <a:gd name="T6" fmla="*/ 16 w 20"/>
                <a:gd name="T7" fmla="*/ 0 h 45"/>
                <a:gd name="T8" fmla="*/ 1 w 20"/>
                <a:gd name="T9" fmla="*/ 6 h 45"/>
                <a:gd name="T10" fmla="*/ 0 w 20"/>
                <a:gd name="T11" fmla="*/ 29 h 45"/>
              </a:gdLst>
              <a:ahLst/>
              <a:cxnLst>
                <a:cxn ang="0">
                  <a:pos x="T0" y="T1"/>
                </a:cxn>
                <a:cxn ang="0">
                  <a:pos x="T2" y="T3"/>
                </a:cxn>
                <a:cxn ang="0">
                  <a:pos x="T4" y="T5"/>
                </a:cxn>
                <a:cxn ang="0">
                  <a:pos x="T6" y="T7"/>
                </a:cxn>
                <a:cxn ang="0">
                  <a:pos x="T8" y="T9"/>
                </a:cxn>
                <a:cxn ang="0">
                  <a:pos x="T10" y="T11"/>
                </a:cxn>
              </a:cxnLst>
              <a:rect l="0" t="0" r="r" b="b"/>
              <a:pathLst>
                <a:path w="20" h="45">
                  <a:moveTo>
                    <a:pt x="0" y="29"/>
                  </a:moveTo>
                  <a:cubicBezTo>
                    <a:pt x="3" y="45"/>
                    <a:pt x="3" y="45"/>
                    <a:pt x="3" y="45"/>
                  </a:cubicBezTo>
                  <a:cubicBezTo>
                    <a:pt x="3" y="45"/>
                    <a:pt x="15" y="42"/>
                    <a:pt x="15" y="22"/>
                  </a:cubicBezTo>
                  <a:cubicBezTo>
                    <a:pt x="20" y="7"/>
                    <a:pt x="16" y="0"/>
                    <a:pt x="16" y="0"/>
                  </a:cubicBezTo>
                  <a:cubicBezTo>
                    <a:pt x="1" y="6"/>
                    <a:pt x="1" y="6"/>
                    <a:pt x="1" y="6"/>
                  </a:cubicBezTo>
                  <a:lnTo>
                    <a:pt x="0" y="2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6" name="Freeform 540">
              <a:extLst>
                <a:ext uri="{FF2B5EF4-FFF2-40B4-BE49-F238E27FC236}">
                  <a16:creationId xmlns:a16="http://schemas.microsoft.com/office/drawing/2014/main" id="{733C95BC-C16E-FBF3-87A6-5A09FCDA9C95}"/>
                </a:ext>
              </a:extLst>
            </p:cNvPr>
            <p:cNvSpPr>
              <a:spLocks/>
            </p:cNvSpPr>
            <p:nvPr/>
          </p:nvSpPr>
          <p:spPr bwMode="gray">
            <a:xfrm>
              <a:off x="11775196" y="5293589"/>
              <a:ext cx="19778" cy="14383"/>
            </a:xfrm>
            <a:custGeom>
              <a:avLst/>
              <a:gdLst>
                <a:gd name="T0" fmla="*/ 0 w 11"/>
                <a:gd name="T1" fmla="*/ 0 h 8"/>
                <a:gd name="T2" fmla="*/ 1 w 11"/>
                <a:gd name="T3" fmla="*/ 4 h 8"/>
                <a:gd name="T4" fmla="*/ 11 w 11"/>
                <a:gd name="T5" fmla="*/ 8 h 8"/>
                <a:gd name="T6" fmla="*/ 10 w 11"/>
                <a:gd name="T7" fmla="*/ 4 h 8"/>
                <a:gd name="T8" fmla="*/ 0 w 11"/>
                <a:gd name="T9" fmla="*/ 0 h 8"/>
              </a:gdLst>
              <a:ahLst/>
              <a:cxnLst>
                <a:cxn ang="0">
                  <a:pos x="T0" y="T1"/>
                </a:cxn>
                <a:cxn ang="0">
                  <a:pos x="T2" y="T3"/>
                </a:cxn>
                <a:cxn ang="0">
                  <a:pos x="T4" y="T5"/>
                </a:cxn>
                <a:cxn ang="0">
                  <a:pos x="T6" y="T7"/>
                </a:cxn>
                <a:cxn ang="0">
                  <a:pos x="T8" y="T9"/>
                </a:cxn>
              </a:cxnLst>
              <a:rect l="0" t="0" r="r" b="b"/>
              <a:pathLst>
                <a:path w="11" h="8">
                  <a:moveTo>
                    <a:pt x="0" y="0"/>
                  </a:moveTo>
                  <a:lnTo>
                    <a:pt x="1" y="4"/>
                  </a:lnTo>
                  <a:lnTo>
                    <a:pt x="11" y="8"/>
                  </a:lnTo>
                  <a:lnTo>
                    <a:pt x="10" y="4"/>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7" name="Freeform 541">
              <a:extLst>
                <a:ext uri="{FF2B5EF4-FFF2-40B4-BE49-F238E27FC236}">
                  <a16:creationId xmlns:a16="http://schemas.microsoft.com/office/drawing/2014/main" id="{D6D03600-56D8-BC85-C47D-0F2E2ACA33B9}"/>
                </a:ext>
              </a:extLst>
            </p:cNvPr>
            <p:cNvSpPr>
              <a:spLocks/>
            </p:cNvSpPr>
            <p:nvPr/>
          </p:nvSpPr>
          <p:spPr bwMode="gray">
            <a:xfrm>
              <a:off x="11365256" y="4942983"/>
              <a:ext cx="8991" cy="10788"/>
            </a:xfrm>
            <a:custGeom>
              <a:avLst/>
              <a:gdLst>
                <a:gd name="T0" fmla="*/ 5 w 5"/>
                <a:gd name="T1" fmla="*/ 0 h 6"/>
                <a:gd name="T2" fmla="*/ 0 w 5"/>
                <a:gd name="T3" fmla="*/ 5 h 6"/>
                <a:gd name="T4" fmla="*/ 3 w 5"/>
                <a:gd name="T5" fmla="*/ 6 h 6"/>
                <a:gd name="T6" fmla="*/ 5 w 5"/>
                <a:gd name="T7" fmla="*/ 0 h 6"/>
              </a:gdLst>
              <a:ahLst/>
              <a:cxnLst>
                <a:cxn ang="0">
                  <a:pos x="T0" y="T1"/>
                </a:cxn>
                <a:cxn ang="0">
                  <a:pos x="T2" y="T3"/>
                </a:cxn>
                <a:cxn ang="0">
                  <a:pos x="T4" y="T5"/>
                </a:cxn>
                <a:cxn ang="0">
                  <a:pos x="T6" y="T7"/>
                </a:cxn>
              </a:cxnLst>
              <a:rect l="0" t="0" r="r" b="b"/>
              <a:pathLst>
                <a:path w="5" h="6">
                  <a:moveTo>
                    <a:pt x="5" y="0"/>
                  </a:moveTo>
                  <a:lnTo>
                    <a:pt x="0" y="5"/>
                  </a:lnTo>
                  <a:lnTo>
                    <a:pt x="3" y="6"/>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8" name="Freeform 542">
              <a:extLst>
                <a:ext uri="{FF2B5EF4-FFF2-40B4-BE49-F238E27FC236}">
                  <a16:creationId xmlns:a16="http://schemas.microsoft.com/office/drawing/2014/main" id="{0A46262A-CB03-5E28-3DB3-11DB81098AAF}"/>
                </a:ext>
              </a:extLst>
            </p:cNvPr>
            <p:cNvSpPr>
              <a:spLocks/>
            </p:cNvSpPr>
            <p:nvPr/>
          </p:nvSpPr>
          <p:spPr bwMode="gray">
            <a:xfrm>
              <a:off x="11350873" y="4960962"/>
              <a:ext cx="14383" cy="16183"/>
            </a:xfrm>
            <a:custGeom>
              <a:avLst/>
              <a:gdLst>
                <a:gd name="T0" fmla="*/ 0 w 8"/>
                <a:gd name="T1" fmla="*/ 7 h 9"/>
                <a:gd name="T2" fmla="*/ 3 w 8"/>
                <a:gd name="T3" fmla="*/ 9 h 9"/>
                <a:gd name="T4" fmla="*/ 8 w 8"/>
                <a:gd name="T5" fmla="*/ 1 h 9"/>
                <a:gd name="T6" fmla="*/ 3 w 8"/>
                <a:gd name="T7" fmla="*/ 0 h 9"/>
                <a:gd name="T8" fmla="*/ 0 w 8"/>
                <a:gd name="T9" fmla="*/ 7 h 9"/>
              </a:gdLst>
              <a:ahLst/>
              <a:cxnLst>
                <a:cxn ang="0">
                  <a:pos x="T0" y="T1"/>
                </a:cxn>
                <a:cxn ang="0">
                  <a:pos x="T2" y="T3"/>
                </a:cxn>
                <a:cxn ang="0">
                  <a:pos x="T4" y="T5"/>
                </a:cxn>
                <a:cxn ang="0">
                  <a:pos x="T6" y="T7"/>
                </a:cxn>
                <a:cxn ang="0">
                  <a:pos x="T8" y="T9"/>
                </a:cxn>
              </a:cxnLst>
              <a:rect l="0" t="0" r="r" b="b"/>
              <a:pathLst>
                <a:path w="8" h="9">
                  <a:moveTo>
                    <a:pt x="0" y="7"/>
                  </a:moveTo>
                  <a:lnTo>
                    <a:pt x="3" y="9"/>
                  </a:lnTo>
                  <a:lnTo>
                    <a:pt x="8" y="1"/>
                  </a:lnTo>
                  <a:lnTo>
                    <a:pt x="3" y="0"/>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9" name="Freeform 543">
              <a:extLst>
                <a:ext uri="{FF2B5EF4-FFF2-40B4-BE49-F238E27FC236}">
                  <a16:creationId xmlns:a16="http://schemas.microsoft.com/office/drawing/2014/main" id="{6DED3A96-D9B6-E3AD-7C39-31AD3FFD8A57}"/>
                </a:ext>
              </a:extLst>
            </p:cNvPr>
            <p:cNvSpPr>
              <a:spLocks/>
            </p:cNvSpPr>
            <p:nvPr/>
          </p:nvSpPr>
          <p:spPr bwMode="gray">
            <a:xfrm>
              <a:off x="11322105" y="4969953"/>
              <a:ext cx="25171" cy="19778"/>
            </a:xfrm>
            <a:custGeom>
              <a:avLst/>
              <a:gdLst>
                <a:gd name="T0" fmla="*/ 7 w 14"/>
                <a:gd name="T1" fmla="*/ 11 h 11"/>
                <a:gd name="T2" fmla="*/ 14 w 14"/>
                <a:gd name="T3" fmla="*/ 9 h 11"/>
                <a:gd name="T4" fmla="*/ 0 w 14"/>
                <a:gd name="T5" fmla="*/ 0 h 11"/>
                <a:gd name="T6" fmla="*/ 7 w 14"/>
                <a:gd name="T7" fmla="*/ 11 h 11"/>
              </a:gdLst>
              <a:ahLst/>
              <a:cxnLst>
                <a:cxn ang="0">
                  <a:pos x="T0" y="T1"/>
                </a:cxn>
                <a:cxn ang="0">
                  <a:pos x="T2" y="T3"/>
                </a:cxn>
                <a:cxn ang="0">
                  <a:pos x="T4" y="T5"/>
                </a:cxn>
                <a:cxn ang="0">
                  <a:pos x="T6" y="T7"/>
                </a:cxn>
              </a:cxnLst>
              <a:rect l="0" t="0" r="r" b="b"/>
              <a:pathLst>
                <a:path w="14" h="11">
                  <a:moveTo>
                    <a:pt x="7" y="11"/>
                  </a:moveTo>
                  <a:lnTo>
                    <a:pt x="14" y="9"/>
                  </a:lnTo>
                  <a:lnTo>
                    <a:pt x="0" y="0"/>
                  </a:lnTo>
                  <a:lnTo>
                    <a:pt x="7"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0" name="Freeform 544">
              <a:extLst>
                <a:ext uri="{FF2B5EF4-FFF2-40B4-BE49-F238E27FC236}">
                  <a16:creationId xmlns:a16="http://schemas.microsoft.com/office/drawing/2014/main" id="{58B78822-5DDB-041B-B313-D2AE4917FE1E}"/>
                </a:ext>
              </a:extLst>
            </p:cNvPr>
            <p:cNvSpPr>
              <a:spLocks/>
            </p:cNvSpPr>
            <p:nvPr/>
          </p:nvSpPr>
          <p:spPr bwMode="gray">
            <a:xfrm>
              <a:off x="11419196" y="5169528"/>
              <a:ext cx="16183" cy="25171"/>
            </a:xfrm>
            <a:custGeom>
              <a:avLst/>
              <a:gdLst>
                <a:gd name="T0" fmla="*/ 2 w 9"/>
                <a:gd name="T1" fmla="*/ 0 h 14"/>
                <a:gd name="T2" fmla="*/ 0 w 9"/>
                <a:gd name="T3" fmla="*/ 14 h 14"/>
                <a:gd name="T4" fmla="*/ 9 w 9"/>
                <a:gd name="T5" fmla="*/ 1 h 14"/>
                <a:gd name="T6" fmla="*/ 2 w 9"/>
                <a:gd name="T7" fmla="*/ 0 h 14"/>
              </a:gdLst>
              <a:ahLst/>
              <a:cxnLst>
                <a:cxn ang="0">
                  <a:pos x="T0" y="T1"/>
                </a:cxn>
                <a:cxn ang="0">
                  <a:pos x="T2" y="T3"/>
                </a:cxn>
                <a:cxn ang="0">
                  <a:pos x="T4" y="T5"/>
                </a:cxn>
                <a:cxn ang="0">
                  <a:pos x="T6" y="T7"/>
                </a:cxn>
              </a:cxnLst>
              <a:rect l="0" t="0" r="r" b="b"/>
              <a:pathLst>
                <a:path w="9" h="14">
                  <a:moveTo>
                    <a:pt x="2" y="0"/>
                  </a:moveTo>
                  <a:lnTo>
                    <a:pt x="0" y="14"/>
                  </a:lnTo>
                  <a:lnTo>
                    <a:pt x="9"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1" name="Freeform 545">
              <a:extLst>
                <a:ext uri="{FF2B5EF4-FFF2-40B4-BE49-F238E27FC236}">
                  <a16:creationId xmlns:a16="http://schemas.microsoft.com/office/drawing/2014/main" id="{B9C4A23B-ED3A-E4DA-7231-95A0553C8F04}"/>
                </a:ext>
              </a:extLst>
            </p:cNvPr>
            <p:cNvSpPr>
              <a:spLocks/>
            </p:cNvSpPr>
            <p:nvPr/>
          </p:nvSpPr>
          <p:spPr bwMode="gray">
            <a:xfrm>
              <a:off x="11823740" y="5259426"/>
              <a:ext cx="12586" cy="17980"/>
            </a:xfrm>
            <a:custGeom>
              <a:avLst/>
              <a:gdLst>
                <a:gd name="T0" fmla="*/ 6 w 7"/>
                <a:gd name="T1" fmla="*/ 2 h 10"/>
                <a:gd name="T2" fmla="*/ 4 w 7"/>
                <a:gd name="T3" fmla="*/ 0 h 10"/>
                <a:gd name="T4" fmla="*/ 0 w 7"/>
                <a:gd name="T5" fmla="*/ 6 h 10"/>
                <a:gd name="T6" fmla="*/ 7 w 7"/>
                <a:gd name="T7" fmla="*/ 10 h 10"/>
                <a:gd name="T8" fmla="*/ 6 w 7"/>
                <a:gd name="T9" fmla="*/ 2 h 10"/>
              </a:gdLst>
              <a:ahLst/>
              <a:cxnLst>
                <a:cxn ang="0">
                  <a:pos x="T0" y="T1"/>
                </a:cxn>
                <a:cxn ang="0">
                  <a:pos x="T2" y="T3"/>
                </a:cxn>
                <a:cxn ang="0">
                  <a:pos x="T4" y="T5"/>
                </a:cxn>
                <a:cxn ang="0">
                  <a:pos x="T6" y="T7"/>
                </a:cxn>
                <a:cxn ang="0">
                  <a:pos x="T8" y="T9"/>
                </a:cxn>
              </a:cxnLst>
              <a:rect l="0" t="0" r="r" b="b"/>
              <a:pathLst>
                <a:path w="7" h="10">
                  <a:moveTo>
                    <a:pt x="6" y="2"/>
                  </a:moveTo>
                  <a:lnTo>
                    <a:pt x="4" y="0"/>
                  </a:lnTo>
                  <a:lnTo>
                    <a:pt x="0" y="6"/>
                  </a:lnTo>
                  <a:lnTo>
                    <a:pt x="7" y="10"/>
                  </a:lnTo>
                  <a:lnTo>
                    <a:pt x="6"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2" name="Freeform 546">
              <a:extLst>
                <a:ext uri="{FF2B5EF4-FFF2-40B4-BE49-F238E27FC236}">
                  <a16:creationId xmlns:a16="http://schemas.microsoft.com/office/drawing/2014/main" id="{4EBDE2EB-1FFE-A47E-F369-C2CC58545558}"/>
                </a:ext>
              </a:extLst>
            </p:cNvPr>
            <p:cNvSpPr>
              <a:spLocks/>
            </p:cNvSpPr>
            <p:nvPr/>
          </p:nvSpPr>
          <p:spPr bwMode="gray">
            <a:xfrm>
              <a:off x="11723054" y="5230659"/>
              <a:ext cx="50344" cy="41354"/>
            </a:xfrm>
            <a:custGeom>
              <a:avLst/>
              <a:gdLst>
                <a:gd name="T0" fmla="*/ 18 w 28"/>
                <a:gd name="T1" fmla="*/ 11 h 23"/>
                <a:gd name="T2" fmla="*/ 28 w 28"/>
                <a:gd name="T3" fmla="*/ 5 h 23"/>
                <a:gd name="T4" fmla="*/ 18 w 28"/>
                <a:gd name="T5" fmla="*/ 0 h 23"/>
                <a:gd name="T6" fmla="*/ 0 w 28"/>
                <a:gd name="T7" fmla="*/ 19 h 23"/>
                <a:gd name="T8" fmla="*/ 4 w 28"/>
                <a:gd name="T9" fmla="*/ 23 h 23"/>
                <a:gd name="T10" fmla="*/ 6 w 28"/>
                <a:gd name="T11" fmla="*/ 18 h 23"/>
                <a:gd name="T12" fmla="*/ 14 w 28"/>
                <a:gd name="T13" fmla="*/ 17 h 23"/>
                <a:gd name="T14" fmla="*/ 18 w 28"/>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3">
                  <a:moveTo>
                    <a:pt x="18" y="11"/>
                  </a:moveTo>
                  <a:lnTo>
                    <a:pt x="28" y="5"/>
                  </a:lnTo>
                  <a:lnTo>
                    <a:pt x="18" y="0"/>
                  </a:lnTo>
                  <a:lnTo>
                    <a:pt x="0" y="19"/>
                  </a:lnTo>
                  <a:lnTo>
                    <a:pt x="4" y="23"/>
                  </a:lnTo>
                  <a:lnTo>
                    <a:pt x="6" y="18"/>
                  </a:lnTo>
                  <a:lnTo>
                    <a:pt x="14" y="17"/>
                  </a:lnTo>
                  <a:lnTo>
                    <a:pt x="18"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3" name="Freeform 547">
              <a:extLst>
                <a:ext uri="{FF2B5EF4-FFF2-40B4-BE49-F238E27FC236}">
                  <a16:creationId xmlns:a16="http://schemas.microsoft.com/office/drawing/2014/main" id="{7532BABA-5791-E6A8-0D1E-8CB7FA5E1705}"/>
                </a:ext>
              </a:extLst>
            </p:cNvPr>
            <p:cNvSpPr>
              <a:spLocks/>
            </p:cNvSpPr>
            <p:nvPr/>
          </p:nvSpPr>
          <p:spPr bwMode="gray">
            <a:xfrm>
              <a:off x="11367054" y="4982538"/>
              <a:ext cx="21576" cy="14383"/>
            </a:xfrm>
            <a:custGeom>
              <a:avLst/>
              <a:gdLst>
                <a:gd name="T0" fmla="*/ 19 w 34"/>
                <a:gd name="T1" fmla="*/ 1 h 25"/>
                <a:gd name="T2" fmla="*/ 19 w 34"/>
                <a:gd name="T3" fmla="*/ 16 h 25"/>
                <a:gd name="T4" fmla="*/ 19 w 34"/>
                <a:gd name="T5" fmla="*/ 1 h 25"/>
              </a:gdLst>
              <a:ahLst/>
              <a:cxnLst>
                <a:cxn ang="0">
                  <a:pos x="T0" y="T1"/>
                </a:cxn>
                <a:cxn ang="0">
                  <a:pos x="T2" y="T3"/>
                </a:cxn>
                <a:cxn ang="0">
                  <a:pos x="T4" y="T5"/>
                </a:cxn>
              </a:cxnLst>
              <a:rect l="0" t="0" r="r" b="b"/>
              <a:pathLst>
                <a:path w="34" h="25">
                  <a:moveTo>
                    <a:pt x="19" y="1"/>
                  </a:moveTo>
                  <a:cubicBezTo>
                    <a:pt x="4" y="0"/>
                    <a:pt x="0" y="11"/>
                    <a:pt x="19" y="16"/>
                  </a:cubicBezTo>
                  <a:cubicBezTo>
                    <a:pt x="33" y="25"/>
                    <a:pt x="34" y="2"/>
                    <a:pt x="19"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4" name="Freeform 548">
              <a:extLst>
                <a:ext uri="{FF2B5EF4-FFF2-40B4-BE49-F238E27FC236}">
                  <a16:creationId xmlns:a16="http://schemas.microsoft.com/office/drawing/2014/main" id="{5352693F-2D1B-B11E-4733-4C4A5D59B768}"/>
                </a:ext>
              </a:extLst>
            </p:cNvPr>
            <p:cNvSpPr>
              <a:spLocks/>
            </p:cNvSpPr>
            <p:nvPr/>
          </p:nvSpPr>
          <p:spPr bwMode="gray">
            <a:xfrm>
              <a:off x="10940934" y="4586983"/>
              <a:ext cx="670646" cy="785717"/>
            </a:xfrm>
            <a:custGeom>
              <a:avLst/>
              <a:gdLst>
                <a:gd name="T0" fmla="*/ 1090 w 1124"/>
                <a:gd name="T1" fmla="*/ 90 h 1316"/>
                <a:gd name="T2" fmla="*/ 1075 w 1124"/>
                <a:gd name="T3" fmla="*/ 9 h 1316"/>
                <a:gd name="T4" fmla="*/ 988 w 1124"/>
                <a:gd name="T5" fmla="*/ 108 h 1316"/>
                <a:gd name="T6" fmla="*/ 812 w 1124"/>
                <a:gd name="T7" fmla="*/ 107 h 1316"/>
                <a:gd name="T8" fmla="*/ 742 w 1124"/>
                <a:gd name="T9" fmla="*/ 81 h 1316"/>
                <a:gd name="T10" fmla="*/ 659 w 1124"/>
                <a:gd name="T11" fmla="*/ 92 h 1316"/>
                <a:gd name="T12" fmla="*/ 613 w 1124"/>
                <a:gd name="T13" fmla="*/ 132 h 1316"/>
                <a:gd name="T14" fmla="*/ 544 w 1124"/>
                <a:gd name="T15" fmla="*/ 156 h 1316"/>
                <a:gd name="T16" fmla="*/ 443 w 1124"/>
                <a:gd name="T17" fmla="*/ 170 h 1316"/>
                <a:gd name="T18" fmla="*/ 354 w 1124"/>
                <a:gd name="T19" fmla="*/ 215 h 1316"/>
                <a:gd name="T20" fmla="*/ 280 w 1124"/>
                <a:gd name="T21" fmla="*/ 277 h 1316"/>
                <a:gd name="T22" fmla="*/ 137 w 1124"/>
                <a:gd name="T23" fmla="*/ 308 h 1316"/>
                <a:gd name="T24" fmla="*/ 114 w 1124"/>
                <a:gd name="T25" fmla="*/ 399 h 1316"/>
                <a:gd name="T26" fmla="*/ 50 w 1124"/>
                <a:gd name="T27" fmla="*/ 495 h 1316"/>
                <a:gd name="T28" fmla="*/ 43 w 1124"/>
                <a:gd name="T29" fmla="*/ 560 h 1316"/>
                <a:gd name="T30" fmla="*/ 11 w 1124"/>
                <a:gd name="T31" fmla="*/ 605 h 1316"/>
                <a:gd name="T32" fmla="*/ 45 w 1124"/>
                <a:gd name="T33" fmla="*/ 683 h 1316"/>
                <a:gd name="T34" fmla="*/ 200 w 1124"/>
                <a:gd name="T35" fmla="*/ 736 h 1316"/>
                <a:gd name="T36" fmla="*/ 98 w 1124"/>
                <a:gd name="T37" fmla="*/ 838 h 1316"/>
                <a:gd name="T38" fmla="*/ 157 w 1124"/>
                <a:gd name="T39" fmla="*/ 841 h 1316"/>
                <a:gd name="T40" fmla="*/ 243 w 1124"/>
                <a:gd name="T41" fmla="*/ 857 h 1316"/>
                <a:gd name="T42" fmla="*/ 351 w 1124"/>
                <a:gd name="T43" fmla="*/ 858 h 1316"/>
                <a:gd name="T44" fmla="*/ 434 w 1124"/>
                <a:gd name="T45" fmla="*/ 850 h 1316"/>
                <a:gd name="T46" fmla="*/ 474 w 1124"/>
                <a:gd name="T47" fmla="*/ 875 h 1316"/>
                <a:gd name="T48" fmla="*/ 565 w 1124"/>
                <a:gd name="T49" fmla="*/ 918 h 1316"/>
                <a:gd name="T50" fmla="*/ 537 w 1124"/>
                <a:gd name="T51" fmla="*/ 955 h 1316"/>
                <a:gd name="T52" fmla="*/ 303 w 1124"/>
                <a:gd name="T53" fmla="*/ 921 h 1316"/>
                <a:gd name="T54" fmla="*/ 243 w 1124"/>
                <a:gd name="T55" fmla="*/ 1017 h 1316"/>
                <a:gd name="T56" fmla="*/ 335 w 1124"/>
                <a:gd name="T57" fmla="*/ 1205 h 1316"/>
                <a:gd name="T58" fmla="*/ 388 w 1124"/>
                <a:gd name="T59" fmla="*/ 1192 h 1316"/>
                <a:gd name="T60" fmla="*/ 466 w 1124"/>
                <a:gd name="T61" fmla="*/ 1295 h 1316"/>
                <a:gd name="T62" fmla="*/ 615 w 1124"/>
                <a:gd name="T63" fmla="*/ 1299 h 1316"/>
                <a:gd name="T64" fmla="*/ 559 w 1124"/>
                <a:gd name="T65" fmla="*/ 1143 h 1316"/>
                <a:gd name="T66" fmla="*/ 580 w 1124"/>
                <a:gd name="T67" fmla="*/ 1087 h 1316"/>
                <a:gd name="T68" fmla="*/ 664 w 1124"/>
                <a:gd name="T69" fmla="*/ 1045 h 1316"/>
                <a:gd name="T70" fmla="*/ 600 w 1124"/>
                <a:gd name="T71" fmla="*/ 984 h 1316"/>
                <a:gd name="T72" fmla="*/ 663 w 1124"/>
                <a:gd name="T73" fmla="*/ 915 h 1316"/>
                <a:gd name="T74" fmla="*/ 780 w 1124"/>
                <a:gd name="T75" fmla="*/ 974 h 1316"/>
                <a:gd name="T76" fmla="*/ 652 w 1124"/>
                <a:gd name="T77" fmla="*/ 815 h 1316"/>
                <a:gd name="T78" fmla="*/ 550 w 1124"/>
                <a:gd name="T79" fmla="*/ 764 h 1316"/>
                <a:gd name="T80" fmla="*/ 514 w 1124"/>
                <a:gd name="T81" fmla="*/ 732 h 1316"/>
                <a:gd name="T82" fmla="*/ 667 w 1124"/>
                <a:gd name="T83" fmla="*/ 823 h 1316"/>
                <a:gd name="T84" fmla="*/ 839 w 1124"/>
                <a:gd name="T85" fmla="*/ 912 h 1316"/>
                <a:gd name="T86" fmla="*/ 751 w 1124"/>
                <a:gd name="T87" fmla="*/ 781 h 1316"/>
                <a:gd name="T88" fmla="*/ 663 w 1124"/>
                <a:gd name="T89" fmla="*/ 750 h 1316"/>
                <a:gd name="T90" fmla="*/ 495 w 1124"/>
                <a:gd name="T91" fmla="*/ 651 h 1316"/>
                <a:gd name="T92" fmla="*/ 547 w 1124"/>
                <a:gd name="T93" fmla="*/ 668 h 1316"/>
                <a:gd name="T94" fmla="*/ 540 w 1124"/>
                <a:gd name="T95" fmla="*/ 584 h 1316"/>
                <a:gd name="T96" fmla="*/ 462 w 1124"/>
                <a:gd name="T97" fmla="*/ 484 h 1316"/>
                <a:gd name="T98" fmla="*/ 442 w 1124"/>
                <a:gd name="T99" fmla="*/ 353 h 1316"/>
                <a:gd name="T100" fmla="*/ 498 w 1124"/>
                <a:gd name="T101" fmla="*/ 341 h 1316"/>
                <a:gd name="T102" fmla="*/ 529 w 1124"/>
                <a:gd name="T103" fmla="*/ 396 h 1316"/>
                <a:gd name="T104" fmla="*/ 589 w 1124"/>
                <a:gd name="T105" fmla="*/ 475 h 1316"/>
                <a:gd name="T106" fmla="*/ 582 w 1124"/>
                <a:gd name="T107" fmla="*/ 402 h 1316"/>
                <a:gd name="T108" fmla="*/ 691 w 1124"/>
                <a:gd name="T109" fmla="*/ 465 h 1316"/>
                <a:gd name="T110" fmla="*/ 654 w 1124"/>
                <a:gd name="T111" fmla="*/ 364 h 1316"/>
                <a:gd name="T112" fmla="*/ 746 w 1124"/>
                <a:gd name="T113" fmla="*/ 414 h 1316"/>
                <a:gd name="T114" fmla="*/ 682 w 1124"/>
                <a:gd name="T115" fmla="*/ 342 h 1316"/>
                <a:gd name="T116" fmla="*/ 624 w 1124"/>
                <a:gd name="T117" fmla="*/ 289 h 1316"/>
                <a:gd name="T118" fmla="*/ 732 w 1124"/>
                <a:gd name="T119" fmla="*/ 230 h 1316"/>
                <a:gd name="T120" fmla="*/ 864 w 1124"/>
                <a:gd name="T121" fmla="*/ 190 h 1316"/>
                <a:gd name="T122" fmla="*/ 871 w 1124"/>
                <a:gd name="T123" fmla="*/ 202 h 1316"/>
                <a:gd name="T124" fmla="*/ 1034 w 1124"/>
                <a:gd name="T125" fmla="*/ 236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4" h="1316">
                  <a:moveTo>
                    <a:pt x="1082" y="181"/>
                  </a:moveTo>
                  <a:cubicBezTo>
                    <a:pt x="1090" y="166"/>
                    <a:pt x="1065" y="146"/>
                    <a:pt x="1065" y="146"/>
                  </a:cubicBezTo>
                  <a:cubicBezTo>
                    <a:pt x="1063" y="112"/>
                    <a:pt x="1063" y="112"/>
                    <a:pt x="1063" y="112"/>
                  </a:cubicBezTo>
                  <a:cubicBezTo>
                    <a:pt x="1090" y="90"/>
                    <a:pt x="1090" y="90"/>
                    <a:pt x="1090" y="90"/>
                  </a:cubicBezTo>
                  <a:cubicBezTo>
                    <a:pt x="1090" y="90"/>
                    <a:pt x="1108" y="95"/>
                    <a:pt x="1116" y="87"/>
                  </a:cubicBezTo>
                  <a:cubicBezTo>
                    <a:pt x="1124" y="80"/>
                    <a:pt x="1102" y="60"/>
                    <a:pt x="1099" y="52"/>
                  </a:cubicBezTo>
                  <a:cubicBezTo>
                    <a:pt x="1096" y="44"/>
                    <a:pt x="1097" y="21"/>
                    <a:pt x="1097" y="21"/>
                  </a:cubicBezTo>
                  <a:cubicBezTo>
                    <a:pt x="1075" y="9"/>
                    <a:pt x="1075" y="9"/>
                    <a:pt x="1075" y="9"/>
                  </a:cubicBezTo>
                  <a:cubicBezTo>
                    <a:pt x="1049" y="0"/>
                    <a:pt x="1049" y="0"/>
                    <a:pt x="1049" y="0"/>
                  </a:cubicBezTo>
                  <a:cubicBezTo>
                    <a:pt x="1049" y="0"/>
                    <a:pt x="1011" y="2"/>
                    <a:pt x="1000" y="9"/>
                  </a:cubicBezTo>
                  <a:cubicBezTo>
                    <a:pt x="992" y="20"/>
                    <a:pt x="1028" y="41"/>
                    <a:pt x="1027" y="72"/>
                  </a:cubicBezTo>
                  <a:cubicBezTo>
                    <a:pt x="1022" y="98"/>
                    <a:pt x="988" y="108"/>
                    <a:pt x="988" y="108"/>
                  </a:cubicBezTo>
                  <a:cubicBezTo>
                    <a:pt x="966" y="103"/>
                    <a:pt x="966" y="103"/>
                    <a:pt x="966" y="103"/>
                  </a:cubicBezTo>
                  <a:cubicBezTo>
                    <a:pt x="966" y="103"/>
                    <a:pt x="882" y="141"/>
                    <a:pt x="878" y="141"/>
                  </a:cubicBezTo>
                  <a:cubicBezTo>
                    <a:pt x="870" y="144"/>
                    <a:pt x="860" y="125"/>
                    <a:pt x="860" y="125"/>
                  </a:cubicBezTo>
                  <a:cubicBezTo>
                    <a:pt x="812" y="107"/>
                    <a:pt x="812" y="107"/>
                    <a:pt x="812" y="107"/>
                  </a:cubicBezTo>
                  <a:cubicBezTo>
                    <a:pt x="793" y="125"/>
                    <a:pt x="793" y="125"/>
                    <a:pt x="793" y="125"/>
                  </a:cubicBezTo>
                  <a:cubicBezTo>
                    <a:pt x="775" y="102"/>
                    <a:pt x="775" y="102"/>
                    <a:pt x="775" y="102"/>
                  </a:cubicBezTo>
                  <a:cubicBezTo>
                    <a:pt x="760" y="105"/>
                    <a:pt x="760" y="105"/>
                    <a:pt x="760" y="105"/>
                  </a:cubicBezTo>
                  <a:cubicBezTo>
                    <a:pt x="742" y="81"/>
                    <a:pt x="742" y="81"/>
                    <a:pt x="742" y="81"/>
                  </a:cubicBezTo>
                  <a:cubicBezTo>
                    <a:pt x="742" y="81"/>
                    <a:pt x="716" y="91"/>
                    <a:pt x="708" y="98"/>
                  </a:cubicBezTo>
                  <a:cubicBezTo>
                    <a:pt x="700" y="102"/>
                    <a:pt x="690" y="82"/>
                    <a:pt x="690" y="82"/>
                  </a:cubicBezTo>
                  <a:cubicBezTo>
                    <a:pt x="682" y="93"/>
                    <a:pt x="682" y="93"/>
                    <a:pt x="682" y="93"/>
                  </a:cubicBezTo>
                  <a:cubicBezTo>
                    <a:pt x="659" y="92"/>
                    <a:pt x="659" y="92"/>
                    <a:pt x="659" y="92"/>
                  </a:cubicBezTo>
                  <a:cubicBezTo>
                    <a:pt x="662" y="112"/>
                    <a:pt x="662" y="112"/>
                    <a:pt x="662" y="112"/>
                  </a:cubicBezTo>
                  <a:cubicBezTo>
                    <a:pt x="643" y="126"/>
                    <a:pt x="643" y="126"/>
                    <a:pt x="643" y="126"/>
                  </a:cubicBezTo>
                  <a:cubicBezTo>
                    <a:pt x="636" y="114"/>
                    <a:pt x="636" y="114"/>
                    <a:pt x="636" y="114"/>
                  </a:cubicBezTo>
                  <a:cubicBezTo>
                    <a:pt x="613" y="132"/>
                    <a:pt x="613" y="132"/>
                    <a:pt x="613" y="132"/>
                  </a:cubicBezTo>
                  <a:cubicBezTo>
                    <a:pt x="601" y="135"/>
                    <a:pt x="601" y="135"/>
                    <a:pt x="601" y="135"/>
                  </a:cubicBezTo>
                  <a:cubicBezTo>
                    <a:pt x="593" y="143"/>
                    <a:pt x="593" y="143"/>
                    <a:pt x="593" y="143"/>
                  </a:cubicBezTo>
                  <a:cubicBezTo>
                    <a:pt x="552" y="141"/>
                    <a:pt x="552" y="141"/>
                    <a:pt x="552" y="141"/>
                  </a:cubicBezTo>
                  <a:cubicBezTo>
                    <a:pt x="544" y="156"/>
                    <a:pt x="544" y="156"/>
                    <a:pt x="544" y="156"/>
                  </a:cubicBezTo>
                  <a:cubicBezTo>
                    <a:pt x="526" y="147"/>
                    <a:pt x="526" y="147"/>
                    <a:pt x="526" y="147"/>
                  </a:cubicBezTo>
                  <a:cubicBezTo>
                    <a:pt x="510" y="165"/>
                    <a:pt x="510" y="165"/>
                    <a:pt x="510" y="165"/>
                  </a:cubicBezTo>
                  <a:cubicBezTo>
                    <a:pt x="473" y="168"/>
                    <a:pt x="473" y="168"/>
                    <a:pt x="473" y="168"/>
                  </a:cubicBezTo>
                  <a:cubicBezTo>
                    <a:pt x="473" y="168"/>
                    <a:pt x="443" y="158"/>
                    <a:pt x="443" y="170"/>
                  </a:cubicBezTo>
                  <a:cubicBezTo>
                    <a:pt x="438" y="185"/>
                    <a:pt x="440" y="220"/>
                    <a:pt x="440" y="220"/>
                  </a:cubicBezTo>
                  <a:cubicBezTo>
                    <a:pt x="426" y="207"/>
                    <a:pt x="426" y="207"/>
                    <a:pt x="426" y="207"/>
                  </a:cubicBezTo>
                  <a:cubicBezTo>
                    <a:pt x="421" y="222"/>
                    <a:pt x="421" y="222"/>
                    <a:pt x="421" y="222"/>
                  </a:cubicBezTo>
                  <a:cubicBezTo>
                    <a:pt x="354" y="215"/>
                    <a:pt x="354" y="215"/>
                    <a:pt x="354" y="215"/>
                  </a:cubicBezTo>
                  <a:cubicBezTo>
                    <a:pt x="339" y="226"/>
                    <a:pt x="339" y="226"/>
                    <a:pt x="339" y="226"/>
                  </a:cubicBezTo>
                  <a:cubicBezTo>
                    <a:pt x="317" y="221"/>
                    <a:pt x="317" y="221"/>
                    <a:pt x="317" y="221"/>
                  </a:cubicBezTo>
                  <a:cubicBezTo>
                    <a:pt x="317" y="221"/>
                    <a:pt x="302" y="224"/>
                    <a:pt x="294" y="236"/>
                  </a:cubicBezTo>
                  <a:cubicBezTo>
                    <a:pt x="285" y="250"/>
                    <a:pt x="292" y="266"/>
                    <a:pt x="280" y="277"/>
                  </a:cubicBezTo>
                  <a:cubicBezTo>
                    <a:pt x="269" y="284"/>
                    <a:pt x="246" y="294"/>
                    <a:pt x="246" y="294"/>
                  </a:cubicBezTo>
                  <a:cubicBezTo>
                    <a:pt x="246" y="294"/>
                    <a:pt x="231" y="290"/>
                    <a:pt x="224" y="290"/>
                  </a:cubicBezTo>
                  <a:cubicBezTo>
                    <a:pt x="213" y="289"/>
                    <a:pt x="193" y="307"/>
                    <a:pt x="193" y="307"/>
                  </a:cubicBezTo>
                  <a:cubicBezTo>
                    <a:pt x="137" y="308"/>
                    <a:pt x="137" y="308"/>
                    <a:pt x="137" y="308"/>
                  </a:cubicBezTo>
                  <a:cubicBezTo>
                    <a:pt x="136" y="335"/>
                    <a:pt x="136" y="335"/>
                    <a:pt x="136" y="335"/>
                  </a:cubicBezTo>
                  <a:cubicBezTo>
                    <a:pt x="136" y="335"/>
                    <a:pt x="150" y="347"/>
                    <a:pt x="153" y="363"/>
                  </a:cubicBezTo>
                  <a:cubicBezTo>
                    <a:pt x="152" y="378"/>
                    <a:pt x="133" y="396"/>
                    <a:pt x="133" y="396"/>
                  </a:cubicBezTo>
                  <a:cubicBezTo>
                    <a:pt x="133" y="396"/>
                    <a:pt x="122" y="396"/>
                    <a:pt x="114" y="399"/>
                  </a:cubicBezTo>
                  <a:cubicBezTo>
                    <a:pt x="102" y="406"/>
                    <a:pt x="109" y="429"/>
                    <a:pt x="109" y="429"/>
                  </a:cubicBezTo>
                  <a:cubicBezTo>
                    <a:pt x="97" y="448"/>
                    <a:pt x="97" y="448"/>
                    <a:pt x="97" y="448"/>
                  </a:cubicBezTo>
                  <a:cubicBezTo>
                    <a:pt x="97" y="448"/>
                    <a:pt x="103" y="471"/>
                    <a:pt x="87" y="490"/>
                  </a:cubicBezTo>
                  <a:cubicBezTo>
                    <a:pt x="68" y="504"/>
                    <a:pt x="61" y="492"/>
                    <a:pt x="50" y="495"/>
                  </a:cubicBezTo>
                  <a:cubicBezTo>
                    <a:pt x="38" y="499"/>
                    <a:pt x="41" y="510"/>
                    <a:pt x="41" y="510"/>
                  </a:cubicBezTo>
                  <a:cubicBezTo>
                    <a:pt x="41" y="510"/>
                    <a:pt x="30" y="506"/>
                    <a:pt x="26" y="521"/>
                  </a:cubicBezTo>
                  <a:cubicBezTo>
                    <a:pt x="22" y="532"/>
                    <a:pt x="40" y="545"/>
                    <a:pt x="40" y="545"/>
                  </a:cubicBezTo>
                  <a:cubicBezTo>
                    <a:pt x="43" y="560"/>
                    <a:pt x="43" y="560"/>
                    <a:pt x="43" y="560"/>
                  </a:cubicBezTo>
                  <a:cubicBezTo>
                    <a:pt x="43" y="560"/>
                    <a:pt x="28" y="556"/>
                    <a:pt x="28" y="559"/>
                  </a:cubicBezTo>
                  <a:cubicBezTo>
                    <a:pt x="24" y="567"/>
                    <a:pt x="27" y="578"/>
                    <a:pt x="27" y="578"/>
                  </a:cubicBezTo>
                  <a:cubicBezTo>
                    <a:pt x="27" y="578"/>
                    <a:pt x="8" y="597"/>
                    <a:pt x="0" y="596"/>
                  </a:cubicBezTo>
                  <a:cubicBezTo>
                    <a:pt x="11" y="605"/>
                    <a:pt x="11" y="605"/>
                    <a:pt x="11" y="605"/>
                  </a:cubicBezTo>
                  <a:cubicBezTo>
                    <a:pt x="10" y="624"/>
                    <a:pt x="10" y="624"/>
                    <a:pt x="10" y="624"/>
                  </a:cubicBezTo>
                  <a:cubicBezTo>
                    <a:pt x="28" y="632"/>
                    <a:pt x="28" y="632"/>
                    <a:pt x="28" y="632"/>
                  </a:cubicBezTo>
                  <a:cubicBezTo>
                    <a:pt x="24" y="651"/>
                    <a:pt x="24" y="651"/>
                    <a:pt x="24" y="651"/>
                  </a:cubicBezTo>
                  <a:cubicBezTo>
                    <a:pt x="45" y="683"/>
                    <a:pt x="45" y="683"/>
                    <a:pt x="45" y="683"/>
                  </a:cubicBezTo>
                  <a:cubicBezTo>
                    <a:pt x="75" y="688"/>
                    <a:pt x="75" y="688"/>
                    <a:pt x="75" y="688"/>
                  </a:cubicBezTo>
                  <a:cubicBezTo>
                    <a:pt x="124" y="751"/>
                    <a:pt x="124" y="751"/>
                    <a:pt x="124" y="751"/>
                  </a:cubicBezTo>
                  <a:cubicBezTo>
                    <a:pt x="147" y="730"/>
                    <a:pt x="147" y="730"/>
                    <a:pt x="147" y="730"/>
                  </a:cubicBezTo>
                  <a:cubicBezTo>
                    <a:pt x="200" y="736"/>
                    <a:pt x="200" y="736"/>
                    <a:pt x="200" y="736"/>
                  </a:cubicBezTo>
                  <a:cubicBezTo>
                    <a:pt x="206" y="759"/>
                    <a:pt x="206" y="759"/>
                    <a:pt x="206" y="759"/>
                  </a:cubicBezTo>
                  <a:cubicBezTo>
                    <a:pt x="158" y="745"/>
                    <a:pt x="158" y="745"/>
                    <a:pt x="158" y="745"/>
                  </a:cubicBezTo>
                  <a:cubicBezTo>
                    <a:pt x="158" y="745"/>
                    <a:pt x="123" y="767"/>
                    <a:pt x="108" y="781"/>
                  </a:cubicBezTo>
                  <a:cubicBezTo>
                    <a:pt x="92" y="796"/>
                    <a:pt x="87" y="830"/>
                    <a:pt x="98" y="838"/>
                  </a:cubicBezTo>
                  <a:cubicBezTo>
                    <a:pt x="112" y="850"/>
                    <a:pt x="124" y="824"/>
                    <a:pt x="129" y="809"/>
                  </a:cubicBezTo>
                  <a:cubicBezTo>
                    <a:pt x="137" y="794"/>
                    <a:pt x="148" y="791"/>
                    <a:pt x="148" y="791"/>
                  </a:cubicBezTo>
                  <a:cubicBezTo>
                    <a:pt x="162" y="811"/>
                    <a:pt x="162" y="811"/>
                    <a:pt x="162" y="811"/>
                  </a:cubicBezTo>
                  <a:cubicBezTo>
                    <a:pt x="157" y="841"/>
                    <a:pt x="157" y="841"/>
                    <a:pt x="157" y="841"/>
                  </a:cubicBezTo>
                  <a:cubicBezTo>
                    <a:pt x="180" y="831"/>
                    <a:pt x="180" y="831"/>
                    <a:pt x="180" y="831"/>
                  </a:cubicBezTo>
                  <a:cubicBezTo>
                    <a:pt x="194" y="850"/>
                    <a:pt x="194" y="850"/>
                    <a:pt x="194" y="850"/>
                  </a:cubicBezTo>
                  <a:cubicBezTo>
                    <a:pt x="194" y="850"/>
                    <a:pt x="178" y="884"/>
                    <a:pt x="207" y="889"/>
                  </a:cubicBezTo>
                  <a:cubicBezTo>
                    <a:pt x="237" y="898"/>
                    <a:pt x="243" y="857"/>
                    <a:pt x="243" y="857"/>
                  </a:cubicBezTo>
                  <a:cubicBezTo>
                    <a:pt x="275" y="896"/>
                    <a:pt x="275" y="896"/>
                    <a:pt x="275" y="896"/>
                  </a:cubicBezTo>
                  <a:cubicBezTo>
                    <a:pt x="275" y="896"/>
                    <a:pt x="286" y="885"/>
                    <a:pt x="294" y="878"/>
                  </a:cubicBezTo>
                  <a:cubicBezTo>
                    <a:pt x="305" y="875"/>
                    <a:pt x="320" y="879"/>
                    <a:pt x="320" y="879"/>
                  </a:cubicBezTo>
                  <a:cubicBezTo>
                    <a:pt x="320" y="879"/>
                    <a:pt x="336" y="857"/>
                    <a:pt x="351" y="858"/>
                  </a:cubicBezTo>
                  <a:cubicBezTo>
                    <a:pt x="366" y="859"/>
                    <a:pt x="403" y="868"/>
                    <a:pt x="403" y="868"/>
                  </a:cubicBezTo>
                  <a:cubicBezTo>
                    <a:pt x="411" y="865"/>
                    <a:pt x="411" y="865"/>
                    <a:pt x="411" y="865"/>
                  </a:cubicBezTo>
                  <a:cubicBezTo>
                    <a:pt x="444" y="870"/>
                    <a:pt x="444" y="870"/>
                    <a:pt x="444" y="870"/>
                  </a:cubicBezTo>
                  <a:cubicBezTo>
                    <a:pt x="434" y="850"/>
                    <a:pt x="434" y="850"/>
                    <a:pt x="434" y="850"/>
                  </a:cubicBezTo>
                  <a:cubicBezTo>
                    <a:pt x="442" y="843"/>
                    <a:pt x="442" y="843"/>
                    <a:pt x="442" y="843"/>
                  </a:cubicBezTo>
                  <a:cubicBezTo>
                    <a:pt x="467" y="860"/>
                    <a:pt x="467" y="860"/>
                    <a:pt x="467" y="860"/>
                  </a:cubicBezTo>
                  <a:cubicBezTo>
                    <a:pt x="463" y="875"/>
                    <a:pt x="463" y="875"/>
                    <a:pt x="463" y="875"/>
                  </a:cubicBezTo>
                  <a:cubicBezTo>
                    <a:pt x="474" y="875"/>
                    <a:pt x="474" y="875"/>
                    <a:pt x="474" y="875"/>
                  </a:cubicBezTo>
                  <a:cubicBezTo>
                    <a:pt x="497" y="853"/>
                    <a:pt x="497" y="853"/>
                    <a:pt x="497" y="853"/>
                  </a:cubicBezTo>
                  <a:cubicBezTo>
                    <a:pt x="518" y="885"/>
                    <a:pt x="518" y="885"/>
                    <a:pt x="518" y="885"/>
                  </a:cubicBezTo>
                  <a:cubicBezTo>
                    <a:pt x="518" y="885"/>
                    <a:pt x="571" y="884"/>
                    <a:pt x="589" y="892"/>
                  </a:cubicBezTo>
                  <a:cubicBezTo>
                    <a:pt x="607" y="901"/>
                    <a:pt x="565" y="918"/>
                    <a:pt x="565" y="918"/>
                  </a:cubicBezTo>
                  <a:cubicBezTo>
                    <a:pt x="550" y="917"/>
                    <a:pt x="550" y="917"/>
                    <a:pt x="550" y="917"/>
                  </a:cubicBezTo>
                  <a:cubicBezTo>
                    <a:pt x="535" y="935"/>
                    <a:pt x="535" y="935"/>
                    <a:pt x="535" y="935"/>
                  </a:cubicBezTo>
                  <a:cubicBezTo>
                    <a:pt x="546" y="944"/>
                    <a:pt x="546" y="944"/>
                    <a:pt x="546" y="944"/>
                  </a:cubicBezTo>
                  <a:cubicBezTo>
                    <a:pt x="537" y="955"/>
                    <a:pt x="537" y="955"/>
                    <a:pt x="537" y="955"/>
                  </a:cubicBezTo>
                  <a:cubicBezTo>
                    <a:pt x="537" y="955"/>
                    <a:pt x="498" y="918"/>
                    <a:pt x="479" y="917"/>
                  </a:cubicBezTo>
                  <a:cubicBezTo>
                    <a:pt x="465" y="913"/>
                    <a:pt x="409" y="903"/>
                    <a:pt x="409" y="903"/>
                  </a:cubicBezTo>
                  <a:cubicBezTo>
                    <a:pt x="409" y="903"/>
                    <a:pt x="372" y="882"/>
                    <a:pt x="350" y="881"/>
                  </a:cubicBezTo>
                  <a:cubicBezTo>
                    <a:pt x="324" y="876"/>
                    <a:pt x="303" y="921"/>
                    <a:pt x="303" y="921"/>
                  </a:cubicBezTo>
                  <a:cubicBezTo>
                    <a:pt x="251" y="918"/>
                    <a:pt x="251" y="918"/>
                    <a:pt x="251" y="918"/>
                  </a:cubicBezTo>
                  <a:cubicBezTo>
                    <a:pt x="245" y="964"/>
                    <a:pt x="245" y="964"/>
                    <a:pt x="245" y="964"/>
                  </a:cubicBezTo>
                  <a:cubicBezTo>
                    <a:pt x="245" y="964"/>
                    <a:pt x="211" y="977"/>
                    <a:pt x="210" y="1000"/>
                  </a:cubicBezTo>
                  <a:cubicBezTo>
                    <a:pt x="209" y="1023"/>
                    <a:pt x="243" y="1017"/>
                    <a:pt x="243" y="1017"/>
                  </a:cubicBezTo>
                  <a:cubicBezTo>
                    <a:pt x="253" y="1048"/>
                    <a:pt x="253" y="1048"/>
                    <a:pt x="253" y="1048"/>
                  </a:cubicBezTo>
                  <a:cubicBezTo>
                    <a:pt x="253" y="1048"/>
                    <a:pt x="290" y="1054"/>
                    <a:pt x="315" y="1082"/>
                  </a:cubicBezTo>
                  <a:cubicBezTo>
                    <a:pt x="343" y="1110"/>
                    <a:pt x="312" y="1135"/>
                    <a:pt x="304" y="1162"/>
                  </a:cubicBezTo>
                  <a:cubicBezTo>
                    <a:pt x="299" y="1184"/>
                    <a:pt x="335" y="1205"/>
                    <a:pt x="335" y="1205"/>
                  </a:cubicBezTo>
                  <a:cubicBezTo>
                    <a:pt x="334" y="1220"/>
                    <a:pt x="334" y="1220"/>
                    <a:pt x="334" y="1220"/>
                  </a:cubicBezTo>
                  <a:cubicBezTo>
                    <a:pt x="371" y="1245"/>
                    <a:pt x="371" y="1245"/>
                    <a:pt x="371" y="1245"/>
                  </a:cubicBezTo>
                  <a:cubicBezTo>
                    <a:pt x="386" y="1234"/>
                    <a:pt x="386" y="1234"/>
                    <a:pt x="386" y="1234"/>
                  </a:cubicBezTo>
                  <a:cubicBezTo>
                    <a:pt x="386" y="1234"/>
                    <a:pt x="376" y="1219"/>
                    <a:pt x="388" y="1192"/>
                  </a:cubicBezTo>
                  <a:cubicBezTo>
                    <a:pt x="397" y="1162"/>
                    <a:pt x="426" y="1187"/>
                    <a:pt x="426" y="1187"/>
                  </a:cubicBezTo>
                  <a:cubicBezTo>
                    <a:pt x="425" y="1206"/>
                    <a:pt x="425" y="1206"/>
                    <a:pt x="425" y="1206"/>
                  </a:cubicBezTo>
                  <a:cubicBezTo>
                    <a:pt x="425" y="1206"/>
                    <a:pt x="443" y="1214"/>
                    <a:pt x="461" y="1238"/>
                  </a:cubicBezTo>
                  <a:cubicBezTo>
                    <a:pt x="479" y="1258"/>
                    <a:pt x="466" y="1295"/>
                    <a:pt x="466" y="1295"/>
                  </a:cubicBezTo>
                  <a:cubicBezTo>
                    <a:pt x="495" y="1316"/>
                    <a:pt x="495" y="1316"/>
                    <a:pt x="495" y="1316"/>
                  </a:cubicBezTo>
                  <a:cubicBezTo>
                    <a:pt x="495" y="1316"/>
                    <a:pt x="487" y="1239"/>
                    <a:pt x="518" y="1218"/>
                  </a:cubicBezTo>
                  <a:cubicBezTo>
                    <a:pt x="549" y="1196"/>
                    <a:pt x="551" y="1242"/>
                    <a:pt x="551" y="1242"/>
                  </a:cubicBezTo>
                  <a:cubicBezTo>
                    <a:pt x="615" y="1299"/>
                    <a:pt x="615" y="1299"/>
                    <a:pt x="615" y="1299"/>
                  </a:cubicBezTo>
                  <a:cubicBezTo>
                    <a:pt x="627" y="1292"/>
                    <a:pt x="627" y="1292"/>
                    <a:pt x="627" y="1292"/>
                  </a:cubicBezTo>
                  <a:cubicBezTo>
                    <a:pt x="599" y="1244"/>
                    <a:pt x="599" y="1244"/>
                    <a:pt x="599" y="1244"/>
                  </a:cubicBezTo>
                  <a:cubicBezTo>
                    <a:pt x="600" y="1218"/>
                    <a:pt x="600" y="1218"/>
                    <a:pt x="600" y="1218"/>
                  </a:cubicBezTo>
                  <a:cubicBezTo>
                    <a:pt x="559" y="1143"/>
                    <a:pt x="559" y="1143"/>
                    <a:pt x="559" y="1143"/>
                  </a:cubicBezTo>
                  <a:cubicBezTo>
                    <a:pt x="556" y="1112"/>
                    <a:pt x="556" y="1112"/>
                    <a:pt x="556" y="1112"/>
                  </a:cubicBezTo>
                  <a:cubicBezTo>
                    <a:pt x="518" y="1046"/>
                    <a:pt x="518" y="1046"/>
                    <a:pt x="518" y="1046"/>
                  </a:cubicBezTo>
                  <a:cubicBezTo>
                    <a:pt x="589" y="1064"/>
                    <a:pt x="589" y="1064"/>
                    <a:pt x="589" y="1064"/>
                  </a:cubicBezTo>
                  <a:cubicBezTo>
                    <a:pt x="580" y="1087"/>
                    <a:pt x="580" y="1087"/>
                    <a:pt x="580" y="1087"/>
                  </a:cubicBezTo>
                  <a:cubicBezTo>
                    <a:pt x="610" y="1096"/>
                    <a:pt x="610" y="1096"/>
                    <a:pt x="610" y="1096"/>
                  </a:cubicBezTo>
                  <a:cubicBezTo>
                    <a:pt x="630" y="1066"/>
                    <a:pt x="630" y="1066"/>
                    <a:pt x="630" y="1066"/>
                  </a:cubicBezTo>
                  <a:cubicBezTo>
                    <a:pt x="644" y="1071"/>
                    <a:pt x="644" y="1071"/>
                    <a:pt x="644" y="1071"/>
                  </a:cubicBezTo>
                  <a:cubicBezTo>
                    <a:pt x="664" y="1045"/>
                    <a:pt x="664" y="1045"/>
                    <a:pt x="664" y="1045"/>
                  </a:cubicBezTo>
                  <a:cubicBezTo>
                    <a:pt x="646" y="1044"/>
                    <a:pt x="646" y="1044"/>
                    <a:pt x="646" y="1044"/>
                  </a:cubicBezTo>
                  <a:cubicBezTo>
                    <a:pt x="632" y="1009"/>
                    <a:pt x="632" y="1009"/>
                    <a:pt x="632" y="1009"/>
                  </a:cubicBezTo>
                  <a:cubicBezTo>
                    <a:pt x="632" y="1009"/>
                    <a:pt x="609" y="1023"/>
                    <a:pt x="598" y="1015"/>
                  </a:cubicBezTo>
                  <a:cubicBezTo>
                    <a:pt x="584" y="1003"/>
                    <a:pt x="599" y="996"/>
                    <a:pt x="600" y="984"/>
                  </a:cubicBezTo>
                  <a:cubicBezTo>
                    <a:pt x="600" y="969"/>
                    <a:pt x="574" y="972"/>
                    <a:pt x="567" y="964"/>
                  </a:cubicBezTo>
                  <a:cubicBezTo>
                    <a:pt x="560" y="960"/>
                    <a:pt x="583" y="953"/>
                    <a:pt x="583" y="953"/>
                  </a:cubicBezTo>
                  <a:cubicBezTo>
                    <a:pt x="624" y="936"/>
                    <a:pt x="624" y="936"/>
                    <a:pt x="624" y="936"/>
                  </a:cubicBezTo>
                  <a:cubicBezTo>
                    <a:pt x="663" y="915"/>
                    <a:pt x="663" y="915"/>
                    <a:pt x="663" y="915"/>
                  </a:cubicBezTo>
                  <a:cubicBezTo>
                    <a:pt x="666" y="934"/>
                    <a:pt x="666" y="934"/>
                    <a:pt x="666" y="934"/>
                  </a:cubicBezTo>
                  <a:cubicBezTo>
                    <a:pt x="688" y="935"/>
                    <a:pt x="688" y="935"/>
                    <a:pt x="688" y="935"/>
                  </a:cubicBezTo>
                  <a:cubicBezTo>
                    <a:pt x="688" y="935"/>
                    <a:pt x="731" y="987"/>
                    <a:pt x="753" y="996"/>
                  </a:cubicBezTo>
                  <a:cubicBezTo>
                    <a:pt x="771" y="1004"/>
                    <a:pt x="780" y="974"/>
                    <a:pt x="780" y="974"/>
                  </a:cubicBezTo>
                  <a:cubicBezTo>
                    <a:pt x="780" y="974"/>
                    <a:pt x="755" y="954"/>
                    <a:pt x="749" y="923"/>
                  </a:cubicBezTo>
                  <a:cubicBezTo>
                    <a:pt x="742" y="896"/>
                    <a:pt x="751" y="877"/>
                    <a:pt x="751" y="862"/>
                  </a:cubicBezTo>
                  <a:cubicBezTo>
                    <a:pt x="752" y="846"/>
                    <a:pt x="681" y="839"/>
                    <a:pt x="666" y="838"/>
                  </a:cubicBezTo>
                  <a:cubicBezTo>
                    <a:pt x="652" y="834"/>
                    <a:pt x="652" y="815"/>
                    <a:pt x="652" y="815"/>
                  </a:cubicBezTo>
                  <a:cubicBezTo>
                    <a:pt x="652" y="815"/>
                    <a:pt x="637" y="822"/>
                    <a:pt x="626" y="814"/>
                  </a:cubicBezTo>
                  <a:cubicBezTo>
                    <a:pt x="615" y="809"/>
                    <a:pt x="580" y="773"/>
                    <a:pt x="580" y="773"/>
                  </a:cubicBezTo>
                  <a:cubicBezTo>
                    <a:pt x="580" y="773"/>
                    <a:pt x="568" y="788"/>
                    <a:pt x="564" y="788"/>
                  </a:cubicBezTo>
                  <a:cubicBezTo>
                    <a:pt x="556" y="787"/>
                    <a:pt x="550" y="764"/>
                    <a:pt x="550" y="764"/>
                  </a:cubicBezTo>
                  <a:cubicBezTo>
                    <a:pt x="494" y="758"/>
                    <a:pt x="494" y="758"/>
                    <a:pt x="494" y="758"/>
                  </a:cubicBezTo>
                  <a:cubicBezTo>
                    <a:pt x="491" y="742"/>
                    <a:pt x="491" y="742"/>
                    <a:pt x="491" y="742"/>
                  </a:cubicBezTo>
                  <a:cubicBezTo>
                    <a:pt x="491" y="742"/>
                    <a:pt x="464" y="752"/>
                    <a:pt x="465" y="737"/>
                  </a:cubicBezTo>
                  <a:cubicBezTo>
                    <a:pt x="466" y="722"/>
                    <a:pt x="514" y="732"/>
                    <a:pt x="514" y="732"/>
                  </a:cubicBezTo>
                  <a:cubicBezTo>
                    <a:pt x="514" y="732"/>
                    <a:pt x="548" y="733"/>
                    <a:pt x="581" y="743"/>
                  </a:cubicBezTo>
                  <a:cubicBezTo>
                    <a:pt x="614" y="756"/>
                    <a:pt x="639" y="784"/>
                    <a:pt x="639" y="784"/>
                  </a:cubicBezTo>
                  <a:cubicBezTo>
                    <a:pt x="657" y="788"/>
                    <a:pt x="657" y="788"/>
                    <a:pt x="657" y="788"/>
                  </a:cubicBezTo>
                  <a:cubicBezTo>
                    <a:pt x="657" y="788"/>
                    <a:pt x="660" y="815"/>
                    <a:pt x="667" y="823"/>
                  </a:cubicBezTo>
                  <a:cubicBezTo>
                    <a:pt x="674" y="831"/>
                    <a:pt x="689" y="824"/>
                    <a:pt x="697" y="825"/>
                  </a:cubicBezTo>
                  <a:cubicBezTo>
                    <a:pt x="704" y="825"/>
                    <a:pt x="734" y="826"/>
                    <a:pt x="756" y="843"/>
                  </a:cubicBezTo>
                  <a:cubicBezTo>
                    <a:pt x="777" y="863"/>
                    <a:pt x="801" y="914"/>
                    <a:pt x="801" y="914"/>
                  </a:cubicBezTo>
                  <a:cubicBezTo>
                    <a:pt x="801" y="914"/>
                    <a:pt x="831" y="919"/>
                    <a:pt x="839" y="912"/>
                  </a:cubicBezTo>
                  <a:cubicBezTo>
                    <a:pt x="846" y="908"/>
                    <a:pt x="841" y="866"/>
                    <a:pt x="841" y="866"/>
                  </a:cubicBezTo>
                  <a:cubicBezTo>
                    <a:pt x="841" y="866"/>
                    <a:pt x="799" y="872"/>
                    <a:pt x="786" y="844"/>
                  </a:cubicBezTo>
                  <a:cubicBezTo>
                    <a:pt x="768" y="817"/>
                    <a:pt x="773" y="790"/>
                    <a:pt x="773" y="790"/>
                  </a:cubicBezTo>
                  <a:cubicBezTo>
                    <a:pt x="751" y="781"/>
                    <a:pt x="751" y="781"/>
                    <a:pt x="751" y="781"/>
                  </a:cubicBezTo>
                  <a:cubicBezTo>
                    <a:pt x="745" y="754"/>
                    <a:pt x="745" y="754"/>
                    <a:pt x="745" y="754"/>
                  </a:cubicBezTo>
                  <a:cubicBezTo>
                    <a:pt x="745" y="754"/>
                    <a:pt x="730" y="761"/>
                    <a:pt x="707" y="760"/>
                  </a:cubicBezTo>
                  <a:cubicBezTo>
                    <a:pt x="681" y="759"/>
                    <a:pt x="674" y="743"/>
                    <a:pt x="674" y="743"/>
                  </a:cubicBezTo>
                  <a:cubicBezTo>
                    <a:pt x="663" y="750"/>
                    <a:pt x="663" y="750"/>
                    <a:pt x="663" y="750"/>
                  </a:cubicBezTo>
                  <a:cubicBezTo>
                    <a:pt x="619" y="721"/>
                    <a:pt x="619" y="721"/>
                    <a:pt x="619" y="721"/>
                  </a:cubicBezTo>
                  <a:cubicBezTo>
                    <a:pt x="619" y="721"/>
                    <a:pt x="606" y="686"/>
                    <a:pt x="595" y="682"/>
                  </a:cubicBezTo>
                  <a:cubicBezTo>
                    <a:pt x="580" y="678"/>
                    <a:pt x="553" y="699"/>
                    <a:pt x="538" y="695"/>
                  </a:cubicBezTo>
                  <a:cubicBezTo>
                    <a:pt x="523" y="690"/>
                    <a:pt x="499" y="662"/>
                    <a:pt x="495" y="651"/>
                  </a:cubicBezTo>
                  <a:cubicBezTo>
                    <a:pt x="492" y="639"/>
                    <a:pt x="518" y="636"/>
                    <a:pt x="518" y="636"/>
                  </a:cubicBezTo>
                  <a:cubicBezTo>
                    <a:pt x="515" y="629"/>
                    <a:pt x="515" y="629"/>
                    <a:pt x="515" y="629"/>
                  </a:cubicBezTo>
                  <a:cubicBezTo>
                    <a:pt x="515" y="629"/>
                    <a:pt x="553" y="627"/>
                    <a:pt x="563" y="646"/>
                  </a:cubicBezTo>
                  <a:cubicBezTo>
                    <a:pt x="577" y="666"/>
                    <a:pt x="547" y="668"/>
                    <a:pt x="547" y="668"/>
                  </a:cubicBezTo>
                  <a:cubicBezTo>
                    <a:pt x="550" y="684"/>
                    <a:pt x="550" y="684"/>
                    <a:pt x="550" y="684"/>
                  </a:cubicBezTo>
                  <a:cubicBezTo>
                    <a:pt x="584" y="670"/>
                    <a:pt x="584" y="670"/>
                    <a:pt x="584" y="670"/>
                  </a:cubicBezTo>
                  <a:cubicBezTo>
                    <a:pt x="586" y="640"/>
                    <a:pt x="586" y="640"/>
                    <a:pt x="586" y="640"/>
                  </a:cubicBezTo>
                  <a:cubicBezTo>
                    <a:pt x="540" y="584"/>
                    <a:pt x="540" y="584"/>
                    <a:pt x="540" y="584"/>
                  </a:cubicBezTo>
                  <a:cubicBezTo>
                    <a:pt x="506" y="571"/>
                    <a:pt x="506" y="571"/>
                    <a:pt x="506" y="571"/>
                  </a:cubicBezTo>
                  <a:cubicBezTo>
                    <a:pt x="506" y="571"/>
                    <a:pt x="497" y="543"/>
                    <a:pt x="497" y="528"/>
                  </a:cubicBezTo>
                  <a:cubicBezTo>
                    <a:pt x="498" y="509"/>
                    <a:pt x="461" y="504"/>
                    <a:pt x="461" y="504"/>
                  </a:cubicBezTo>
                  <a:cubicBezTo>
                    <a:pt x="462" y="484"/>
                    <a:pt x="462" y="484"/>
                    <a:pt x="462" y="484"/>
                  </a:cubicBezTo>
                  <a:cubicBezTo>
                    <a:pt x="462" y="484"/>
                    <a:pt x="443" y="476"/>
                    <a:pt x="433" y="453"/>
                  </a:cubicBezTo>
                  <a:cubicBezTo>
                    <a:pt x="419" y="433"/>
                    <a:pt x="444" y="392"/>
                    <a:pt x="444" y="392"/>
                  </a:cubicBezTo>
                  <a:cubicBezTo>
                    <a:pt x="437" y="372"/>
                    <a:pt x="437" y="372"/>
                    <a:pt x="437" y="372"/>
                  </a:cubicBezTo>
                  <a:cubicBezTo>
                    <a:pt x="442" y="353"/>
                    <a:pt x="442" y="353"/>
                    <a:pt x="442" y="353"/>
                  </a:cubicBezTo>
                  <a:cubicBezTo>
                    <a:pt x="460" y="354"/>
                    <a:pt x="460" y="354"/>
                    <a:pt x="460" y="354"/>
                  </a:cubicBezTo>
                  <a:cubicBezTo>
                    <a:pt x="480" y="332"/>
                    <a:pt x="480" y="332"/>
                    <a:pt x="480" y="332"/>
                  </a:cubicBezTo>
                  <a:cubicBezTo>
                    <a:pt x="480" y="321"/>
                    <a:pt x="480" y="321"/>
                    <a:pt x="480" y="321"/>
                  </a:cubicBezTo>
                  <a:cubicBezTo>
                    <a:pt x="498" y="341"/>
                    <a:pt x="498" y="341"/>
                    <a:pt x="498" y="341"/>
                  </a:cubicBezTo>
                  <a:cubicBezTo>
                    <a:pt x="475" y="355"/>
                    <a:pt x="475" y="355"/>
                    <a:pt x="475" y="355"/>
                  </a:cubicBezTo>
                  <a:cubicBezTo>
                    <a:pt x="485" y="379"/>
                    <a:pt x="485" y="379"/>
                    <a:pt x="485" y="379"/>
                  </a:cubicBezTo>
                  <a:cubicBezTo>
                    <a:pt x="508" y="380"/>
                    <a:pt x="508" y="380"/>
                    <a:pt x="508" y="380"/>
                  </a:cubicBezTo>
                  <a:cubicBezTo>
                    <a:pt x="529" y="396"/>
                    <a:pt x="529" y="396"/>
                    <a:pt x="529" y="396"/>
                  </a:cubicBezTo>
                  <a:cubicBezTo>
                    <a:pt x="529" y="396"/>
                    <a:pt x="559" y="401"/>
                    <a:pt x="570" y="409"/>
                  </a:cubicBezTo>
                  <a:cubicBezTo>
                    <a:pt x="581" y="414"/>
                    <a:pt x="577" y="429"/>
                    <a:pt x="576" y="440"/>
                  </a:cubicBezTo>
                  <a:cubicBezTo>
                    <a:pt x="576" y="452"/>
                    <a:pt x="586" y="460"/>
                    <a:pt x="586" y="460"/>
                  </a:cubicBezTo>
                  <a:cubicBezTo>
                    <a:pt x="589" y="475"/>
                    <a:pt x="589" y="475"/>
                    <a:pt x="589" y="475"/>
                  </a:cubicBezTo>
                  <a:cubicBezTo>
                    <a:pt x="638" y="478"/>
                    <a:pt x="638" y="478"/>
                    <a:pt x="638" y="478"/>
                  </a:cubicBezTo>
                  <a:cubicBezTo>
                    <a:pt x="653" y="478"/>
                    <a:pt x="661" y="467"/>
                    <a:pt x="650" y="463"/>
                  </a:cubicBezTo>
                  <a:cubicBezTo>
                    <a:pt x="635" y="454"/>
                    <a:pt x="602" y="445"/>
                    <a:pt x="602" y="445"/>
                  </a:cubicBezTo>
                  <a:cubicBezTo>
                    <a:pt x="602" y="445"/>
                    <a:pt x="581" y="417"/>
                    <a:pt x="582" y="402"/>
                  </a:cubicBezTo>
                  <a:cubicBezTo>
                    <a:pt x="582" y="387"/>
                    <a:pt x="600" y="399"/>
                    <a:pt x="600" y="399"/>
                  </a:cubicBezTo>
                  <a:cubicBezTo>
                    <a:pt x="627" y="401"/>
                    <a:pt x="627" y="401"/>
                    <a:pt x="627" y="401"/>
                  </a:cubicBezTo>
                  <a:cubicBezTo>
                    <a:pt x="662" y="437"/>
                    <a:pt x="662" y="437"/>
                    <a:pt x="662" y="437"/>
                  </a:cubicBezTo>
                  <a:cubicBezTo>
                    <a:pt x="691" y="465"/>
                    <a:pt x="691" y="465"/>
                    <a:pt x="691" y="465"/>
                  </a:cubicBezTo>
                  <a:cubicBezTo>
                    <a:pt x="691" y="465"/>
                    <a:pt x="707" y="450"/>
                    <a:pt x="696" y="431"/>
                  </a:cubicBezTo>
                  <a:cubicBezTo>
                    <a:pt x="690" y="411"/>
                    <a:pt x="671" y="406"/>
                    <a:pt x="664" y="406"/>
                  </a:cubicBezTo>
                  <a:cubicBezTo>
                    <a:pt x="653" y="402"/>
                    <a:pt x="642" y="394"/>
                    <a:pt x="643" y="378"/>
                  </a:cubicBezTo>
                  <a:cubicBezTo>
                    <a:pt x="639" y="367"/>
                    <a:pt x="654" y="364"/>
                    <a:pt x="654" y="364"/>
                  </a:cubicBezTo>
                  <a:cubicBezTo>
                    <a:pt x="710" y="378"/>
                    <a:pt x="710" y="378"/>
                    <a:pt x="710" y="378"/>
                  </a:cubicBezTo>
                  <a:cubicBezTo>
                    <a:pt x="725" y="382"/>
                    <a:pt x="725" y="382"/>
                    <a:pt x="725" y="382"/>
                  </a:cubicBezTo>
                  <a:cubicBezTo>
                    <a:pt x="728" y="390"/>
                    <a:pt x="728" y="390"/>
                    <a:pt x="728" y="390"/>
                  </a:cubicBezTo>
                  <a:cubicBezTo>
                    <a:pt x="746" y="414"/>
                    <a:pt x="746" y="414"/>
                    <a:pt x="746" y="414"/>
                  </a:cubicBezTo>
                  <a:cubicBezTo>
                    <a:pt x="761" y="395"/>
                    <a:pt x="761" y="395"/>
                    <a:pt x="761" y="395"/>
                  </a:cubicBezTo>
                  <a:cubicBezTo>
                    <a:pt x="718" y="355"/>
                    <a:pt x="718" y="355"/>
                    <a:pt x="718" y="355"/>
                  </a:cubicBezTo>
                  <a:cubicBezTo>
                    <a:pt x="707" y="355"/>
                    <a:pt x="707" y="355"/>
                    <a:pt x="707" y="355"/>
                  </a:cubicBezTo>
                  <a:cubicBezTo>
                    <a:pt x="682" y="342"/>
                    <a:pt x="682" y="342"/>
                    <a:pt x="682" y="342"/>
                  </a:cubicBezTo>
                  <a:cubicBezTo>
                    <a:pt x="681" y="357"/>
                    <a:pt x="681" y="357"/>
                    <a:pt x="681" y="357"/>
                  </a:cubicBezTo>
                  <a:cubicBezTo>
                    <a:pt x="681" y="357"/>
                    <a:pt x="670" y="349"/>
                    <a:pt x="659" y="349"/>
                  </a:cubicBezTo>
                  <a:cubicBezTo>
                    <a:pt x="648" y="344"/>
                    <a:pt x="660" y="322"/>
                    <a:pt x="660" y="322"/>
                  </a:cubicBezTo>
                  <a:cubicBezTo>
                    <a:pt x="660" y="322"/>
                    <a:pt x="624" y="297"/>
                    <a:pt x="624" y="289"/>
                  </a:cubicBezTo>
                  <a:cubicBezTo>
                    <a:pt x="624" y="282"/>
                    <a:pt x="647" y="271"/>
                    <a:pt x="647" y="271"/>
                  </a:cubicBezTo>
                  <a:cubicBezTo>
                    <a:pt x="647" y="271"/>
                    <a:pt x="677" y="277"/>
                    <a:pt x="688" y="277"/>
                  </a:cubicBezTo>
                  <a:cubicBezTo>
                    <a:pt x="699" y="278"/>
                    <a:pt x="727" y="249"/>
                    <a:pt x="727" y="249"/>
                  </a:cubicBezTo>
                  <a:cubicBezTo>
                    <a:pt x="732" y="230"/>
                    <a:pt x="732" y="230"/>
                    <a:pt x="732" y="230"/>
                  </a:cubicBezTo>
                  <a:cubicBezTo>
                    <a:pt x="732" y="230"/>
                    <a:pt x="747" y="215"/>
                    <a:pt x="755" y="215"/>
                  </a:cubicBezTo>
                  <a:cubicBezTo>
                    <a:pt x="766" y="212"/>
                    <a:pt x="784" y="228"/>
                    <a:pt x="803" y="229"/>
                  </a:cubicBezTo>
                  <a:cubicBezTo>
                    <a:pt x="825" y="226"/>
                    <a:pt x="837" y="219"/>
                    <a:pt x="841" y="216"/>
                  </a:cubicBezTo>
                  <a:cubicBezTo>
                    <a:pt x="849" y="208"/>
                    <a:pt x="864" y="190"/>
                    <a:pt x="864" y="190"/>
                  </a:cubicBezTo>
                  <a:cubicBezTo>
                    <a:pt x="854" y="174"/>
                    <a:pt x="854" y="174"/>
                    <a:pt x="854" y="174"/>
                  </a:cubicBezTo>
                  <a:cubicBezTo>
                    <a:pt x="858" y="171"/>
                    <a:pt x="858" y="171"/>
                    <a:pt x="858" y="171"/>
                  </a:cubicBezTo>
                  <a:cubicBezTo>
                    <a:pt x="872" y="187"/>
                    <a:pt x="872" y="187"/>
                    <a:pt x="872" y="187"/>
                  </a:cubicBezTo>
                  <a:cubicBezTo>
                    <a:pt x="871" y="202"/>
                    <a:pt x="871" y="202"/>
                    <a:pt x="871" y="202"/>
                  </a:cubicBezTo>
                  <a:cubicBezTo>
                    <a:pt x="893" y="211"/>
                    <a:pt x="893" y="211"/>
                    <a:pt x="893" y="211"/>
                  </a:cubicBezTo>
                  <a:cubicBezTo>
                    <a:pt x="909" y="204"/>
                    <a:pt x="909" y="204"/>
                    <a:pt x="909" y="204"/>
                  </a:cubicBezTo>
                  <a:cubicBezTo>
                    <a:pt x="909" y="204"/>
                    <a:pt x="998" y="212"/>
                    <a:pt x="1017" y="213"/>
                  </a:cubicBezTo>
                  <a:cubicBezTo>
                    <a:pt x="1032" y="217"/>
                    <a:pt x="1034" y="236"/>
                    <a:pt x="1034" y="236"/>
                  </a:cubicBezTo>
                  <a:cubicBezTo>
                    <a:pt x="1034" y="236"/>
                    <a:pt x="1074" y="200"/>
                    <a:pt x="1082" y="18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5" name="Freeform 549">
              <a:extLst>
                <a:ext uri="{FF2B5EF4-FFF2-40B4-BE49-F238E27FC236}">
                  <a16:creationId xmlns:a16="http://schemas.microsoft.com/office/drawing/2014/main" id="{95150A75-E6E4-77C8-F2AD-FE6C3FA1798A}"/>
                </a:ext>
              </a:extLst>
            </p:cNvPr>
            <p:cNvSpPr>
              <a:spLocks/>
            </p:cNvSpPr>
            <p:nvPr/>
          </p:nvSpPr>
          <p:spPr bwMode="gray">
            <a:xfrm>
              <a:off x="11769801" y="5352921"/>
              <a:ext cx="10788" cy="26971"/>
            </a:xfrm>
            <a:custGeom>
              <a:avLst/>
              <a:gdLst>
                <a:gd name="T0" fmla="*/ 11 w 19"/>
                <a:gd name="T1" fmla="*/ 30 h 45"/>
                <a:gd name="T2" fmla="*/ 8 w 19"/>
                <a:gd name="T3" fmla="*/ 15 h 45"/>
                <a:gd name="T4" fmla="*/ 11 w 19"/>
                <a:gd name="T5" fmla="*/ 30 h 45"/>
              </a:gdLst>
              <a:ahLst/>
              <a:cxnLst>
                <a:cxn ang="0">
                  <a:pos x="T0" y="T1"/>
                </a:cxn>
                <a:cxn ang="0">
                  <a:pos x="T2" y="T3"/>
                </a:cxn>
                <a:cxn ang="0">
                  <a:pos x="T4" y="T5"/>
                </a:cxn>
              </a:cxnLst>
              <a:rect l="0" t="0" r="r" b="b"/>
              <a:pathLst>
                <a:path w="19" h="45">
                  <a:moveTo>
                    <a:pt x="11" y="30"/>
                  </a:moveTo>
                  <a:cubicBezTo>
                    <a:pt x="19" y="19"/>
                    <a:pt x="17" y="0"/>
                    <a:pt x="8" y="15"/>
                  </a:cubicBezTo>
                  <a:cubicBezTo>
                    <a:pt x="0" y="34"/>
                    <a:pt x="0" y="45"/>
                    <a:pt x="11"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6" name="Freeform 550">
              <a:extLst>
                <a:ext uri="{FF2B5EF4-FFF2-40B4-BE49-F238E27FC236}">
                  <a16:creationId xmlns:a16="http://schemas.microsoft.com/office/drawing/2014/main" id="{25F0451E-9277-CAC6-0BDC-91F8E5018E93}"/>
                </a:ext>
              </a:extLst>
            </p:cNvPr>
            <p:cNvSpPr>
              <a:spLocks/>
            </p:cNvSpPr>
            <p:nvPr/>
          </p:nvSpPr>
          <p:spPr bwMode="gray">
            <a:xfrm>
              <a:off x="11359862" y="5448215"/>
              <a:ext cx="329030" cy="104283"/>
            </a:xfrm>
            <a:custGeom>
              <a:avLst/>
              <a:gdLst>
                <a:gd name="T0" fmla="*/ 545 w 551"/>
                <a:gd name="T1" fmla="*/ 32 h 175"/>
                <a:gd name="T2" fmla="*/ 517 w 551"/>
                <a:gd name="T3" fmla="*/ 65 h 175"/>
                <a:gd name="T4" fmla="*/ 507 w 551"/>
                <a:gd name="T5" fmla="*/ 57 h 175"/>
                <a:gd name="T6" fmla="*/ 472 w 551"/>
                <a:gd name="T7" fmla="*/ 75 h 175"/>
                <a:gd name="T8" fmla="*/ 464 w 551"/>
                <a:gd name="T9" fmla="*/ 78 h 175"/>
                <a:gd name="T10" fmla="*/ 449 w 551"/>
                <a:gd name="T11" fmla="*/ 89 h 175"/>
                <a:gd name="T12" fmla="*/ 439 w 551"/>
                <a:gd name="T13" fmla="*/ 62 h 175"/>
                <a:gd name="T14" fmla="*/ 432 w 551"/>
                <a:gd name="T15" fmla="*/ 42 h 175"/>
                <a:gd name="T16" fmla="*/ 383 w 551"/>
                <a:gd name="T17" fmla="*/ 59 h 175"/>
                <a:gd name="T18" fmla="*/ 368 w 551"/>
                <a:gd name="T19" fmla="*/ 51 h 175"/>
                <a:gd name="T20" fmla="*/ 304 w 551"/>
                <a:gd name="T21" fmla="*/ 63 h 175"/>
                <a:gd name="T22" fmla="*/ 294 w 551"/>
                <a:gd name="T23" fmla="*/ 39 h 175"/>
                <a:gd name="T24" fmla="*/ 283 w 551"/>
                <a:gd name="T25" fmla="*/ 39 h 175"/>
                <a:gd name="T26" fmla="*/ 279 w 551"/>
                <a:gd name="T27" fmla="*/ 46 h 175"/>
                <a:gd name="T28" fmla="*/ 238 w 551"/>
                <a:gd name="T29" fmla="*/ 48 h 175"/>
                <a:gd name="T30" fmla="*/ 199 w 551"/>
                <a:gd name="T31" fmla="*/ 69 h 175"/>
                <a:gd name="T32" fmla="*/ 154 w 551"/>
                <a:gd name="T33" fmla="*/ 67 h 175"/>
                <a:gd name="T34" fmla="*/ 162 w 551"/>
                <a:gd name="T35" fmla="*/ 60 h 175"/>
                <a:gd name="T36" fmla="*/ 152 w 551"/>
                <a:gd name="T37" fmla="*/ 48 h 175"/>
                <a:gd name="T38" fmla="*/ 140 w 551"/>
                <a:gd name="T39" fmla="*/ 59 h 175"/>
                <a:gd name="T40" fmla="*/ 121 w 551"/>
                <a:gd name="T41" fmla="*/ 50 h 175"/>
                <a:gd name="T42" fmla="*/ 137 w 551"/>
                <a:gd name="T43" fmla="*/ 32 h 175"/>
                <a:gd name="T44" fmla="*/ 107 w 551"/>
                <a:gd name="T45" fmla="*/ 42 h 175"/>
                <a:gd name="T46" fmla="*/ 81 w 551"/>
                <a:gd name="T47" fmla="*/ 45 h 175"/>
                <a:gd name="T48" fmla="*/ 58 w 551"/>
                <a:gd name="T49" fmla="*/ 43 h 175"/>
                <a:gd name="T50" fmla="*/ 45 w 551"/>
                <a:gd name="T51" fmla="*/ 8 h 175"/>
                <a:gd name="T52" fmla="*/ 35 w 551"/>
                <a:gd name="T53" fmla="*/ 54 h 175"/>
                <a:gd name="T54" fmla="*/ 25 w 551"/>
                <a:gd name="T55" fmla="*/ 27 h 175"/>
                <a:gd name="T56" fmla="*/ 18 w 551"/>
                <a:gd name="T57" fmla="*/ 22 h 175"/>
                <a:gd name="T58" fmla="*/ 8 w 551"/>
                <a:gd name="T59" fmla="*/ 76 h 175"/>
                <a:gd name="T60" fmla="*/ 17 w 551"/>
                <a:gd name="T61" fmla="*/ 118 h 175"/>
                <a:gd name="T62" fmla="*/ 77 w 551"/>
                <a:gd name="T63" fmla="*/ 113 h 175"/>
                <a:gd name="T64" fmla="*/ 122 w 551"/>
                <a:gd name="T65" fmla="*/ 123 h 175"/>
                <a:gd name="T66" fmla="*/ 171 w 551"/>
                <a:gd name="T67" fmla="*/ 114 h 175"/>
                <a:gd name="T68" fmla="*/ 208 w 551"/>
                <a:gd name="T69" fmla="*/ 123 h 175"/>
                <a:gd name="T70" fmla="*/ 249 w 551"/>
                <a:gd name="T71" fmla="*/ 133 h 175"/>
                <a:gd name="T72" fmla="*/ 247 w 551"/>
                <a:gd name="T73" fmla="*/ 167 h 175"/>
                <a:gd name="T74" fmla="*/ 250 w 551"/>
                <a:gd name="T75" fmla="*/ 175 h 175"/>
                <a:gd name="T76" fmla="*/ 296 w 551"/>
                <a:gd name="T77" fmla="*/ 158 h 175"/>
                <a:gd name="T78" fmla="*/ 372 w 551"/>
                <a:gd name="T79" fmla="*/ 135 h 175"/>
                <a:gd name="T80" fmla="*/ 429 w 551"/>
                <a:gd name="T81" fmla="*/ 122 h 175"/>
                <a:gd name="T82" fmla="*/ 451 w 551"/>
                <a:gd name="T83" fmla="*/ 127 h 175"/>
                <a:gd name="T84" fmla="*/ 474 w 551"/>
                <a:gd name="T85" fmla="*/ 109 h 175"/>
                <a:gd name="T86" fmla="*/ 531 w 551"/>
                <a:gd name="T87" fmla="*/ 104 h 175"/>
                <a:gd name="T88" fmla="*/ 551 w 551"/>
                <a:gd name="T89" fmla="*/ 59 h 175"/>
                <a:gd name="T90" fmla="*/ 544 w 551"/>
                <a:gd name="T91" fmla="*/ 55 h 175"/>
                <a:gd name="T92" fmla="*/ 545 w 551"/>
                <a:gd name="T93" fmla="*/ 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1" h="175">
                  <a:moveTo>
                    <a:pt x="545" y="32"/>
                  </a:moveTo>
                  <a:cubicBezTo>
                    <a:pt x="538" y="32"/>
                    <a:pt x="517" y="65"/>
                    <a:pt x="517" y="65"/>
                  </a:cubicBezTo>
                  <a:cubicBezTo>
                    <a:pt x="517" y="65"/>
                    <a:pt x="510" y="57"/>
                    <a:pt x="507" y="57"/>
                  </a:cubicBezTo>
                  <a:cubicBezTo>
                    <a:pt x="499" y="57"/>
                    <a:pt x="472" y="75"/>
                    <a:pt x="472" y="75"/>
                  </a:cubicBezTo>
                  <a:cubicBezTo>
                    <a:pt x="464" y="78"/>
                    <a:pt x="464" y="78"/>
                    <a:pt x="464" y="78"/>
                  </a:cubicBezTo>
                  <a:cubicBezTo>
                    <a:pt x="464" y="78"/>
                    <a:pt x="460" y="89"/>
                    <a:pt x="449" y="89"/>
                  </a:cubicBezTo>
                  <a:cubicBezTo>
                    <a:pt x="438" y="92"/>
                    <a:pt x="439" y="62"/>
                    <a:pt x="439" y="62"/>
                  </a:cubicBezTo>
                  <a:cubicBezTo>
                    <a:pt x="439" y="62"/>
                    <a:pt x="455" y="43"/>
                    <a:pt x="432" y="42"/>
                  </a:cubicBezTo>
                  <a:cubicBezTo>
                    <a:pt x="406" y="41"/>
                    <a:pt x="390" y="59"/>
                    <a:pt x="383" y="59"/>
                  </a:cubicBezTo>
                  <a:cubicBezTo>
                    <a:pt x="379" y="63"/>
                    <a:pt x="380" y="51"/>
                    <a:pt x="368" y="51"/>
                  </a:cubicBezTo>
                  <a:cubicBezTo>
                    <a:pt x="353" y="50"/>
                    <a:pt x="304" y="63"/>
                    <a:pt x="304" y="63"/>
                  </a:cubicBezTo>
                  <a:cubicBezTo>
                    <a:pt x="294" y="39"/>
                    <a:pt x="294" y="39"/>
                    <a:pt x="294" y="39"/>
                  </a:cubicBezTo>
                  <a:cubicBezTo>
                    <a:pt x="283" y="39"/>
                    <a:pt x="283" y="39"/>
                    <a:pt x="283" y="39"/>
                  </a:cubicBezTo>
                  <a:cubicBezTo>
                    <a:pt x="279" y="46"/>
                    <a:pt x="279" y="46"/>
                    <a:pt x="279" y="46"/>
                  </a:cubicBezTo>
                  <a:cubicBezTo>
                    <a:pt x="279" y="46"/>
                    <a:pt x="253" y="41"/>
                    <a:pt x="238" y="48"/>
                  </a:cubicBezTo>
                  <a:cubicBezTo>
                    <a:pt x="222" y="51"/>
                    <a:pt x="207" y="62"/>
                    <a:pt x="199" y="69"/>
                  </a:cubicBezTo>
                  <a:cubicBezTo>
                    <a:pt x="192" y="73"/>
                    <a:pt x="154" y="67"/>
                    <a:pt x="154" y="67"/>
                  </a:cubicBezTo>
                  <a:cubicBezTo>
                    <a:pt x="162" y="60"/>
                    <a:pt x="162" y="60"/>
                    <a:pt x="162" y="60"/>
                  </a:cubicBezTo>
                  <a:cubicBezTo>
                    <a:pt x="152" y="48"/>
                    <a:pt x="152" y="48"/>
                    <a:pt x="152" y="48"/>
                  </a:cubicBezTo>
                  <a:cubicBezTo>
                    <a:pt x="140" y="59"/>
                    <a:pt x="140" y="59"/>
                    <a:pt x="140" y="59"/>
                  </a:cubicBezTo>
                  <a:cubicBezTo>
                    <a:pt x="140" y="59"/>
                    <a:pt x="121" y="62"/>
                    <a:pt x="121" y="50"/>
                  </a:cubicBezTo>
                  <a:cubicBezTo>
                    <a:pt x="122" y="35"/>
                    <a:pt x="158" y="64"/>
                    <a:pt x="137" y="32"/>
                  </a:cubicBezTo>
                  <a:cubicBezTo>
                    <a:pt x="120" y="0"/>
                    <a:pt x="107" y="42"/>
                    <a:pt x="107" y="42"/>
                  </a:cubicBezTo>
                  <a:cubicBezTo>
                    <a:pt x="107" y="42"/>
                    <a:pt x="92" y="41"/>
                    <a:pt x="81" y="45"/>
                  </a:cubicBezTo>
                  <a:cubicBezTo>
                    <a:pt x="73" y="48"/>
                    <a:pt x="58" y="43"/>
                    <a:pt x="58" y="43"/>
                  </a:cubicBezTo>
                  <a:cubicBezTo>
                    <a:pt x="58" y="43"/>
                    <a:pt x="56" y="5"/>
                    <a:pt x="45" y="8"/>
                  </a:cubicBezTo>
                  <a:cubicBezTo>
                    <a:pt x="30" y="15"/>
                    <a:pt x="50" y="51"/>
                    <a:pt x="35" y="54"/>
                  </a:cubicBezTo>
                  <a:cubicBezTo>
                    <a:pt x="24" y="57"/>
                    <a:pt x="25" y="27"/>
                    <a:pt x="25" y="27"/>
                  </a:cubicBezTo>
                  <a:cubicBezTo>
                    <a:pt x="18" y="22"/>
                    <a:pt x="18" y="22"/>
                    <a:pt x="18" y="22"/>
                  </a:cubicBezTo>
                  <a:cubicBezTo>
                    <a:pt x="18" y="22"/>
                    <a:pt x="12" y="64"/>
                    <a:pt x="8" y="76"/>
                  </a:cubicBezTo>
                  <a:cubicBezTo>
                    <a:pt x="0" y="90"/>
                    <a:pt x="7" y="102"/>
                    <a:pt x="17" y="118"/>
                  </a:cubicBezTo>
                  <a:cubicBezTo>
                    <a:pt x="28" y="130"/>
                    <a:pt x="70" y="113"/>
                    <a:pt x="77" y="113"/>
                  </a:cubicBezTo>
                  <a:cubicBezTo>
                    <a:pt x="89" y="114"/>
                    <a:pt x="107" y="122"/>
                    <a:pt x="122" y="123"/>
                  </a:cubicBezTo>
                  <a:cubicBezTo>
                    <a:pt x="137" y="124"/>
                    <a:pt x="171" y="114"/>
                    <a:pt x="171" y="114"/>
                  </a:cubicBezTo>
                  <a:cubicBezTo>
                    <a:pt x="208" y="123"/>
                    <a:pt x="208" y="123"/>
                    <a:pt x="208" y="123"/>
                  </a:cubicBezTo>
                  <a:cubicBezTo>
                    <a:pt x="208" y="123"/>
                    <a:pt x="227" y="117"/>
                    <a:pt x="249" y="133"/>
                  </a:cubicBezTo>
                  <a:cubicBezTo>
                    <a:pt x="271" y="145"/>
                    <a:pt x="247" y="167"/>
                    <a:pt x="247" y="167"/>
                  </a:cubicBezTo>
                  <a:cubicBezTo>
                    <a:pt x="250" y="175"/>
                    <a:pt x="250" y="175"/>
                    <a:pt x="250" y="175"/>
                  </a:cubicBezTo>
                  <a:cubicBezTo>
                    <a:pt x="250" y="175"/>
                    <a:pt x="277" y="161"/>
                    <a:pt x="296" y="158"/>
                  </a:cubicBezTo>
                  <a:cubicBezTo>
                    <a:pt x="315" y="155"/>
                    <a:pt x="357" y="142"/>
                    <a:pt x="372" y="135"/>
                  </a:cubicBezTo>
                  <a:cubicBezTo>
                    <a:pt x="384" y="128"/>
                    <a:pt x="429" y="122"/>
                    <a:pt x="429" y="122"/>
                  </a:cubicBezTo>
                  <a:cubicBezTo>
                    <a:pt x="451" y="127"/>
                    <a:pt x="451" y="127"/>
                    <a:pt x="451" y="127"/>
                  </a:cubicBezTo>
                  <a:cubicBezTo>
                    <a:pt x="474" y="109"/>
                    <a:pt x="474" y="109"/>
                    <a:pt x="474" y="109"/>
                  </a:cubicBezTo>
                  <a:cubicBezTo>
                    <a:pt x="474" y="109"/>
                    <a:pt x="512" y="111"/>
                    <a:pt x="531" y="104"/>
                  </a:cubicBezTo>
                  <a:cubicBezTo>
                    <a:pt x="549" y="101"/>
                    <a:pt x="551" y="59"/>
                    <a:pt x="551" y="59"/>
                  </a:cubicBezTo>
                  <a:cubicBezTo>
                    <a:pt x="544" y="55"/>
                    <a:pt x="544" y="55"/>
                    <a:pt x="544" y="55"/>
                  </a:cubicBezTo>
                  <a:cubicBezTo>
                    <a:pt x="544" y="55"/>
                    <a:pt x="549" y="36"/>
                    <a:pt x="545" y="3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7" name="Freeform 551">
              <a:extLst>
                <a:ext uri="{FF2B5EF4-FFF2-40B4-BE49-F238E27FC236}">
                  <a16:creationId xmlns:a16="http://schemas.microsoft.com/office/drawing/2014/main" id="{0EC63AD4-1DE9-64A9-9A7A-AC9C801FB011}"/>
                </a:ext>
              </a:extLst>
            </p:cNvPr>
            <p:cNvSpPr>
              <a:spLocks/>
            </p:cNvSpPr>
            <p:nvPr/>
          </p:nvSpPr>
          <p:spPr bwMode="gray">
            <a:xfrm>
              <a:off x="11413802" y="5281002"/>
              <a:ext cx="14383" cy="16183"/>
            </a:xfrm>
            <a:custGeom>
              <a:avLst/>
              <a:gdLst>
                <a:gd name="T0" fmla="*/ 6 w 8"/>
                <a:gd name="T1" fmla="*/ 0 h 9"/>
                <a:gd name="T2" fmla="*/ 0 w 8"/>
                <a:gd name="T3" fmla="*/ 3 h 9"/>
                <a:gd name="T4" fmla="*/ 8 w 8"/>
                <a:gd name="T5" fmla="*/ 9 h 9"/>
                <a:gd name="T6" fmla="*/ 6 w 8"/>
                <a:gd name="T7" fmla="*/ 0 h 9"/>
              </a:gdLst>
              <a:ahLst/>
              <a:cxnLst>
                <a:cxn ang="0">
                  <a:pos x="T0" y="T1"/>
                </a:cxn>
                <a:cxn ang="0">
                  <a:pos x="T2" y="T3"/>
                </a:cxn>
                <a:cxn ang="0">
                  <a:pos x="T4" y="T5"/>
                </a:cxn>
                <a:cxn ang="0">
                  <a:pos x="T6" y="T7"/>
                </a:cxn>
              </a:cxnLst>
              <a:rect l="0" t="0" r="r" b="b"/>
              <a:pathLst>
                <a:path w="8" h="9">
                  <a:moveTo>
                    <a:pt x="6" y="0"/>
                  </a:moveTo>
                  <a:lnTo>
                    <a:pt x="0" y="3"/>
                  </a:lnTo>
                  <a:lnTo>
                    <a:pt x="8" y="9"/>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8" name="Freeform 552">
              <a:extLst>
                <a:ext uri="{FF2B5EF4-FFF2-40B4-BE49-F238E27FC236}">
                  <a16:creationId xmlns:a16="http://schemas.microsoft.com/office/drawing/2014/main" id="{2040C2E9-6DDA-EBEB-4076-8BFC396898A7}"/>
                </a:ext>
              </a:extLst>
            </p:cNvPr>
            <p:cNvSpPr>
              <a:spLocks/>
            </p:cNvSpPr>
            <p:nvPr/>
          </p:nvSpPr>
          <p:spPr bwMode="gray">
            <a:xfrm>
              <a:off x="11760811" y="5374497"/>
              <a:ext cx="23374" cy="64727"/>
            </a:xfrm>
            <a:custGeom>
              <a:avLst/>
              <a:gdLst>
                <a:gd name="T0" fmla="*/ 10 w 13"/>
                <a:gd name="T1" fmla="*/ 0 h 36"/>
                <a:gd name="T2" fmla="*/ 6 w 13"/>
                <a:gd name="T3" fmla="*/ 3 h 36"/>
                <a:gd name="T4" fmla="*/ 3 w 13"/>
                <a:gd name="T5" fmla="*/ 19 h 36"/>
                <a:gd name="T6" fmla="*/ 0 w 13"/>
                <a:gd name="T7" fmla="*/ 19 h 36"/>
                <a:gd name="T8" fmla="*/ 1 w 13"/>
                <a:gd name="T9" fmla="*/ 24 h 36"/>
                <a:gd name="T10" fmla="*/ 5 w 13"/>
                <a:gd name="T11" fmla="*/ 27 h 36"/>
                <a:gd name="T12" fmla="*/ 6 w 13"/>
                <a:gd name="T13" fmla="*/ 33 h 36"/>
                <a:gd name="T14" fmla="*/ 11 w 13"/>
                <a:gd name="T15" fmla="*/ 36 h 36"/>
                <a:gd name="T16" fmla="*/ 11 w 13"/>
                <a:gd name="T17" fmla="*/ 32 h 36"/>
                <a:gd name="T18" fmla="*/ 13 w 13"/>
                <a:gd name="T19" fmla="*/ 30 h 36"/>
                <a:gd name="T20" fmla="*/ 13 w 13"/>
                <a:gd name="T21" fmla="*/ 26 h 36"/>
                <a:gd name="T22" fmla="*/ 10 w 13"/>
                <a:gd name="T23" fmla="*/ 22 h 36"/>
                <a:gd name="T24" fmla="*/ 10 w 13"/>
                <a:gd name="T2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36">
                  <a:moveTo>
                    <a:pt x="10" y="0"/>
                  </a:moveTo>
                  <a:lnTo>
                    <a:pt x="6" y="3"/>
                  </a:lnTo>
                  <a:lnTo>
                    <a:pt x="3" y="19"/>
                  </a:lnTo>
                  <a:lnTo>
                    <a:pt x="0" y="19"/>
                  </a:lnTo>
                  <a:lnTo>
                    <a:pt x="1" y="24"/>
                  </a:lnTo>
                  <a:lnTo>
                    <a:pt x="5" y="27"/>
                  </a:lnTo>
                  <a:lnTo>
                    <a:pt x="6" y="33"/>
                  </a:lnTo>
                  <a:lnTo>
                    <a:pt x="11" y="36"/>
                  </a:lnTo>
                  <a:lnTo>
                    <a:pt x="11" y="32"/>
                  </a:lnTo>
                  <a:lnTo>
                    <a:pt x="13" y="30"/>
                  </a:lnTo>
                  <a:lnTo>
                    <a:pt x="13" y="26"/>
                  </a:lnTo>
                  <a:lnTo>
                    <a:pt x="10" y="22"/>
                  </a:lnTo>
                  <a:lnTo>
                    <a:pt x="1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9" name="Freeform 553">
              <a:extLst>
                <a:ext uri="{FF2B5EF4-FFF2-40B4-BE49-F238E27FC236}">
                  <a16:creationId xmlns:a16="http://schemas.microsoft.com/office/drawing/2014/main" id="{9F82BF18-2CAC-8AC7-4EB4-8F97BF2F22B6}"/>
                </a:ext>
              </a:extLst>
            </p:cNvPr>
            <p:cNvSpPr>
              <a:spLocks/>
            </p:cNvSpPr>
            <p:nvPr/>
          </p:nvSpPr>
          <p:spPr bwMode="gray">
            <a:xfrm>
              <a:off x="11741033" y="5435629"/>
              <a:ext cx="23374" cy="19778"/>
            </a:xfrm>
            <a:custGeom>
              <a:avLst/>
              <a:gdLst>
                <a:gd name="T0" fmla="*/ 4 w 38"/>
                <a:gd name="T1" fmla="*/ 19 h 34"/>
                <a:gd name="T2" fmla="*/ 19 w 38"/>
                <a:gd name="T3" fmla="*/ 23 h 34"/>
                <a:gd name="T4" fmla="*/ 35 w 38"/>
                <a:gd name="T5" fmla="*/ 5 h 34"/>
                <a:gd name="T6" fmla="*/ 4 w 38"/>
                <a:gd name="T7" fmla="*/ 19 h 34"/>
              </a:gdLst>
              <a:ahLst/>
              <a:cxnLst>
                <a:cxn ang="0">
                  <a:pos x="T0" y="T1"/>
                </a:cxn>
                <a:cxn ang="0">
                  <a:pos x="T2" y="T3"/>
                </a:cxn>
                <a:cxn ang="0">
                  <a:pos x="T4" y="T5"/>
                </a:cxn>
                <a:cxn ang="0">
                  <a:pos x="T6" y="T7"/>
                </a:cxn>
              </a:cxnLst>
              <a:rect l="0" t="0" r="r" b="b"/>
              <a:pathLst>
                <a:path w="38" h="34">
                  <a:moveTo>
                    <a:pt x="4" y="19"/>
                  </a:moveTo>
                  <a:cubicBezTo>
                    <a:pt x="0" y="34"/>
                    <a:pt x="11" y="27"/>
                    <a:pt x="19" y="23"/>
                  </a:cubicBezTo>
                  <a:cubicBezTo>
                    <a:pt x="38" y="13"/>
                    <a:pt x="35" y="5"/>
                    <a:pt x="35" y="5"/>
                  </a:cubicBezTo>
                  <a:cubicBezTo>
                    <a:pt x="35" y="5"/>
                    <a:pt x="5" y="0"/>
                    <a:pt x="4"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0" name="Freeform 554">
              <a:extLst>
                <a:ext uri="{FF2B5EF4-FFF2-40B4-BE49-F238E27FC236}">
                  <a16:creationId xmlns:a16="http://schemas.microsoft.com/office/drawing/2014/main" id="{F086EBED-C1D2-64A9-3F79-1E8841B7D313}"/>
                </a:ext>
              </a:extLst>
            </p:cNvPr>
            <p:cNvSpPr>
              <a:spLocks/>
            </p:cNvSpPr>
            <p:nvPr/>
          </p:nvSpPr>
          <p:spPr bwMode="gray">
            <a:xfrm>
              <a:off x="11744629" y="5272013"/>
              <a:ext cx="23374" cy="16183"/>
            </a:xfrm>
            <a:custGeom>
              <a:avLst/>
              <a:gdLst>
                <a:gd name="T0" fmla="*/ 19 w 37"/>
                <a:gd name="T1" fmla="*/ 7 h 26"/>
                <a:gd name="T2" fmla="*/ 18 w 37"/>
                <a:gd name="T3" fmla="*/ 22 h 26"/>
                <a:gd name="T4" fmla="*/ 19 w 37"/>
                <a:gd name="T5" fmla="*/ 7 h 26"/>
              </a:gdLst>
              <a:ahLst/>
              <a:cxnLst>
                <a:cxn ang="0">
                  <a:pos x="T0" y="T1"/>
                </a:cxn>
                <a:cxn ang="0">
                  <a:pos x="T2" y="T3"/>
                </a:cxn>
                <a:cxn ang="0">
                  <a:pos x="T4" y="T5"/>
                </a:cxn>
              </a:cxnLst>
              <a:rect l="0" t="0" r="r" b="b"/>
              <a:pathLst>
                <a:path w="37" h="26">
                  <a:moveTo>
                    <a:pt x="19" y="7"/>
                  </a:moveTo>
                  <a:cubicBezTo>
                    <a:pt x="0" y="14"/>
                    <a:pt x="10" y="26"/>
                    <a:pt x="18" y="22"/>
                  </a:cubicBezTo>
                  <a:cubicBezTo>
                    <a:pt x="37" y="15"/>
                    <a:pt x="34" y="0"/>
                    <a:pt x="19"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1" name="Freeform 555">
              <a:extLst>
                <a:ext uri="{FF2B5EF4-FFF2-40B4-BE49-F238E27FC236}">
                  <a16:creationId xmlns:a16="http://schemas.microsoft.com/office/drawing/2014/main" id="{5119D06F-DE50-8B44-8ED6-016A6015DDC1}"/>
                </a:ext>
              </a:extLst>
            </p:cNvPr>
            <p:cNvSpPr>
              <a:spLocks/>
            </p:cNvSpPr>
            <p:nvPr/>
          </p:nvSpPr>
          <p:spPr bwMode="gray">
            <a:xfrm>
              <a:off x="11821943" y="3972074"/>
              <a:ext cx="26971" cy="30566"/>
            </a:xfrm>
            <a:custGeom>
              <a:avLst/>
              <a:gdLst>
                <a:gd name="T0" fmla="*/ 0 w 15"/>
                <a:gd name="T1" fmla="*/ 17 h 17"/>
                <a:gd name="T2" fmla="*/ 3 w 15"/>
                <a:gd name="T3" fmla="*/ 16 h 17"/>
                <a:gd name="T4" fmla="*/ 10 w 15"/>
                <a:gd name="T5" fmla="*/ 8 h 17"/>
                <a:gd name="T6" fmla="*/ 15 w 15"/>
                <a:gd name="T7" fmla="*/ 0 h 17"/>
                <a:gd name="T8" fmla="*/ 8 w 15"/>
                <a:gd name="T9" fmla="*/ 6 h 17"/>
                <a:gd name="T10" fmla="*/ 0 w 15"/>
                <a:gd name="T11" fmla="*/ 17 h 17"/>
              </a:gdLst>
              <a:ahLst/>
              <a:cxnLst>
                <a:cxn ang="0">
                  <a:pos x="T0" y="T1"/>
                </a:cxn>
                <a:cxn ang="0">
                  <a:pos x="T2" y="T3"/>
                </a:cxn>
                <a:cxn ang="0">
                  <a:pos x="T4" y="T5"/>
                </a:cxn>
                <a:cxn ang="0">
                  <a:pos x="T6" y="T7"/>
                </a:cxn>
                <a:cxn ang="0">
                  <a:pos x="T8" y="T9"/>
                </a:cxn>
                <a:cxn ang="0">
                  <a:pos x="T10" y="T11"/>
                </a:cxn>
              </a:cxnLst>
              <a:rect l="0" t="0" r="r" b="b"/>
              <a:pathLst>
                <a:path w="15" h="17">
                  <a:moveTo>
                    <a:pt x="0" y="17"/>
                  </a:moveTo>
                  <a:lnTo>
                    <a:pt x="3" y="16"/>
                  </a:lnTo>
                  <a:lnTo>
                    <a:pt x="10" y="8"/>
                  </a:lnTo>
                  <a:lnTo>
                    <a:pt x="15" y="0"/>
                  </a:lnTo>
                  <a:lnTo>
                    <a:pt x="8" y="6"/>
                  </a:lnTo>
                  <a:lnTo>
                    <a:pt x="0" y="1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2" name="Freeform 556">
              <a:extLst>
                <a:ext uri="{FF2B5EF4-FFF2-40B4-BE49-F238E27FC236}">
                  <a16:creationId xmlns:a16="http://schemas.microsoft.com/office/drawing/2014/main" id="{ACF6DCB6-A238-6663-DCEA-8E2F8CD26E84}"/>
                </a:ext>
              </a:extLst>
            </p:cNvPr>
            <p:cNvSpPr>
              <a:spLocks/>
            </p:cNvSpPr>
            <p:nvPr/>
          </p:nvSpPr>
          <p:spPr bwMode="gray">
            <a:xfrm>
              <a:off x="11045693" y="2981389"/>
              <a:ext cx="1019397" cy="1087900"/>
            </a:xfrm>
            <a:custGeom>
              <a:avLst/>
              <a:gdLst>
                <a:gd name="T0" fmla="*/ 2675 w 2677"/>
                <a:gd name="T1" fmla="*/ 736 h 1826"/>
                <a:gd name="T2" fmla="*/ 2596 w 2677"/>
                <a:gd name="T3" fmla="*/ 576 h 1826"/>
                <a:gd name="T4" fmla="*/ 2615 w 2677"/>
                <a:gd name="T5" fmla="*/ 412 h 1826"/>
                <a:gd name="T6" fmla="*/ 2499 w 2677"/>
                <a:gd name="T7" fmla="*/ 330 h 1826"/>
                <a:gd name="T8" fmla="*/ 2408 w 2677"/>
                <a:gd name="T9" fmla="*/ 341 h 1826"/>
                <a:gd name="T10" fmla="*/ 2265 w 2677"/>
                <a:gd name="T11" fmla="*/ 365 h 1826"/>
                <a:gd name="T12" fmla="*/ 2146 w 2677"/>
                <a:gd name="T13" fmla="*/ 275 h 1826"/>
                <a:gd name="T14" fmla="*/ 2004 w 2677"/>
                <a:gd name="T15" fmla="*/ 349 h 1826"/>
                <a:gd name="T16" fmla="*/ 1810 w 2677"/>
                <a:gd name="T17" fmla="*/ 255 h 1826"/>
                <a:gd name="T18" fmla="*/ 1688 w 2677"/>
                <a:gd name="T19" fmla="*/ 223 h 1826"/>
                <a:gd name="T20" fmla="*/ 1644 w 2677"/>
                <a:gd name="T21" fmla="*/ 113 h 1826"/>
                <a:gd name="T22" fmla="*/ 1439 w 2677"/>
                <a:gd name="T23" fmla="*/ 20 h 1826"/>
                <a:gd name="T24" fmla="*/ 1268 w 2677"/>
                <a:gd name="T25" fmla="*/ 164 h 1826"/>
                <a:gd name="T26" fmla="*/ 1030 w 2677"/>
                <a:gd name="T27" fmla="*/ 363 h 1826"/>
                <a:gd name="T28" fmla="*/ 922 w 2677"/>
                <a:gd name="T29" fmla="*/ 358 h 1826"/>
                <a:gd name="T30" fmla="*/ 806 w 2677"/>
                <a:gd name="T31" fmla="*/ 360 h 1826"/>
                <a:gd name="T32" fmla="*/ 653 w 2677"/>
                <a:gd name="T33" fmla="*/ 361 h 1826"/>
                <a:gd name="T34" fmla="*/ 447 w 2677"/>
                <a:gd name="T35" fmla="*/ 351 h 1826"/>
                <a:gd name="T36" fmla="*/ 145 w 2677"/>
                <a:gd name="T37" fmla="*/ 490 h 1826"/>
                <a:gd name="T38" fmla="*/ 211 w 2677"/>
                <a:gd name="T39" fmla="*/ 611 h 1826"/>
                <a:gd name="T40" fmla="*/ 186 w 2677"/>
                <a:gd name="T41" fmla="*/ 752 h 1826"/>
                <a:gd name="T42" fmla="*/ 108 w 2677"/>
                <a:gd name="T43" fmla="*/ 1065 h 1826"/>
                <a:gd name="T44" fmla="*/ 6 w 2677"/>
                <a:gd name="T45" fmla="*/ 1236 h 1826"/>
                <a:gd name="T46" fmla="*/ 122 w 2677"/>
                <a:gd name="T47" fmla="*/ 1322 h 1826"/>
                <a:gd name="T48" fmla="*/ 344 w 2677"/>
                <a:gd name="T49" fmla="*/ 1306 h 1826"/>
                <a:gd name="T50" fmla="*/ 709 w 2677"/>
                <a:gd name="T51" fmla="*/ 1174 h 1826"/>
                <a:gd name="T52" fmla="*/ 782 w 2677"/>
                <a:gd name="T53" fmla="*/ 1136 h 1826"/>
                <a:gd name="T54" fmla="*/ 920 w 2677"/>
                <a:gd name="T55" fmla="*/ 1150 h 1826"/>
                <a:gd name="T56" fmla="*/ 1039 w 2677"/>
                <a:gd name="T57" fmla="*/ 1156 h 1826"/>
                <a:gd name="T58" fmla="*/ 1126 w 2677"/>
                <a:gd name="T59" fmla="*/ 1297 h 1826"/>
                <a:gd name="T60" fmla="*/ 1263 w 2677"/>
                <a:gd name="T61" fmla="*/ 1411 h 1826"/>
                <a:gd name="T62" fmla="*/ 1202 w 2677"/>
                <a:gd name="T63" fmla="*/ 1511 h 1826"/>
                <a:gd name="T64" fmla="*/ 1131 w 2677"/>
                <a:gd name="T65" fmla="*/ 1676 h 1826"/>
                <a:gd name="T66" fmla="*/ 1102 w 2677"/>
                <a:gd name="T67" fmla="*/ 1813 h 1826"/>
                <a:gd name="T68" fmla="*/ 1302 w 2677"/>
                <a:gd name="T69" fmla="*/ 1798 h 1826"/>
                <a:gd name="T70" fmla="*/ 1271 w 2677"/>
                <a:gd name="T71" fmla="*/ 1721 h 1826"/>
                <a:gd name="T72" fmla="*/ 1303 w 2677"/>
                <a:gd name="T73" fmla="*/ 1681 h 1826"/>
                <a:gd name="T74" fmla="*/ 1393 w 2677"/>
                <a:gd name="T75" fmla="*/ 1601 h 1826"/>
                <a:gd name="T76" fmla="*/ 1418 w 2677"/>
                <a:gd name="T77" fmla="*/ 1464 h 1826"/>
                <a:gd name="T78" fmla="*/ 1563 w 2677"/>
                <a:gd name="T79" fmla="*/ 1314 h 1826"/>
                <a:gd name="T80" fmla="*/ 1525 w 2677"/>
                <a:gd name="T81" fmla="*/ 1408 h 1826"/>
                <a:gd name="T82" fmla="*/ 1617 w 2677"/>
                <a:gd name="T83" fmla="*/ 1451 h 1826"/>
                <a:gd name="T84" fmla="*/ 1893 w 2677"/>
                <a:gd name="T85" fmla="*/ 1456 h 1826"/>
                <a:gd name="T86" fmla="*/ 1749 w 2677"/>
                <a:gd name="T87" fmla="*/ 1587 h 1826"/>
                <a:gd name="T88" fmla="*/ 1840 w 2677"/>
                <a:gd name="T89" fmla="*/ 1641 h 1826"/>
                <a:gd name="T90" fmla="*/ 1986 w 2677"/>
                <a:gd name="T91" fmla="*/ 1805 h 1826"/>
                <a:gd name="T92" fmla="*/ 2226 w 2677"/>
                <a:gd name="T93" fmla="*/ 1552 h 1826"/>
                <a:gd name="T94" fmla="*/ 2313 w 2677"/>
                <a:gd name="T95" fmla="*/ 1442 h 1826"/>
                <a:gd name="T96" fmla="*/ 2062 w 2677"/>
                <a:gd name="T97" fmla="*/ 1457 h 1826"/>
                <a:gd name="T98" fmla="*/ 2038 w 2677"/>
                <a:gd name="T99" fmla="*/ 1406 h 1826"/>
                <a:gd name="T100" fmla="*/ 1897 w 2677"/>
                <a:gd name="T101" fmla="*/ 1376 h 1826"/>
                <a:gd name="T102" fmla="*/ 2008 w 2677"/>
                <a:gd name="T103" fmla="*/ 1401 h 1826"/>
                <a:gd name="T104" fmla="*/ 2083 w 2677"/>
                <a:gd name="T105" fmla="*/ 1320 h 1826"/>
                <a:gd name="T106" fmla="*/ 2186 w 2677"/>
                <a:gd name="T107" fmla="*/ 1187 h 1826"/>
                <a:gd name="T108" fmla="*/ 2313 w 2677"/>
                <a:gd name="T109" fmla="*/ 1109 h 1826"/>
                <a:gd name="T110" fmla="*/ 2496 w 2677"/>
                <a:gd name="T111" fmla="*/ 972 h 1826"/>
                <a:gd name="connsiteX0" fmla="*/ 9317 w 9990"/>
                <a:gd name="connsiteY0" fmla="*/ 5307 h 9985"/>
                <a:gd name="connsiteX1" fmla="*/ 9257 w 9990"/>
                <a:gd name="connsiteY1" fmla="*/ 5071 h 9985"/>
                <a:gd name="connsiteX2" fmla="*/ 9298 w 9990"/>
                <a:gd name="connsiteY2" fmla="*/ 4633 h 9985"/>
                <a:gd name="connsiteX3" fmla="*/ 9459 w 9990"/>
                <a:gd name="connsiteY3" fmla="*/ 4458 h 9985"/>
                <a:gd name="connsiteX4" fmla="*/ 9534 w 9990"/>
                <a:gd name="connsiteY4" fmla="*/ 4233 h 9985"/>
                <a:gd name="connsiteX5" fmla="*/ 9990 w 9990"/>
                <a:gd name="connsiteY5" fmla="*/ 4031 h 9985"/>
                <a:gd name="connsiteX6" fmla="*/ 9926 w 9990"/>
                <a:gd name="connsiteY6" fmla="*/ 3817 h 9985"/>
                <a:gd name="connsiteX7" fmla="*/ 9971 w 9990"/>
                <a:gd name="connsiteY7" fmla="*/ 3757 h 9985"/>
                <a:gd name="connsiteX8" fmla="*/ 9963 w 9990"/>
                <a:gd name="connsiteY8" fmla="*/ 3488 h 9985"/>
                <a:gd name="connsiteX9" fmla="*/ 9896 w 9990"/>
                <a:gd name="connsiteY9" fmla="*/ 3461 h 9985"/>
                <a:gd name="connsiteX10" fmla="*/ 9859 w 9990"/>
                <a:gd name="connsiteY10" fmla="*/ 3226 h 9985"/>
                <a:gd name="connsiteX11" fmla="*/ 9694 w 9990"/>
                <a:gd name="connsiteY11" fmla="*/ 3154 h 9985"/>
                <a:gd name="connsiteX12" fmla="*/ 9702 w 9990"/>
                <a:gd name="connsiteY12" fmla="*/ 2859 h 9985"/>
                <a:gd name="connsiteX13" fmla="*/ 9833 w 9990"/>
                <a:gd name="connsiteY13" fmla="*/ 2804 h 9985"/>
                <a:gd name="connsiteX14" fmla="*/ 9833 w 9990"/>
                <a:gd name="connsiteY14" fmla="*/ 2722 h 9985"/>
                <a:gd name="connsiteX15" fmla="*/ 9609 w 9990"/>
                <a:gd name="connsiteY15" fmla="*/ 2727 h 9985"/>
                <a:gd name="connsiteX16" fmla="*/ 9612 w 9990"/>
                <a:gd name="connsiteY16" fmla="*/ 2601 h 9985"/>
                <a:gd name="connsiteX17" fmla="*/ 9765 w 9990"/>
                <a:gd name="connsiteY17" fmla="*/ 2256 h 9985"/>
                <a:gd name="connsiteX18" fmla="*/ 9646 w 9990"/>
                <a:gd name="connsiteY18" fmla="*/ 2021 h 9985"/>
                <a:gd name="connsiteX19" fmla="*/ 9653 w 9990"/>
                <a:gd name="connsiteY19" fmla="*/ 1807 h 9985"/>
                <a:gd name="connsiteX20" fmla="*/ 9582 w 9990"/>
                <a:gd name="connsiteY20" fmla="*/ 1807 h 9985"/>
                <a:gd name="connsiteX21" fmla="*/ 9552 w 9990"/>
                <a:gd name="connsiteY21" fmla="*/ 1928 h 9985"/>
                <a:gd name="connsiteX22" fmla="*/ 9411 w 9990"/>
                <a:gd name="connsiteY22" fmla="*/ 1917 h 9985"/>
                <a:gd name="connsiteX23" fmla="*/ 9332 w 9990"/>
                <a:gd name="connsiteY23" fmla="*/ 1807 h 9985"/>
                <a:gd name="connsiteX24" fmla="*/ 9235 w 9990"/>
                <a:gd name="connsiteY24" fmla="*/ 1802 h 9985"/>
                <a:gd name="connsiteX25" fmla="*/ 9216 w 9990"/>
                <a:gd name="connsiteY25" fmla="*/ 1862 h 9985"/>
                <a:gd name="connsiteX26" fmla="*/ 9134 w 9990"/>
                <a:gd name="connsiteY26" fmla="*/ 1835 h 9985"/>
                <a:gd name="connsiteX27" fmla="*/ 9082 w 9990"/>
                <a:gd name="connsiteY27" fmla="*/ 1709 h 9985"/>
                <a:gd name="connsiteX28" fmla="*/ 9011 w 9990"/>
                <a:gd name="connsiteY28" fmla="*/ 1725 h 9985"/>
                <a:gd name="connsiteX29" fmla="*/ 8992 w 9990"/>
                <a:gd name="connsiteY29" fmla="*/ 1867 h 9985"/>
                <a:gd name="connsiteX30" fmla="*/ 8884 w 9990"/>
                <a:gd name="connsiteY30" fmla="*/ 1862 h 9985"/>
                <a:gd name="connsiteX31" fmla="*/ 8761 w 9990"/>
                <a:gd name="connsiteY31" fmla="*/ 1747 h 9985"/>
                <a:gd name="connsiteX32" fmla="*/ 8701 w 9990"/>
                <a:gd name="connsiteY32" fmla="*/ 1846 h 9985"/>
                <a:gd name="connsiteX33" fmla="*/ 8507 w 9990"/>
                <a:gd name="connsiteY33" fmla="*/ 1752 h 9985"/>
                <a:gd name="connsiteX34" fmla="*/ 8503 w 9990"/>
                <a:gd name="connsiteY34" fmla="*/ 1939 h 9985"/>
                <a:gd name="connsiteX35" fmla="*/ 8458 w 9990"/>
                <a:gd name="connsiteY35" fmla="*/ 1999 h 9985"/>
                <a:gd name="connsiteX36" fmla="*/ 8391 w 9990"/>
                <a:gd name="connsiteY36" fmla="*/ 1933 h 9985"/>
                <a:gd name="connsiteX37" fmla="*/ 8264 w 9990"/>
                <a:gd name="connsiteY37" fmla="*/ 1922 h 9985"/>
                <a:gd name="connsiteX38" fmla="*/ 8144 w 9990"/>
                <a:gd name="connsiteY38" fmla="*/ 1725 h 9985"/>
                <a:gd name="connsiteX39" fmla="*/ 8133 w 9990"/>
                <a:gd name="connsiteY39" fmla="*/ 1643 h 9985"/>
                <a:gd name="connsiteX40" fmla="*/ 8066 w 9990"/>
                <a:gd name="connsiteY40" fmla="*/ 1616 h 9985"/>
                <a:gd name="connsiteX41" fmla="*/ 8013 w 9990"/>
                <a:gd name="connsiteY41" fmla="*/ 1506 h 9985"/>
                <a:gd name="connsiteX42" fmla="*/ 7879 w 9990"/>
                <a:gd name="connsiteY42" fmla="*/ 1725 h 9985"/>
                <a:gd name="connsiteX43" fmla="*/ 7707 w 9990"/>
                <a:gd name="connsiteY43" fmla="*/ 1840 h 9985"/>
                <a:gd name="connsiteX44" fmla="*/ 7647 w 9990"/>
                <a:gd name="connsiteY44" fmla="*/ 2048 h 9985"/>
                <a:gd name="connsiteX45" fmla="*/ 7576 w 9990"/>
                <a:gd name="connsiteY45" fmla="*/ 2021 h 9985"/>
                <a:gd name="connsiteX46" fmla="*/ 7565 w 9990"/>
                <a:gd name="connsiteY46" fmla="*/ 1917 h 9985"/>
                <a:gd name="connsiteX47" fmla="*/ 7483 w 9990"/>
                <a:gd name="connsiteY47" fmla="*/ 1911 h 9985"/>
                <a:gd name="connsiteX48" fmla="*/ 7438 w 9990"/>
                <a:gd name="connsiteY48" fmla="*/ 1988 h 9985"/>
                <a:gd name="connsiteX49" fmla="*/ 7330 w 9990"/>
                <a:gd name="connsiteY49" fmla="*/ 1857 h 9985"/>
                <a:gd name="connsiteX50" fmla="*/ 7158 w 9990"/>
                <a:gd name="connsiteY50" fmla="*/ 1993 h 9985"/>
                <a:gd name="connsiteX51" fmla="*/ 6885 w 9990"/>
                <a:gd name="connsiteY51" fmla="*/ 1824 h 9985"/>
                <a:gd name="connsiteX52" fmla="*/ 6915 w 9990"/>
                <a:gd name="connsiteY52" fmla="*/ 1725 h 9985"/>
                <a:gd name="connsiteX53" fmla="*/ 6758 w 9990"/>
                <a:gd name="connsiteY53" fmla="*/ 1396 h 9985"/>
                <a:gd name="connsiteX54" fmla="*/ 6792 w 9990"/>
                <a:gd name="connsiteY54" fmla="*/ 1254 h 9985"/>
                <a:gd name="connsiteX55" fmla="*/ 6721 w 9990"/>
                <a:gd name="connsiteY55" fmla="*/ 1227 h 9985"/>
                <a:gd name="connsiteX56" fmla="*/ 6650 w 9990"/>
                <a:gd name="connsiteY56" fmla="*/ 1309 h 9985"/>
                <a:gd name="connsiteX57" fmla="*/ 6586 w 9990"/>
                <a:gd name="connsiteY57" fmla="*/ 1112 h 9985"/>
                <a:gd name="connsiteX58" fmla="*/ 6385 w 9990"/>
                <a:gd name="connsiteY58" fmla="*/ 1309 h 9985"/>
                <a:gd name="connsiteX59" fmla="*/ 6303 w 9990"/>
                <a:gd name="connsiteY59" fmla="*/ 1221 h 9985"/>
                <a:gd name="connsiteX60" fmla="*/ 6120 w 9990"/>
                <a:gd name="connsiteY60" fmla="*/ 1271 h 9985"/>
                <a:gd name="connsiteX61" fmla="*/ 6138 w 9990"/>
                <a:gd name="connsiteY61" fmla="*/ 1123 h 9985"/>
                <a:gd name="connsiteX62" fmla="*/ 6067 w 9990"/>
                <a:gd name="connsiteY62" fmla="*/ 1117 h 9985"/>
                <a:gd name="connsiteX63" fmla="*/ 6034 w 9990"/>
                <a:gd name="connsiteY63" fmla="*/ 909 h 9985"/>
                <a:gd name="connsiteX64" fmla="*/ 5936 w 9990"/>
                <a:gd name="connsiteY64" fmla="*/ 794 h 9985"/>
                <a:gd name="connsiteX65" fmla="*/ 6138 w 9990"/>
                <a:gd name="connsiteY65" fmla="*/ 619 h 9985"/>
                <a:gd name="connsiteX66" fmla="*/ 5895 w 9990"/>
                <a:gd name="connsiteY66" fmla="*/ 394 h 9985"/>
                <a:gd name="connsiteX67" fmla="*/ 5847 w 9990"/>
                <a:gd name="connsiteY67" fmla="*/ 142 h 9985"/>
                <a:gd name="connsiteX68" fmla="*/ 5735 w 9990"/>
                <a:gd name="connsiteY68" fmla="*/ 110 h 9985"/>
                <a:gd name="connsiteX69" fmla="*/ 5641 w 9990"/>
                <a:gd name="connsiteY69" fmla="*/ 0 h 9985"/>
                <a:gd name="connsiteX70" fmla="*/ 5541 w 9990"/>
                <a:gd name="connsiteY70" fmla="*/ 120 h 9985"/>
                <a:gd name="connsiteX71" fmla="*/ 5372 w 9990"/>
                <a:gd name="connsiteY71" fmla="*/ 110 h 9985"/>
                <a:gd name="connsiteX72" fmla="*/ 5227 w 9990"/>
                <a:gd name="connsiteY72" fmla="*/ 350 h 9985"/>
                <a:gd name="connsiteX73" fmla="*/ 4947 w 9990"/>
                <a:gd name="connsiteY73" fmla="*/ 329 h 9985"/>
                <a:gd name="connsiteX74" fmla="*/ 4879 w 9990"/>
                <a:gd name="connsiteY74" fmla="*/ 679 h 9985"/>
                <a:gd name="connsiteX75" fmla="*/ 4696 w 9990"/>
                <a:gd name="connsiteY75" fmla="*/ 706 h 9985"/>
                <a:gd name="connsiteX76" fmla="*/ 4790 w 9990"/>
                <a:gd name="connsiteY76" fmla="*/ 843 h 9985"/>
                <a:gd name="connsiteX77" fmla="*/ 4734 w 9990"/>
                <a:gd name="connsiteY77" fmla="*/ 898 h 9985"/>
                <a:gd name="connsiteX78" fmla="*/ 4607 w 9990"/>
                <a:gd name="connsiteY78" fmla="*/ 893 h 9985"/>
                <a:gd name="connsiteX79" fmla="*/ 4435 w 9990"/>
                <a:gd name="connsiteY79" fmla="*/ 1024 h 9985"/>
                <a:gd name="connsiteX80" fmla="*/ 4248 w 9990"/>
                <a:gd name="connsiteY80" fmla="*/ 1665 h 9985"/>
                <a:gd name="connsiteX81" fmla="*/ 4304 w 9990"/>
                <a:gd name="connsiteY81" fmla="*/ 2087 h 9985"/>
                <a:gd name="connsiteX82" fmla="*/ 4117 w 9990"/>
                <a:gd name="connsiteY82" fmla="*/ 1862 h 9985"/>
                <a:gd name="connsiteX83" fmla="*/ 3845 w 9990"/>
                <a:gd name="connsiteY83" fmla="*/ 1988 h 9985"/>
                <a:gd name="connsiteX84" fmla="*/ 3818 w 9990"/>
                <a:gd name="connsiteY84" fmla="*/ 1928 h 9985"/>
                <a:gd name="connsiteX85" fmla="*/ 3691 w 9990"/>
                <a:gd name="connsiteY85" fmla="*/ 1999 h 9985"/>
                <a:gd name="connsiteX86" fmla="*/ 3617 w 9990"/>
                <a:gd name="connsiteY86" fmla="*/ 2141 h 9985"/>
                <a:gd name="connsiteX87" fmla="*/ 3557 w 9990"/>
                <a:gd name="connsiteY87" fmla="*/ 1906 h 9985"/>
                <a:gd name="connsiteX88" fmla="*/ 3475 w 9990"/>
                <a:gd name="connsiteY88" fmla="*/ 1840 h 9985"/>
                <a:gd name="connsiteX89" fmla="*/ 3441 w 9990"/>
                <a:gd name="connsiteY89" fmla="*/ 1961 h 9985"/>
                <a:gd name="connsiteX90" fmla="*/ 3329 w 9990"/>
                <a:gd name="connsiteY90" fmla="*/ 1993 h 9985"/>
                <a:gd name="connsiteX91" fmla="*/ 3269 w 9990"/>
                <a:gd name="connsiteY91" fmla="*/ 2158 h 9985"/>
                <a:gd name="connsiteX92" fmla="*/ 3232 w 9990"/>
                <a:gd name="connsiteY92" fmla="*/ 2010 h 9985"/>
                <a:gd name="connsiteX93" fmla="*/ 3120 w 9990"/>
                <a:gd name="connsiteY93" fmla="*/ 2021 h 9985"/>
                <a:gd name="connsiteX94" fmla="*/ 3075 w 9990"/>
                <a:gd name="connsiteY94" fmla="*/ 2125 h 9985"/>
                <a:gd name="connsiteX95" fmla="*/ 3008 w 9990"/>
                <a:gd name="connsiteY95" fmla="*/ 1972 h 9985"/>
                <a:gd name="connsiteX96" fmla="*/ 2892 w 9990"/>
                <a:gd name="connsiteY96" fmla="*/ 2114 h 9985"/>
                <a:gd name="connsiteX97" fmla="*/ 2780 w 9990"/>
                <a:gd name="connsiteY97" fmla="*/ 2103 h 9985"/>
                <a:gd name="connsiteX98" fmla="*/ 2776 w 9990"/>
                <a:gd name="connsiteY98" fmla="*/ 2273 h 9985"/>
                <a:gd name="connsiteX99" fmla="*/ 2724 w 9990"/>
                <a:gd name="connsiteY99" fmla="*/ 2141 h 9985"/>
                <a:gd name="connsiteX100" fmla="*/ 2556 w 9990"/>
                <a:gd name="connsiteY100" fmla="*/ 2152 h 9985"/>
                <a:gd name="connsiteX101" fmla="*/ 2436 w 9990"/>
                <a:gd name="connsiteY101" fmla="*/ 1977 h 9985"/>
                <a:gd name="connsiteX102" fmla="*/ 2291 w 9990"/>
                <a:gd name="connsiteY102" fmla="*/ 2070 h 9985"/>
                <a:gd name="connsiteX103" fmla="*/ 2141 w 9990"/>
                <a:gd name="connsiteY103" fmla="*/ 1955 h 9985"/>
                <a:gd name="connsiteX104" fmla="*/ 2055 w 9990"/>
                <a:gd name="connsiteY104" fmla="*/ 2032 h 9985"/>
                <a:gd name="connsiteX105" fmla="*/ 1973 w 9990"/>
                <a:gd name="connsiteY105" fmla="*/ 1944 h 9985"/>
                <a:gd name="connsiteX106" fmla="*/ 1850 w 9990"/>
                <a:gd name="connsiteY106" fmla="*/ 1933 h 9985"/>
                <a:gd name="connsiteX107" fmla="*/ 1667 w 9990"/>
                <a:gd name="connsiteY107" fmla="*/ 1922 h 9985"/>
                <a:gd name="connsiteX108" fmla="*/ 1443 w 9990"/>
                <a:gd name="connsiteY108" fmla="*/ 1988 h 9985"/>
                <a:gd name="connsiteX109" fmla="*/ 1204 w 9990"/>
                <a:gd name="connsiteY109" fmla="*/ 2059 h 9985"/>
                <a:gd name="connsiteX110" fmla="*/ 920 w 9990"/>
                <a:gd name="connsiteY110" fmla="*/ 2163 h 9985"/>
                <a:gd name="connsiteX111" fmla="*/ 796 w 9990"/>
                <a:gd name="connsiteY111" fmla="*/ 2492 h 9985"/>
                <a:gd name="connsiteX112" fmla="*/ 602 w 9990"/>
                <a:gd name="connsiteY112" fmla="*/ 2497 h 9985"/>
                <a:gd name="connsiteX113" fmla="*/ 539 w 9990"/>
                <a:gd name="connsiteY113" fmla="*/ 2683 h 9985"/>
                <a:gd name="connsiteX114" fmla="*/ 557 w 9990"/>
                <a:gd name="connsiteY114" fmla="*/ 2760 h 9985"/>
                <a:gd name="connsiteX115" fmla="*/ 576 w 9990"/>
                <a:gd name="connsiteY115" fmla="*/ 2864 h 9985"/>
                <a:gd name="connsiteX116" fmla="*/ 576 w 9990"/>
                <a:gd name="connsiteY116" fmla="*/ 2864 h 9985"/>
                <a:gd name="connsiteX117" fmla="*/ 576 w 9990"/>
                <a:gd name="connsiteY117" fmla="*/ 2892 h 9985"/>
                <a:gd name="connsiteX118" fmla="*/ 681 w 9990"/>
                <a:gd name="connsiteY118" fmla="*/ 3111 h 9985"/>
                <a:gd name="connsiteX119" fmla="*/ 785 w 9990"/>
                <a:gd name="connsiteY119" fmla="*/ 3346 h 9985"/>
                <a:gd name="connsiteX120" fmla="*/ 920 w 9990"/>
                <a:gd name="connsiteY120" fmla="*/ 3483 h 9985"/>
                <a:gd name="connsiteX121" fmla="*/ 875 w 9990"/>
                <a:gd name="connsiteY121" fmla="*/ 3543 h 9985"/>
                <a:gd name="connsiteX122" fmla="*/ 804 w 9990"/>
                <a:gd name="connsiteY122" fmla="*/ 3598 h 9985"/>
                <a:gd name="connsiteX123" fmla="*/ 886 w 9990"/>
                <a:gd name="connsiteY123" fmla="*/ 3691 h 9985"/>
                <a:gd name="connsiteX124" fmla="*/ 875 w 9990"/>
                <a:gd name="connsiteY124" fmla="*/ 4047 h 9985"/>
                <a:gd name="connsiteX125" fmla="*/ 692 w 9990"/>
                <a:gd name="connsiteY125" fmla="*/ 4118 h 9985"/>
                <a:gd name="connsiteX126" fmla="*/ 498 w 9990"/>
                <a:gd name="connsiteY126" fmla="*/ 4524 h 9985"/>
                <a:gd name="connsiteX127" fmla="*/ 371 w 9990"/>
                <a:gd name="connsiteY127" fmla="*/ 4929 h 9985"/>
                <a:gd name="connsiteX128" fmla="*/ 195 w 9990"/>
                <a:gd name="connsiteY128" fmla="*/ 5252 h 9985"/>
                <a:gd name="connsiteX129" fmla="*/ 270 w 9990"/>
                <a:gd name="connsiteY129" fmla="*/ 5509 h 9985"/>
                <a:gd name="connsiteX130" fmla="*/ 277 w 9990"/>
                <a:gd name="connsiteY130" fmla="*/ 5723 h 9985"/>
                <a:gd name="connsiteX131" fmla="*/ 400 w 9990"/>
                <a:gd name="connsiteY131" fmla="*/ 5832 h 9985"/>
                <a:gd name="connsiteX132" fmla="*/ 382 w 9990"/>
                <a:gd name="connsiteY132" fmla="*/ 5936 h 9985"/>
                <a:gd name="connsiteX133" fmla="*/ 202 w 9990"/>
                <a:gd name="connsiteY133" fmla="*/ 5843 h 9985"/>
                <a:gd name="connsiteX134" fmla="*/ 124 w 9990"/>
                <a:gd name="connsiteY134" fmla="*/ 6090 h 9985"/>
                <a:gd name="connsiteX135" fmla="*/ 105 w 9990"/>
                <a:gd name="connsiteY135" fmla="*/ 6336 h 9985"/>
                <a:gd name="connsiteX136" fmla="*/ 1 w 9990"/>
                <a:gd name="connsiteY136" fmla="*/ 6561 h 9985"/>
                <a:gd name="connsiteX137" fmla="*/ 19 w 9990"/>
                <a:gd name="connsiteY137" fmla="*/ 6769 h 9985"/>
                <a:gd name="connsiteX138" fmla="*/ 90 w 9990"/>
                <a:gd name="connsiteY138" fmla="*/ 6818 h 9985"/>
                <a:gd name="connsiteX139" fmla="*/ 154 w 9990"/>
                <a:gd name="connsiteY139" fmla="*/ 6950 h 9985"/>
                <a:gd name="connsiteX140" fmla="*/ 240 w 9990"/>
                <a:gd name="connsiteY140" fmla="*/ 6933 h 9985"/>
                <a:gd name="connsiteX141" fmla="*/ 292 w 9990"/>
                <a:gd name="connsiteY141" fmla="*/ 7065 h 9985"/>
                <a:gd name="connsiteX142" fmla="*/ 445 w 9990"/>
                <a:gd name="connsiteY142" fmla="*/ 7092 h 9985"/>
                <a:gd name="connsiteX143" fmla="*/ 453 w 9990"/>
                <a:gd name="connsiteY143" fmla="*/ 7240 h 9985"/>
                <a:gd name="connsiteX144" fmla="*/ 494 w 9990"/>
                <a:gd name="connsiteY144" fmla="*/ 7267 h 9985"/>
                <a:gd name="connsiteX145" fmla="*/ 524 w 9990"/>
                <a:gd name="connsiteY145" fmla="*/ 7163 h 9985"/>
                <a:gd name="connsiteX146" fmla="*/ 580 w 9990"/>
                <a:gd name="connsiteY146" fmla="*/ 7185 h 9985"/>
                <a:gd name="connsiteX147" fmla="*/ 643 w 9990"/>
                <a:gd name="connsiteY147" fmla="*/ 6982 h 9985"/>
                <a:gd name="connsiteX148" fmla="*/ 819 w 9990"/>
                <a:gd name="connsiteY148" fmla="*/ 7163 h 9985"/>
                <a:gd name="connsiteX149" fmla="*/ 1282 w 9990"/>
                <a:gd name="connsiteY149" fmla="*/ 7152 h 9985"/>
                <a:gd name="connsiteX150" fmla="*/ 1465 w 9990"/>
                <a:gd name="connsiteY150" fmla="*/ 7081 h 9985"/>
                <a:gd name="connsiteX151" fmla="*/ 1764 w 9990"/>
                <a:gd name="connsiteY151" fmla="*/ 7333 h 9985"/>
                <a:gd name="connsiteX152" fmla="*/ 1954 w 9990"/>
                <a:gd name="connsiteY152" fmla="*/ 7076 h 9985"/>
                <a:gd name="connsiteX153" fmla="*/ 2380 w 9990"/>
                <a:gd name="connsiteY153" fmla="*/ 6851 h 9985"/>
                <a:gd name="connsiteX154" fmla="*/ 2533 w 9990"/>
                <a:gd name="connsiteY154" fmla="*/ 6479 h 9985"/>
                <a:gd name="connsiteX155" fmla="*/ 2645 w 9990"/>
                <a:gd name="connsiteY155" fmla="*/ 6429 h 9985"/>
                <a:gd name="connsiteX156" fmla="*/ 2645 w 9990"/>
                <a:gd name="connsiteY156" fmla="*/ 6369 h 9985"/>
                <a:gd name="connsiteX157" fmla="*/ 2690 w 9990"/>
                <a:gd name="connsiteY157" fmla="*/ 6369 h 9985"/>
                <a:gd name="connsiteX158" fmla="*/ 2679 w 9990"/>
                <a:gd name="connsiteY158" fmla="*/ 6221 h 9985"/>
                <a:gd name="connsiteX159" fmla="*/ 2817 w 9990"/>
                <a:gd name="connsiteY159" fmla="*/ 6276 h 9985"/>
                <a:gd name="connsiteX160" fmla="*/ 2836 w 9990"/>
                <a:gd name="connsiteY160" fmla="*/ 6150 h 9985"/>
                <a:gd name="connsiteX161" fmla="*/ 2918 w 9990"/>
                <a:gd name="connsiteY161" fmla="*/ 6221 h 9985"/>
                <a:gd name="connsiteX162" fmla="*/ 2978 w 9990"/>
                <a:gd name="connsiteY162" fmla="*/ 6117 h 9985"/>
                <a:gd name="connsiteX163" fmla="*/ 3075 w 9990"/>
                <a:gd name="connsiteY163" fmla="*/ 6145 h 9985"/>
                <a:gd name="connsiteX164" fmla="*/ 3161 w 9990"/>
                <a:gd name="connsiteY164" fmla="*/ 6046 h 9985"/>
                <a:gd name="connsiteX165" fmla="*/ 3325 w 9990"/>
                <a:gd name="connsiteY165" fmla="*/ 6183 h 9985"/>
                <a:gd name="connsiteX166" fmla="*/ 3408 w 9990"/>
                <a:gd name="connsiteY166" fmla="*/ 6188 h 9985"/>
                <a:gd name="connsiteX167" fmla="*/ 3434 w 9990"/>
                <a:gd name="connsiteY167" fmla="*/ 6298 h 9985"/>
                <a:gd name="connsiteX168" fmla="*/ 3587 w 9990"/>
                <a:gd name="connsiteY168" fmla="*/ 6227 h 9985"/>
                <a:gd name="connsiteX169" fmla="*/ 3572 w 9990"/>
                <a:gd name="connsiteY169" fmla="*/ 6347 h 9985"/>
                <a:gd name="connsiteX170" fmla="*/ 3628 w 9990"/>
                <a:gd name="connsiteY170" fmla="*/ 6331 h 9985"/>
                <a:gd name="connsiteX171" fmla="*/ 3695 w 9990"/>
                <a:gd name="connsiteY171" fmla="*/ 6418 h 9985"/>
                <a:gd name="connsiteX172" fmla="*/ 3699 w 9990"/>
                <a:gd name="connsiteY172" fmla="*/ 6292 h 9985"/>
                <a:gd name="connsiteX173" fmla="*/ 3878 w 9990"/>
                <a:gd name="connsiteY173" fmla="*/ 6331 h 9985"/>
                <a:gd name="connsiteX174" fmla="*/ 3942 w 9990"/>
                <a:gd name="connsiteY174" fmla="*/ 6501 h 9985"/>
                <a:gd name="connsiteX175" fmla="*/ 4043 w 9990"/>
                <a:gd name="connsiteY175" fmla="*/ 6484 h 9985"/>
                <a:gd name="connsiteX176" fmla="*/ 4087 w 9990"/>
                <a:gd name="connsiteY176" fmla="*/ 6407 h 9985"/>
                <a:gd name="connsiteX177" fmla="*/ 4188 w 9990"/>
                <a:gd name="connsiteY177" fmla="*/ 6725 h 9985"/>
                <a:gd name="connsiteX178" fmla="*/ 4151 w 9990"/>
                <a:gd name="connsiteY178" fmla="*/ 6977 h 9985"/>
                <a:gd name="connsiteX179" fmla="*/ 4203 w 9990"/>
                <a:gd name="connsiteY179" fmla="*/ 7103 h 9985"/>
                <a:gd name="connsiteX180" fmla="*/ 4274 w 9990"/>
                <a:gd name="connsiteY180" fmla="*/ 7108 h 9985"/>
                <a:gd name="connsiteX181" fmla="*/ 4383 w 9990"/>
                <a:gd name="connsiteY181" fmla="*/ 7245 h 9985"/>
                <a:gd name="connsiteX182" fmla="*/ 4427 w 9990"/>
                <a:gd name="connsiteY182" fmla="*/ 7141 h 9985"/>
                <a:gd name="connsiteX183" fmla="*/ 4476 w 9990"/>
                <a:gd name="connsiteY183" fmla="*/ 7311 h 9985"/>
                <a:gd name="connsiteX184" fmla="*/ 4536 w 9990"/>
                <a:gd name="connsiteY184" fmla="*/ 7651 h 9985"/>
                <a:gd name="connsiteX185" fmla="*/ 4715 w 9990"/>
                <a:gd name="connsiteY185" fmla="*/ 7727 h 9985"/>
                <a:gd name="connsiteX186" fmla="*/ 4756 w 9990"/>
                <a:gd name="connsiteY186" fmla="*/ 8171 h 9985"/>
                <a:gd name="connsiteX187" fmla="*/ 4909 w 9990"/>
                <a:gd name="connsiteY187" fmla="*/ 8264 h 9985"/>
                <a:gd name="connsiteX188" fmla="*/ 4752 w 9990"/>
                <a:gd name="connsiteY188" fmla="*/ 8357 h 9985"/>
                <a:gd name="connsiteX189" fmla="*/ 4700 w 9990"/>
                <a:gd name="connsiteY189" fmla="*/ 8248 h 9985"/>
                <a:gd name="connsiteX190" fmla="*/ 4640 w 9990"/>
                <a:gd name="connsiteY190" fmla="*/ 8390 h 9985"/>
                <a:gd name="connsiteX191" fmla="*/ 4487 w 9990"/>
                <a:gd name="connsiteY191" fmla="*/ 8275 h 9985"/>
                <a:gd name="connsiteX192" fmla="*/ 4401 w 9990"/>
                <a:gd name="connsiteY192" fmla="*/ 8439 h 9985"/>
                <a:gd name="connsiteX193" fmla="*/ 4222 w 9990"/>
                <a:gd name="connsiteY193" fmla="*/ 8319 h 9985"/>
                <a:gd name="connsiteX194" fmla="*/ 4308 w 9990"/>
                <a:gd name="connsiteY194" fmla="*/ 8686 h 9985"/>
                <a:gd name="connsiteX195" fmla="*/ 4300 w 9990"/>
                <a:gd name="connsiteY195" fmla="*/ 8954 h 9985"/>
                <a:gd name="connsiteX196" fmla="*/ 4185 w 9990"/>
                <a:gd name="connsiteY196" fmla="*/ 9074 h 9985"/>
                <a:gd name="connsiteX197" fmla="*/ 4222 w 9990"/>
                <a:gd name="connsiteY197" fmla="*/ 9179 h 9985"/>
                <a:gd name="connsiteX198" fmla="*/ 4061 w 9990"/>
                <a:gd name="connsiteY198" fmla="*/ 9398 h 9985"/>
                <a:gd name="connsiteX199" fmla="*/ 4125 w 9990"/>
                <a:gd name="connsiteY199" fmla="*/ 9633 h 9985"/>
                <a:gd name="connsiteX200" fmla="*/ 3968 w 9990"/>
                <a:gd name="connsiteY200" fmla="*/ 9666 h 9985"/>
                <a:gd name="connsiteX201" fmla="*/ 3927 w 9990"/>
                <a:gd name="connsiteY201" fmla="*/ 9726 h 9985"/>
                <a:gd name="connsiteX202" fmla="*/ 3994 w 9990"/>
                <a:gd name="connsiteY202" fmla="*/ 9770 h 9985"/>
                <a:gd name="connsiteX203" fmla="*/ 4114 w 9990"/>
                <a:gd name="connsiteY203" fmla="*/ 9929 h 9985"/>
                <a:gd name="connsiteX204" fmla="*/ 4308 w 9990"/>
                <a:gd name="connsiteY204" fmla="*/ 9984 h 9985"/>
                <a:gd name="connsiteX205" fmla="*/ 4315 w 9990"/>
                <a:gd name="connsiteY205" fmla="*/ 9836 h 9985"/>
                <a:gd name="connsiteX206" fmla="*/ 4383 w 9990"/>
                <a:gd name="connsiteY206" fmla="*/ 9841 h 9985"/>
                <a:gd name="connsiteX207" fmla="*/ 4670 w 9990"/>
                <a:gd name="connsiteY207" fmla="*/ 9589 h 9985"/>
                <a:gd name="connsiteX208" fmla="*/ 4861 w 9990"/>
                <a:gd name="connsiteY208" fmla="*/ 9830 h 9985"/>
                <a:gd name="connsiteX209" fmla="*/ 4861 w 9990"/>
                <a:gd name="connsiteY209" fmla="*/ 9847 h 9985"/>
                <a:gd name="connsiteX210" fmla="*/ 4891 w 9990"/>
                <a:gd name="connsiteY210" fmla="*/ 9688 h 9985"/>
                <a:gd name="connsiteX211" fmla="*/ 4838 w 9990"/>
                <a:gd name="connsiteY211" fmla="*/ 9556 h 9985"/>
                <a:gd name="connsiteX212" fmla="*/ 4771 w 9990"/>
                <a:gd name="connsiteY212" fmla="*/ 9535 h 9985"/>
                <a:gd name="connsiteX213" fmla="*/ 4816 w 9990"/>
                <a:gd name="connsiteY213" fmla="*/ 9452 h 9985"/>
                <a:gd name="connsiteX214" fmla="*/ 4801 w 9990"/>
                <a:gd name="connsiteY214" fmla="*/ 9430 h 9985"/>
                <a:gd name="connsiteX215" fmla="*/ 4745 w 9990"/>
                <a:gd name="connsiteY215" fmla="*/ 9425 h 9985"/>
                <a:gd name="connsiteX216" fmla="*/ 4715 w 9990"/>
                <a:gd name="connsiteY216" fmla="*/ 9107 h 9985"/>
                <a:gd name="connsiteX217" fmla="*/ 4756 w 9990"/>
                <a:gd name="connsiteY217" fmla="*/ 9091 h 9985"/>
                <a:gd name="connsiteX218" fmla="*/ 4778 w 9990"/>
                <a:gd name="connsiteY218" fmla="*/ 9239 h 9985"/>
                <a:gd name="connsiteX219" fmla="*/ 4831 w 9990"/>
                <a:gd name="connsiteY219" fmla="*/ 9370 h 9985"/>
                <a:gd name="connsiteX220" fmla="*/ 4876 w 9990"/>
                <a:gd name="connsiteY220" fmla="*/ 9288 h 9985"/>
                <a:gd name="connsiteX221" fmla="*/ 4864 w 9990"/>
                <a:gd name="connsiteY221" fmla="*/ 9206 h 9985"/>
                <a:gd name="connsiteX222" fmla="*/ 4935 w 9990"/>
                <a:gd name="connsiteY222" fmla="*/ 9189 h 9985"/>
                <a:gd name="connsiteX223" fmla="*/ 4898 w 9990"/>
                <a:gd name="connsiteY223" fmla="*/ 9020 h 9985"/>
                <a:gd name="connsiteX224" fmla="*/ 4995 w 9990"/>
                <a:gd name="connsiteY224" fmla="*/ 9047 h 9985"/>
                <a:gd name="connsiteX225" fmla="*/ 4999 w 9990"/>
                <a:gd name="connsiteY225" fmla="*/ 8959 h 9985"/>
                <a:gd name="connsiteX226" fmla="*/ 5036 w 9990"/>
                <a:gd name="connsiteY226" fmla="*/ 9025 h 9985"/>
                <a:gd name="connsiteX227" fmla="*/ 5201 w 9990"/>
                <a:gd name="connsiteY227" fmla="*/ 8768 h 9985"/>
                <a:gd name="connsiteX228" fmla="*/ 5107 w 9990"/>
                <a:gd name="connsiteY228" fmla="*/ 8571 h 9985"/>
                <a:gd name="connsiteX229" fmla="*/ 4932 w 9990"/>
                <a:gd name="connsiteY229" fmla="*/ 8412 h 9985"/>
                <a:gd name="connsiteX230" fmla="*/ 5032 w 9990"/>
                <a:gd name="connsiteY230" fmla="*/ 8357 h 9985"/>
                <a:gd name="connsiteX231" fmla="*/ 5178 w 9990"/>
                <a:gd name="connsiteY231" fmla="*/ 8620 h 9985"/>
                <a:gd name="connsiteX232" fmla="*/ 5287 w 9990"/>
                <a:gd name="connsiteY232" fmla="*/ 8187 h 9985"/>
                <a:gd name="connsiteX233" fmla="*/ 5294 w 9990"/>
                <a:gd name="connsiteY233" fmla="*/ 8018 h 9985"/>
                <a:gd name="connsiteX234" fmla="*/ 5477 w 9990"/>
                <a:gd name="connsiteY234" fmla="*/ 7930 h 9985"/>
                <a:gd name="connsiteX235" fmla="*/ 5544 w 9990"/>
                <a:gd name="connsiteY235" fmla="*/ 7596 h 9985"/>
                <a:gd name="connsiteX236" fmla="*/ 5555 w 9990"/>
                <a:gd name="connsiteY236" fmla="*/ 7722 h 9985"/>
                <a:gd name="connsiteX237" fmla="*/ 5671 w 9990"/>
                <a:gd name="connsiteY237" fmla="*/ 7585 h 9985"/>
                <a:gd name="connsiteX238" fmla="*/ 5753 w 9990"/>
                <a:gd name="connsiteY238" fmla="*/ 7568 h 9985"/>
                <a:gd name="connsiteX239" fmla="*/ 5836 w 9990"/>
                <a:gd name="connsiteY239" fmla="*/ 7196 h 9985"/>
                <a:gd name="connsiteX240" fmla="*/ 5910 w 9990"/>
                <a:gd name="connsiteY240" fmla="*/ 7475 h 9985"/>
                <a:gd name="connsiteX241" fmla="*/ 6131 w 9990"/>
                <a:gd name="connsiteY241" fmla="*/ 7552 h 9985"/>
                <a:gd name="connsiteX242" fmla="*/ 5963 w 9990"/>
                <a:gd name="connsiteY242" fmla="*/ 7607 h 9985"/>
                <a:gd name="connsiteX243" fmla="*/ 5948 w 9990"/>
                <a:gd name="connsiteY243" fmla="*/ 7667 h 9985"/>
                <a:gd name="connsiteX244" fmla="*/ 5780 w 9990"/>
                <a:gd name="connsiteY244" fmla="*/ 7678 h 9985"/>
                <a:gd name="connsiteX245" fmla="*/ 5694 w 9990"/>
                <a:gd name="connsiteY245" fmla="*/ 7711 h 9985"/>
                <a:gd name="connsiteX246" fmla="*/ 5761 w 9990"/>
                <a:gd name="connsiteY246" fmla="*/ 7760 h 9985"/>
                <a:gd name="connsiteX247" fmla="*/ 5821 w 9990"/>
                <a:gd name="connsiteY247" fmla="*/ 7744 h 9985"/>
                <a:gd name="connsiteX248" fmla="*/ 5985 w 9990"/>
                <a:gd name="connsiteY248" fmla="*/ 7777 h 9985"/>
                <a:gd name="connsiteX249" fmla="*/ 5798 w 9990"/>
                <a:gd name="connsiteY249" fmla="*/ 7952 h 9985"/>
                <a:gd name="connsiteX250" fmla="*/ 5866 w 9990"/>
                <a:gd name="connsiteY250" fmla="*/ 7996 h 9985"/>
                <a:gd name="connsiteX251" fmla="*/ 6037 w 9990"/>
                <a:gd name="connsiteY251" fmla="*/ 7946 h 9985"/>
                <a:gd name="connsiteX252" fmla="*/ 6269 w 9990"/>
                <a:gd name="connsiteY252" fmla="*/ 8089 h 9985"/>
                <a:gd name="connsiteX253" fmla="*/ 6568 w 9990"/>
                <a:gd name="connsiteY253" fmla="*/ 7897 h 9985"/>
                <a:gd name="connsiteX254" fmla="*/ 6863 w 9990"/>
                <a:gd name="connsiteY254" fmla="*/ 7875 h 9985"/>
                <a:gd name="connsiteX255" fmla="*/ 6908 w 9990"/>
                <a:gd name="connsiteY255" fmla="*/ 7733 h 9985"/>
                <a:gd name="connsiteX256" fmla="*/ 6986 w 9990"/>
                <a:gd name="connsiteY256" fmla="*/ 7946 h 9985"/>
                <a:gd name="connsiteX257" fmla="*/ 7068 w 9990"/>
                <a:gd name="connsiteY257" fmla="*/ 7974 h 9985"/>
                <a:gd name="connsiteX258" fmla="*/ 7038 w 9990"/>
                <a:gd name="connsiteY258" fmla="*/ 8122 h 9985"/>
                <a:gd name="connsiteX259" fmla="*/ 6781 w 9990"/>
                <a:gd name="connsiteY259" fmla="*/ 8269 h 9985"/>
                <a:gd name="connsiteX260" fmla="*/ 6762 w 9990"/>
                <a:gd name="connsiteY260" fmla="*/ 8373 h 9985"/>
                <a:gd name="connsiteX261" fmla="*/ 6620 w 9990"/>
                <a:gd name="connsiteY261" fmla="*/ 8510 h 9985"/>
                <a:gd name="connsiteX262" fmla="*/ 6616 w 9990"/>
                <a:gd name="connsiteY262" fmla="*/ 8636 h 9985"/>
                <a:gd name="connsiteX263" fmla="*/ 6530 w 9990"/>
                <a:gd name="connsiteY263" fmla="*/ 8691 h 9985"/>
                <a:gd name="connsiteX264" fmla="*/ 6422 w 9990"/>
                <a:gd name="connsiteY264" fmla="*/ 8976 h 9985"/>
                <a:gd name="connsiteX265" fmla="*/ 6575 w 9990"/>
                <a:gd name="connsiteY265" fmla="*/ 8987 h 9985"/>
                <a:gd name="connsiteX266" fmla="*/ 6665 w 9990"/>
                <a:gd name="connsiteY266" fmla="*/ 8866 h 9985"/>
                <a:gd name="connsiteX267" fmla="*/ 6762 w 9990"/>
                <a:gd name="connsiteY267" fmla="*/ 8899 h 9985"/>
                <a:gd name="connsiteX268" fmla="*/ 6807 w 9990"/>
                <a:gd name="connsiteY268" fmla="*/ 8773 h 9985"/>
                <a:gd name="connsiteX269" fmla="*/ 6870 w 9990"/>
                <a:gd name="connsiteY269" fmla="*/ 8987 h 9985"/>
                <a:gd name="connsiteX270" fmla="*/ 7053 w 9990"/>
                <a:gd name="connsiteY270" fmla="*/ 8981 h 9985"/>
                <a:gd name="connsiteX271" fmla="*/ 7210 w 9990"/>
                <a:gd name="connsiteY271" fmla="*/ 9348 h 9985"/>
                <a:gd name="connsiteX272" fmla="*/ 7225 w 9990"/>
                <a:gd name="connsiteY272" fmla="*/ 9660 h 9985"/>
                <a:gd name="connsiteX273" fmla="*/ 7169 w 9990"/>
                <a:gd name="connsiteY273" fmla="*/ 9677 h 9985"/>
                <a:gd name="connsiteX274" fmla="*/ 7180 w 9990"/>
                <a:gd name="connsiteY274" fmla="*/ 9765 h 9985"/>
                <a:gd name="connsiteX275" fmla="*/ 7416 w 9990"/>
                <a:gd name="connsiteY275" fmla="*/ 9885 h 9985"/>
                <a:gd name="connsiteX276" fmla="*/ 7733 w 9990"/>
                <a:gd name="connsiteY276" fmla="*/ 9551 h 9985"/>
                <a:gd name="connsiteX277" fmla="*/ 7871 w 9990"/>
                <a:gd name="connsiteY277" fmla="*/ 9162 h 9985"/>
                <a:gd name="connsiteX278" fmla="*/ 8099 w 9990"/>
                <a:gd name="connsiteY278" fmla="*/ 9009 h 9985"/>
                <a:gd name="connsiteX279" fmla="*/ 8174 w 9990"/>
                <a:gd name="connsiteY279" fmla="*/ 8828 h 9985"/>
                <a:gd name="connsiteX280" fmla="*/ 8260 w 9990"/>
                <a:gd name="connsiteY280" fmla="*/ 8773 h 9985"/>
                <a:gd name="connsiteX281" fmla="*/ 8312 w 9990"/>
                <a:gd name="connsiteY281" fmla="*/ 8499 h 9985"/>
                <a:gd name="connsiteX282" fmla="*/ 8533 w 9990"/>
                <a:gd name="connsiteY282" fmla="*/ 8604 h 9985"/>
                <a:gd name="connsiteX283" fmla="*/ 8663 w 9990"/>
                <a:gd name="connsiteY283" fmla="*/ 8461 h 9985"/>
                <a:gd name="connsiteX284" fmla="*/ 8846 w 9990"/>
                <a:gd name="connsiteY284" fmla="*/ 8330 h 9985"/>
                <a:gd name="connsiteX285" fmla="*/ 8772 w 9990"/>
                <a:gd name="connsiteY285" fmla="*/ 8116 h 9985"/>
                <a:gd name="connsiteX286" fmla="*/ 8873 w 9990"/>
                <a:gd name="connsiteY286" fmla="*/ 7935 h 9985"/>
                <a:gd name="connsiteX287" fmla="*/ 8637 w 9990"/>
                <a:gd name="connsiteY287" fmla="*/ 7897 h 9985"/>
                <a:gd name="connsiteX288" fmla="*/ 8507 w 9990"/>
                <a:gd name="connsiteY288" fmla="*/ 8094 h 9985"/>
                <a:gd name="connsiteX289" fmla="*/ 8380 w 9990"/>
                <a:gd name="connsiteY289" fmla="*/ 8089 h 9985"/>
                <a:gd name="connsiteX290" fmla="*/ 8245 w 9990"/>
                <a:gd name="connsiteY290" fmla="*/ 8373 h 9985"/>
                <a:gd name="connsiteX291" fmla="*/ 7924 w 9990"/>
                <a:gd name="connsiteY291" fmla="*/ 8368 h 9985"/>
                <a:gd name="connsiteX292" fmla="*/ 7700 w 9990"/>
                <a:gd name="connsiteY292" fmla="*/ 7979 h 9985"/>
                <a:gd name="connsiteX293" fmla="*/ 7674 w 9990"/>
                <a:gd name="connsiteY293" fmla="*/ 7892 h 9985"/>
                <a:gd name="connsiteX294" fmla="*/ 7599 w 9990"/>
                <a:gd name="connsiteY294" fmla="*/ 7990 h 9985"/>
                <a:gd name="connsiteX295" fmla="*/ 7707 w 9990"/>
                <a:gd name="connsiteY295" fmla="*/ 7749 h 9985"/>
                <a:gd name="connsiteX296" fmla="*/ 7666 w 9990"/>
                <a:gd name="connsiteY296" fmla="*/ 7705 h 9985"/>
                <a:gd name="connsiteX297" fmla="*/ 7546 w 9990"/>
                <a:gd name="connsiteY297" fmla="*/ 7903 h 9985"/>
                <a:gd name="connsiteX298" fmla="*/ 7610 w 9990"/>
                <a:gd name="connsiteY298" fmla="*/ 7700 h 9985"/>
                <a:gd name="connsiteX299" fmla="*/ 7524 w 9990"/>
                <a:gd name="connsiteY299" fmla="*/ 7755 h 9985"/>
                <a:gd name="connsiteX300" fmla="*/ 7412 w 9990"/>
                <a:gd name="connsiteY300" fmla="*/ 7705 h 9985"/>
                <a:gd name="connsiteX301" fmla="*/ 7326 w 9990"/>
                <a:gd name="connsiteY301" fmla="*/ 7782 h 9985"/>
                <a:gd name="connsiteX302" fmla="*/ 7233 w 9990"/>
                <a:gd name="connsiteY302" fmla="*/ 7716 h 9985"/>
                <a:gd name="connsiteX303" fmla="*/ 7080 w 9990"/>
                <a:gd name="connsiteY303" fmla="*/ 7705 h 9985"/>
                <a:gd name="connsiteX304" fmla="*/ 7083 w 9990"/>
                <a:gd name="connsiteY304" fmla="*/ 7536 h 9985"/>
                <a:gd name="connsiteX305" fmla="*/ 7222 w 9990"/>
                <a:gd name="connsiteY305" fmla="*/ 7651 h 9985"/>
                <a:gd name="connsiteX306" fmla="*/ 7266 w 9990"/>
                <a:gd name="connsiteY306" fmla="*/ 7530 h 9985"/>
                <a:gd name="connsiteX307" fmla="*/ 7229 w 9990"/>
                <a:gd name="connsiteY307" fmla="*/ 7399 h 9985"/>
                <a:gd name="connsiteX308" fmla="*/ 7334 w 9990"/>
                <a:gd name="connsiteY308" fmla="*/ 7536 h 9985"/>
                <a:gd name="connsiteX309" fmla="*/ 7476 w 9990"/>
                <a:gd name="connsiteY309" fmla="*/ 7525 h 9985"/>
                <a:gd name="connsiteX310" fmla="*/ 7498 w 9990"/>
                <a:gd name="connsiteY310" fmla="*/ 7673 h 9985"/>
                <a:gd name="connsiteX311" fmla="*/ 7539 w 9990"/>
                <a:gd name="connsiteY311" fmla="*/ 7673 h 9985"/>
                <a:gd name="connsiteX312" fmla="*/ 7550 w 9990"/>
                <a:gd name="connsiteY312" fmla="*/ 7404 h 9985"/>
                <a:gd name="connsiteX313" fmla="*/ 7599 w 9990"/>
                <a:gd name="connsiteY313" fmla="*/ 7574 h 9985"/>
                <a:gd name="connsiteX314" fmla="*/ 7685 w 9990"/>
                <a:gd name="connsiteY314" fmla="*/ 7579 h 9985"/>
                <a:gd name="connsiteX315" fmla="*/ 7621 w 9990"/>
                <a:gd name="connsiteY315" fmla="*/ 7322 h 9985"/>
                <a:gd name="connsiteX316" fmla="*/ 7778 w 9990"/>
                <a:gd name="connsiteY316" fmla="*/ 7229 h 9985"/>
                <a:gd name="connsiteX317" fmla="*/ 7771 w 9990"/>
                <a:gd name="connsiteY317" fmla="*/ 6977 h 9985"/>
                <a:gd name="connsiteX318" fmla="*/ 7879 w 9990"/>
                <a:gd name="connsiteY318" fmla="*/ 7070 h 9985"/>
                <a:gd name="connsiteX319" fmla="*/ 7898 w 9990"/>
                <a:gd name="connsiteY319" fmla="*/ 7004 h 9985"/>
                <a:gd name="connsiteX320" fmla="*/ 7767 w 9990"/>
                <a:gd name="connsiteY320" fmla="*/ 6725 h 9985"/>
                <a:gd name="connsiteX321" fmla="*/ 7942 w 9990"/>
                <a:gd name="connsiteY321" fmla="*/ 6884 h 9985"/>
                <a:gd name="connsiteX322" fmla="*/ 8163 w 9990"/>
                <a:gd name="connsiteY322" fmla="*/ 6501 h 9985"/>
                <a:gd name="connsiteX323" fmla="*/ 8376 w 9990"/>
                <a:gd name="connsiteY323" fmla="*/ 6473 h 9985"/>
                <a:gd name="connsiteX324" fmla="*/ 8421 w 9990"/>
                <a:gd name="connsiteY324" fmla="*/ 6353 h 9985"/>
                <a:gd name="connsiteX325" fmla="*/ 8521 w 9990"/>
                <a:gd name="connsiteY325" fmla="*/ 6194 h 9985"/>
                <a:gd name="connsiteX326" fmla="*/ 8634 w 9990"/>
                <a:gd name="connsiteY326" fmla="*/ 6243 h 9985"/>
                <a:gd name="connsiteX327" fmla="*/ 8648 w 9990"/>
                <a:gd name="connsiteY327" fmla="*/ 6177 h 9985"/>
                <a:gd name="connsiteX328" fmla="*/ 8637 w 9990"/>
                <a:gd name="connsiteY328" fmla="*/ 6073 h 9985"/>
                <a:gd name="connsiteX329" fmla="*/ 8798 w 9990"/>
                <a:gd name="connsiteY329" fmla="*/ 5854 h 9985"/>
                <a:gd name="connsiteX330" fmla="*/ 8914 w 9990"/>
                <a:gd name="connsiteY330" fmla="*/ 5821 h 9985"/>
                <a:gd name="connsiteX331" fmla="*/ 8962 w 9990"/>
                <a:gd name="connsiteY331" fmla="*/ 5553 h 9985"/>
                <a:gd name="connsiteX332" fmla="*/ 9089 w 9990"/>
                <a:gd name="connsiteY332" fmla="*/ 5542 h 9985"/>
                <a:gd name="connsiteX333" fmla="*/ 9317 w 9990"/>
                <a:gd name="connsiteY333" fmla="*/ 5411 h 9985"/>
                <a:gd name="connsiteX334" fmla="*/ 9321 w 9990"/>
                <a:gd name="connsiteY334" fmla="*/ 5323 h 9985"/>
                <a:gd name="connsiteX335" fmla="*/ 9321 w 9990"/>
                <a:gd name="connsiteY335" fmla="*/ 5323 h 9985"/>
                <a:gd name="connsiteX336" fmla="*/ 9317 w 9990"/>
                <a:gd name="connsiteY336" fmla="*/ 5307 h 9985"/>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8388 w 10000"/>
                <a:gd name="connsiteY289" fmla="*/ 8101 h 10000"/>
                <a:gd name="connsiteX290" fmla="*/ 8253 w 10000"/>
                <a:gd name="connsiteY290" fmla="*/ 8386 h 10000"/>
                <a:gd name="connsiteX291" fmla="*/ 7708 w 10000"/>
                <a:gd name="connsiteY291" fmla="*/ 7991 h 10000"/>
                <a:gd name="connsiteX292" fmla="*/ 7682 w 10000"/>
                <a:gd name="connsiteY292" fmla="*/ 7904 h 10000"/>
                <a:gd name="connsiteX293" fmla="*/ 7607 w 10000"/>
                <a:gd name="connsiteY293" fmla="*/ 8002 h 10000"/>
                <a:gd name="connsiteX294" fmla="*/ 7715 w 10000"/>
                <a:gd name="connsiteY294" fmla="*/ 7761 h 10000"/>
                <a:gd name="connsiteX295" fmla="*/ 7674 w 10000"/>
                <a:gd name="connsiteY295" fmla="*/ 7717 h 10000"/>
                <a:gd name="connsiteX296" fmla="*/ 7554 w 10000"/>
                <a:gd name="connsiteY296" fmla="*/ 7915 h 10000"/>
                <a:gd name="connsiteX297" fmla="*/ 7618 w 10000"/>
                <a:gd name="connsiteY297" fmla="*/ 7712 h 10000"/>
                <a:gd name="connsiteX298" fmla="*/ 7532 w 10000"/>
                <a:gd name="connsiteY298" fmla="*/ 7767 h 10000"/>
                <a:gd name="connsiteX299" fmla="*/ 7419 w 10000"/>
                <a:gd name="connsiteY299" fmla="*/ 7717 h 10000"/>
                <a:gd name="connsiteX300" fmla="*/ 7333 w 10000"/>
                <a:gd name="connsiteY300" fmla="*/ 7794 h 10000"/>
                <a:gd name="connsiteX301" fmla="*/ 7240 w 10000"/>
                <a:gd name="connsiteY301" fmla="*/ 7728 h 10000"/>
                <a:gd name="connsiteX302" fmla="*/ 7087 w 10000"/>
                <a:gd name="connsiteY302" fmla="*/ 7717 h 10000"/>
                <a:gd name="connsiteX303" fmla="*/ 7090 w 10000"/>
                <a:gd name="connsiteY303" fmla="*/ 7547 h 10000"/>
                <a:gd name="connsiteX304" fmla="*/ 7229 w 10000"/>
                <a:gd name="connsiteY304" fmla="*/ 7662 h 10000"/>
                <a:gd name="connsiteX305" fmla="*/ 7273 w 10000"/>
                <a:gd name="connsiteY305" fmla="*/ 7541 h 10000"/>
                <a:gd name="connsiteX306" fmla="*/ 7236 w 10000"/>
                <a:gd name="connsiteY306" fmla="*/ 7410 h 10000"/>
                <a:gd name="connsiteX307" fmla="*/ 7341 w 10000"/>
                <a:gd name="connsiteY307" fmla="*/ 7547 h 10000"/>
                <a:gd name="connsiteX308" fmla="*/ 7483 w 10000"/>
                <a:gd name="connsiteY308" fmla="*/ 7536 h 10000"/>
                <a:gd name="connsiteX309" fmla="*/ 7506 w 10000"/>
                <a:gd name="connsiteY309" fmla="*/ 7685 h 10000"/>
                <a:gd name="connsiteX310" fmla="*/ 7547 w 10000"/>
                <a:gd name="connsiteY310" fmla="*/ 7685 h 10000"/>
                <a:gd name="connsiteX311" fmla="*/ 7558 w 10000"/>
                <a:gd name="connsiteY311" fmla="*/ 7415 h 10000"/>
                <a:gd name="connsiteX312" fmla="*/ 7607 w 10000"/>
                <a:gd name="connsiteY312" fmla="*/ 7585 h 10000"/>
                <a:gd name="connsiteX313" fmla="*/ 7693 w 10000"/>
                <a:gd name="connsiteY313" fmla="*/ 7590 h 10000"/>
                <a:gd name="connsiteX314" fmla="*/ 7629 w 10000"/>
                <a:gd name="connsiteY314" fmla="*/ 7333 h 10000"/>
                <a:gd name="connsiteX315" fmla="*/ 7786 w 10000"/>
                <a:gd name="connsiteY315" fmla="*/ 7240 h 10000"/>
                <a:gd name="connsiteX316" fmla="*/ 7779 w 10000"/>
                <a:gd name="connsiteY316" fmla="*/ 6987 h 10000"/>
                <a:gd name="connsiteX317" fmla="*/ 7887 w 10000"/>
                <a:gd name="connsiteY317" fmla="*/ 7081 h 10000"/>
                <a:gd name="connsiteX318" fmla="*/ 7906 w 10000"/>
                <a:gd name="connsiteY318" fmla="*/ 7015 h 10000"/>
                <a:gd name="connsiteX319" fmla="*/ 7775 w 10000"/>
                <a:gd name="connsiteY319" fmla="*/ 6735 h 10000"/>
                <a:gd name="connsiteX320" fmla="*/ 7950 w 10000"/>
                <a:gd name="connsiteY320" fmla="*/ 6894 h 10000"/>
                <a:gd name="connsiteX321" fmla="*/ 8171 w 10000"/>
                <a:gd name="connsiteY321" fmla="*/ 6511 h 10000"/>
                <a:gd name="connsiteX322" fmla="*/ 8384 w 10000"/>
                <a:gd name="connsiteY322" fmla="*/ 6483 h 10000"/>
                <a:gd name="connsiteX323" fmla="*/ 8429 w 10000"/>
                <a:gd name="connsiteY323" fmla="*/ 6363 h 10000"/>
                <a:gd name="connsiteX324" fmla="*/ 8530 w 10000"/>
                <a:gd name="connsiteY324" fmla="*/ 6203 h 10000"/>
                <a:gd name="connsiteX325" fmla="*/ 8643 w 10000"/>
                <a:gd name="connsiteY325" fmla="*/ 6252 h 10000"/>
                <a:gd name="connsiteX326" fmla="*/ 8657 w 10000"/>
                <a:gd name="connsiteY326" fmla="*/ 6186 h 10000"/>
                <a:gd name="connsiteX327" fmla="*/ 8646 w 10000"/>
                <a:gd name="connsiteY327" fmla="*/ 6082 h 10000"/>
                <a:gd name="connsiteX328" fmla="*/ 8807 w 10000"/>
                <a:gd name="connsiteY328" fmla="*/ 5863 h 10000"/>
                <a:gd name="connsiteX329" fmla="*/ 8923 w 10000"/>
                <a:gd name="connsiteY329" fmla="*/ 5830 h 10000"/>
                <a:gd name="connsiteX330" fmla="*/ 8971 w 10000"/>
                <a:gd name="connsiteY330" fmla="*/ 5561 h 10000"/>
                <a:gd name="connsiteX331" fmla="*/ 9098 w 10000"/>
                <a:gd name="connsiteY331" fmla="*/ 5550 h 10000"/>
                <a:gd name="connsiteX332" fmla="*/ 9326 w 10000"/>
                <a:gd name="connsiteY332" fmla="*/ 5419 h 10000"/>
                <a:gd name="connsiteX333" fmla="*/ 9330 w 10000"/>
                <a:gd name="connsiteY333" fmla="*/ 5331 h 10000"/>
                <a:gd name="connsiteX334" fmla="*/ 9330 w 10000"/>
                <a:gd name="connsiteY334" fmla="*/ 5331 h 10000"/>
                <a:gd name="connsiteX335" fmla="*/ 9326 w 10000"/>
                <a:gd name="connsiteY335"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8388 w 10000"/>
                <a:gd name="connsiteY289" fmla="*/ 8101 h 10000"/>
                <a:gd name="connsiteX290" fmla="*/ 7708 w 10000"/>
                <a:gd name="connsiteY290" fmla="*/ 7991 h 10000"/>
                <a:gd name="connsiteX291" fmla="*/ 7682 w 10000"/>
                <a:gd name="connsiteY291" fmla="*/ 7904 h 10000"/>
                <a:gd name="connsiteX292" fmla="*/ 7607 w 10000"/>
                <a:gd name="connsiteY292" fmla="*/ 8002 h 10000"/>
                <a:gd name="connsiteX293" fmla="*/ 7715 w 10000"/>
                <a:gd name="connsiteY293" fmla="*/ 7761 h 10000"/>
                <a:gd name="connsiteX294" fmla="*/ 7674 w 10000"/>
                <a:gd name="connsiteY294" fmla="*/ 7717 h 10000"/>
                <a:gd name="connsiteX295" fmla="*/ 7554 w 10000"/>
                <a:gd name="connsiteY295" fmla="*/ 7915 h 10000"/>
                <a:gd name="connsiteX296" fmla="*/ 7618 w 10000"/>
                <a:gd name="connsiteY296" fmla="*/ 7712 h 10000"/>
                <a:gd name="connsiteX297" fmla="*/ 7532 w 10000"/>
                <a:gd name="connsiteY297" fmla="*/ 7767 h 10000"/>
                <a:gd name="connsiteX298" fmla="*/ 7419 w 10000"/>
                <a:gd name="connsiteY298" fmla="*/ 7717 h 10000"/>
                <a:gd name="connsiteX299" fmla="*/ 7333 w 10000"/>
                <a:gd name="connsiteY299" fmla="*/ 7794 h 10000"/>
                <a:gd name="connsiteX300" fmla="*/ 7240 w 10000"/>
                <a:gd name="connsiteY300" fmla="*/ 7728 h 10000"/>
                <a:gd name="connsiteX301" fmla="*/ 7087 w 10000"/>
                <a:gd name="connsiteY301" fmla="*/ 7717 h 10000"/>
                <a:gd name="connsiteX302" fmla="*/ 7090 w 10000"/>
                <a:gd name="connsiteY302" fmla="*/ 7547 h 10000"/>
                <a:gd name="connsiteX303" fmla="*/ 7229 w 10000"/>
                <a:gd name="connsiteY303" fmla="*/ 7662 h 10000"/>
                <a:gd name="connsiteX304" fmla="*/ 7273 w 10000"/>
                <a:gd name="connsiteY304" fmla="*/ 7541 h 10000"/>
                <a:gd name="connsiteX305" fmla="*/ 7236 w 10000"/>
                <a:gd name="connsiteY305" fmla="*/ 7410 h 10000"/>
                <a:gd name="connsiteX306" fmla="*/ 7341 w 10000"/>
                <a:gd name="connsiteY306" fmla="*/ 7547 h 10000"/>
                <a:gd name="connsiteX307" fmla="*/ 7483 w 10000"/>
                <a:gd name="connsiteY307" fmla="*/ 7536 h 10000"/>
                <a:gd name="connsiteX308" fmla="*/ 7506 w 10000"/>
                <a:gd name="connsiteY308" fmla="*/ 7685 h 10000"/>
                <a:gd name="connsiteX309" fmla="*/ 7547 w 10000"/>
                <a:gd name="connsiteY309" fmla="*/ 7685 h 10000"/>
                <a:gd name="connsiteX310" fmla="*/ 7558 w 10000"/>
                <a:gd name="connsiteY310" fmla="*/ 7415 h 10000"/>
                <a:gd name="connsiteX311" fmla="*/ 7607 w 10000"/>
                <a:gd name="connsiteY311" fmla="*/ 7585 h 10000"/>
                <a:gd name="connsiteX312" fmla="*/ 7693 w 10000"/>
                <a:gd name="connsiteY312" fmla="*/ 7590 h 10000"/>
                <a:gd name="connsiteX313" fmla="*/ 7629 w 10000"/>
                <a:gd name="connsiteY313" fmla="*/ 7333 h 10000"/>
                <a:gd name="connsiteX314" fmla="*/ 7786 w 10000"/>
                <a:gd name="connsiteY314" fmla="*/ 7240 h 10000"/>
                <a:gd name="connsiteX315" fmla="*/ 7779 w 10000"/>
                <a:gd name="connsiteY315" fmla="*/ 6987 h 10000"/>
                <a:gd name="connsiteX316" fmla="*/ 7887 w 10000"/>
                <a:gd name="connsiteY316" fmla="*/ 7081 h 10000"/>
                <a:gd name="connsiteX317" fmla="*/ 7906 w 10000"/>
                <a:gd name="connsiteY317" fmla="*/ 7015 h 10000"/>
                <a:gd name="connsiteX318" fmla="*/ 7775 w 10000"/>
                <a:gd name="connsiteY318" fmla="*/ 6735 h 10000"/>
                <a:gd name="connsiteX319" fmla="*/ 7950 w 10000"/>
                <a:gd name="connsiteY319" fmla="*/ 6894 h 10000"/>
                <a:gd name="connsiteX320" fmla="*/ 8171 w 10000"/>
                <a:gd name="connsiteY320" fmla="*/ 6511 h 10000"/>
                <a:gd name="connsiteX321" fmla="*/ 8384 w 10000"/>
                <a:gd name="connsiteY321" fmla="*/ 6483 h 10000"/>
                <a:gd name="connsiteX322" fmla="*/ 8429 w 10000"/>
                <a:gd name="connsiteY322" fmla="*/ 6363 h 10000"/>
                <a:gd name="connsiteX323" fmla="*/ 8530 w 10000"/>
                <a:gd name="connsiteY323" fmla="*/ 6203 h 10000"/>
                <a:gd name="connsiteX324" fmla="*/ 8643 w 10000"/>
                <a:gd name="connsiteY324" fmla="*/ 6252 h 10000"/>
                <a:gd name="connsiteX325" fmla="*/ 8657 w 10000"/>
                <a:gd name="connsiteY325" fmla="*/ 6186 h 10000"/>
                <a:gd name="connsiteX326" fmla="*/ 8646 w 10000"/>
                <a:gd name="connsiteY326" fmla="*/ 6082 h 10000"/>
                <a:gd name="connsiteX327" fmla="*/ 8807 w 10000"/>
                <a:gd name="connsiteY327" fmla="*/ 5863 h 10000"/>
                <a:gd name="connsiteX328" fmla="*/ 8923 w 10000"/>
                <a:gd name="connsiteY328" fmla="*/ 5830 h 10000"/>
                <a:gd name="connsiteX329" fmla="*/ 8971 w 10000"/>
                <a:gd name="connsiteY329" fmla="*/ 5561 h 10000"/>
                <a:gd name="connsiteX330" fmla="*/ 9098 w 10000"/>
                <a:gd name="connsiteY330" fmla="*/ 5550 h 10000"/>
                <a:gd name="connsiteX331" fmla="*/ 9326 w 10000"/>
                <a:gd name="connsiteY331" fmla="*/ 5419 h 10000"/>
                <a:gd name="connsiteX332" fmla="*/ 9330 w 10000"/>
                <a:gd name="connsiteY332" fmla="*/ 5331 h 10000"/>
                <a:gd name="connsiteX333" fmla="*/ 9330 w 10000"/>
                <a:gd name="connsiteY333" fmla="*/ 5331 h 10000"/>
                <a:gd name="connsiteX334" fmla="*/ 9326 w 10000"/>
                <a:gd name="connsiteY334"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7708 w 10000"/>
                <a:gd name="connsiteY289" fmla="*/ 7991 h 10000"/>
                <a:gd name="connsiteX290" fmla="*/ 7682 w 10000"/>
                <a:gd name="connsiteY290" fmla="*/ 7904 h 10000"/>
                <a:gd name="connsiteX291" fmla="*/ 7607 w 10000"/>
                <a:gd name="connsiteY291" fmla="*/ 8002 h 10000"/>
                <a:gd name="connsiteX292" fmla="*/ 7715 w 10000"/>
                <a:gd name="connsiteY292" fmla="*/ 7761 h 10000"/>
                <a:gd name="connsiteX293" fmla="*/ 7674 w 10000"/>
                <a:gd name="connsiteY293" fmla="*/ 7717 h 10000"/>
                <a:gd name="connsiteX294" fmla="*/ 7554 w 10000"/>
                <a:gd name="connsiteY294" fmla="*/ 7915 h 10000"/>
                <a:gd name="connsiteX295" fmla="*/ 7618 w 10000"/>
                <a:gd name="connsiteY295" fmla="*/ 7712 h 10000"/>
                <a:gd name="connsiteX296" fmla="*/ 7532 w 10000"/>
                <a:gd name="connsiteY296" fmla="*/ 7767 h 10000"/>
                <a:gd name="connsiteX297" fmla="*/ 7419 w 10000"/>
                <a:gd name="connsiteY297" fmla="*/ 7717 h 10000"/>
                <a:gd name="connsiteX298" fmla="*/ 7333 w 10000"/>
                <a:gd name="connsiteY298" fmla="*/ 7794 h 10000"/>
                <a:gd name="connsiteX299" fmla="*/ 7240 w 10000"/>
                <a:gd name="connsiteY299" fmla="*/ 7728 h 10000"/>
                <a:gd name="connsiteX300" fmla="*/ 7087 w 10000"/>
                <a:gd name="connsiteY300" fmla="*/ 7717 h 10000"/>
                <a:gd name="connsiteX301" fmla="*/ 7090 w 10000"/>
                <a:gd name="connsiteY301" fmla="*/ 7547 h 10000"/>
                <a:gd name="connsiteX302" fmla="*/ 7229 w 10000"/>
                <a:gd name="connsiteY302" fmla="*/ 7662 h 10000"/>
                <a:gd name="connsiteX303" fmla="*/ 7273 w 10000"/>
                <a:gd name="connsiteY303" fmla="*/ 7541 h 10000"/>
                <a:gd name="connsiteX304" fmla="*/ 7236 w 10000"/>
                <a:gd name="connsiteY304" fmla="*/ 7410 h 10000"/>
                <a:gd name="connsiteX305" fmla="*/ 7341 w 10000"/>
                <a:gd name="connsiteY305" fmla="*/ 7547 h 10000"/>
                <a:gd name="connsiteX306" fmla="*/ 7483 w 10000"/>
                <a:gd name="connsiteY306" fmla="*/ 7536 h 10000"/>
                <a:gd name="connsiteX307" fmla="*/ 7506 w 10000"/>
                <a:gd name="connsiteY307" fmla="*/ 7685 h 10000"/>
                <a:gd name="connsiteX308" fmla="*/ 7547 w 10000"/>
                <a:gd name="connsiteY308" fmla="*/ 7685 h 10000"/>
                <a:gd name="connsiteX309" fmla="*/ 7558 w 10000"/>
                <a:gd name="connsiteY309" fmla="*/ 7415 h 10000"/>
                <a:gd name="connsiteX310" fmla="*/ 7607 w 10000"/>
                <a:gd name="connsiteY310" fmla="*/ 7585 h 10000"/>
                <a:gd name="connsiteX311" fmla="*/ 7693 w 10000"/>
                <a:gd name="connsiteY311" fmla="*/ 7590 h 10000"/>
                <a:gd name="connsiteX312" fmla="*/ 7629 w 10000"/>
                <a:gd name="connsiteY312" fmla="*/ 7333 h 10000"/>
                <a:gd name="connsiteX313" fmla="*/ 7786 w 10000"/>
                <a:gd name="connsiteY313" fmla="*/ 7240 h 10000"/>
                <a:gd name="connsiteX314" fmla="*/ 7779 w 10000"/>
                <a:gd name="connsiteY314" fmla="*/ 6987 h 10000"/>
                <a:gd name="connsiteX315" fmla="*/ 7887 w 10000"/>
                <a:gd name="connsiteY315" fmla="*/ 7081 h 10000"/>
                <a:gd name="connsiteX316" fmla="*/ 7906 w 10000"/>
                <a:gd name="connsiteY316" fmla="*/ 7015 h 10000"/>
                <a:gd name="connsiteX317" fmla="*/ 7775 w 10000"/>
                <a:gd name="connsiteY317" fmla="*/ 6735 h 10000"/>
                <a:gd name="connsiteX318" fmla="*/ 7950 w 10000"/>
                <a:gd name="connsiteY318" fmla="*/ 6894 h 10000"/>
                <a:gd name="connsiteX319" fmla="*/ 8171 w 10000"/>
                <a:gd name="connsiteY319" fmla="*/ 6511 h 10000"/>
                <a:gd name="connsiteX320" fmla="*/ 8384 w 10000"/>
                <a:gd name="connsiteY320" fmla="*/ 6483 h 10000"/>
                <a:gd name="connsiteX321" fmla="*/ 8429 w 10000"/>
                <a:gd name="connsiteY321" fmla="*/ 6363 h 10000"/>
                <a:gd name="connsiteX322" fmla="*/ 8530 w 10000"/>
                <a:gd name="connsiteY322" fmla="*/ 6203 h 10000"/>
                <a:gd name="connsiteX323" fmla="*/ 8643 w 10000"/>
                <a:gd name="connsiteY323" fmla="*/ 6252 h 10000"/>
                <a:gd name="connsiteX324" fmla="*/ 8657 w 10000"/>
                <a:gd name="connsiteY324" fmla="*/ 6186 h 10000"/>
                <a:gd name="connsiteX325" fmla="*/ 8646 w 10000"/>
                <a:gd name="connsiteY325" fmla="*/ 6082 h 10000"/>
                <a:gd name="connsiteX326" fmla="*/ 8807 w 10000"/>
                <a:gd name="connsiteY326" fmla="*/ 5863 h 10000"/>
                <a:gd name="connsiteX327" fmla="*/ 8923 w 10000"/>
                <a:gd name="connsiteY327" fmla="*/ 5830 h 10000"/>
                <a:gd name="connsiteX328" fmla="*/ 8971 w 10000"/>
                <a:gd name="connsiteY328" fmla="*/ 5561 h 10000"/>
                <a:gd name="connsiteX329" fmla="*/ 9098 w 10000"/>
                <a:gd name="connsiteY329" fmla="*/ 5550 h 10000"/>
                <a:gd name="connsiteX330" fmla="*/ 9326 w 10000"/>
                <a:gd name="connsiteY330" fmla="*/ 5419 h 10000"/>
                <a:gd name="connsiteX331" fmla="*/ 9330 w 10000"/>
                <a:gd name="connsiteY331" fmla="*/ 5331 h 10000"/>
                <a:gd name="connsiteX332" fmla="*/ 9330 w 10000"/>
                <a:gd name="connsiteY332" fmla="*/ 5331 h 10000"/>
                <a:gd name="connsiteX333" fmla="*/ 9326 w 10000"/>
                <a:gd name="connsiteY333"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7708 w 10000"/>
                <a:gd name="connsiteY288" fmla="*/ 7991 h 10000"/>
                <a:gd name="connsiteX289" fmla="*/ 7682 w 10000"/>
                <a:gd name="connsiteY289" fmla="*/ 7904 h 10000"/>
                <a:gd name="connsiteX290" fmla="*/ 7607 w 10000"/>
                <a:gd name="connsiteY290" fmla="*/ 8002 h 10000"/>
                <a:gd name="connsiteX291" fmla="*/ 7715 w 10000"/>
                <a:gd name="connsiteY291" fmla="*/ 7761 h 10000"/>
                <a:gd name="connsiteX292" fmla="*/ 7674 w 10000"/>
                <a:gd name="connsiteY292" fmla="*/ 7717 h 10000"/>
                <a:gd name="connsiteX293" fmla="*/ 7554 w 10000"/>
                <a:gd name="connsiteY293" fmla="*/ 7915 h 10000"/>
                <a:gd name="connsiteX294" fmla="*/ 7618 w 10000"/>
                <a:gd name="connsiteY294" fmla="*/ 7712 h 10000"/>
                <a:gd name="connsiteX295" fmla="*/ 7532 w 10000"/>
                <a:gd name="connsiteY295" fmla="*/ 7767 h 10000"/>
                <a:gd name="connsiteX296" fmla="*/ 7419 w 10000"/>
                <a:gd name="connsiteY296" fmla="*/ 7717 h 10000"/>
                <a:gd name="connsiteX297" fmla="*/ 7333 w 10000"/>
                <a:gd name="connsiteY297" fmla="*/ 7794 h 10000"/>
                <a:gd name="connsiteX298" fmla="*/ 7240 w 10000"/>
                <a:gd name="connsiteY298" fmla="*/ 7728 h 10000"/>
                <a:gd name="connsiteX299" fmla="*/ 7087 w 10000"/>
                <a:gd name="connsiteY299" fmla="*/ 7717 h 10000"/>
                <a:gd name="connsiteX300" fmla="*/ 7090 w 10000"/>
                <a:gd name="connsiteY300" fmla="*/ 7547 h 10000"/>
                <a:gd name="connsiteX301" fmla="*/ 7229 w 10000"/>
                <a:gd name="connsiteY301" fmla="*/ 7662 h 10000"/>
                <a:gd name="connsiteX302" fmla="*/ 7273 w 10000"/>
                <a:gd name="connsiteY302" fmla="*/ 7541 h 10000"/>
                <a:gd name="connsiteX303" fmla="*/ 7236 w 10000"/>
                <a:gd name="connsiteY303" fmla="*/ 7410 h 10000"/>
                <a:gd name="connsiteX304" fmla="*/ 7341 w 10000"/>
                <a:gd name="connsiteY304" fmla="*/ 7547 h 10000"/>
                <a:gd name="connsiteX305" fmla="*/ 7483 w 10000"/>
                <a:gd name="connsiteY305" fmla="*/ 7536 h 10000"/>
                <a:gd name="connsiteX306" fmla="*/ 7506 w 10000"/>
                <a:gd name="connsiteY306" fmla="*/ 7685 h 10000"/>
                <a:gd name="connsiteX307" fmla="*/ 7547 w 10000"/>
                <a:gd name="connsiteY307" fmla="*/ 7685 h 10000"/>
                <a:gd name="connsiteX308" fmla="*/ 7558 w 10000"/>
                <a:gd name="connsiteY308" fmla="*/ 7415 h 10000"/>
                <a:gd name="connsiteX309" fmla="*/ 7607 w 10000"/>
                <a:gd name="connsiteY309" fmla="*/ 7585 h 10000"/>
                <a:gd name="connsiteX310" fmla="*/ 7693 w 10000"/>
                <a:gd name="connsiteY310" fmla="*/ 7590 h 10000"/>
                <a:gd name="connsiteX311" fmla="*/ 7629 w 10000"/>
                <a:gd name="connsiteY311" fmla="*/ 7333 h 10000"/>
                <a:gd name="connsiteX312" fmla="*/ 7786 w 10000"/>
                <a:gd name="connsiteY312" fmla="*/ 7240 h 10000"/>
                <a:gd name="connsiteX313" fmla="*/ 7779 w 10000"/>
                <a:gd name="connsiteY313" fmla="*/ 6987 h 10000"/>
                <a:gd name="connsiteX314" fmla="*/ 7887 w 10000"/>
                <a:gd name="connsiteY314" fmla="*/ 7081 h 10000"/>
                <a:gd name="connsiteX315" fmla="*/ 7906 w 10000"/>
                <a:gd name="connsiteY315" fmla="*/ 7015 h 10000"/>
                <a:gd name="connsiteX316" fmla="*/ 7775 w 10000"/>
                <a:gd name="connsiteY316" fmla="*/ 6735 h 10000"/>
                <a:gd name="connsiteX317" fmla="*/ 7950 w 10000"/>
                <a:gd name="connsiteY317" fmla="*/ 6894 h 10000"/>
                <a:gd name="connsiteX318" fmla="*/ 8171 w 10000"/>
                <a:gd name="connsiteY318" fmla="*/ 6511 h 10000"/>
                <a:gd name="connsiteX319" fmla="*/ 8384 w 10000"/>
                <a:gd name="connsiteY319" fmla="*/ 6483 h 10000"/>
                <a:gd name="connsiteX320" fmla="*/ 8429 w 10000"/>
                <a:gd name="connsiteY320" fmla="*/ 6363 h 10000"/>
                <a:gd name="connsiteX321" fmla="*/ 8530 w 10000"/>
                <a:gd name="connsiteY321" fmla="*/ 6203 h 10000"/>
                <a:gd name="connsiteX322" fmla="*/ 8643 w 10000"/>
                <a:gd name="connsiteY322" fmla="*/ 6252 h 10000"/>
                <a:gd name="connsiteX323" fmla="*/ 8657 w 10000"/>
                <a:gd name="connsiteY323" fmla="*/ 6186 h 10000"/>
                <a:gd name="connsiteX324" fmla="*/ 8646 w 10000"/>
                <a:gd name="connsiteY324" fmla="*/ 6082 h 10000"/>
                <a:gd name="connsiteX325" fmla="*/ 8807 w 10000"/>
                <a:gd name="connsiteY325" fmla="*/ 5863 h 10000"/>
                <a:gd name="connsiteX326" fmla="*/ 8923 w 10000"/>
                <a:gd name="connsiteY326" fmla="*/ 5830 h 10000"/>
                <a:gd name="connsiteX327" fmla="*/ 8971 w 10000"/>
                <a:gd name="connsiteY327" fmla="*/ 5561 h 10000"/>
                <a:gd name="connsiteX328" fmla="*/ 9098 w 10000"/>
                <a:gd name="connsiteY328" fmla="*/ 5550 h 10000"/>
                <a:gd name="connsiteX329" fmla="*/ 9326 w 10000"/>
                <a:gd name="connsiteY329" fmla="*/ 5419 h 10000"/>
                <a:gd name="connsiteX330" fmla="*/ 9330 w 10000"/>
                <a:gd name="connsiteY330" fmla="*/ 5331 h 10000"/>
                <a:gd name="connsiteX331" fmla="*/ 9330 w 10000"/>
                <a:gd name="connsiteY331" fmla="*/ 5331 h 10000"/>
                <a:gd name="connsiteX332" fmla="*/ 9326 w 10000"/>
                <a:gd name="connsiteY332"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7708 w 10000"/>
                <a:gd name="connsiteY287" fmla="*/ 7991 h 10000"/>
                <a:gd name="connsiteX288" fmla="*/ 7682 w 10000"/>
                <a:gd name="connsiteY288" fmla="*/ 7904 h 10000"/>
                <a:gd name="connsiteX289" fmla="*/ 7607 w 10000"/>
                <a:gd name="connsiteY289" fmla="*/ 8002 h 10000"/>
                <a:gd name="connsiteX290" fmla="*/ 7715 w 10000"/>
                <a:gd name="connsiteY290" fmla="*/ 7761 h 10000"/>
                <a:gd name="connsiteX291" fmla="*/ 7674 w 10000"/>
                <a:gd name="connsiteY291" fmla="*/ 7717 h 10000"/>
                <a:gd name="connsiteX292" fmla="*/ 7554 w 10000"/>
                <a:gd name="connsiteY292" fmla="*/ 7915 h 10000"/>
                <a:gd name="connsiteX293" fmla="*/ 7618 w 10000"/>
                <a:gd name="connsiteY293" fmla="*/ 7712 h 10000"/>
                <a:gd name="connsiteX294" fmla="*/ 7532 w 10000"/>
                <a:gd name="connsiteY294" fmla="*/ 7767 h 10000"/>
                <a:gd name="connsiteX295" fmla="*/ 7419 w 10000"/>
                <a:gd name="connsiteY295" fmla="*/ 7717 h 10000"/>
                <a:gd name="connsiteX296" fmla="*/ 7333 w 10000"/>
                <a:gd name="connsiteY296" fmla="*/ 7794 h 10000"/>
                <a:gd name="connsiteX297" fmla="*/ 7240 w 10000"/>
                <a:gd name="connsiteY297" fmla="*/ 7728 h 10000"/>
                <a:gd name="connsiteX298" fmla="*/ 7087 w 10000"/>
                <a:gd name="connsiteY298" fmla="*/ 7717 h 10000"/>
                <a:gd name="connsiteX299" fmla="*/ 7090 w 10000"/>
                <a:gd name="connsiteY299" fmla="*/ 7547 h 10000"/>
                <a:gd name="connsiteX300" fmla="*/ 7229 w 10000"/>
                <a:gd name="connsiteY300" fmla="*/ 7662 h 10000"/>
                <a:gd name="connsiteX301" fmla="*/ 7273 w 10000"/>
                <a:gd name="connsiteY301" fmla="*/ 7541 h 10000"/>
                <a:gd name="connsiteX302" fmla="*/ 7236 w 10000"/>
                <a:gd name="connsiteY302" fmla="*/ 7410 h 10000"/>
                <a:gd name="connsiteX303" fmla="*/ 7341 w 10000"/>
                <a:gd name="connsiteY303" fmla="*/ 7547 h 10000"/>
                <a:gd name="connsiteX304" fmla="*/ 7483 w 10000"/>
                <a:gd name="connsiteY304" fmla="*/ 7536 h 10000"/>
                <a:gd name="connsiteX305" fmla="*/ 7506 w 10000"/>
                <a:gd name="connsiteY305" fmla="*/ 7685 h 10000"/>
                <a:gd name="connsiteX306" fmla="*/ 7547 w 10000"/>
                <a:gd name="connsiteY306" fmla="*/ 7685 h 10000"/>
                <a:gd name="connsiteX307" fmla="*/ 7558 w 10000"/>
                <a:gd name="connsiteY307" fmla="*/ 7415 h 10000"/>
                <a:gd name="connsiteX308" fmla="*/ 7607 w 10000"/>
                <a:gd name="connsiteY308" fmla="*/ 7585 h 10000"/>
                <a:gd name="connsiteX309" fmla="*/ 7693 w 10000"/>
                <a:gd name="connsiteY309" fmla="*/ 7590 h 10000"/>
                <a:gd name="connsiteX310" fmla="*/ 7629 w 10000"/>
                <a:gd name="connsiteY310" fmla="*/ 7333 h 10000"/>
                <a:gd name="connsiteX311" fmla="*/ 7786 w 10000"/>
                <a:gd name="connsiteY311" fmla="*/ 7240 h 10000"/>
                <a:gd name="connsiteX312" fmla="*/ 7779 w 10000"/>
                <a:gd name="connsiteY312" fmla="*/ 6987 h 10000"/>
                <a:gd name="connsiteX313" fmla="*/ 7887 w 10000"/>
                <a:gd name="connsiteY313" fmla="*/ 7081 h 10000"/>
                <a:gd name="connsiteX314" fmla="*/ 7906 w 10000"/>
                <a:gd name="connsiteY314" fmla="*/ 7015 h 10000"/>
                <a:gd name="connsiteX315" fmla="*/ 7775 w 10000"/>
                <a:gd name="connsiteY315" fmla="*/ 6735 h 10000"/>
                <a:gd name="connsiteX316" fmla="*/ 7950 w 10000"/>
                <a:gd name="connsiteY316" fmla="*/ 6894 h 10000"/>
                <a:gd name="connsiteX317" fmla="*/ 8171 w 10000"/>
                <a:gd name="connsiteY317" fmla="*/ 6511 h 10000"/>
                <a:gd name="connsiteX318" fmla="*/ 8384 w 10000"/>
                <a:gd name="connsiteY318" fmla="*/ 6483 h 10000"/>
                <a:gd name="connsiteX319" fmla="*/ 8429 w 10000"/>
                <a:gd name="connsiteY319" fmla="*/ 6363 h 10000"/>
                <a:gd name="connsiteX320" fmla="*/ 8530 w 10000"/>
                <a:gd name="connsiteY320" fmla="*/ 6203 h 10000"/>
                <a:gd name="connsiteX321" fmla="*/ 8643 w 10000"/>
                <a:gd name="connsiteY321" fmla="*/ 6252 h 10000"/>
                <a:gd name="connsiteX322" fmla="*/ 8657 w 10000"/>
                <a:gd name="connsiteY322" fmla="*/ 6186 h 10000"/>
                <a:gd name="connsiteX323" fmla="*/ 8646 w 10000"/>
                <a:gd name="connsiteY323" fmla="*/ 6082 h 10000"/>
                <a:gd name="connsiteX324" fmla="*/ 8807 w 10000"/>
                <a:gd name="connsiteY324" fmla="*/ 5863 h 10000"/>
                <a:gd name="connsiteX325" fmla="*/ 8923 w 10000"/>
                <a:gd name="connsiteY325" fmla="*/ 5830 h 10000"/>
                <a:gd name="connsiteX326" fmla="*/ 8971 w 10000"/>
                <a:gd name="connsiteY326" fmla="*/ 5561 h 10000"/>
                <a:gd name="connsiteX327" fmla="*/ 9098 w 10000"/>
                <a:gd name="connsiteY327" fmla="*/ 5550 h 10000"/>
                <a:gd name="connsiteX328" fmla="*/ 9326 w 10000"/>
                <a:gd name="connsiteY328" fmla="*/ 5419 h 10000"/>
                <a:gd name="connsiteX329" fmla="*/ 9330 w 10000"/>
                <a:gd name="connsiteY329" fmla="*/ 5331 h 10000"/>
                <a:gd name="connsiteX330" fmla="*/ 9330 w 10000"/>
                <a:gd name="connsiteY330" fmla="*/ 5331 h 10000"/>
                <a:gd name="connsiteX331" fmla="*/ 9326 w 10000"/>
                <a:gd name="connsiteY331"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8923 w 10000"/>
                <a:gd name="connsiteY324" fmla="*/ 5830 h 10000"/>
                <a:gd name="connsiteX325" fmla="*/ 8971 w 10000"/>
                <a:gd name="connsiteY325" fmla="*/ 5561 h 10000"/>
                <a:gd name="connsiteX326" fmla="*/ 9098 w 10000"/>
                <a:gd name="connsiteY326" fmla="*/ 5550 h 10000"/>
                <a:gd name="connsiteX327" fmla="*/ 9326 w 10000"/>
                <a:gd name="connsiteY327" fmla="*/ 5419 h 10000"/>
                <a:gd name="connsiteX328" fmla="*/ 9330 w 10000"/>
                <a:gd name="connsiteY328" fmla="*/ 5331 h 10000"/>
                <a:gd name="connsiteX329" fmla="*/ 9330 w 10000"/>
                <a:gd name="connsiteY329" fmla="*/ 5331 h 10000"/>
                <a:gd name="connsiteX330" fmla="*/ 9326 w 10000"/>
                <a:gd name="connsiteY330"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8923 w 10000"/>
                <a:gd name="connsiteY324" fmla="*/ 5830 h 10000"/>
                <a:gd name="connsiteX325" fmla="*/ 9098 w 10000"/>
                <a:gd name="connsiteY325" fmla="*/ 5550 h 10000"/>
                <a:gd name="connsiteX326" fmla="*/ 9326 w 10000"/>
                <a:gd name="connsiteY326" fmla="*/ 5419 h 10000"/>
                <a:gd name="connsiteX327" fmla="*/ 9330 w 10000"/>
                <a:gd name="connsiteY327" fmla="*/ 5331 h 10000"/>
                <a:gd name="connsiteX328" fmla="*/ 9330 w 10000"/>
                <a:gd name="connsiteY328" fmla="*/ 5331 h 10000"/>
                <a:gd name="connsiteX329" fmla="*/ 9326 w 10000"/>
                <a:gd name="connsiteY329"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9098 w 10000"/>
                <a:gd name="connsiteY324" fmla="*/ 5550 h 10000"/>
                <a:gd name="connsiteX325" fmla="*/ 9326 w 10000"/>
                <a:gd name="connsiteY325" fmla="*/ 5419 h 10000"/>
                <a:gd name="connsiteX326" fmla="*/ 9330 w 10000"/>
                <a:gd name="connsiteY326" fmla="*/ 5331 h 10000"/>
                <a:gd name="connsiteX327" fmla="*/ 9330 w 10000"/>
                <a:gd name="connsiteY327" fmla="*/ 5331 h 10000"/>
                <a:gd name="connsiteX328" fmla="*/ 9326 w 10000"/>
                <a:gd name="connsiteY328"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9098 w 10000"/>
                <a:gd name="connsiteY323" fmla="*/ 5550 h 10000"/>
                <a:gd name="connsiteX324" fmla="*/ 9326 w 10000"/>
                <a:gd name="connsiteY324" fmla="*/ 5419 h 10000"/>
                <a:gd name="connsiteX325" fmla="*/ 9330 w 10000"/>
                <a:gd name="connsiteY325" fmla="*/ 5331 h 10000"/>
                <a:gd name="connsiteX326" fmla="*/ 9330 w 10000"/>
                <a:gd name="connsiteY326" fmla="*/ 5331 h 10000"/>
                <a:gd name="connsiteX327" fmla="*/ 9326 w 10000"/>
                <a:gd name="connsiteY327"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9098 w 10000"/>
                <a:gd name="connsiteY322" fmla="*/ 5550 h 10000"/>
                <a:gd name="connsiteX323" fmla="*/ 9326 w 10000"/>
                <a:gd name="connsiteY323" fmla="*/ 5419 h 10000"/>
                <a:gd name="connsiteX324" fmla="*/ 9330 w 10000"/>
                <a:gd name="connsiteY324" fmla="*/ 5331 h 10000"/>
                <a:gd name="connsiteX325" fmla="*/ 9330 w 10000"/>
                <a:gd name="connsiteY325" fmla="*/ 5331 h 10000"/>
                <a:gd name="connsiteX326" fmla="*/ 9326 w 10000"/>
                <a:gd name="connsiteY326"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9098 w 10000"/>
                <a:gd name="connsiteY321" fmla="*/ 5550 h 10000"/>
                <a:gd name="connsiteX322" fmla="*/ 9326 w 10000"/>
                <a:gd name="connsiteY322" fmla="*/ 5419 h 10000"/>
                <a:gd name="connsiteX323" fmla="*/ 9330 w 10000"/>
                <a:gd name="connsiteY323" fmla="*/ 5331 h 10000"/>
                <a:gd name="connsiteX324" fmla="*/ 9330 w 10000"/>
                <a:gd name="connsiteY324" fmla="*/ 5331 h 10000"/>
                <a:gd name="connsiteX325" fmla="*/ 9326 w 10000"/>
                <a:gd name="connsiteY325"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9098 w 10000"/>
                <a:gd name="connsiteY320" fmla="*/ 5550 h 10000"/>
                <a:gd name="connsiteX321" fmla="*/ 9326 w 10000"/>
                <a:gd name="connsiteY321" fmla="*/ 5419 h 10000"/>
                <a:gd name="connsiteX322" fmla="*/ 9330 w 10000"/>
                <a:gd name="connsiteY322" fmla="*/ 5331 h 10000"/>
                <a:gd name="connsiteX323" fmla="*/ 9330 w 10000"/>
                <a:gd name="connsiteY323" fmla="*/ 5331 h 10000"/>
                <a:gd name="connsiteX324" fmla="*/ 9326 w 10000"/>
                <a:gd name="connsiteY324"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322" fmla="*/ 9330 w 10000"/>
                <a:gd name="connsiteY322" fmla="*/ 5331 h 10000"/>
                <a:gd name="connsiteX323" fmla="*/ 9326 w 10000"/>
                <a:gd name="connsiteY323" fmla="*/ 5315 h 10000"/>
                <a:gd name="connsiteX0" fmla="*/ 9330 w 10000"/>
                <a:gd name="connsiteY0" fmla="*/ 5331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322" fmla="*/ 9330 w 10000"/>
                <a:gd name="connsiteY322" fmla="*/ 5331 h 10000"/>
                <a:gd name="connsiteX0" fmla="*/ 9330 w 10000"/>
                <a:gd name="connsiteY0" fmla="*/ 5331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0" fmla="*/ 9326 w 10000"/>
                <a:gd name="connsiteY0" fmla="*/ 5419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0" fmla="*/ 9098 w 10000"/>
                <a:gd name="connsiteY0" fmla="*/ 5550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165 w 10000"/>
                <a:gd name="connsiteY49" fmla="*/ 1996 h 10000"/>
                <a:gd name="connsiteX50" fmla="*/ 6892 w 10000"/>
                <a:gd name="connsiteY50" fmla="*/ 1827 h 10000"/>
                <a:gd name="connsiteX51" fmla="*/ 6922 w 10000"/>
                <a:gd name="connsiteY51" fmla="*/ 1728 h 10000"/>
                <a:gd name="connsiteX52" fmla="*/ 6765 w 10000"/>
                <a:gd name="connsiteY52" fmla="*/ 1398 h 10000"/>
                <a:gd name="connsiteX53" fmla="*/ 6799 w 10000"/>
                <a:gd name="connsiteY53" fmla="*/ 1256 h 10000"/>
                <a:gd name="connsiteX54" fmla="*/ 6728 w 10000"/>
                <a:gd name="connsiteY54" fmla="*/ 1229 h 10000"/>
                <a:gd name="connsiteX55" fmla="*/ 6657 w 10000"/>
                <a:gd name="connsiteY55" fmla="*/ 1311 h 10000"/>
                <a:gd name="connsiteX56" fmla="*/ 6593 w 10000"/>
                <a:gd name="connsiteY56" fmla="*/ 1114 h 10000"/>
                <a:gd name="connsiteX57" fmla="*/ 6391 w 10000"/>
                <a:gd name="connsiteY57" fmla="*/ 1311 h 10000"/>
                <a:gd name="connsiteX58" fmla="*/ 6309 w 10000"/>
                <a:gd name="connsiteY58" fmla="*/ 1223 h 10000"/>
                <a:gd name="connsiteX59" fmla="*/ 6126 w 10000"/>
                <a:gd name="connsiteY59" fmla="*/ 1273 h 10000"/>
                <a:gd name="connsiteX60" fmla="*/ 6144 w 10000"/>
                <a:gd name="connsiteY60" fmla="*/ 1125 h 10000"/>
                <a:gd name="connsiteX61" fmla="*/ 6073 w 10000"/>
                <a:gd name="connsiteY61" fmla="*/ 1119 h 10000"/>
                <a:gd name="connsiteX62" fmla="*/ 6040 w 10000"/>
                <a:gd name="connsiteY62" fmla="*/ 910 h 10000"/>
                <a:gd name="connsiteX63" fmla="*/ 5942 w 10000"/>
                <a:gd name="connsiteY63" fmla="*/ 795 h 10000"/>
                <a:gd name="connsiteX64" fmla="*/ 6144 w 10000"/>
                <a:gd name="connsiteY64" fmla="*/ 620 h 10000"/>
                <a:gd name="connsiteX65" fmla="*/ 5901 w 10000"/>
                <a:gd name="connsiteY65" fmla="*/ 395 h 10000"/>
                <a:gd name="connsiteX66" fmla="*/ 5853 w 10000"/>
                <a:gd name="connsiteY66" fmla="*/ 142 h 10000"/>
                <a:gd name="connsiteX67" fmla="*/ 5741 w 10000"/>
                <a:gd name="connsiteY67" fmla="*/ 110 h 10000"/>
                <a:gd name="connsiteX68" fmla="*/ 5647 w 10000"/>
                <a:gd name="connsiteY68" fmla="*/ 0 h 10000"/>
                <a:gd name="connsiteX69" fmla="*/ 5547 w 10000"/>
                <a:gd name="connsiteY69" fmla="*/ 120 h 10000"/>
                <a:gd name="connsiteX70" fmla="*/ 5377 w 10000"/>
                <a:gd name="connsiteY70" fmla="*/ 110 h 10000"/>
                <a:gd name="connsiteX71" fmla="*/ 5232 w 10000"/>
                <a:gd name="connsiteY71" fmla="*/ 351 h 10000"/>
                <a:gd name="connsiteX72" fmla="*/ 4952 w 10000"/>
                <a:gd name="connsiteY72" fmla="*/ 329 h 10000"/>
                <a:gd name="connsiteX73" fmla="*/ 4884 w 10000"/>
                <a:gd name="connsiteY73" fmla="*/ 680 h 10000"/>
                <a:gd name="connsiteX74" fmla="*/ 4701 w 10000"/>
                <a:gd name="connsiteY74" fmla="*/ 707 h 10000"/>
                <a:gd name="connsiteX75" fmla="*/ 4795 w 10000"/>
                <a:gd name="connsiteY75" fmla="*/ 844 h 10000"/>
                <a:gd name="connsiteX76" fmla="*/ 4739 w 10000"/>
                <a:gd name="connsiteY76" fmla="*/ 899 h 10000"/>
                <a:gd name="connsiteX77" fmla="*/ 4612 w 10000"/>
                <a:gd name="connsiteY77" fmla="*/ 894 h 10000"/>
                <a:gd name="connsiteX78" fmla="*/ 4439 w 10000"/>
                <a:gd name="connsiteY78" fmla="*/ 1026 h 10000"/>
                <a:gd name="connsiteX79" fmla="*/ 4252 w 10000"/>
                <a:gd name="connsiteY79" fmla="*/ 1668 h 10000"/>
                <a:gd name="connsiteX80" fmla="*/ 4308 w 10000"/>
                <a:gd name="connsiteY80" fmla="*/ 2090 h 10000"/>
                <a:gd name="connsiteX81" fmla="*/ 4121 w 10000"/>
                <a:gd name="connsiteY81" fmla="*/ 1865 h 10000"/>
                <a:gd name="connsiteX82" fmla="*/ 3849 w 10000"/>
                <a:gd name="connsiteY82" fmla="*/ 1991 h 10000"/>
                <a:gd name="connsiteX83" fmla="*/ 3822 w 10000"/>
                <a:gd name="connsiteY83" fmla="*/ 1931 h 10000"/>
                <a:gd name="connsiteX84" fmla="*/ 3695 w 10000"/>
                <a:gd name="connsiteY84" fmla="*/ 2002 h 10000"/>
                <a:gd name="connsiteX85" fmla="*/ 3621 w 10000"/>
                <a:gd name="connsiteY85" fmla="*/ 2144 h 10000"/>
                <a:gd name="connsiteX86" fmla="*/ 3561 w 10000"/>
                <a:gd name="connsiteY86" fmla="*/ 1909 h 10000"/>
                <a:gd name="connsiteX87" fmla="*/ 3478 w 10000"/>
                <a:gd name="connsiteY87" fmla="*/ 1843 h 10000"/>
                <a:gd name="connsiteX88" fmla="*/ 3444 w 10000"/>
                <a:gd name="connsiteY88" fmla="*/ 1964 h 10000"/>
                <a:gd name="connsiteX89" fmla="*/ 3332 w 10000"/>
                <a:gd name="connsiteY89" fmla="*/ 1996 h 10000"/>
                <a:gd name="connsiteX90" fmla="*/ 3272 w 10000"/>
                <a:gd name="connsiteY90" fmla="*/ 2161 h 10000"/>
                <a:gd name="connsiteX91" fmla="*/ 3235 w 10000"/>
                <a:gd name="connsiteY91" fmla="*/ 2013 h 10000"/>
                <a:gd name="connsiteX92" fmla="*/ 3123 w 10000"/>
                <a:gd name="connsiteY92" fmla="*/ 2024 h 10000"/>
                <a:gd name="connsiteX93" fmla="*/ 3078 w 10000"/>
                <a:gd name="connsiteY93" fmla="*/ 2128 h 10000"/>
                <a:gd name="connsiteX94" fmla="*/ 3011 w 10000"/>
                <a:gd name="connsiteY94" fmla="*/ 1975 h 10000"/>
                <a:gd name="connsiteX95" fmla="*/ 2895 w 10000"/>
                <a:gd name="connsiteY95" fmla="*/ 2117 h 10000"/>
                <a:gd name="connsiteX96" fmla="*/ 2783 w 10000"/>
                <a:gd name="connsiteY96" fmla="*/ 2106 h 10000"/>
                <a:gd name="connsiteX97" fmla="*/ 2779 w 10000"/>
                <a:gd name="connsiteY97" fmla="*/ 2276 h 10000"/>
                <a:gd name="connsiteX98" fmla="*/ 2727 w 10000"/>
                <a:gd name="connsiteY98" fmla="*/ 2144 h 10000"/>
                <a:gd name="connsiteX99" fmla="*/ 2559 w 10000"/>
                <a:gd name="connsiteY99" fmla="*/ 2155 h 10000"/>
                <a:gd name="connsiteX100" fmla="*/ 2438 w 10000"/>
                <a:gd name="connsiteY100" fmla="*/ 1980 h 10000"/>
                <a:gd name="connsiteX101" fmla="*/ 2293 w 10000"/>
                <a:gd name="connsiteY101" fmla="*/ 2073 h 10000"/>
                <a:gd name="connsiteX102" fmla="*/ 2143 w 10000"/>
                <a:gd name="connsiteY102" fmla="*/ 1958 h 10000"/>
                <a:gd name="connsiteX103" fmla="*/ 2057 w 10000"/>
                <a:gd name="connsiteY103" fmla="*/ 2035 h 10000"/>
                <a:gd name="connsiteX104" fmla="*/ 1975 w 10000"/>
                <a:gd name="connsiteY104" fmla="*/ 1947 h 10000"/>
                <a:gd name="connsiteX105" fmla="*/ 1852 w 10000"/>
                <a:gd name="connsiteY105" fmla="*/ 1936 h 10000"/>
                <a:gd name="connsiteX106" fmla="*/ 1669 w 10000"/>
                <a:gd name="connsiteY106" fmla="*/ 1925 h 10000"/>
                <a:gd name="connsiteX107" fmla="*/ 1444 w 10000"/>
                <a:gd name="connsiteY107" fmla="*/ 1991 h 10000"/>
                <a:gd name="connsiteX108" fmla="*/ 1205 w 10000"/>
                <a:gd name="connsiteY108" fmla="*/ 2062 h 10000"/>
                <a:gd name="connsiteX109" fmla="*/ 921 w 10000"/>
                <a:gd name="connsiteY109" fmla="*/ 2166 h 10000"/>
                <a:gd name="connsiteX110" fmla="*/ 797 w 10000"/>
                <a:gd name="connsiteY110" fmla="*/ 2496 h 10000"/>
                <a:gd name="connsiteX111" fmla="*/ 603 w 10000"/>
                <a:gd name="connsiteY111" fmla="*/ 2501 h 10000"/>
                <a:gd name="connsiteX112" fmla="*/ 540 w 10000"/>
                <a:gd name="connsiteY112" fmla="*/ 2687 h 10000"/>
                <a:gd name="connsiteX113" fmla="*/ 558 w 10000"/>
                <a:gd name="connsiteY113" fmla="*/ 2764 h 10000"/>
                <a:gd name="connsiteX114" fmla="*/ 577 w 10000"/>
                <a:gd name="connsiteY114" fmla="*/ 2868 h 10000"/>
                <a:gd name="connsiteX115" fmla="*/ 577 w 10000"/>
                <a:gd name="connsiteY115" fmla="*/ 2868 h 10000"/>
                <a:gd name="connsiteX116" fmla="*/ 577 w 10000"/>
                <a:gd name="connsiteY116" fmla="*/ 2896 h 10000"/>
                <a:gd name="connsiteX117" fmla="*/ 682 w 10000"/>
                <a:gd name="connsiteY117" fmla="*/ 3116 h 10000"/>
                <a:gd name="connsiteX118" fmla="*/ 786 w 10000"/>
                <a:gd name="connsiteY118" fmla="*/ 3351 h 10000"/>
                <a:gd name="connsiteX119" fmla="*/ 921 w 10000"/>
                <a:gd name="connsiteY119" fmla="*/ 3488 h 10000"/>
                <a:gd name="connsiteX120" fmla="*/ 876 w 10000"/>
                <a:gd name="connsiteY120" fmla="*/ 3548 h 10000"/>
                <a:gd name="connsiteX121" fmla="*/ 805 w 10000"/>
                <a:gd name="connsiteY121" fmla="*/ 3603 h 10000"/>
                <a:gd name="connsiteX122" fmla="*/ 887 w 10000"/>
                <a:gd name="connsiteY122" fmla="*/ 3697 h 10000"/>
                <a:gd name="connsiteX123" fmla="*/ 876 w 10000"/>
                <a:gd name="connsiteY123" fmla="*/ 4053 h 10000"/>
                <a:gd name="connsiteX124" fmla="*/ 693 w 10000"/>
                <a:gd name="connsiteY124" fmla="*/ 4124 h 10000"/>
                <a:gd name="connsiteX125" fmla="*/ 498 w 10000"/>
                <a:gd name="connsiteY125" fmla="*/ 4531 h 10000"/>
                <a:gd name="connsiteX126" fmla="*/ 371 w 10000"/>
                <a:gd name="connsiteY126" fmla="*/ 4936 h 10000"/>
                <a:gd name="connsiteX127" fmla="*/ 195 w 10000"/>
                <a:gd name="connsiteY127" fmla="*/ 5260 h 10000"/>
                <a:gd name="connsiteX128" fmla="*/ 270 w 10000"/>
                <a:gd name="connsiteY128" fmla="*/ 5517 h 10000"/>
                <a:gd name="connsiteX129" fmla="*/ 277 w 10000"/>
                <a:gd name="connsiteY129" fmla="*/ 5732 h 10000"/>
                <a:gd name="connsiteX130" fmla="*/ 400 w 10000"/>
                <a:gd name="connsiteY130" fmla="*/ 5841 h 10000"/>
                <a:gd name="connsiteX131" fmla="*/ 382 w 10000"/>
                <a:gd name="connsiteY131" fmla="*/ 5945 h 10000"/>
                <a:gd name="connsiteX132" fmla="*/ 202 w 10000"/>
                <a:gd name="connsiteY132" fmla="*/ 5852 h 10000"/>
                <a:gd name="connsiteX133" fmla="*/ 124 w 10000"/>
                <a:gd name="connsiteY133" fmla="*/ 6099 h 10000"/>
                <a:gd name="connsiteX134" fmla="*/ 105 w 10000"/>
                <a:gd name="connsiteY134" fmla="*/ 6346 h 10000"/>
                <a:gd name="connsiteX135" fmla="*/ 1 w 10000"/>
                <a:gd name="connsiteY135" fmla="*/ 6571 h 10000"/>
                <a:gd name="connsiteX136" fmla="*/ 19 w 10000"/>
                <a:gd name="connsiteY136" fmla="*/ 6779 h 10000"/>
                <a:gd name="connsiteX137" fmla="*/ 90 w 10000"/>
                <a:gd name="connsiteY137" fmla="*/ 6828 h 10000"/>
                <a:gd name="connsiteX138" fmla="*/ 154 w 10000"/>
                <a:gd name="connsiteY138" fmla="*/ 6960 h 10000"/>
                <a:gd name="connsiteX139" fmla="*/ 240 w 10000"/>
                <a:gd name="connsiteY139" fmla="*/ 6943 h 10000"/>
                <a:gd name="connsiteX140" fmla="*/ 292 w 10000"/>
                <a:gd name="connsiteY140" fmla="*/ 7076 h 10000"/>
                <a:gd name="connsiteX141" fmla="*/ 445 w 10000"/>
                <a:gd name="connsiteY141" fmla="*/ 7103 h 10000"/>
                <a:gd name="connsiteX142" fmla="*/ 453 w 10000"/>
                <a:gd name="connsiteY142" fmla="*/ 7251 h 10000"/>
                <a:gd name="connsiteX143" fmla="*/ 494 w 10000"/>
                <a:gd name="connsiteY143" fmla="*/ 7278 h 10000"/>
                <a:gd name="connsiteX144" fmla="*/ 525 w 10000"/>
                <a:gd name="connsiteY144" fmla="*/ 7174 h 10000"/>
                <a:gd name="connsiteX145" fmla="*/ 581 w 10000"/>
                <a:gd name="connsiteY145" fmla="*/ 7196 h 10000"/>
                <a:gd name="connsiteX146" fmla="*/ 644 w 10000"/>
                <a:gd name="connsiteY146" fmla="*/ 6992 h 10000"/>
                <a:gd name="connsiteX147" fmla="*/ 820 w 10000"/>
                <a:gd name="connsiteY147" fmla="*/ 7174 h 10000"/>
                <a:gd name="connsiteX148" fmla="*/ 1283 w 10000"/>
                <a:gd name="connsiteY148" fmla="*/ 7163 h 10000"/>
                <a:gd name="connsiteX149" fmla="*/ 1466 w 10000"/>
                <a:gd name="connsiteY149" fmla="*/ 7092 h 10000"/>
                <a:gd name="connsiteX150" fmla="*/ 1766 w 10000"/>
                <a:gd name="connsiteY150" fmla="*/ 7344 h 10000"/>
                <a:gd name="connsiteX151" fmla="*/ 1956 w 10000"/>
                <a:gd name="connsiteY151" fmla="*/ 7087 h 10000"/>
                <a:gd name="connsiteX152" fmla="*/ 2382 w 10000"/>
                <a:gd name="connsiteY152" fmla="*/ 6861 h 10000"/>
                <a:gd name="connsiteX153" fmla="*/ 2536 w 10000"/>
                <a:gd name="connsiteY153" fmla="*/ 6489 h 10000"/>
                <a:gd name="connsiteX154" fmla="*/ 2648 w 10000"/>
                <a:gd name="connsiteY154" fmla="*/ 6439 h 10000"/>
                <a:gd name="connsiteX155" fmla="*/ 2648 w 10000"/>
                <a:gd name="connsiteY155" fmla="*/ 6379 h 10000"/>
                <a:gd name="connsiteX156" fmla="*/ 2693 w 10000"/>
                <a:gd name="connsiteY156" fmla="*/ 6379 h 10000"/>
                <a:gd name="connsiteX157" fmla="*/ 2682 w 10000"/>
                <a:gd name="connsiteY157" fmla="*/ 6230 h 10000"/>
                <a:gd name="connsiteX158" fmla="*/ 2820 w 10000"/>
                <a:gd name="connsiteY158" fmla="*/ 6285 h 10000"/>
                <a:gd name="connsiteX159" fmla="*/ 2839 w 10000"/>
                <a:gd name="connsiteY159" fmla="*/ 6159 h 10000"/>
                <a:gd name="connsiteX160" fmla="*/ 2921 w 10000"/>
                <a:gd name="connsiteY160" fmla="*/ 6230 h 10000"/>
                <a:gd name="connsiteX161" fmla="*/ 2981 w 10000"/>
                <a:gd name="connsiteY161" fmla="*/ 6126 h 10000"/>
                <a:gd name="connsiteX162" fmla="*/ 3078 w 10000"/>
                <a:gd name="connsiteY162" fmla="*/ 6154 h 10000"/>
                <a:gd name="connsiteX163" fmla="*/ 3164 w 10000"/>
                <a:gd name="connsiteY163" fmla="*/ 6055 h 10000"/>
                <a:gd name="connsiteX164" fmla="*/ 3328 w 10000"/>
                <a:gd name="connsiteY164" fmla="*/ 6192 h 10000"/>
                <a:gd name="connsiteX165" fmla="*/ 3411 w 10000"/>
                <a:gd name="connsiteY165" fmla="*/ 6197 h 10000"/>
                <a:gd name="connsiteX166" fmla="*/ 3437 w 10000"/>
                <a:gd name="connsiteY166" fmla="*/ 6307 h 10000"/>
                <a:gd name="connsiteX167" fmla="*/ 3591 w 10000"/>
                <a:gd name="connsiteY167" fmla="*/ 6236 h 10000"/>
                <a:gd name="connsiteX168" fmla="*/ 3576 w 10000"/>
                <a:gd name="connsiteY168" fmla="*/ 6357 h 10000"/>
                <a:gd name="connsiteX169" fmla="*/ 3632 w 10000"/>
                <a:gd name="connsiteY169" fmla="*/ 6341 h 10000"/>
                <a:gd name="connsiteX170" fmla="*/ 3699 w 10000"/>
                <a:gd name="connsiteY170" fmla="*/ 6428 h 10000"/>
                <a:gd name="connsiteX171" fmla="*/ 3703 w 10000"/>
                <a:gd name="connsiteY171" fmla="*/ 6301 h 10000"/>
                <a:gd name="connsiteX172" fmla="*/ 3882 w 10000"/>
                <a:gd name="connsiteY172" fmla="*/ 6341 h 10000"/>
                <a:gd name="connsiteX173" fmla="*/ 3946 w 10000"/>
                <a:gd name="connsiteY173" fmla="*/ 6511 h 10000"/>
                <a:gd name="connsiteX174" fmla="*/ 4047 w 10000"/>
                <a:gd name="connsiteY174" fmla="*/ 6494 h 10000"/>
                <a:gd name="connsiteX175" fmla="*/ 4091 w 10000"/>
                <a:gd name="connsiteY175" fmla="*/ 6417 h 10000"/>
                <a:gd name="connsiteX176" fmla="*/ 4192 w 10000"/>
                <a:gd name="connsiteY176" fmla="*/ 6735 h 10000"/>
                <a:gd name="connsiteX177" fmla="*/ 4155 w 10000"/>
                <a:gd name="connsiteY177" fmla="*/ 6987 h 10000"/>
                <a:gd name="connsiteX178" fmla="*/ 4207 w 10000"/>
                <a:gd name="connsiteY178" fmla="*/ 7114 h 10000"/>
                <a:gd name="connsiteX179" fmla="*/ 4278 w 10000"/>
                <a:gd name="connsiteY179" fmla="*/ 7119 h 10000"/>
                <a:gd name="connsiteX180" fmla="*/ 4387 w 10000"/>
                <a:gd name="connsiteY180" fmla="*/ 7256 h 10000"/>
                <a:gd name="connsiteX181" fmla="*/ 4431 w 10000"/>
                <a:gd name="connsiteY181" fmla="*/ 7152 h 10000"/>
                <a:gd name="connsiteX182" fmla="*/ 4480 w 10000"/>
                <a:gd name="connsiteY182" fmla="*/ 7322 h 10000"/>
                <a:gd name="connsiteX183" fmla="*/ 4541 w 10000"/>
                <a:gd name="connsiteY183" fmla="*/ 7662 h 10000"/>
                <a:gd name="connsiteX184" fmla="*/ 4720 w 10000"/>
                <a:gd name="connsiteY184" fmla="*/ 7739 h 10000"/>
                <a:gd name="connsiteX185" fmla="*/ 4761 w 10000"/>
                <a:gd name="connsiteY185" fmla="*/ 8183 h 10000"/>
                <a:gd name="connsiteX186" fmla="*/ 4914 w 10000"/>
                <a:gd name="connsiteY186" fmla="*/ 8276 h 10000"/>
                <a:gd name="connsiteX187" fmla="*/ 4757 w 10000"/>
                <a:gd name="connsiteY187" fmla="*/ 8370 h 10000"/>
                <a:gd name="connsiteX188" fmla="*/ 4705 w 10000"/>
                <a:gd name="connsiteY188" fmla="*/ 8260 h 10000"/>
                <a:gd name="connsiteX189" fmla="*/ 4645 w 10000"/>
                <a:gd name="connsiteY189" fmla="*/ 8403 h 10000"/>
                <a:gd name="connsiteX190" fmla="*/ 4491 w 10000"/>
                <a:gd name="connsiteY190" fmla="*/ 8287 h 10000"/>
                <a:gd name="connsiteX191" fmla="*/ 4405 w 10000"/>
                <a:gd name="connsiteY191" fmla="*/ 8452 h 10000"/>
                <a:gd name="connsiteX192" fmla="*/ 4226 w 10000"/>
                <a:gd name="connsiteY192" fmla="*/ 8331 h 10000"/>
                <a:gd name="connsiteX193" fmla="*/ 4312 w 10000"/>
                <a:gd name="connsiteY193" fmla="*/ 8699 h 10000"/>
                <a:gd name="connsiteX194" fmla="*/ 4304 w 10000"/>
                <a:gd name="connsiteY194" fmla="*/ 8967 h 10000"/>
                <a:gd name="connsiteX195" fmla="*/ 4189 w 10000"/>
                <a:gd name="connsiteY195" fmla="*/ 9088 h 10000"/>
                <a:gd name="connsiteX196" fmla="*/ 4226 w 10000"/>
                <a:gd name="connsiteY196" fmla="*/ 9193 h 10000"/>
                <a:gd name="connsiteX197" fmla="*/ 4065 w 10000"/>
                <a:gd name="connsiteY197" fmla="*/ 9412 h 10000"/>
                <a:gd name="connsiteX198" fmla="*/ 4129 w 10000"/>
                <a:gd name="connsiteY198" fmla="*/ 9647 h 10000"/>
                <a:gd name="connsiteX199" fmla="*/ 3972 w 10000"/>
                <a:gd name="connsiteY199" fmla="*/ 9681 h 10000"/>
                <a:gd name="connsiteX200" fmla="*/ 3931 w 10000"/>
                <a:gd name="connsiteY200" fmla="*/ 9741 h 10000"/>
                <a:gd name="connsiteX201" fmla="*/ 3998 w 10000"/>
                <a:gd name="connsiteY201" fmla="*/ 9785 h 10000"/>
                <a:gd name="connsiteX202" fmla="*/ 4118 w 10000"/>
                <a:gd name="connsiteY202" fmla="*/ 9944 h 10000"/>
                <a:gd name="connsiteX203" fmla="*/ 4312 w 10000"/>
                <a:gd name="connsiteY203" fmla="*/ 9999 h 10000"/>
                <a:gd name="connsiteX204" fmla="*/ 4319 w 10000"/>
                <a:gd name="connsiteY204" fmla="*/ 9851 h 10000"/>
                <a:gd name="connsiteX205" fmla="*/ 4387 w 10000"/>
                <a:gd name="connsiteY205" fmla="*/ 9856 h 10000"/>
                <a:gd name="connsiteX206" fmla="*/ 4675 w 10000"/>
                <a:gd name="connsiteY206" fmla="*/ 9603 h 10000"/>
                <a:gd name="connsiteX207" fmla="*/ 4866 w 10000"/>
                <a:gd name="connsiteY207" fmla="*/ 9845 h 10000"/>
                <a:gd name="connsiteX208" fmla="*/ 4866 w 10000"/>
                <a:gd name="connsiteY208" fmla="*/ 9862 h 10000"/>
                <a:gd name="connsiteX209" fmla="*/ 4896 w 10000"/>
                <a:gd name="connsiteY209" fmla="*/ 9703 h 10000"/>
                <a:gd name="connsiteX210" fmla="*/ 4843 w 10000"/>
                <a:gd name="connsiteY210" fmla="*/ 9570 h 10000"/>
                <a:gd name="connsiteX211" fmla="*/ 4776 w 10000"/>
                <a:gd name="connsiteY211" fmla="*/ 9549 h 10000"/>
                <a:gd name="connsiteX212" fmla="*/ 4821 w 10000"/>
                <a:gd name="connsiteY212" fmla="*/ 9466 h 10000"/>
                <a:gd name="connsiteX213" fmla="*/ 4806 w 10000"/>
                <a:gd name="connsiteY213" fmla="*/ 9444 h 10000"/>
                <a:gd name="connsiteX214" fmla="*/ 4750 w 10000"/>
                <a:gd name="connsiteY214" fmla="*/ 9439 h 10000"/>
                <a:gd name="connsiteX215" fmla="*/ 4720 w 10000"/>
                <a:gd name="connsiteY215" fmla="*/ 9121 h 10000"/>
                <a:gd name="connsiteX216" fmla="*/ 4761 w 10000"/>
                <a:gd name="connsiteY216" fmla="*/ 9105 h 10000"/>
                <a:gd name="connsiteX217" fmla="*/ 4783 w 10000"/>
                <a:gd name="connsiteY217" fmla="*/ 9253 h 10000"/>
                <a:gd name="connsiteX218" fmla="*/ 4836 w 10000"/>
                <a:gd name="connsiteY218" fmla="*/ 9384 h 10000"/>
                <a:gd name="connsiteX219" fmla="*/ 4881 w 10000"/>
                <a:gd name="connsiteY219" fmla="*/ 9302 h 10000"/>
                <a:gd name="connsiteX220" fmla="*/ 4869 w 10000"/>
                <a:gd name="connsiteY220" fmla="*/ 9220 h 10000"/>
                <a:gd name="connsiteX221" fmla="*/ 4940 w 10000"/>
                <a:gd name="connsiteY221" fmla="*/ 9203 h 10000"/>
                <a:gd name="connsiteX222" fmla="*/ 4903 w 10000"/>
                <a:gd name="connsiteY222" fmla="*/ 9034 h 10000"/>
                <a:gd name="connsiteX223" fmla="*/ 5000 w 10000"/>
                <a:gd name="connsiteY223" fmla="*/ 9061 h 10000"/>
                <a:gd name="connsiteX224" fmla="*/ 5004 w 10000"/>
                <a:gd name="connsiteY224" fmla="*/ 8972 h 10000"/>
                <a:gd name="connsiteX225" fmla="*/ 5041 w 10000"/>
                <a:gd name="connsiteY225" fmla="*/ 9039 h 10000"/>
                <a:gd name="connsiteX226" fmla="*/ 5206 w 10000"/>
                <a:gd name="connsiteY226" fmla="*/ 8781 h 10000"/>
                <a:gd name="connsiteX227" fmla="*/ 5112 w 10000"/>
                <a:gd name="connsiteY227" fmla="*/ 8584 h 10000"/>
                <a:gd name="connsiteX228" fmla="*/ 4937 w 10000"/>
                <a:gd name="connsiteY228" fmla="*/ 8425 h 10000"/>
                <a:gd name="connsiteX229" fmla="*/ 5037 w 10000"/>
                <a:gd name="connsiteY229" fmla="*/ 8370 h 10000"/>
                <a:gd name="connsiteX230" fmla="*/ 5183 w 10000"/>
                <a:gd name="connsiteY230" fmla="*/ 8633 h 10000"/>
                <a:gd name="connsiteX231" fmla="*/ 5292 w 10000"/>
                <a:gd name="connsiteY231" fmla="*/ 8199 h 10000"/>
                <a:gd name="connsiteX232" fmla="*/ 5299 w 10000"/>
                <a:gd name="connsiteY232" fmla="*/ 8030 h 10000"/>
                <a:gd name="connsiteX233" fmla="*/ 5482 w 10000"/>
                <a:gd name="connsiteY233" fmla="*/ 7942 h 10000"/>
                <a:gd name="connsiteX234" fmla="*/ 5550 w 10000"/>
                <a:gd name="connsiteY234" fmla="*/ 7607 h 10000"/>
                <a:gd name="connsiteX235" fmla="*/ 5561 w 10000"/>
                <a:gd name="connsiteY235" fmla="*/ 7734 h 10000"/>
                <a:gd name="connsiteX236" fmla="*/ 5677 w 10000"/>
                <a:gd name="connsiteY236" fmla="*/ 7596 h 10000"/>
                <a:gd name="connsiteX237" fmla="*/ 5759 w 10000"/>
                <a:gd name="connsiteY237" fmla="*/ 7579 h 10000"/>
                <a:gd name="connsiteX238" fmla="*/ 5842 w 10000"/>
                <a:gd name="connsiteY238" fmla="*/ 7207 h 10000"/>
                <a:gd name="connsiteX239" fmla="*/ 5916 w 10000"/>
                <a:gd name="connsiteY239" fmla="*/ 7486 h 10000"/>
                <a:gd name="connsiteX240" fmla="*/ 6137 w 10000"/>
                <a:gd name="connsiteY240" fmla="*/ 7563 h 10000"/>
                <a:gd name="connsiteX241" fmla="*/ 5969 w 10000"/>
                <a:gd name="connsiteY241" fmla="*/ 7618 h 10000"/>
                <a:gd name="connsiteX242" fmla="*/ 5954 w 10000"/>
                <a:gd name="connsiteY242" fmla="*/ 7679 h 10000"/>
                <a:gd name="connsiteX243" fmla="*/ 5786 w 10000"/>
                <a:gd name="connsiteY243" fmla="*/ 7690 h 10000"/>
                <a:gd name="connsiteX244" fmla="*/ 5700 w 10000"/>
                <a:gd name="connsiteY244" fmla="*/ 7723 h 10000"/>
                <a:gd name="connsiteX245" fmla="*/ 5767 w 10000"/>
                <a:gd name="connsiteY245" fmla="*/ 7772 h 10000"/>
                <a:gd name="connsiteX246" fmla="*/ 5827 w 10000"/>
                <a:gd name="connsiteY246" fmla="*/ 7756 h 10000"/>
                <a:gd name="connsiteX247" fmla="*/ 5991 w 10000"/>
                <a:gd name="connsiteY247" fmla="*/ 7789 h 10000"/>
                <a:gd name="connsiteX248" fmla="*/ 5804 w 10000"/>
                <a:gd name="connsiteY248" fmla="*/ 7964 h 10000"/>
                <a:gd name="connsiteX249" fmla="*/ 5872 w 10000"/>
                <a:gd name="connsiteY249" fmla="*/ 8008 h 10000"/>
                <a:gd name="connsiteX250" fmla="*/ 6043 w 10000"/>
                <a:gd name="connsiteY250" fmla="*/ 7958 h 10000"/>
                <a:gd name="connsiteX251" fmla="*/ 6275 w 10000"/>
                <a:gd name="connsiteY251" fmla="*/ 8101 h 10000"/>
                <a:gd name="connsiteX252" fmla="*/ 6575 w 10000"/>
                <a:gd name="connsiteY252" fmla="*/ 7909 h 10000"/>
                <a:gd name="connsiteX253" fmla="*/ 6870 w 10000"/>
                <a:gd name="connsiteY253" fmla="*/ 7887 h 10000"/>
                <a:gd name="connsiteX254" fmla="*/ 6915 w 10000"/>
                <a:gd name="connsiteY254" fmla="*/ 7745 h 10000"/>
                <a:gd name="connsiteX255" fmla="*/ 6993 w 10000"/>
                <a:gd name="connsiteY255" fmla="*/ 7958 h 10000"/>
                <a:gd name="connsiteX256" fmla="*/ 7075 w 10000"/>
                <a:gd name="connsiteY256" fmla="*/ 7986 h 10000"/>
                <a:gd name="connsiteX257" fmla="*/ 7045 w 10000"/>
                <a:gd name="connsiteY257" fmla="*/ 8134 h 10000"/>
                <a:gd name="connsiteX258" fmla="*/ 6788 w 10000"/>
                <a:gd name="connsiteY258" fmla="*/ 8281 h 10000"/>
                <a:gd name="connsiteX259" fmla="*/ 6769 w 10000"/>
                <a:gd name="connsiteY259" fmla="*/ 8386 h 10000"/>
                <a:gd name="connsiteX260" fmla="*/ 6627 w 10000"/>
                <a:gd name="connsiteY260" fmla="*/ 8523 h 10000"/>
                <a:gd name="connsiteX261" fmla="*/ 6623 w 10000"/>
                <a:gd name="connsiteY261" fmla="*/ 8649 h 10000"/>
                <a:gd name="connsiteX262" fmla="*/ 6537 w 10000"/>
                <a:gd name="connsiteY262" fmla="*/ 8704 h 10000"/>
                <a:gd name="connsiteX263" fmla="*/ 6428 w 10000"/>
                <a:gd name="connsiteY263" fmla="*/ 8989 h 10000"/>
                <a:gd name="connsiteX264" fmla="*/ 6582 w 10000"/>
                <a:gd name="connsiteY264" fmla="*/ 9001 h 10000"/>
                <a:gd name="connsiteX265" fmla="*/ 6672 w 10000"/>
                <a:gd name="connsiteY265" fmla="*/ 8879 h 10000"/>
                <a:gd name="connsiteX266" fmla="*/ 6769 w 10000"/>
                <a:gd name="connsiteY266" fmla="*/ 8912 h 10000"/>
                <a:gd name="connsiteX267" fmla="*/ 6814 w 10000"/>
                <a:gd name="connsiteY267" fmla="*/ 8786 h 10000"/>
                <a:gd name="connsiteX268" fmla="*/ 6877 w 10000"/>
                <a:gd name="connsiteY268" fmla="*/ 9001 h 10000"/>
                <a:gd name="connsiteX269" fmla="*/ 7060 w 10000"/>
                <a:gd name="connsiteY269" fmla="*/ 8994 h 10000"/>
                <a:gd name="connsiteX270" fmla="*/ 7217 w 10000"/>
                <a:gd name="connsiteY270" fmla="*/ 9362 h 10000"/>
                <a:gd name="connsiteX271" fmla="*/ 7232 w 10000"/>
                <a:gd name="connsiteY271" fmla="*/ 9675 h 10000"/>
                <a:gd name="connsiteX272" fmla="*/ 7176 w 10000"/>
                <a:gd name="connsiteY272" fmla="*/ 9692 h 10000"/>
                <a:gd name="connsiteX273" fmla="*/ 7187 w 10000"/>
                <a:gd name="connsiteY273" fmla="*/ 9780 h 10000"/>
                <a:gd name="connsiteX274" fmla="*/ 7423 w 10000"/>
                <a:gd name="connsiteY274" fmla="*/ 9900 h 10000"/>
                <a:gd name="connsiteX275" fmla="*/ 7741 w 10000"/>
                <a:gd name="connsiteY275" fmla="*/ 9565 h 10000"/>
                <a:gd name="connsiteX276" fmla="*/ 7879 w 10000"/>
                <a:gd name="connsiteY276" fmla="*/ 9176 h 10000"/>
                <a:gd name="connsiteX277" fmla="*/ 8107 w 10000"/>
                <a:gd name="connsiteY277" fmla="*/ 9023 h 10000"/>
                <a:gd name="connsiteX278" fmla="*/ 8182 w 10000"/>
                <a:gd name="connsiteY278" fmla="*/ 8841 h 10000"/>
                <a:gd name="connsiteX279" fmla="*/ 8268 w 10000"/>
                <a:gd name="connsiteY279" fmla="*/ 8786 h 10000"/>
                <a:gd name="connsiteX280" fmla="*/ 8320 w 10000"/>
                <a:gd name="connsiteY280" fmla="*/ 8512 h 10000"/>
                <a:gd name="connsiteX281" fmla="*/ 8542 w 10000"/>
                <a:gd name="connsiteY281" fmla="*/ 8617 h 10000"/>
                <a:gd name="connsiteX282" fmla="*/ 8672 w 10000"/>
                <a:gd name="connsiteY282" fmla="*/ 8474 h 10000"/>
                <a:gd name="connsiteX283" fmla="*/ 8855 w 10000"/>
                <a:gd name="connsiteY283" fmla="*/ 8343 h 10000"/>
                <a:gd name="connsiteX284" fmla="*/ 8781 w 10000"/>
                <a:gd name="connsiteY284" fmla="*/ 8128 h 10000"/>
                <a:gd name="connsiteX285" fmla="*/ 7708 w 10000"/>
                <a:gd name="connsiteY285" fmla="*/ 7991 h 10000"/>
                <a:gd name="connsiteX286" fmla="*/ 7682 w 10000"/>
                <a:gd name="connsiteY286" fmla="*/ 7904 h 10000"/>
                <a:gd name="connsiteX287" fmla="*/ 7607 w 10000"/>
                <a:gd name="connsiteY287" fmla="*/ 8002 h 10000"/>
                <a:gd name="connsiteX288" fmla="*/ 7715 w 10000"/>
                <a:gd name="connsiteY288" fmla="*/ 7761 h 10000"/>
                <a:gd name="connsiteX289" fmla="*/ 7674 w 10000"/>
                <a:gd name="connsiteY289" fmla="*/ 7717 h 10000"/>
                <a:gd name="connsiteX290" fmla="*/ 7554 w 10000"/>
                <a:gd name="connsiteY290" fmla="*/ 7915 h 10000"/>
                <a:gd name="connsiteX291" fmla="*/ 7618 w 10000"/>
                <a:gd name="connsiteY291" fmla="*/ 7712 h 10000"/>
                <a:gd name="connsiteX292" fmla="*/ 7532 w 10000"/>
                <a:gd name="connsiteY292" fmla="*/ 7767 h 10000"/>
                <a:gd name="connsiteX293" fmla="*/ 7419 w 10000"/>
                <a:gd name="connsiteY293" fmla="*/ 7717 h 10000"/>
                <a:gd name="connsiteX294" fmla="*/ 7333 w 10000"/>
                <a:gd name="connsiteY294" fmla="*/ 7794 h 10000"/>
                <a:gd name="connsiteX295" fmla="*/ 7240 w 10000"/>
                <a:gd name="connsiteY295" fmla="*/ 7728 h 10000"/>
                <a:gd name="connsiteX296" fmla="*/ 7087 w 10000"/>
                <a:gd name="connsiteY296" fmla="*/ 7717 h 10000"/>
                <a:gd name="connsiteX297" fmla="*/ 7090 w 10000"/>
                <a:gd name="connsiteY297" fmla="*/ 7547 h 10000"/>
                <a:gd name="connsiteX298" fmla="*/ 7229 w 10000"/>
                <a:gd name="connsiteY298" fmla="*/ 7662 h 10000"/>
                <a:gd name="connsiteX299" fmla="*/ 7273 w 10000"/>
                <a:gd name="connsiteY299" fmla="*/ 7541 h 10000"/>
                <a:gd name="connsiteX300" fmla="*/ 7236 w 10000"/>
                <a:gd name="connsiteY300" fmla="*/ 7410 h 10000"/>
                <a:gd name="connsiteX301" fmla="*/ 7341 w 10000"/>
                <a:gd name="connsiteY301" fmla="*/ 7547 h 10000"/>
                <a:gd name="connsiteX302" fmla="*/ 7483 w 10000"/>
                <a:gd name="connsiteY302" fmla="*/ 7536 h 10000"/>
                <a:gd name="connsiteX303" fmla="*/ 7506 w 10000"/>
                <a:gd name="connsiteY303" fmla="*/ 7685 h 10000"/>
                <a:gd name="connsiteX304" fmla="*/ 7547 w 10000"/>
                <a:gd name="connsiteY304" fmla="*/ 7685 h 10000"/>
                <a:gd name="connsiteX305" fmla="*/ 7558 w 10000"/>
                <a:gd name="connsiteY305" fmla="*/ 7415 h 10000"/>
                <a:gd name="connsiteX306" fmla="*/ 7607 w 10000"/>
                <a:gd name="connsiteY306" fmla="*/ 7585 h 10000"/>
                <a:gd name="connsiteX307" fmla="*/ 7693 w 10000"/>
                <a:gd name="connsiteY307" fmla="*/ 7590 h 10000"/>
                <a:gd name="connsiteX308" fmla="*/ 7629 w 10000"/>
                <a:gd name="connsiteY308" fmla="*/ 7333 h 10000"/>
                <a:gd name="connsiteX309" fmla="*/ 7786 w 10000"/>
                <a:gd name="connsiteY309" fmla="*/ 7240 h 10000"/>
                <a:gd name="connsiteX310" fmla="*/ 7779 w 10000"/>
                <a:gd name="connsiteY310" fmla="*/ 6987 h 10000"/>
                <a:gd name="connsiteX311" fmla="*/ 7887 w 10000"/>
                <a:gd name="connsiteY311" fmla="*/ 7081 h 10000"/>
                <a:gd name="connsiteX312" fmla="*/ 7906 w 10000"/>
                <a:gd name="connsiteY312" fmla="*/ 7015 h 10000"/>
                <a:gd name="connsiteX313" fmla="*/ 7775 w 10000"/>
                <a:gd name="connsiteY313" fmla="*/ 6735 h 10000"/>
                <a:gd name="connsiteX314" fmla="*/ 7950 w 10000"/>
                <a:gd name="connsiteY314" fmla="*/ 6894 h 10000"/>
                <a:gd name="connsiteX315" fmla="*/ 8171 w 10000"/>
                <a:gd name="connsiteY315" fmla="*/ 6511 h 10000"/>
                <a:gd name="connsiteX316" fmla="*/ 8384 w 10000"/>
                <a:gd name="connsiteY316" fmla="*/ 6483 h 10000"/>
                <a:gd name="connsiteX317" fmla="*/ 8429 w 10000"/>
                <a:gd name="connsiteY31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165 w 10000"/>
                <a:gd name="connsiteY48" fmla="*/ 1996 h 10000"/>
                <a:gd name="connsiteX49" fmla="*/ 6892 w 10000"/>
                <a:gd name="connsiteY49" fmla="*/ 1827 h 10000"/>
                <a:gd name="connsiteX50" fmla="*/ 6922 w 10000"/>
                <a:gd name="connsiteY50" fmla="*/ 1728 h 10000"/>
                <a:gd name="connsiteX51" fmla="*/ 6765 w 10000"/>
                <a:gd name="connsiteY51" fmla="*/ 1398 h 10000"/>
                <a:gd name="connsiteX52" fmla="*/ 6799 w 10000"/>
                <a:gd name="connsiteY52" fmla="*/ 1256 h 10000"/>
                <a:gd name="connsiteX53" fmla="*/ 6728 w 10000"/>
                <a:gd name="connsiteY53" fmla="*/ 1229 h 10000"/>
                <a:gd name="connsiteX54" fmla="*/ 6657 w 10000"/>
                <a:gd name="connsiteY54" fmla="*/ 1311 h 10000"/>
                <a:gd name="connsiteX55" fmla="*/ 6593 w 10000"/>
                <a:gd name="connsiteY55" fmla="*/ 1114 h 10000"/>
                <a:gd name="connsiteX56" fmla="*/ 6391 w 10000"/>
                <a:gd name="connsiteY56" fmla="*/ 1311 h 10000"/>
                <a:gd name="connsiteX57" fmla="*/ 6309 w 10000"/>
                <a:gd name="connsiteY57" fmla="*/ 1223 h 10000"/>
                <a:gd name="connsiteX58" fmla="*/ 6126 w 10000"/>
                <a:gd name="connsiteY58" fmla="*/ 1273 h 10000"/>
                <a:gd name="connsiteX59" fmla="*/ 6144 w 10000"/>
                <a:gd name="connsiteY59" fmla="*/ 1125 h 10000"/>
                <a:gd name="connsiteX60" fmla="*/ 6073 w 10000"/>
                <a:gd name="connsiteY60" fmla="*/ 1119 h 10000"/>
                <a:gd name="connsiteX61" fmla="*/ 6040 w 10000"/>
                <a:gd name="connsiteY61" fmla="*/ 910 h 10000"/>
                <a:gd name="connsiteX62" fmla="*/ 5942 w 10000"/>
                <a:gd name="connsiteY62" fmla="*/ 795 h 10000"/>
                <a:gd name="connsiteX63" fmla="*/ 6144 w 10000"/>
                <a:gd name="connsiteY63" fmla="*/ 620 h 10000"/>
                <a:gd name="connsiteX64" fmla="*/ 5901 w 10000"/>
                <a:gd name="connsiteY64" fmla="*/ 395 h 10000"/>
                <a:gd name="connsiteX65" fmla="*/ 5853 w 10000"/>
                <a:gd name="connsiteY65" fmla="*/ 142 h 10000"/>
                <a:gd name="connsiteX66" fmla="*/ 5741 w 10000"/>
                <a:gd name="connsiteY66" fmla="*/ 110 h 10000"/>
                <a:gd name="connsiteX67" fmla="*/ 5647 w 10000"/>
                <a:gd name="connsiteY67" fmla="*/ 0 h 10000"/>
                <a:gd name="connsiteX68" fmla="*/ 5547 w 10000"/>
                <a:gd name="connsiteY68" fmla="*/ 120 h 10000"/>
                <a:gd name="connsiteX69" fmla="*/ 5377 w 10000"/>
                <a:gd name="connsiteY69" fmla="*/ 110 h 10000"/>
                <a:gd name="connsiteX70" fmla="*/ 5232 w 10000"/>
                <a:gd name="connsiteY70" fmla="*/ 351 h 10000"/>
                <a:gd name="connsiteX71" fmla="*/ 4952 w 10000"/>
                <a:gd name="connsiteY71" fmla="*/ 329 h 10000"/>
                <a:gd name="connsiteX72" fmla="*/ 4884 w 10000"/>
                <a:gd name="connsiteY72" fmla="*/ 680 h 10000"/>
                <a:gd name="connsiteX73" fmla="*/ 4701 w 10000"/>
                <a:gd name="connsiteY73" fmla="*/ 707 h 10000"/>
                <a:gd name="connsiteX74" fmla="*/ 4795 w 10000"/>
                <a:gd name="connsiteY74" fmla="*/ 844 h 10000"/>
                <a:gd name="connsiteX75" fmla="*/ 4739 w 10000"/>
                <a:gd name="connsiteY75" fmla="*/ 899 h 10000"/>
                <a:gd name="connsiteX76" fmla="*/ 4612 w 10000"/>
                <a:gd name="connsiteY76" fmla="*/ 894 h 10000"/>
                <a:gd name="connsiteX77" fmla="*/ 4439 w 10000"/>
                <a:gd name="connsiteY77" fmla="*/ 1026 h 10000"/>
                <a:gd name="connsiteX78" fmla="*/ 4252 w 10000"/>
                <a:gd name="connsiteY78" fmla="*/ 1668 h 10000"/>
                <a:gd name="connsiteX79" fmla="*/ 4308 w 10000"/>
                <a:gd name="connsiteY79" fmla="*/ 2090 h 10000"/>
                <a:gd name="connsiteX80" fmla="*/ 4121 w 10000"/>
                <a:gd name="connsiteY80" fmla="*/ 1865 h 10000"/>
                <a:gd name="connsiteX81" fmla="*/ 3849 w 10000"/>
                <a:gd name="connsiteY81" fmla="*/ 1991 h 10000"/>
                <a:gd name="connsiteX82" fmla="*/ 3822 w 10000"/>
                <a:gd name="connsiteY82" fmla="*/ 1931 h 10000"/>
                <a:gd name="connsiteX83" fmla="*/ 3695 w 10000"/>
                <a:gd name="connsiteY83" fmla="*/ 2002 h 10000"/>
                <a:gd name="connsiteX84" fmla="*/ 3621 w 10000"/>
                <a:gd name="connsiteY84" fmla="*/ 2144 h 10000"/>
                <a:gd name="connsiteX85" fmla="*/ 3561 w 10000"/>
                <a:gd name="connsiteY85" fmla="*/ 1909 h 10000"/>
                <a:gd name="connsiteX86" fmla="*/ 3478 w 10000"/>
                <a:gd name="connsiteY86" fmla="*/ 1843 h 10000"/>
                <a:gd name="connsiteX87" fmla="*/ 3444 w 10000"/>
                <a:gd name="connsiteY87" fmla="*/ 1964 h 10000"/>
                <a:gd name="connsiteX88" fmla="*/ 3332 w 10000"/>
                <a:gd name="connsiteY88" fmla="*/ 1996 h 10000"/>
                <a:gd name="connsiteX89" fmla="*/ 3272 w 10000"/>
                <a:gd name="connsiteY89" fmla="*/ 2161 h 10000"/>
                <a:gd name="connsiteX90" fmla="*/ 3235 w 10000"/>
                <a:gd name="connsiteY90" fmla="*/ 2013 h 10000"/>
                <a:gd name="connsiteX91" fmla="*/ 3123 w 10000"/>
                <a:gd name="connsiteY91" fmla="*/ 2024 h 10000"/>
                <a:gd name="connsiteX92" fmla="*/ 3078 w 10000"/>
                <a:gd name="connsiteY92" fmla="*/ 2128 h 10000"/>
                <a:gd name="connsiteX93" fmla="*/ 3011 w 10000"/>
                <a:gd name="connsiteY93" fmla="*/ 1975 h 10000"/>
                <a:gd name="connsiteX94" fmla="*/ 2895 w 10000"/>
                <a:gd name="connsiteY94" fmla="*/ 2117 h 10000"/>
                <a:gd name="connsiteX95" fmla="*/ 2783 w 10000"/>
                <a:gd name="connsiteY95" fmla="*/ 2106 h 10000"/>
                <a:gd name="connsiteX96" fmla="*/ 2779 w 10000"/>
                <a:gd name="connsiteY96" fmla="*/ 2276 h 10000"/>
                <a:gd name="connsiteX97" fmla="*/ 2727 w 10000"/>
                <a:gd name="connsiteY97" fmla="*/ 2144 h 10000"/>
                <a:gd name="connsiteX98" fmla="*/ 2559 w 10000"/>
                <a:gd name="connsiteY98" fmla="*/ 2155 h 10000"/>
                <a:gd name="connsiteX99" fmla="*/ 2438 w 10000"/>
                <a:gd name="connsiteY99" fmla="*/ 1980 h 10000"/>
                <a:gd name="connsiteX100" fmla="*/ 2293 w 10000"/>
                <a:gd name="connsiteY100" fmla="*/ 2073 h 10000"/>
                <a:gd name="connsiteX101" fmla="*/ 2143 w 10000"/>
                <a:gd name="connsiteY101" fmla="*/ 1958 h 10000"/>
                <a:gd name="connsiteX102" fmla="*/ 2057 w 10000"/>
                <a:gd name="connsiteY102" fmla="*/ 2035 h 10000"/>
                <a:gd name="connsiteX103" fmla="*/ 1975 w 10000"/>
                <a:gd name="connsiteY103" fmla="*/ 1947 h 10000"/>
                <a:gd name="connsiteX104" fmla="*/ 1852 w 10000"/>
                <a:gd name="connsiteY104" fmla="*/ 1936 h 10000"/>
                <a:gd name="connsiteX105" fmla="*/ 1669 w 10000"/>
                <a:gd name="connsiteY105" fmla="*/ 1925 h 10000"/>
                <a:gd name="connsiteX106" fmla="*/ 1444 w 10000"/>
                <a:gd name="connsiteY106" fmla="*/ 1991 h 10000"/>
                <a:gd name="connsiteX107" fmla="*/ 1205 w 10000"/>
                <a:gd name="connsiteY107" fmla="*/ 2062 h 10000"/>
                <a:gd name="connsiteX108" fmla="*/ 921 w 10000"/>
                <a:gd name="connsiteY108" fmla="*/ 2166 h 10000"/>
                <a:gd name="connsiteX109" fmla="*/ 797 w 10000"/>
                <a:gd name="connsiteY109" fmla="*/ 2496 h 10000"/>
                <a:gd name="connsiteX110" fmla="*/ 603 w 10000"/>
                <a:gd name="connsiteY110" fmla="*/ 2501 h 10000"/>
                <a:gd name="connsiteX111" fmla="*/ 540 w 10000"/>
                <a:gd name="connsiteY111" fmla="*/ 2687 h 10000"/>
                <a:gd name="connsiteX112" fmla="*/ 558 w 10000"/>
                <a:gd name="connsiteY112" fmla="*/ 2764 h 10000"/>
                <a:gd name="connsiteX113" fmla="*/ 577 w 10000"/>
                <a:gd name="connsiteY113" fmla="*/ 2868 h 10000"/>
                <a:gd name="connsiteX114" fmla="*/ 577 w 10000"/>
                <a:gd name="connsiteY114" fmla="*/ 2868 h 10000"/>
                <a:gd name="connsiteX115" fmla="*/ 577 w 10000"/>
                <a:gd name="connsiteY115" fmla="*/ 2896 h 10000"/>
                <a:gd name="connsiteX116" fmla="*/ 682 w 10000"/>
                <a:gd name="connsiteY116" fmla="*/ 3116 h 10000"/>
                <a:gd name="connsiteX117" fmla="*/ 786 w 10000"/>
                <a:gd name="connsiteY117" fmla="*/ 3351 h 10000"/>
                <a:gd name="connsiteX118" fmla="*/ 921 w 10000"/>
                <a:gd name="connsiteY118" fmla="*/ 3488 h 10000"/>
                <a:gd name="connsiteX119" fmla="*/ 876 w 10000"/>
                <a:gd name="connsiteY119" fmla="*/ 3548 h 10000"/>
                <a:gd name="connsiteX120" fmla="*/ 805 w 10000"/>
                <a:gd name="connsiteY120" fmla="*/ 3603 h 10000"/>
                <a:gd name="connsiteX121" fmla="*/ 887 w 10000"/>
                <a:gd name="connsiteY121" fmla="*/ 3697 h 10000"/>
                <a:gd name="connsiteX122" fmla="*/ 876 w 10000"/>
                <a:gd name="connsiteY122" fmla="*/ 4053 h 10000"/>
                <a:gd name="connsiteX123" fmla="*/ 693 w 10000"/>
                <a:gd name="connsiteY123" fmla="*/ 4124 h 10000"/>
                <a:gd name="connsiteX124" fmla="*/ 498 w 10000"/>
                <a:gd name="connsiteY124" fmla="*/ 4531 h 10000"/>
                <a:gd name="connsiteX125" fmla="*/ 371 w 10000"/>
                <a:gd name="connsiteY125" fmla="*/ 4936 h 10000"/>
                <a:gd name="connsiteX126" fmla="*/ 195 w 10000"/>
                <a:gd name="connsiteY126" fmla="*/ 5260 h 10000"/>
                <a:gd name="connsiteX127" fmla="*/ 270 w 10000"/>
                <a:gd name="connsiteY127" fmla="*/ 5517 h 10000"/>
                <a:gd name="connsiteX128" fmla="*/ 277 w 10000"/>
                <a:gd name="connsiteY128" fmla="*/ 5732 h 10000"/>
                <a:gd name="connsiteX129" fmla="*/ 400 w 10000"/>
                <a:gd name="connsiteY129" fmla="*/ 5841 h 10000"/>
                <a:gd name="connsiteX130" fmla="*/ 382 w 10000"/>
                <a:gd name="connsiteY130" fmla="*/ 5945 h 10000"/>
                <a:gd name="connsiteX131" fmla="*/ 202 w 10000"/>
                <a:gd name="connsiteY131" fmla="*/ 5852 h 10000"/>
                <a:gd name="connsiteX132" fmla="*/ 124 w 10000"/>
                <a:gd name="connsiteY132" fmla="*/ 6099 h 10000"/>
                <a:gd name="connsiteX133" fmla="*/ 105 w 10000"/>
                <a:gd name="connsiteY133" fmla="*/ 6346 h 10000"/>
                <a:gd name="connsiteX134" fmla="*/ 1 w 10000"/>
                <a:gd name="connsiteY134" fmla="*/ 6571 h 10000"/>
                <a:gd name="connsiteX135" fmla="*/ 19 w 10000"/>
                <a:gd name="connsiteY135" fmla="*/ 6779 h 10000"/>
                <a:gd name="connsiteX136" fmla="*/ 90 w 10000"/>
                <a:gd name="connsiteY136" fmla="*/ 6828 h 10000"/>
                <a:gd name="connsiteX137" fmla="*/ 154 w 10000"/>
                <a:gd name="connsiteY137" fmla="*/ 6960 h 10000"/>
                <a:gd name="connsiteX138" fmla="*/ 240 w 10000"/>
                <a:gd name="connsiteY138" fmla="*/ 6943 h 10000"/>
                <a:gd name="connsiteX139" fmla="*/ 292 w 10000"/>
                <a:gd name="connsiteY139" fmla="*/ 7076 h 10000"/>
                <a:gd name="connsiteX140" fmla="*/ 445 w 10000"/>
                <a:gd name="connsiteY140" fmla="*/ 7103 h 10000"/>
                <a:gd name="connsiteX141" fmla="*/ 453 w 10000"/>
                <a:gd name="connsiteY141" fmla="*/ 7251 h 10000"/>
                <a:gd name="connsiteX142" fmla="*/ 494 w 10000"/>
                <a:gd name="connsiteY142" fmla="*/ 7278 h 10000"/>
                <a:gd name="connsiteX143" fmla="*/ 525 w 10000"/>
                <a:gd name="connsiteY143" fmla="*/ 7174 h 10000"/>
                <a:gd name="connsiteX144" fmla="*/ 581 w 10000"/>
                <a:gd name="connsiteY144" fmla="*/ 7196 h 10000"/>
                <a:gd name="connsiteX145" fmla="*/ 644 w 10000"/>
                <a:gd name="connsiteY145" fmla="*/ 6992 h 10000"/>
                <a:gd name="connsiteX146" fmla="*/ 820 w 10000"/>
                <a:gd name="connsiteY146" fmla="*/ 7174 h 10000"/>
                <a:gd name="connsiteX147" fmla="*/ 1283 w 10000"/>
                <a:gd name="connsiteY147" fmla="*/ 7163 h 10000"/>
                <a:gd name="connsiteX148" fmla="*/ 1466 w 10000"/>
                <a:gd name="connsiteY148" fmla="*/ 7092 h 10000"/>
                <a:gd name="connsiteX149" fmla="*/ 1766 w 10000"/>
                <a:gd name="connsiteY149" fmla="*/ 7344 h 10000"/>
                <a:gd name="connsiteX150" fmla="*/ 1956 w 10000"/>
                <a:gd name="connsiteY150" fmla="*/ 7087 h 10000"/>
                <a:gd name="connsiteX151" fmla="*/ 2382 w 10000"/>
                <a:gd name="connsiteY151" fmla="*/ 6861 h 10000"/>
                <a:gd name="connsiteX152" fmla="*/ 2536 w 10000"/>
                <a:gd name="connsiteY152" fmla="*/ 6489 h 10000"/>
                <a:gd name="connsiteX153" fmla="*/ 2648 w 10000"/>
                <a:gd name="connsiteY153" fmla="*/ 6439 h 10000"/>
                <a:gd name="connsiteX154" fmla="*/ 2648 w 10000"/>
                <a:gd name="connsiteY154" fmla="*/ 6379 h 10000"/>
                <a:gd name="connsiteX155" fmla="*/ 2693 w 10000"/>
                <a:gd name="connsiteY155" fmla="*/ 6379 h 10000"/>
                <a:gd name="connsiteX156" fmla="*/ 2682 w 10000"/>
                <a:gd name="connsiteY156" fmla="*/ 6230 h 10000"/>
                <a:gd name="connsiteX157" fmla="*/ 2820 w 10000"/>
                <a:gd name="connsiteY157" fmla="*/ 6285 h 10000"/>
                <a:gd name="connsiteX158" fmla="*/ 2839 w 10000"/>
                <a:gd name="connsiteY158" fmla="*/ 6159 h 10000"/>
                <a:gd name="connsiteX159" fmla="*/ 2921 w 10000"/>
                <a:gd name="connsiteY159" fmla="*/ 6230 h 10000"/>
                <a:gd name="connsiteX160" fmla="*/ 2981 w 10000"/>
                <a:gd name="connsiteY160" fmla="*/ 6126 h 10000"/>
                <a:gd name="connsiteX161" fmla="*/ 3078 w 10000"/>
                <a:gd name="connsiteY161" fmla="*/ 6154 h 10000"/>
                <a:gd name="connsiteX162" fmla="*/ 3164 w 10000"/>
                <a:gd name="connsiteY162" fmla="*/ 6055 h 10000"/>
                <a:gd name="connsiteX163" fmla="*/ 3328 w 10000"/>
                <a:gd name="connsiteY163" fmla="*/ 6192 h 10000"/>
                <a:gd name="connsiteX164" fmla="*/ 3411 w 10000"/>
                <a:gd name="connsiteY164" fmla="*/ 6197 h 10000"/>
                <a:gd name="connsiteX165" fmla="*/ 3437 w 10000"/>
                <a:gd name="connsiteY165" fmla="*/ 6307 h 10000"/>
                <a:gd name="connsiteX166" fmla="*/ 3591 w 10000"/>
                <a:gd name="connsiteY166" fmla="*/ 6236 h 10000"/>
                <a:gd name="connsiteX167" fmla="*/ 3576 w 10000"/>
                <a:gd name="connsiteY167" fmla="*/ 6357 h 10000"/>
                <a:gd name="connsiteX168" fmla="*/ 3632 w 10000"/>
                <a:gd name="connsiteY168" fmla="*/ 6341 h 10000"/>
                <a:gd name="connsiteX169" fmla="*/ 3699 w 10000"/>
                <a:gd name="connsiteY169" fmla="*/ 6428 h 10000"/>
                <a:gd name="connsiteX170" fmla="*/ 3703 w 10000"/>
                <a:gd name="connsiteY170" fmla="*/ 6301 h 10000"/>
                <a:gd name="connsiteX171" fmla="*/ 3882 w 10000"/>
                <a:gd name="connsiteY171" fmla="*/ 6341 h 10000"/>
                <a:gd name="connsiteX172" fmla="*/ 3946 w 10000"/>
                <a:gd name="connsiteY172" fmla="*/ 6511 h 10000"/>
                <a:gd name="connsiteX173" fmla="*/ 4047 w 10000"/>
                <a:gd name="connsiteY173" fmla="*/ 6494 h 10000"/>
                <a:gd name="connsiteX174" fmla="*/ 4091 w 10000"/>
                <a:gd name="connsiteY174" fmla="*/ 6417 h 10000"/>
                <a:gd name="connsiteX175" fmla="*/ 4192 w 10000"/>
                <a:gd name="connsiteY175" fmla="*/ 6735 h 10000"/>
                <a:gd name="connsiteX176" fmla="*/ 4155 w 10000"/>
                <a:gd name="connsiteY176" fmla="*/ 6987 h 10000"/>
                <a:gd name="connsiteX177" fmla="*/ 4207 w 10000"/>
                <a:gd name="connsiteY177" fmla="*/ 7114 h 10000"/>
                <a:gd name="connsiteX178" fmla="*/ 4278 w 10000"/>
                <a:gd name="connsiteY178" fmla="*/ 7119 h 10000"/>
                <a:gd name="connsiteX179" fmla="*/ 4387 w 10000"/>
                <a:gd name="connsiteY179" fmla="*/ 7256 h 10000"/>
                <a:gd name="connsiteX180" fmla="*/ 4431 w 10000"/>
                <a:gd name="connsiteY180" fmla="*/ 7152 h 10000"/>
                <a:gd name="connsiteX181" fmla="*/ 4480 w 10000"/>
                <a:gd name="connsiteY181" fmla="*/ 7322 h 10000"/>
                <a:gd name="connsiteX182" fmla="*/ 4541 w 10000"/>
                <a:gd name="connsiteY182" fmla="*/ 7662 h 10000"/>
                <a:gd name="connsiteX183" fmla="*/ 4720 w 10000"/>
                <a:gd name="connsiteY183" fmla="*/ 7739 h 10000"/>
                <a:gd name="connsiteX184" fmla="*/ 4761 w 10000"/>
                <a:gd name="connsiteY184" fmla="*/ 8183 h 10000"/>
                <a:gd name="connsiteX185" fmla="*/ 4914 w 10000"/>
                <a:gd name="connsiteY185" fmla="*/ 8276 h 10000"/>
                <a:gd name="connsiteX186" fmla="*/ 4757 w 10000"/>
                <a:gd name="connsiteY186" fmla="*/ 8370 h 10000"/>
                <a:gd name="connsiteX187" fmla="*/ 4705 w 10000"/>
                <a:gd name="connsiteY187" fmla="*/ 8260 h 10000"/>
                <a:gd name="connsiteX188" fmla="*/ 4645 w 10000"/>
                <a:gd name="connsiteY188" fmla="*/ 8403 h 10000"/>
                <a:gd name="connsiteX189" fmla="*/ 4491 w 10000"/>
                <a:gd name="connsiteY189" fmla="*/ 8287 h 10000"/>
                <a:gd name="connsiteX190" fmla="*/ 4405 w 10000"/>
                <a:gd name="connsiteY190" fmla="*/ 8452 h 10000"/>
                <a:gd name="connsiteX191" fmla="*/ 4226 w 10000"/>
                <a:gd name="connsiteY191" fmla="*/ 8331 h 10000"/>
                <a:gd name="connsiteX192" fmla="*/ 4312 w 10000"/>
                <a:gd name="connsiteY192" fmla="*/ 8699 h 10000"/>
                <a:gd name="connsiteX193" fmla="*/ 4304 w 10000"/>
                <a:gd name="connsiteY193" fmla="*/ 8967 h 10000"/>
                <a:gd name="connsiteX194" fmla="*/ 4189 w 10000"/>
                <a:gd name="connsiteY194" fmla="*/ 9088 h 10000"/>
                <a:gd name="connsiteX195" fmla="*/ 4226 w 10000"/>
                <a:gd name="connsiteY195" fmla="*/ 9193 h 10000"/>
                <a:gd name="connsiteX196" fmla="*/ 4065 w 10000"/>
                <a:gd name="connsiteY196" fmla="*/ 9412 h 10000"/>
                <a:gd name="connsiteX197" fmla="*/ 4129 w 10000"/>
                <a:gd name="connsiteY197" fmla="*/ 9647 h 10000"/>
                <a:gd name="connsiteX198" fmla="*/ 3972 w 10000"/>
                <a:gd name="connsiteY198" fmla="*/ 9681 h 10000"/>
                <a:gd name="connsiteX199" fmla="*/ 3931 w 10000"/>
                <a:gd name="connsiteY199" fmla="*/ 9741 h 10000"/>
                <a:gd name="connsiteX200" fmla="*/ 3998 w 10000"/>
                <a:gd name="connsiteY200" fmla="*/ 9785 h 10000"/>
                <a:gd name="connsiteX201" fmla="*/ 4118 w 10000"/>
                <a:gd name="connsiteY201" fmla="*/ 9944 h 10000"/>
                <a:gd name="connsiteX202" fmla="*/ 4312 w 10000"/>
                <a:gd name="connsiteY202" fmla="*/ 9999 h 10000"/>
                <a:gd name="connsiteX203" fmla="*/ 4319 w 10000"/>
                <a:gd name="connsiteY203" fmla="*/ 9851 h 10000"/>
                <a:gd name="connsiteX204" fmla="*/ 4387 w 10000"/>
                <a:gd name="connsiteY204" fmla="*/ 9856 h 10000"/>
                <a:gd name="connsiteX205" fmla="*/ 4675 w 10000"/>
                <a:gd name="connsiteY205" fmla="*/ 9603 h 10000"/>
                <a:gd name="connsiteX206" fmla="*/ 4866 w 10000"/>
                <a:gd name="connsiteY206" fmla="*/ 9845 h 10000"/>
                <a:gd name="connsiteX207" fmla="*/ 4866 w 10000"/>
                <a:gd name="connsiteY207" fmla="*/ 9862 h 10000"/>
                <a:gd name="connsiteX208" fmla="*/ 4896 w 10000"/>
                <a:gd name="connsiteY208" fmla="*/ 9703 h 10000"/>
                <a:gd name="connsiteX209" fmla="*/ 4843 w 10000"/>
                <a:gd name="connsiteY209" fmla="*/ 9570 h 10000"/>
                <a:gd name="connsiteX210" fmla="*/ 4776 w 10000"/>
                <a:gd name="connsiteY210" fmla="*/ 9549 h 10000"/>
                <a:gd name="connsiteX211" fmla="*/ 4821 w 10000"/>
                <a:gd name="connsiteY211" fmla="*/ 9466 h 10000"/>
                <a:gd name="connsiteX212" fmla="*/ 4806 w 10000"/>
                <a:gd name="connsiteY212" fmla="*/ 9444 h 10000"/>
                <a:gd name="connsiteX213" fmla="*/ 4750 w 10000"/>
                <a:gd name="connsiteY213" fmla="*/ 9439 h 10000"/>
                <a:gd name="connsiteX214" fmla="*/ 4720 w 10000"/>
                <a:gd name="connsiteY214" fmla="*/ 9121 h 10000"/>
                <a:gd name="connsiteX215" fmla="*/ 4761 w 10000"/>
                <a:gd name="connsiteY215" fmla="*/ 9105 h 10000"/>
                <a:gd name="connsiteX216" fmla="*/ 4783 w 10000"/>
                <a:gd name="connsiteY216" fmla="*/ 9253 h 10000"/>
                <a:gd name="connsiteX217" fmla="*/ 4836 w 10000"/>
                <a:gd name="connsiteY217" fmla="*/ 9384 h 10000"/>
                <a:gd name="connsiteX218" fmla="*/ 4881 w 10000"/>
                <a:gd name="connsiteY218" fmla="*/ 9302 h 10000"/>
                <a:gd name="connsiteX219" fmla="*/ 4869 w 10000"/>
                <a:gd name="connsiteY219" fmla="*/ 9220 h 10000"/>
                <a:gd name="connsiteX220" fmla="*/ 4940 w 10000"/>
                <a:gd name="connsiteY220" fmla="*/ 9203 h 10000"/>
                <a:gd name="connsiteX221" fmla="*/ 4903 w 10000"/>
                <a:gd name="connsiteY221" fmla="*/ 9034 h 10000"/>
                <a:gd name="connsiteX222" fmla="*/ 5000 w 10000"/>
                <a:gd name="connsiteY222" fmla="*/ 9061 h 10000"/>
                <a:gd name="connsiteX223" fmla="*/ 5004 w 10000"/>
                <a:gd name="connsiteY223" fmla="*/ 8972 h 10000"/>
                <a:gd name="connsiteX224" fmla="*/ 5041 w 10000"/>
                <a:gd name="connsiteY224" fmla="*/ 9039 h 10000"/>
                <a:gd name="connsiteX225" fmla="*/ 5206 w 10000"/>
                <a:gd name="connsiteY225" fmla="*/ 8781 h 10000"/>
                <a:gd name="connsiteX226" fmla="*/ 5112 w 10000"/>
                <a:gd name="connsiteY226" fmla="*/ 8584 h 10000"/>
                <a:gd name="connsiteX227" fmla="*/ 4937 w 10000"/>
                <a:gd name="connsiteY227" fmla="*/ 8425 h 10000"/>
                <a:gd name="connsiteX228" fmla="*/ 5037 w 10000"/>
                <a:gd name="connsiteY228" fmla="*/ 8370 h 10000"/>
                <a:gd name="connsiteX229" fmla="*/ 5183 w 10000"/>
                <a:gd name="connsiteY229" fmla="*/ 8633 h 10000"/>
                <a:gd name="connsiteX230" fmla="*/ 5292 w 10000"/>
                <a:gd name="connsiteY230" fmla="*/ 8199 h 10000"/>
                <a:gd name="connsiteX231" fmla="*/ 5299 w 10000"/>
                <a:gd name="connsiteY231" fmla="*/ 8030 h 10000"/>
                <a:gd name="connsiteX232" fmla="*/ 5482 w 10000"/>
                <a:gd name="connsiteY232" fmla="*/ 7942 h 10000"/>
                <a:gd name="connsiteX233" fmla="*/ 5550 w 10000"/>
                <a:gd name="connsiteY233" fmla="*/ 7607 h 10000"/>
                <a:gd name="connsiteX234" fmla="*/ 5561 w 10000"/>
                <a:gd name="connsiteY234" fmla="*/ 7734 h 10000"/>
                <a:gd name="connsiteX235" fmla="*/ 5677 w 10000"/>
                <a:gd name="connsiteY235" fmla="*/ 7596 h 10000"/>
                <a:gd name="connsiteX236" fmla="*/ 5759 w 10000"/>
                <a:gd name="connsiteY236" fmla="*/ 7579 h 10000"/>
                <a:gd name="connsiteX237" fmla="*/ 5842 w 10000"/>
                <a:gd name="connsiteY237" fmla="*/ 7207 h 10000"/>
                <a:gd name="connsiteX238" fmla="*/ 5916 w 10000"/>
                <a:gd name="connsiteY238" fmla="*/ 7486 h 10000"/>
                <a:gd name="connsiteX239" fmla="*/ 6137 w 10000"/>
                <a:gd name="connsiteY239" fmla="*/ 7563 h 10000"/>
                <a:gd name="connsiteX240" fmla="*/ 5969 w 10000"/>
                <a:gd name="connsiteY240" fmla="*/ 7618 h 10000"/>
                <a:gd name="connsiteX241" fmla="*/ 5954 w 10000"/>
                <a:gd name="connsiteY241" fmla="*/ 7679 h 10000"/>
                <a:gd name="connsiteX242" fmla="*/ 5786 w 10000"/>
                <a:gd name="connsiteY242" fmla="*/ 7690 h 10000"/>
                <a:gd name="connsiteX243" fmla="*/ 5700 w 10000"/>
                <a:gd name="connsiteY243" fmla="*/ 7723 h 10000"/>
                <a:gd name="connsiteX244" fmla="*/ 5767 w 10000"/>
                <a:gd name="connsiteY244" fmla="*/ 7772 h 10000"/>
                <a:gd name="connsiteX245" fmla="*/ 5827 w 10000"/>
                <a:gd name="connsiteY245" fmla="*/ 7756 h 10000"/>
                <a:gd name="connsiteX246" fmla="*/ 5991 w 10000"/>
                <a:gd name="connsiteY246" fmla="*/ 7789 h 10000"/>
                <a:gd name="connsiteX247" fmla="*/ 5804 w 10000"/>
                <a:gd name="connsiteY247" fmla="*/ 7964 h 10000"/>
                <a:gd name="connsiteX248" fmla="*/ 5872 w 10000"/>
                <a:gd name="connsiteY248" fmla="*/ 8008 h 10000"/>
                <a:gd name="connsiteX249" fmla="*/ 6043 w 10000"/>
                <a:gd name="connsiteY249" fmla="*/ 7958 h 10000"/>
                <a:gd name="connsiteX250" fmla="*/ 6275 w 10000"/>
                <a:gd name="connsiteY250" fmla="*/ 8101 h 10000"/>
                <a:gd name="connsiteX251" fmla="*/ 6575 w 10000"/>
                <a:gd name="connsiteY251" fmla="*/ 7909 h 10000"/>
                <a:gd name="connsiteX252" fmla="*/ 6870 w 10000"/>
                <a:gd name="connsiteY252" fmla="*/ 7887 h 10000"/>
                <a:gd name="connsiteX253" fmla="*/ 6915 w 10000"/>
                <a:gd name="connsiteY253" fmla="*/ 7745 h 10000"/>
                <a:gd name="connsiteX254" fmla="*/ 6993 w 10000"/>
                <a:gd name="connsiteY254" fmla="*/ 7958 h 10000"/>
                <a:gd name="connsiteX255" fmla="*/ 7075 w 10000"/>
                <a:gd name="connsiteY255" fmla="*/ 7986 h 10000"/>
                <a:gd name="connsiteX256" fmla="*/ 7045 w 10000"/>
                <a:gd name="connsiteY256" fmla="*/ 8134 h 10000"/>
                <a:gd name="connsiteX257" fmla="*/ 6788 w 10000"/>
                <a:gd name="connsiteY257" fmla="*/ 8281 h 10000"/>
                <a:gd name="connsiteX258" fmla="*/ 6769 w 10000"/>
                <a:gd name="connsiteY258" fmla="*/ 8386 h 10000"/>
                <a:gd name="connsiteX259" fmla="*/ 6627 w 10000"/>
                <a:gd name="connsiteY259" fmla="*/ 8523 h 10000"/>
                <a:gd name="connsiteX260" fmla="*/ 6623 w 10000"/>
                <a:gd name="connsiteY260" fmla="*/ 8649 h 10000"/>
                <a:gd name="connsiteX261" fmla="*/ 6537 w 10000"/>
                <a:gd name="connsiteY261" fmla="*/ 8704 h 10000"/>
                <a:gd name="connsiteX262" fmla="*/ 6428 w 10000"/>
                <a:gd name="connsiteY262" fmla="*/ 8989 h 10000"/>
                <a:gd name="connsiteX263" fmla="*/ 6582 w 10000"/>
                <a:gd name="connsiteY263" fmla="*/ 9001 h 10000"/>
                <a:gd name="connsiteX264" fmla="*/ 6672 w 10000"/>
                <a:gd name="connsiteY264" fmla="*/ 8879 h 10000"/>
                <a:gd name="connsiteX265" fmla="*/ 6769 w 10000"/>
                <a:gd name="connsiteY265" fmla="*/ 8912 h 10000"/>
                <a:gd name="connsiteX266" fmla="*/ 6814 w 10000"/>
                <a:gd name="connsiteY266" fmla="*/ 8786 h 10000"/>
                <a:gd name="connsiteX267" fmla="*/ 6877 w 10000"/>
                <a:gd name="connsiteY267" fmla="*/ 9001 h 10000"/>
                <a:gd name="connsiteX268" fmla="*/ 7060 w 10000"/>
                <a:gd name="connsiteY268" fmla="*/ 8994 h 10000"/>
                <a:gd name="connsiteX269" fmla="*/ 7217 w 10000"/>
                <a:gd name="connsiteY269" fmla="*/ 9362 h 10000"/>
                <a:gd name="connsiteX270" fmla="*/ 7232 w 10000"/>
                <a:gd name="connsiteY270" fmla="*/ 9675 h 10000"/>
                <a:gd name="connsiteX271" fmla="*/ 7176 w 10000"/>
                <a:gd name="connsiteY271" fmla="*/ 9692 h 10000"/>
                <a:gd name="connsiteX272" fmla="*/ 7187 w 10000"/>
                <a:gd name="connsiteY272" fmla="*/ 9780 h 10000"/>
                <a:gd name="connsiteX273" fmla="*/ 7423 w 10000"/>
                <a:gd name="connsiteY273" fmla="*/ 9900 h 10000"/>
                <a:gd name="connsiteX274" fmla="*/ 7741 w 10000"/>
                <a:gd name="connsiteY274" fmla="*/ 9565 h 10000"/>
                <a:gd name="connsiteX275" fmla="*/ 7879 w 10000"/>
                <a:gd name="connsiteY275" fmla="*/ 9176 h 10000"/>
                <a:gd name="connsiteX276" fmla="*/ 8107 w 10000"/>
                <a:gd name="connsiteY276" fmla="*/ 9023 h 10000"/>
                <a:gd name="connsiteX277" fmla="*/ 8182 w 10000"/>
                <a:gd name="connsiteY277" fmla="*/ 8841 h 10000"/>
                <a:gd name="connsiteX278" fmla="*/ 8268 w 10000"/>
                <a:gd name="connsiteY278" fmla="*/ 8786 h 10000"/>
                <a:gd name="connsiteX279" fmla="*/ 8320 w 10000"/>
                <a:gd name="connsiteY279" fmla="*/ 8512 h 10000"/>
                <a:gd name="connsiteX280" fmla="*/ 8542 w 10000"/>
                <a:gd name="connsiteY280" fmla="*/ 8617 h 10000"/>
                <a:gd name="connsiteX281" fmla="*/ 8672 w 10000"/>
                <a:gd name="connsiteY281" fmla="*/ 8474 h 10000"/>
                <a:gd name="connsiteX282" fmla="*/ 8855 w 10000"/>
                <a:gd name="connsiteY282" fmla="*/ 8343 h 10000"/>
                <a:gd name="connsiteX283" fmla="*/ 8781 w 10000"/>
                <a:gd name="connsiteY283" fmla="*/ 8128 h 10000"/>
                <a:gd name="connsiteX284" fmla="*/ 7708 w 10000"/>
                <a:gd name="connsiteY284" fmla="*/ 7991 h 10000"/>
                <a:gd name="connsiteX285" fmla="*/ 7682 w 10000"/>
                <a:gd name="connsiteY285" fmla="*/ 7904 h 10000"/>
                <a:gd name="connsiteX286" fmla="*/ 7607 w 10000"/>
                <a:gd name="connsiteY286" fmla="*/ 8002 h 10000"/>
                <a:gd name="connsiteX287" fmla="*/ 7715 w 10000"/>
                <a:gd name="connsiteY287" fmla="*/ 7761 h 10000"/>
                <a:gd name="connsiteX288" fmla="*/ 7674 w 10000"/>
                <a:gd name="connsiteY288" fmla="*/ 7717 h 10000"/>
                <a:gd name="connsiteX289" fmla="*/ 7554 w 10000"/>
                <a:gd name="connsiteY289" fmla="*/ 7915 h 10000"/>
                <a:gd name="connsiteX290" fmla="*/ 7618 w 10000"/>
                <a:gd name="connsiteY290" fmla="*/ 7712 h 10000"/>
                <a:gd name="connsiteX291" fmla="*/ 7532 w 10000"/>
                <a:gd name="connsiteY291" fmla="*/ 7767 h 10000"/>
                <a:gd name="connsiteX292" fmla="*/ 7419 w 10000"/>
                <a:gd name="connsiteY292" fmla="*/ 7717 h 10000"/>
                <a:gd name="connsiteX293" fmla="*/ 7333 w 10000"/>
                <a:gd name="connsiteY293" fmla="*/ 7794 h 10000"/>
                <a:gd name="connsiteX294" fmla="*/ 7240 w 10000"/>
                <a:gd name="connsiteY294" fmla="*/ 7728 h 10000"/>
                <a:gd name="connsiteX295" fmla="*/ 7087 w 10000"/>
                <a:gd name="connsiteY295" fmla="*/ 7717 h 10000"/>
                <a:gd name="connsiteX296" fmla="*/ 7090 w 10000"/>
                <a:gd name="connsiteY296" fmla="*/ 7547 h 10000"/>
                <a:gd name="connsiteX297" fmla="*/ 7229 w 10000"/>
                <a:gd name="connsiteY297" fmla="*/ 7662 h 10000"/>
                <a:gd name="connsiteX298" fmla="*/ 7273 w 10000"/>
                <a:gd name="connsiteY298" fmla="*/ 7541 h 10000"/>
                <a:gd name="connsiteX299" fmla="*/ 7236 w 10000"/>
                <a:gd name="connsiteY299" fmla="*/ 7410 h 10000"/>
                <a:gd name="connsiteX300" fmla="*/ 7341 w 10000"/>
                <a:gd name="connsiteY300" fmla="*/ 7547 h 10000"/>
                <a:gd name="connsiteX301" fmla="*/ 7483 w 10000"/>
                <a:gd name="connsiteY301" fmla="*/ 7536 h 10000"/>
                <a:gd name="connsiteX302" fmla="*/ 7506 w 10000"/>
                <a:gd name="connsiteY302" fmla="*/ 7685 h 10000"/>
                <a:gd name="connsiteX303" fmla="*/ 7547 w 10000"/>
                <a:gd name="connsiteY303" fmla="*/ 7685 h 10000"/>
                <a:gd name="connsiteX304" fmla="*/ 7558 w 10000"/>
                <a:gd name="connsiteY304" fmla="*/ 7415 h 10000"/>
                <a:gd name="connsiteX305" fmla="*/ 7607 w 10000"/>
                <a:gd name="connsiteY305" fmla="*/ 7585 h 10000"/>
                <a:gd name="connsiteX306" fmla="*/ 7693 w 10000"/>
                <a:gd name="connsiteY306" fmla="*/ 7590 h 10000"/>
                <a:gd name="connsiteX307" fmla="*/ 7629 w 10000"/>
                <a:gd name="connsiteY307" fmla="*/ 7333 h 10000"/>
                <a:gd name="connsiteX308" fmla="*/ 7786 w 10000"/>
                <a:gd name="connsiteY308" fmla="*/ 7240 h 10000"/>
                <a:gd name="connsiteX309" fmla="*/ 7779 w 10000"/>
                <a:gd name="connsiteY309" fmla="*/ 6987 h 10000"/>
                <a:gd name="connsiteX310" fmla="*/ 7887 w 10000"/>
                <a:gd name="connsiteY310" fmla="*/ 7081 h 10000"/>
                <a:gd name="connsiteX311" fmla="*/ 7906 w 10000"/>
                <a:gd name="connsiteY311" fmla="*/ 7015 h 10000"/>
                <a:gd name="connsiteX312" fmla="*/ 7775 w 10000"/>
                <a:gd name="connsiteY312" fmla="*/ 6735 h 10000"/>
                <a:gd name="connsiteX313" fmla="*/ 7950 w 10000"/>
                <a:gd name="connsiteY313" fmla="*/ 6894 h 10000"/>
                <a:gd name="connsiteX314" fmla="*/ 8171 w 10000"/>
                <a:gd name="connsiteY314" fmla="*/ 6511 h 10000"/>
                <a:gd name="connsiteX315" fmla="*/ 8384 w 10000"/>
                <a:gd name="connsiteY315" fmla="*/ 6483 h 10000"/>
                <a:gd name="connsiteX316" fmla="*/ 8429 w 10000"/>
                <a:gd name="connsiteY31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165 w 10000"/>
                <a:gd name="connsiteY47" fmla="*/ 1996 h 10000"/>
                <a:gd name="connsiteX48" fmla="*/ 6892 w 10000"/>
                <a:gd name="connsiteY48" fmla="*/ 1827 h 10000"/>
                <a:gd name="connsiteX49" fmla="*/ 6922 w 10000"/>
                <a:gd name="connsiteY49" fmla="*/ 1728 h 10000"/>
                <a:gd name="connsiteX50" fmla="*/ 6765 w 10000"/>
                <a:gd name="connsiteY50" fmla="*/ 1398 h 10000"/>
                <a:gd name="connsiteX51" fmla="*/ 6799 w 10000"/>
                <a:gd name="connsiteY51" fmla="*/ 1256 h 10000"/>
                <a:gd name="connsiteX52" fmla="*/ 6728 w 10000"/>
                <a:gd name="connsiteY52" fmla="*/ 1229 h 10000"/>
                <a:gd name="connsiteX53" fmla="*/ 6657 w 10000"/>
                <a:gd name="connsiteY53" fmla="*/ 1311 h 10000"/>
                <a:gd name="connsiteX54" fmla="*/ 6593 w 10000"/>
                <a:gd name="connsiteY54" fmla="*/ 1114 h 10000"/>
                <a:gd name="connsiteX55" fmla="*/ 6391 w 10000"/>
                <a:gd name="connsiteY55" fmla="*/ 1311 h 10000"/>
                <a:gd name="connsiteX56" fmla="*/ 6309 w 10000"/>
                <a:gd name="connsiteY56" fmla="*/ 1223 h 10000"/>
                <a:gd name="connsiteX57" fmla="*/ 6126 w 10000"/>
                <a:gd name="connsiteY57" fmla="*/ 1273 h 10000"/>
                <a:gd name="connsiteX58" fmla="*/ 6144 w 10000"/>
                <a:gd name="connsiteY58" fmla="*/ 1125 h 10000"/>
                <a:gd name="connsiteX59" fmla="*/ 6073 w 10000"/>
                <a:gd name="connsiteY59" fmla="*/ 1119 h 10000"/>
                <a:gd name="connsiteX60" fmla="*/ 6040 w 10000"/>
                <a:gd name="connsiteY60" fmla="*/ 910 h 10000"/>
                <a:gd name="connsiteX61" fmla="*/ 5942 w 10000"/>
                <a:gd name="connsiteY61" fmla="*/ 795 h 10000"/>
                <a:gd name="connsiteX62" fmla="*/ 6144 w 10000"/>
                <a:gd name="connsiteY62" fmla="*/ 620 h 10000"/>
                <a:gd name="connsiteX63" fmla="*/ 5901 w 10000"/>
                <a:gd name="connsiteY63" fmla="*/ 395 h 10000"/>
                <a:gd name="connsiteX64" fmla="*/ 5853 w 10000"/>
                <a:gd name="connsiteY64" fmla="*/ 142 h 10000"/>
                <a:gd name="connsiteX65" fmla="*/ 5741 w 10000"/>
                <a:gd name="connsiteY65" fmla="*/ 110 h 10000"/>
                <a:gd name="connsiteX66" fmla="*/ 5647 w 10000"/>
                <a:gd name="connsiteY66" fmla="*/ 0 h 10000"/>
                <a:gd name="connsiteX67" fmla="*/ 5547 w 10000"/>
                <a:gd name="connsiteY67" fmla="*/ 120 h 10000"/>
                <a:gd name="connsiteX68" fmla="*/ 5377 w 10000"/>
                <a:gd name="connsiteY68" fmla="*/ 110 h 10000"/>
                <a:gd name="connsiteX69" fmla="*/ 5232 w 10000"/>
                <a:gd name="connsiteY69" fmla="*/ 351 h 10000"/>
                <a:gd name="connsiteX70" fmla="*/ 4952 w 10000"/>
                <a:gd name="connsiteY70" fmla="*/ 329 h 10000"/>
                <a:gd name="connsiteX71" fmla="*/ 4884 w 10000"/>
                <a:gd name="connsiteY71" fmla="*/ 680 h 10000"/>
                <a:gd name="connsiteX72" fmla="*/ 4701 w 10000"/>
                <a:gd name="connsiteY72" fmla="*/ 707 h 10000"/>
                <a:gd name="connsiteX73" fmla="*/ 4795 w 10000"/>
                <a:gd name="connsiteY73" fmla="*/ 844 h 10000"/>
                <a:gd name="connsiteX74" fmla="*/ 4739 w 10000"/>
                <a:gd name="connsiteY74" fmla="*/ 899 h 10000"/>
                <a:gd name="connsiteX75" fmla="*/ 4612 w 10000"/>
                <a:gd name="connsiteY75" fmla="*/ 894 h 10000"/>
                <a:gd name="connsiteX76" fmla="*/ 4439 w 10000"/>
                <a:gd name="connsiteY76" fmla="*/ 1026 h 10000"/>
                <a:gd name="connsiteX77" fmla="*/ 4252 w 10000"/>
                <a:gd name="connsiteY77" fmla="*/ 1668 h 10000"/>
                <a:gd name="connsiteX78" fmla="*/ 4308 w 10000"/>
                <a:gd name="connsiteY78" fmla="*/ 2090 h 10000"/>
                <a:gd name="connsiteX79" fmla="*/ 4121 w 10000"/>
                <a:gd name="connsiteY79" fmla="*/ 1865 h 10000"/>
                <a:gd name="connsiteX80" fmla="*/ 3849 w 10000"/>
                <a:gd name="connsiteY80" fmla="*/ 1991 h 10000"/>
                <a:gd name="connsiteX81" fmla="*/ 3822 w 10000"/>
                <a:gd name="connsiteY81" fmla="*/ 1931 h 10000"/>
                <a:gd name="connsiteX82" fmla="*/ 3695 w 10000"/>
                <a:gd name="connsiteY82" fmla="*/ 2002 h 10000"/>
                <a:gd name="connsiteX83" fmla="*/ 3621 w 10000"/>
                <a:gd name="connsiteY83" fmla="*/ 2144 h 10000"/>
                <a:gd name="connsiteX84" fmla="*/ 3561 w 10000"/>
                <a:gd name="connsiteY84" fmla="*/ 1909 h 10000"/>
                <a:gd name="connsiteX85" fmla="*/ 3478 w 10000"/>
                <a:gd name="connsiteY85" fmla="*/ 1843 h 10000"/>
                <a:gd name="connsiteX86" fmla="*/ 3444 w 10000"/>
                <a:gd name="connsiteY86" fmla="*/ 1964 h 10000"/>
                <a:gd name="connsiteX87" fmla="*/ 3332 w 10000"/>
                <a:gd name="connsiteY87" fmla="*/ 1996 h 10000"/>
                <a:gd name="connsiteX88" fmla="*/ 3272 w 10000"/>
                <a:gd name="connsiteY88" fmla="*/ 2161 h 10000"/>
                <a:gd name="connsiteX89" fmla="*/ 3235 w 10000"/>
                <a:gd name="connsiteY89" fmla="*/ 2013 h 10000"/>
                <a:gd name="connsiteX90" fmla="*/ 3123 w 10000"/>
                <a:gd name="connsiteY90" fmla="*/ 2024 h 10000"/>
                <a:gd name="connsiteX91" fmla="*/ 3078 w 10000"/>
                <a:gd name="connsiteY91" fmla="*/ 2128 h 10000"/>
                <a:gd name="connsiteX92" fmla="*/ 3011 w 10000"/>
                <a:gd name="connsiteY92" fmla="*/ 1975 h 10000"/>
                <a:gd name="connsiteX93" fmla="*/ 2895 w 10000"/>
                <a:gd name="connsiteY93" fmla="*/ 2117 h 10000"/>
                <a:gd name="connsiteX94" fmla="*/ 2783 w 10000"/>
                <a:gd name="connsiteY94" fmla="*/ 2106 h 10000"/>
                <a:gd name="connsiteX95" fmla="*/ 2779 w 10000"/>
                <a:gd name="connsiteY95" fmla="*/ 2276 h 10000"/>
                <a:gd name="connsiteX96" fmla="*/ 2727 w 10000"/>
                <a:gd name="connsiteY96" fmla="*/ 2144 h 10000"/>
                <a:gd name="connsiteX97" fmla="*/ 2559 w 10000"/>
                <a:gd name="connsiteY97" fmla="*/ 2155 h 10000"/>
                <a:gd name="connsiteX98" fmla="*/ 2438 w 10000"/>
                <a:gd name="connsiteY98" fmla="*/ 1980 h 10000"/>
                <a:gd name="connsiteX99" fmla="*/ 2293 w 10000"/>
                <a:gd name="connsiteY99" fmla="*/ 2073 h 10000"/>
                <a:gd name="connsiteX100" fmla="*/ 2143 w 10000"/>
                <a:gd name="connsiteY100" fmla="*/ 1958 h 10000"/>
                <a:gd name="connsiteX101" fmla="*/ 2057 w 10000"/>
                <a:gd name="connsiteY101" fmla="*/ 2035 h 10000"/>
                <a:gd name="connsiteX102" fmla="*/ 1975 w 10000"/>
                <a:gd name="connsiteY102" fmla="*/ 1947 h 10000"/>
                <a:gd name="connsiteX103" fmla="*/ 1852 w 10000"/>
                <a:gd name="connsiteY103" fmla="*/ 1936 h 10000"/>
                <a:gd name="connsiteX104" fmla="*/ 1669 w 10000"/>
                <a:gd name="connsiteY104" fmla="*/ 1925 h 10000"/>
                <a:gd name="connsiteX105" fmla="*/ 1444 w 10000"/>
                <a:gd name="connsiteY105" fmla="*/ 1991 h 10000"/>
                <a:gd name="connsiteX106" fmla="*/ 1205 w 10000"/>
                <a:gd name="connsiteY106" fmla="*/ 2062 h 10000"/>
                <a:gd name="connsiteX107" fmla="*/ 921 w 10000"/>
                <a:gd name="connsiteY107" fmla="*/ 2166 h 10000"/>
                <a:gd name="connsiteX108" fmla="*/ 797 w 10000"/>
                <a:gd name="connsiteY108" fmla="*/ 2496 h 10000"/>
                <a:gd name="connsiteX109" fmla="*/ 603 w 10000"/>
                <a:gd name="connsiteY109" fmla="*/ 2501 h 10000"/>
                <a:gd name="connsiteX110" fmla="*/ 540 w 10000"/>
                <a:gd name="connsiteY110" fmla="*/ 2687 h 10000"/>
                <a:gd name="connsiteX111" fmla="*/ 558 w 10000"/>
                <a:gd name="connsiteY111" fmla="*/ 2764 h 10000"/>
                <a:gd name="connsiteX112" fmla="*/ 577 w 10000"/>
                <a:gd name="connsiteY112" fmla="*/ 2868 h 10000"/>
                <a:gd name="connsiteX113" fmla="*/ 577 w 10000"/>
                <a:gd name="connsiteY113" fmla="*/ 2868 h 10000"/>
                <a:gd name="connsiteX114" fmla="*/ 577 w 10000"/>
                <a:gd name="connsiteY114" fmla="*/ 2896 h 10000"/>
                <a:gd name="connsiteX115" fmla="*/ 682 w 10000"/>
                <a:gd name="connsiteY115" fmla="*/ 3116 h 10000"/>
                <a:gd name="connsiteX116" fmla="*/ 786 w 10000"/>
                <a:gd name="connsiteY116" fmla="*/ 3351 h 10000"/>
                <a:gd name="connsiteX117" fmla="*/ 921 w 10000"/>
                <a:gd name="connsiteY117" fmla="*/ 3488 h 10000"/>
                <a:gd name="connsiteX118" fmla="*/ 876 w 10000"/>
                <a:gd name="connsiteY118" fmla="*/ 3548 h 10000"/>
                <a:gd name="connsiteX119" fmla="*/ 805 w 10000"/>
                <a:gd name="connsiteY119" fmla="*/ 3603 h 10000"/>
                <a:gd name="connsiteX120" fmla="*/ 887 w 10000"/>
                <a:gd name="connsiteY120" fmla="*/ 3697 h 10000"/>
                <a:gd name="connsiteX121" fmla="*/ 876 w 10000"/>
                <a:gd name="connsiteY121" fmla="*/ 4053 h 10000"/>
                <a:gd name="connsiteX122" fmla="*/ 693 w 10000"/>
                <a:gd name="connsiteY122" fmla="*/ 4124 h 10000"/>
                <a:gd name="connsiteX123" fmla="*/ 498 w 10000"/>
                <a:gd name="connsiteY123" fmla="*/ 4531 h 10000"/>
                <a:gd name="connsiteX124" fmla="*/ 371 w 10000"/>
                <a:gd name="connsiteY124" fmla="*/ 4936 h 10000"/>
                <a:gd name="connsiteX125" fmla="*/ 195 w 10000"/>
                <a:gd name="connsiteY125" fmla="*/ 5260 h 10000"/>
                <a:gd name="connsiteX126" fmla="*/ 270 w 10000"/>
                <a:gd name="connsiteY126" fmla="*/ 5517 h 10000"/>
                <a:gd name="connsiteX127" fmla="*/ 277 w 10000"/>
                <a:gd name="connsiteY127" fmla="*/ 5732 h 10000"/>
                <a:gd name="connsiteX128" fmla="*/ 400 w 10000"/>
                <a:gd name="connsiteY128" fmla="*/ 5841 h 10000"/>
                <a:gd name="connsiteX129" fmla="*/ 382 w 10000"/>
                <a:gd name="connsiteY129" fmla="*/ 5945 h 10000"/>
                <a:gd name="connsiteX130" fmla="*/ 202 w 10000"/>
                <a:gd name="connsiteY130" fmla="*/ 5852 h 10000"/>
                <a:gd name="connsiteX131" fmla="*/ 124 w 10000"/>
                <a:gd name="connsiteY131" fmla="*/ 6099 h 10000"/>
                <a:gd name="connsiteX132" fmla="*/ 105 w 10000"/>
                <a:gd name="connsiteY132" fmla="*/ 6346 h 10000"/>
                <a:gd name="connsiteX133" fmla="*/ 1 w 10000"/>
                <a:gd name="connsiteY133" fmla="*/ 6571 h 10000"/>
                <a:gd name="connsiteX134" fmla="*/ 19 w 10000"/>
                <a:gd name="connsiteY134" fmla="*/ 6779 h 10000"/>
                <a:gd name="connsiteX135" fmla="*/ 90 w 10000"/>
                <a:gd name="connsiteY135" fmla="*/ 6828 h 10000"/>
                <a:gd name="connsiteX136" fmla="*/ 154 w 10000"/>
                <a:gd name="connsiteY136" fmla="*/ 6960 h 10000"/>
                <a:gd name="connsiteX137" fmla="*/ 240 w 10000"/>
                <a:gd name="connsiteY137" fmla="*/ 6943 h 10000"/>
                <a:gd name="connsiteX138" fmla="*/ 292 w 10000"/>
                <a:gd name="connsiteY138" fmla="*/ 7076 h 10000"/>
                <a:gd name="connsiteX139" fmla="*/ 445 w 10000"/>
                <a:gd name="connsiteY139" fmla="*/ 7103 h 10000"/>
                <a:gd name="connsiteX140" fmla="*/ 453 w 10000"/>
                <a:gd name="connsiteY140" fmla="*/ 7251 h 10000"/>
                <a:gd name="connsiteX141" fmla="*/ 494 w 10000"/>
                <a:gd name="connsiteY141" fmla="*/ 7278 h 10000"/>
                <a:gd name="connsiteX142" fmla="*/ 525 w 10000"/>
                <a:gd name="connsiteY142" fmla="*/ 7174 h 10000"/>
                <a:gd name="connsiteX143" fmla="*/ 581 w 10000"/>
                <a:gd name="connsiteY143" fmla="*/ 7196 h 10000"/>
                <a:gd name="connsiteX144" fmla="*/ 644 w 10000"/>
                <a:gd name="connsiteY144" fmla="*/ 6992 h 10000"/>
                <a:gd name="connsiteX145" fmla="*/ 820 w 10000"/>
                <a:gd name="connsiteY145" fmla="*/ 7174 h 10000"/>
                <a:gd name="connsiteX146" fmla="*/ 1283 w 10000"/>
                <a:gd name="connsiteY146" fmla="*/ 7163 h 10000"/>
                <a:gd name="connsiteX147" fmla="*/ 1466 w 10000"/>
                <a:gd name="connsiteY147" fmla="*/ 7092 h 10000"/>
                <a:gd name="connsiteX148" fmla="*/ 1766 w 10000"/>
                <a:gd name="connsiteY148" fmla="*/ 7344 h 10000"/>
                <a:gd name="connsiteX149" fmla="*/ 1956 w 10000"/>
                <a:gd name="connsiteY149" fmla="*/ 7087 h 10000"/>
                <a:gd name="connsiteX150" fmla="*/ 2382 w 10000"/>
                <a:gd name="connsiteY150" fmla="*/ 6861 h 10000"/>
                <a:gd name="connsiteX151" fmla="*/ 2536 w 10000"/>
                <a:gd name="connsiteY151" fmla="*/ 6489 h 10000"/>
                <a:gd name="connsiteX152" fmla="*/ 2648 w 10000"/>
                <a:gd name="connsiteY152" fmla="*/ 6439 h 10000"/>
                <a:gd name="connsiteX153" fmla="*/ 2648 w 10000"/>
                <a:gd name="connsiteY153" fmla="*/ 6379 h 10000"/>
                <a:gd name="connsiteX154" fmla="*/ 2693 w 10000"/>
                <a:gd name="connsiteY154" fmla="*/ 6379 h 10000"/>
                <a:gd name="connsiteX155" fmla="*/ 2682 w 10000"/>
                <a:gd name="connsiteY155" fmla="*/ 6230 h 10000"/>
                <a:gd name="connsiteX156" fmla="*/ 2820 w 10000"/>
                <a:gd name="connsiteY156" fmla="*/ 6285 h 10000"/>
                <a:gd name="connsiteX157" fmla="*/ 2839 w 10000"/>
                <a:gd name="connsiteY157" fmla="*/ 6159 h 10000"/>
                <a:gd name="connsiteX158" fmla="*/ 2921 w 10000"/>
                <a:gd name="connsiteY158" fmla="*/ 6230 h 10000"/>
                <a:gd name="connsiteX159" fmla="*/ 2981 w 10000"/>
                <a:gd name="connsiteY159" fmla="*/ 6126 h 10000"/>
                <a:gd name="connsiteX160" fmla="*/ 3078 w 10000"/>
                <a:gd name="connsiteY160" fmla="*/ 6154 h 10000"/>
                <a:gd name="connsiteX161" fmla="*/ 3164 w 10000"/>
                <a:gd name="connsiteY161" fmla="*/ 6055 h 10000"/>
                <a:gd name="connsiteX162" fmla="*/ 3328 w 10000"/>
                <a:gd name="connsiteY162" fmla="*/ 6192 h 10000"/>
                <a:gd name="connsiteX163" fmla="*/ 3411 w 10000"/>
                <a:gd name="connsiteY163" fmla="*/ 6197 h 10000"/>
                <a:gd name="connsiteX164" fmla="*/ 3437 w 10000"/>
                <a:gd name="connsiteY164" fmla="*/ 6307 h 10000"/>
                <a:gd name="connsiteX165" fmla="*/ 3591 w 10000"/>
                <a:gd name="connsiteY165" fmla="*/ 6236 h 10000"/>
                <a:gd name="connsiteX166" fmla="*/ 3576 w 10000"/>
                <a:gd name="connsiteY166" fmla="*/ 6357 h 10000"/>
                <a:gd name="connsiteX167" fmla="*/ 3632 w 10000"/>
                <a:gd name="connsiteY167" fmla="*/ 6341 h 10000"/>
                <a:gd name="connsiteX168" fmla="*/ 3699 w 10000"/>
                <a:gd name="connsiteY168" fmla="*/ 6428 h 10000"/>
                <a:gd name="connsiteX169" fmla="*/ 3703 w 10000"/>
                <a:gd name="connsiteY169" fmla="*/ 6301 h 10000"/>
                <a:gd name="connsiteX170" fmla="*/ 3882 w 10000"/>
                <a:gd name="connsiteY170" fmla="*/ 6341 h 10000"/>
                <a:gd name="connsiteX171" fmla="*/ 3946 w 10000"/>
                <a:gd name="connsiteY171" fmla="*/ 6511 h 10000"/>
                <a:gd name="connsiteX172" fmla="*/ 4047 w 10000"/>
                <a:gd name="connsiteY172" fmla="*/ 6494 h 10000"/>
                <a:gd name="connsiteX173" fmla="*/ 4091 w 10000"/>
                <a:gd name="connsiteY173" fmla="*/ 6417 h 10000"/>
                <a:gd name="connsiteX174" fmla="*/ 4192 w 10000"/>
                <a:gd name="connsiteY174" fmla="*/ 6735 h 10000"/>
                <a:gd name="connsiteX175" fmla="*/ 4155 w 10000"/>
                <a:gd name="connsiteY175" fmla="*/ 6987 h 10000"/>
                <a:gd name="connsiteX176" fmla="*/ 4207 w 10000"/>
                <a:gd name="connsiteY176" fmla="*/ 7114 h 10000"/>
                <a:gd name="connsiteX177" fmla="*/ 4278 w 10000"/>
                <a:gd name="connsiteY177" fmla="*/ 7119 h 10000"/>
                <a:gd name="connsiteX178" fmla="*/ 4387 w 10000"/>
                <a:gd name="connsiteY178" fmla="*/ 7256 h 10000"/>
                <a:gd name="connsiteX179" fmla="*/ 4431 w 10000"/>
                <a:gd name="connsiteY179" fmla="*/ 7152 h 10000"/>
                <a:gd name="connsiteX180" fmla="*/ 4480 w 10000"/>
                <a:gd name="connsiteY180" fmla="*/ 7322 h 10000"/>
                <a:gd name="connsiteX181" fmla="*/ 4541 w 10000"/>
                <a:gd name="connsiteY181" fmla="*/ 7662 h 10000"/>
                <a:gd name="connsiteX182" fmla="*/ 4720 w 10000"/>
                <a:gd name="connsiteY182" fmla="*/ 7739 h 10000"/>
                <a:gd name="connsiteX183" fmla="*/ 4761 w 10000"/>
                <a:gd name="connsiteY183" fmla="*/ 8183 h 10000"/>
                <a:gd name="connsiteX184" fmla="*/ 4914 w 10000"/>
                <a:gd name="connsiteY184" fmla="*/ 8276 h 10000"/>
                <a:gd name="connsiteX185" fmla="*/ 4757 w 10000"/>
                <a:gd name="connsiteY185" fmla="*/ 8370 h 10000"/>
                <a:gd name="connsiteX186" fmla="*/ 4705 w 10000"/>
                <a:gd name="connsiteY186" fmla="*/ 8260 h 10000"/>
                <a:gd name="connsiteX187" fmla="*/ 4645 w 10000"/>
                <a:gd name="connsiteY187" fmla="*/ 8403 h 10000"/>
                <a:gd name="connsiteX188" fmla="*/ 4491 w 10000"/>
                <a:gd name="connsiteY188" fmla="*/ 8287 h 10000"/>
                <a:gd name="connsiteX189" fmla="*/ 4405 w 10000"/>
                <a:gd name="connsiteY189" fmla="*/ 8452 h 10000"/>
                <a:gd name="connsiteX190" fmla="*/ 4226 w 10000"/>
                <a:gd name="connsiteY190" fmla="*/ 8331 h 10000"/>
                <a:gd name="connsiteX191" fmla="*/ 4312 w 10000"/>
                <a:gd name="connsiteY191" fmla="*/ 8699 h 10000"/>
                <a:gd name="connsiteX192" fmla="*/ 4304 w 10000"/>
                <a:gd name="connsiteY192" fmla="*/ 8967 h 10000"/>
                <a:gd name="connsiteX193" fmla="*/ 4189 w 10000"/>
                <a:gd name="connsiteY193" fmla="*/ 9088 h 10000"/>
                <a:gd name="connsiteX194" fmla="*/ 4226 w 10000"/>
                <a:gd name="connsiteY194" fmla="*/ 9193 h 10000"/>
                <a:gd name="connsiteX195" fmla="*/ 4065 w 10000"/>
                <a:gd name="connsiteY195" fmla="*/ 9412 h 10000"/>
                <a:gd name="connsiteX196" fmla="*/ 4129 w 10000"/>
                <a:gd name="connsiteY196" fmla="*/ 9647 h 10000"/>
                <a:gd name="connsiteX197" fmla="*/ 3972 w 10000"/>
                <a:gd name="connsiteY197" fmla="*/ 9681 h 10000"/>
                <a:gd name="connsiteX198" fmla="*/ 3931 w 10000"/>
                <a:gd name="connsiteY198" fmla="*/ 9741 h 10000"/>
                <a:gd name="connsiteX199" fmla="*/ 3998 w 10000"/>
                <a:gd name="connsiteY199" fmla="*/ 9785 h 10000"/>
                <a:gd name="connsiteX200" fmla="*/ 4118 w 10000"/>
                <a:gd name="connsiteY200" fmla="*/ 9944 h 10000"/>
                <a:gd name="connsiteX201" fmla="*/ 4312 w 10000"/>
                <a:gd name="connsiteY201" fmla="*/ 9999 h 10000"/>
                <a:gd name="connsiteX202" fmla="*/ 4319 w 10000"/>
                <a:gd name="connsiteY202" fmla="*/ 9851 h 10000"/>
                <a:gd name="connsiteX203" fmla="*/ 4387 w 10000"/>
                <a:gd name="connsiteY203" fmla="*/ 9856 h 10000"/>
                <a:gd name="connsiteX204" fmla="*/ 4675 w 10000"/>
                <a:gd name="connsiteY204" fmla="*/ 9603 h 10000"/>
                <a:gd name="connsiteX205" fmla="*/ 4866 w 10000"/>
                <a:gd name="connsiteY205" fmla="*/ 9845 h 10000"/>
                <a:gd name="connsiteX206" fmla="*/ 4866 w 10000"/>
                <a:gd name="connsiteY206" fmla="*/ 9862 h 10000"/>
                <a:gd name="connsiteX207" fmla="*/ 4896 w 10000"/>
                <a:gd name="connsiteY207" fmla="*/ 9703 h 10000"/>
                <a:gd name="connsiteX208" fmla="*/ 4843 w 10000"/>
                <a:gd name="connsiteY208" fmla="*/ 9570 h 10000"/>
                <a:gd name="connsiteX209" fmla="*/ 4776 w 10000"/>
                <a:gd name="connsiteY209" fmla="*/ 9549 h 10000"/>
                <a:gd name="connsiteX210" fmla="*/ 4821 w 10000"/>
                <a:gd name="connsiteY210" fmla="*/ 9466 h 10000"/>
                <a:gd name="connsiteX211" fmla="*/ 4806 w 10000"/>
                <a:gd name="connsiteY211" fmla="*/ 9444 h 10000"/>
                <a:gd name="connsiteX212" fmla="*/ 4750 w 10000"/>
                <a:gd name="connsiteY212" fmla="*/ 9439 h 10000"/>
                <a:gd name="connsiteX213" fmla="*/ 4720 w 10000"/>
                <a:gd name="connsiteY213" fmla="*/ 9121 h 10000"/>
                <a:gd name="connsiteX214" fmla="*/ 4761 w 10000"/>
                <a:gd name="connsiteY214" fmla="*/ 9105 h 10000"/>
                <a:gd name="connsiteX215" fmla="*/ 4783 w 10000"/>
                <a:gd name="connsiteY215" fmla="*/ 9253 h 10000"/>
                <a:gd name="connsiteX216" fmla="*/ 4836 w 10000"/>
                <a:gd name="connsiteY216" fmla="*/ 9384 h 10000"/>
                <a:gd name="connsiteX217" fmla="*/ 4881 w 10000"/>
                <a:gd name="connsiteY217" fmla="*/ 9302 h 10000"/>
                <a:gd name="connsiteX218" fmla="*/ 4869 w 10000"/>
                <a:gd name="connsiteY218" fmla="*/ 9220 h 10000"/>
                <a:gd name="connsiteX219" fmla="*/ 4940 w 10000"/>
                <a:gd name="connsiteY219" fmla="*/ 9203 h 10000"/>
                <a:gd name="connsiteX220" fmla="*/ 4903 w 10000"/>
                <a:gd name="connsiteY220" fmla="*/ 9034 h 10000"/>
                <a:gd name="connsiteX221" fmla="*/ 5000 w 10000"/>
                <a:gd name="connsiteY221" fmla="*/ 9061 h 10000"/>
                <a:gd name="connsiteX222" fmla="*/ 5004 w 10000"/>
                <a:gd name="connsiteY222" fmla="*/ 8972 h 10000"/>
                <a:gd name="connsiteX223" fmla="*/ 5041 w 10000"/>
                <a:gd name="connsiteY223" fmla="*/ 9039 h 10000"/>
                <a:gd name="connsiteX224" fmla="*/ 5206 w 10000"/>
                <a:gd name="connsiteY224" fmla="*/ 8781 h 10000"/>
                <a:gd name="connsiteX225" fmla="*/ 5112 w 10000"/>
                <a:gd name="connsiteY225" fmla="*/ 8584 h 10000"/>
                <a:gd name="connsiteX226" fmla="*/ 4937 w 10000"/>
                <a:gd name="connsiteY226" fmla="*/ 8425 h 10000"/>
                <a:gd name="connsiteX227" fmla="*/ 5037 w 10000"/>
                <a:gd name="connsiteY227" fmla="*/ 8370 h 10000"/>
                <a:gd name="connsiteX228" fmla="*/ 5183 w 10000"/>
                <a:gd name="connsiteY228" fmla="*/ 8633 h 10000"/>
                <a:gd name="connsiteX229" fmla="*/ 5292 w 10000"/>
                <a:gd name="connsiteY229" fmla="*/ 8199 h 10000"/>
                <a:gd name="connsiteX230" fmla="*/ 5299 w 10000"/>
                <a:gd name="connsiteY230" fmla="*/ 8030 h 10000"/>
                <a:gd name="connsiteX231" fmla="*/ 5482 w 10000"/>
                <a:gd name="connsiteY231" fmla="*/ 7942 h 10000"/>
                <a:gd name="connsiteX232" fmla="*/ 5550 w 10000"/>
                <a:gd name="connsiteY232" fmla="*/ 7607 h 10000"/>
                <a:gd name="connsiteX233" fmla="*/ 5561 w 10000"/>
                <a:gd name="connsiteY233" fmla="*/ 7734 h 10000"/>
                <a:gd name="connsiteX234" fmla="*/ 5677 w 10000"/>
                <a:gd name="connsiteY234" fmla="*/ 7596 h 10000"/>
                <a:gd name="connsiteX235" fmla="*/ 5759 w 10000"/>
                <a:gd name="connsiteY235" fmla="*/ 7579 h 10000"/>
                <a:gd name="connsiteX236" fmla="*/ 5842 w 10000"/>
                <a:gd name="connsiteY236" fmla="*/ 7207 h 10000"/>
                <a:gd name="connsiteX237" fmla="*/ 5916 w 10000"/>
                <a:gd name="connsiteY237" fmla="*/ 7486 h 10000"/>
                <a:gd name="connsiteX238" fmla="*/ 6137 w 10000"/>
                <a:gd name="connsiteY238" fmla="*/ 7563 h 10000"/>
                <a:gd name="connsiteX239" fmla="*/ 5969 w 10000"/>
                <a:gd name="connsiteY239" fmla="*/ 7618 h 10000"/>
                <a:gd name="connsiteX240" fmla="*/ 5954 w 10000"/>
                <a:gd name="connsiteY240" fmla="*/ 7679 h 10000"/>
                <a:gd name="connsiteX241" fmla="*/ 5786 w 10000"/>
                <a:gd name="connsiteY241" fmla="*/ 7690 h 10000"/>
                <a:gd name="connsiteX242" fmla="*/ 5700 w 10000"/>
                <a:gd name="connsiteY242" fmla="*/ 7723 h 10000"/>
                <a:gd name="connsiteX243" fmla="*/ 5767 w 10000"/>
                <a:gd name="connsiteY243" fmla="*/ 7772 h 10000"/>
                <a:gd name="connsiteX244" fmla="*/ 5827 w 10000"/>
                <a:gd name="connsiteY244" fmla="*/ 7756 h 10000"/>
                <a:gd name="connsiteX245" fmla="*/ 5991 w 10000"/>
                <a:gd name="connsiteY245" fmla="*/ 7789 h 10000"/>
                <a:gd name="connsiteX246" fmla="*/ 5804 w 10000"/>
                <a:gd name="connsiteY246" fmla="*/ 7964 h 10000"/>
                <a:gd name="connsiteX247" fmla="*/ 5872 w 10000"/>
                <a:gd name="connsiteY247" fmla="*/ 8008 h 10000"/>
                <a:gd name="connsiteX248" fmla="*/ 6043 w 10000"/>
                <a:gd name="connsiteY248" fmla="*/ 7958 h 10000"/>
                <a:gd name="connsiteX249" fmla="*/ 6275 w 10000"/>
                <a:gd name="connsiteY249" fmla="*/ 8101 h 10000"/>
                <a:gd name="connsiteX250" fmla="*/ 6575 w 10000"/>
                <a:gd name="connsiteY250" fmla="*/ 7909 h 10000"/>
                <a:gd name="connsiteX251" fmla="*/ 6870 w 10000"/>
                <a:gd name="connsiteY251" fmla="*/ 7887 h 10000"/>
                <a:gd name="connsiteX252" fmla="*/ 6915 w 10000"/>
                <a:gd name="connsiteY252" fmla="*/ 7745 h 10000"/>
                <a:gd name="connsiteX253" fmla="*/ 6993 w 10000"/>
                <a:gd name="connsiteY253" fmla="*/ 7958 h 10000"/>
                <a:gd name="connsiteX254" fmla="*/ 7075 w 10000"/>
                <a:gd name="connsiteY254" fmla="*/ 7986 h 10000"/>
                <a:gd name="connsiteX255" fmla="*/ 7045 w 10000"/>
                <a:gd name="connsiteY255" fmla="*/ 8134 h 10000"/>
                <a:gd name="connsiteX256" fmla="*/ 6788 w 10000"/>
                <a:gd name="connsiteY256" fmla="*/ 8281 h 10000"/>
                <a:gd name="connsiteX257" fmla="*/ 6769 w 10000"/>
                <a:gd name="connsiteY257" fmla="*/ 8386 h 10000"/>
                <a:gd name="connsiteX258" fmla="*/ 6627 w 10000"/>
                <a:gd name="connsiteY258" fmla="*/ 8523 h 10000"/>
                <a:gd name="connsiteX259" fmla="*/ 6623 w 10000"/>
                <a:gd name="connsiteY259" fmla="*/ 8649 h 10000"/>
                <a:gd name="connsiteX260" fmla="*/ 6537 w 10000"/>
                <a:gd name="connsiteY260" fmla="*/ 8704 h 10000"/>
                <a:gd name="connsiteX261" fmla="*/ 6428 w 10000"/>
                <a:gd name="connsiteY261" fmla="*/ 8989 h 10000"/>
                <a:gd name="connsiteX262" fmla="*/ 6582 w 10000"/>
                <a:gd name="connsiteY262" fmla="*/ 9001 h 10000"/>
                <a:gd name="connsiteX263" fmla="*/ 6672 w 10000"/>
                <a:gd name="connsiteY263" fmla="*/ 8879 h 10000"/>
                <a:gd name="connsiteX264" fmla="*/ 6769 w 10000"/>
                <a:gd name="connsiteY264" fmla="*/ 8912 h 10000"/>
                <a:gd name="connsiteX265" fmla="*/ 6814 w 10000"/>
                <a:gd name="connsiteY265" fmla="*/ 8786 h 10000"/>
                <a:gd name="connsiteX266" fmla="*/ 6877 w 10000"/>
                <a:gd name="connsiteY266" fmla="*/ 9001 h 10000"/>
                <a:gd name="connsiteX267" fmla="*/ 7060 w 10000"/>
                <a:gd name="connsiteY267" fmla="*/ 8994 h 10000"/>
                <a:gd name="connsiteX268" fmla="*/ 7217 w 10000"/>
                <a:gd name="connsiteY268" fmla="*/ 9362 h 10000"/>
                <a:gd name="connsiteX269" fmla="*/ 7232 w 10000"/>
                <a:gd name="connsiteY269" fmla="*/ 9675 h 10000"/>
                <a:gd name="connsiteX270" fmla="*/ 7176 w 10000"/>
                <a:gd name="connsiteY270" fmla="*/ 9692 h 10000"/>
                <a:gd name="connsiteX271" fmla="*/ 7187 w 10000"/>
                <a:gd name="connsiteY271" fmla="*/ 9780 h 10000"/>
                <a:gd name="connsiteX272" fmla="*/ 7423 w 10000"/>
                <a:gd name="connsiteY272" fmla="*/ 9900 h 10000"/>
                <a:gd name="connsiteX273" fmla="*/ 7741 w 10000"/>
                <a:gd name="connsiteY273" fmla="*/ 9565 h 10000"/>
                <a:gd name="connsiteX274" fmla="*/ 7879 w 10000"/>
                <a:gd name="connsiteY274" fmla="*/ 9176 h 10000"/>
                <a:gd name="connsiteX275" fmla="*/ 8107 w 10000"/>
                <a:gd name="connsiteY275" fmla="*/ 9023 h 10000"/>
                <a:gd name="connsiteX276" fmla="*/ 8182 w 10000"/>
                <a:gd name="connsiteY276" fmla="*/ 8841 h 10000"/>
                <a:gd name="connsiteX277" fmla="*/ 8268 w 10000"/>
                <a:gd name="connsiteY277" fmla="*/ 8786 h 10000"/>
                <a:gd name="connsiteX278" fmla="*/ 8320 w 10000"/>
                <a:gd name="connsiteY278" fmla="*/ 8512 h 10000"/>
                <a:gd name="connsiteX279" fmla="*/ 8542 w 10000"/>
                <a:gd name="connsiteY279" fmla="*/ 8617 h 10000"/>
                <a:gd name="connsiteX280" fmla="*/ 8672 w 10000"/>
                <a:gd name="connsiteY280" fmla="*/ 8474 h 10000"/>
                <a:gd name="connsiteX281" fmla="*/ 8855 w 10000"/>
                <a:gd name="connsiteY281" fmla="*/ 8343 h 10000"/>
                <a:gd name="connsiteX282" fmla="*/ 8781 w 10000"/>
                <a:gd name="connsiteY282" fmla="*/ 8128 h 10000"/>
                <a:gd name="connsiteX283" fmla="*/ 7708 w 10000"/>
                <a:gd name="connsiteY283" fmla="*/ 7991 h 10000"/>
                <a:gd name="connsiteX284" fmla="*/ 7682 w 10000"/>
                <a:gd name="connsiteY284" fmla="*/ 7904 h 10000"/>
                <a:gd name="connsiteX285" fmla="*/ 7607 w 10000"/>
                <a:gd name="connsiteY285" fmla="*/ 8002 h 10000"/>
                <a:gd name="connsiteX286" fmla="*/ 7715 w 10000"/>
                <a:gd name="connsiteY286" fmla="*/ 7761 h 10000"/>
                <a:gd name="connsiteX287" fmla="*/ 7674 w 10000"/>
                <a:gd name="connsiteY287" fmla="*/ 7717 h 10000"/>
                <a:gd name="connsiteX288" fmla="*/ 7554 w 10000"/>
                <a:gd name="connsiteY288" fmla="*/ 7915 h 10000"/>
                <a:gd name="connsiteX289" fmla="*/ 7618 w 10000"/>
                <a:gd name="connsiteY289" fmla="*/ 7712 h 10000"/>
                <a:gd name="connsiteX290" fmla="*/ 7532 w 10000"/>
                <a:gd name="connsiteY290" fmla="*/ 7767 h 10000"/>
                <a:gd name="connsiteX291" fmla="*/ 7419 w 10000"/>
                <a:gd name="connsiteY291" fmla="*/ 7717 h 10000"/>
                <a:gd name="connsiteX292" fmla="*/ 7333 w 10000"/>
                <a:gd name="connsiteY292" fmla="*/ 7794 h 10000"/>
                <a:gd name="connsiteX293" fmla="*/ 7240 w 10000"/>
                <a:gd name="connsiteY293" fmla="*/ 7728 h 10000"/>
                <a:gd name="connsiteX294" fmla="*/ 7087 w 10000"/>
                <a:gd name="connsiteY294" fmla="*/ 7717 h 10000"/>
                <a:gd name="connsiteX295" fmla="*/ 7090 w 10000"/>
                <a:gd name="connsiteY295" fmla="*/ 7547 h 10000"/>
                <a:gd name="connsiteX296" fmla="*/ 7229 w 10000"/>
                <a:gd name="connsiteY296" fmla="*/ 7662 h 10000"/>
                <a:gd name="connsiteX297" fmla="*/ 7273 w 10000"/>
                <a:gd name="connsiteY297" fmla="*/ 7541 h 10000"/>
                <a:gd name="connsiteX298" fmla="*/ 7236 w 10000"/>
                <a:gd name="connsiteY298" fmla="*/ 7410 h 10000"/>
                <a:gd name="connsiteX299" fmla="*/ 7341 w 10000"/>
                <a:gd name="connsiteY299" fmla="*/ 7547 h 10000"/>
                <a:gd name="connsiteX300" fmla="*/ 7483 w 10000"/>
                <a:gd name="connsiteY300" fmla="*/ 7536 h 10000"/>
                <a:gd name="connsiteX301" fmla="*/ 7506 w 10000"/>
                <a:gd name="connsiteY301" fmla="*/ 7685 h 10000"/>
                <a:gd name="connsiteX302" fmla="*/ 7547 w 10000"/>
                <a:gd name="connsiteY302" fmla="*/ 7685 h 10000"/>
                <a:gd name="connsiteX303" fmla="*/ 7558 w 10000"/>
                <a:gd name="connsiteY303" fmla="*/ 7415 h 10000"/>
                <a:gd name="connsiteX304" fmla="*/ 7607 w 10000"/>
                <a:gd name="connsiteY304" fmla="*/ 7585 h 10000"/>
                <a:gd name="connsiteX305" fmla="*/ 7693 w 10000"/>
                <a:gd name="connsiteY305" fmla="*/ 7590 h 10000"/>
                <a:gd name="connsiteX306" fmla="*/ 7629 w 10000"/>
                <a:gd name="connsiteY306" fmla="*/ 7333 h 10000"/>
                <a:gd name="connsiteX307" fmla="*/ 7786 w 10000"/>
                <a:gd name="connsiteY307" fmla="*/ 7240 h 10000"/>
                <a:gd name="connsiteX308" fmla="*/ 7779 w 10000"/>
                <a:gd name="connsiteY308" fmla="*/ 6987 h 10000"/>
                <a:gd name="connsiteX309" fmla="*/ 7887 w 10000"/>
                <a:gd name="connsiteY309" fmla="*/ 7081 h 10000"/>
                <a:gd name="connsiteX310" fmla="*/ 7906 w 10000"/>
                <a:gd name="connsiteY310" fmla="*/ 7015 h 10000"/>
                <a:gd name="connsiteX311" fmla="*/ 7775 w 10000"/>
                <a:gd name="connsiteY311" fmla="*/ 6735 h 10000"/>
                <a:gd name="connsiteX312" fmla="*/ 7950 w 10000"/>
                <a:gd name="connsiteY312" fmla="*/ 6894 h 10000"/>
                <a:gd name="connsiteX313" fmla="*/ 8171 w 10000"/>
                <a:gd name="connsiteY313" fmla="*/ 6511 h 10000"/>
                <a:gd name="connsiteX314" fmla="*/ 8384 w 10000"/>
                <a:gd name="connsiteY314" fmla="*/ 6483 h 10000"/>
                <a:gd name="connsiteX315" fmla="*/ 8429 w 10000"/>
                <a:gd name="connsiteY31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165 w 10000"/>
                <a:gd name="connsiteY46" fmla="*/ 1996 h 10000"/>
                <a:gd name="connsiteX47" fmla="*/ 6892 w 10000"/>
                <a:gd name="connsiteY47" fmla="*/ 1827 h 10000"/>
                <a:gd name="connsiteX48" fmla="*/ 6922 w 10000"/>
                <a:gd name="connsiteY48" fmla="*/ 1728 h 10000"/>
                <a:gd name="connsiteX49" fmla="*/ 6765 w 10000"/>
                <a:gd name="connsiteY49" fmla="*/ 1398 h 10000"/>
                <a:gd name="connsiteX50" fmla="*/ 6799 w 10000"/>
                <a:gd name="connsiteY50" fmla="*/ 1256 h 10000"/>
                <a:gd name="connsiteX51" fmla="*/ 6728 w 10000"/>
                <a:gd name="connsiteY51" fmla="*/ 1229 h 10000"/>
                <a:gd name="connsiteX52" fmla="*/ 6657 w 10000"/>
                <a:gd name="connsiteY52" fmla="*/ 1311 h 10000"/>
                <a:gd name="connsiteX53" fmla="*/ 6593 w 10000"/>
                <a:gd name="connsiteY53" fmla="*/ 1114 h 10000"/>
                <a:gd name="connsiteX54" fmla="*/ 6391 w 10000"/>
                <a:gd name="connsiteY54" fmla="*/ 1311 h 10000"/>
                <a:gd name="connsiteX55" fmla="*/ 6309 w 10000"/>
                <a:gd name="connsiteY55" fmla="*/ 1223 h 10000"/>
                <a:gd name="connsiteX56" fmla="*/ 6126 w 10000"/>
                <a:gd name="connsiteY56" fmla="*/ 1273 h 10000"/>
                <a:gd name="connsiteX57" fmla="*/ 6144 w 10000"/>
                <a:gd name="connsiteY57" fmla="*/ 1125 h 10000"/>
                <a:gd name="connsiteX58" fmla="*/ 6073 w 10000"/>
                <a:gd name="connsiteY58" fmla="*/ 1119 h 10000"/>
                <a:gd name="connsiteX59" fmla="*/ 6040 w 10000"/>
                <a:gd name="connsiteY59" fmla="*/ 910 h 10000"/>
                <a:gd name="connsiteX60" fmla="*/ 5942 w 10000"/>
                <a:gd name="connsiteY60" fmla="*/ 795 h 10000"/>
                <a:gd name="connsiteX61" fmla="*/ 6144 w 10000"/>
                <a:gd name="connsiteY61" fmla="*/ 620 h 10000"/>
                <a:gd name="connsiteX62" fmla="*/ 5901 w 10000"/>
                <a:gd name="connsiteY62" fmla="*/ 395 h 10000"/>
                <a:gd name="connsiteX63" fmla="*/ 5853 w 10000"/>
                <a:gd name="connsiteY63" fmla="*/ 142 h 10000"/>
                <a:gd name="connsiteX64" fmla="*/ 5741 w 10000"/>
                <a:gd name="connsiteY64" fmla="*/ 110 h 10000"/>
                <a:gd name="connsiteX65" fmla="*/ 5647 w 10000"/>
                <a:gd name="connsiteY65" fmla="*/ 0 h 10000"/>
                <a:gd name="connsiteX66" fmla="*/ 5547 w 10000"/>
                <a:gd name="connsiteY66" fmla="*/ 120 h 10000"/>
                <a:gd name="connsiteX67" fmla="*/ 5377 w 10000"/>
                <a:gd name="connsiteY67" fmla="*/ 110 h 10000"/>
                <a:gd name="connsiteX68" fmla="*/ 5232 w 10000"/>
                <a:gd name="connsiteY68" fmla="*/ 351 h 10000"/>
                <a:gd name="connsiteX69" fmla="*/ 4952 w 10000"/>
                <a:gd name="connsiteY69" fmla="*/ 329 h 10000"/>
                <a:gd name="connsiteX70" fmla="*/ 4884 w 10000"/>
                <a:gd name="connsiteY70" fmla="*/ 680 h 10000"/>
                <a:gd name="connsiteX71" fmla="*/ 4701 w 10000"/>
                <a:gd name="connsiteY71" fmla="*/ 707 h 10000"/>
                <a:gd name="connsiteX72" fmla="*/ 4795 w 10000"/>
                <a:gd name="connsiteY72" fmla="*/ 844 h 10000"/>
                <a:gd name="connsiteX73" fmla="*/ 4739 w 10000"/>
                <a:gd name="connsiteY73" fmla="*/ 899 h 10000"/>
                <a:gd name="connsiteX74" fmla="*/ 4612 w 10000"/>
                <a:gd name="connsiteY74" fmla="*/ 894 h 10000"/>
                <a:gd name="connsiteX75" fmla="*/ 4439 w 10000"/>
                <a:gd name="connsiteY75" fmla="*/ 1026 h 10000"/>
                <a:gd name="connsiteX76" fmla="*/ 4252 w 10000"/>
                <a:gd name="connsiteY76" fmla="*/ 1668 h 10000"/>
                <a:gd name="connsiteX77" fmla="*/ 4308 w 10000"/>
                <a:gd name="connsiteY77" fmla="*/ 2090 h 10000"/>
                <a:gd name="connsiteX78" fmla="*/ 4121 w 10000"/>
                <a:gd name="connsiteY78" fmla="*/ 1865 h 10000"/>
                <a:gd name="connsiteX79" fmla="*/ 3849 w 10000"/>
                <a:gd name="connsiteY79" fmla="*/ 1991 h 10000"/>
                <a:gd name="connsiteX80" fmla="*/ 3822 w 10000"/>
                <a:gd name="connsiteY80" fmla="*/ 1931 h 10000"/>
                <a:gd name="connsiteX81" fmla="*/ 3695 w 10000"/>
                <a:gd name="connsiteY81" fmla="*/ 2002 h 10000"/>
                <a:gd name="connsiteX82" fmla="*/ 3621 w 10000"/>
                <a:gd name="connsiteY82" fmla="*/ 2144 h 10000"/>
                <a:gd name="connsiteX83" fmla="*/ 3561 w 10000"/>
                <a:gd name="connsiteY83" fmla="*/ 1909 h 10000"/>
                <a:gd name="connsiteX84" fmla="*/ 3478 w 10000"/>
                <a:gd name="connsiteY84" fmla="*/ 1843 h 10000"/>
                <a:gd name="connsiteX85" fmla="*/ 3444 w 10000"/>
                <a:gd name="connsiteY85" fmla="*/ 1964 h 10000"/>
                <a:gd name="connsiteX86" fmla="*/ 3332 w 10000"/>
                <a:gd name="connsiteY86" fmla="*/ 1996 h 10000"/>
                <a:gd name="connsiteX87" fmla="*/ 3272 w 10000"/>
                <a:gd name="connsiteY87" fmla="*/ 2161 h 10000"/>
                <a:gd name="connsiteX88" fmla="*/ 3235 w 10000"/>
                <a:gd name="connsiteY88" fmla="*/ 2013 h 10000"/>
                <a:gd name="connsiteX89" fmla="*/ 3123 w 10000"/>
                <a:gd name="connsiteY89" fmla="*/ 2024 h 10000"/>
                <a:gd name="connsiteX90" fmla="*/ 3078 w 10000"/>
                <a:gd name="connsiteY90" fmla="*/ 2128 h 10000"/>
                <a:gd name="connsiteX91" fmla="*/ 3011 w 10000"/>
                <a:gd name="connsiteY91" fmla="*/ 1975 h 10000"/>
                <a:gd name="connsiteX92" fmla="*/ 2895 w 10000"/>
                <a:gd name="connsiteY92" fmla="*/ 2117 h 10000"/>
                <a:gd name="connsiteX93" fmla="*/ 2783 w 10000"/>
                <a:gd name="connsiteY93" fmla="*/ 2106 h 10000"/>
                <a:gd name="connsiteX94" fmla="*/ 2779 w 10000"/>
                <a:gd name="connsiteY94" fmla="*/ 2276 h 10000"/>
                <a:gd name="connsiteX95" fmla="*/ 2727 w 10000"/>
                <a:gd name="connsiteY95" fmla="*/ 2144 h 10000"/>
                <a:gd name="connsiteX96" fmla="*/ 2559 w 10000"/>
                <a:gd name="connsiteY96" fmla="*/ 2155 h 10000"/>
                <a:gd name="connsiteX97" fmla="*/ 2438 w 10000"/>
                <a:gd name="connsiteY97" fmla="*/ 1980 h 10000"/>
                <a:gd name="connsiteX98" fmla="*/ 2293 w 10000"/>
                <a:gd name="connsiteY98" fmla="*/ 2073 h 10000"/>
                <a:gd name="connsiteX99" fmla="*/ 2143 w 10000"/>
                <a:gd name="connsiteY99" fmla="*/ 1958 h 10000"/>
                <a:gd name="connsiteX100" fmla="*/ 2057 w 10000"/>
                <a:gd name="connsiteY100" fmla="*/ 2035 h 10000"/>
                <a:gd name="connsiteX101" fmla="*/ 1975 w 10000"/>
                <a:gd name="connsiteY101" fmla="*/ 1947 h 10000"/>
                <a:gd name="connsiteX102" fmla="*/ 1852 w 10000"/>
                <a:gd name="connsiteY102" fmla="*/ 1936 h 10000"/>
                <a:gd name="connsiteX103" fmla="*/ 1669 w 10000"/>
                <a:gd name="connsiteY103" fmla="*/ 1925 h 10000"/>
                <a:gd name="connsiteX104" fmla="*/ 1444 w 10000"/>
                <a:gd name="connsiteY104" fmla="*/ 1991 h 10000"/>
                <a:gd name="connsiteX105" fmla="*/ 1205 w 10000"/>
                <a:gd name="connsiteY105" fmla="*/ 2062 h 10000"/>
                <a:gd name="connsiteX106" fmla="*/ 921 w 10000"/>
                <a:gd name="connsiteY106" fmla="*/ 2166 h 10000"/>
                <a:gd name="connsiteX107" fmla="*/ 797 w 10000"/>
                <a:gd name="connsiteY107" fmla="*/ 2496 h 10000"/>
                <a:gd name="connsiteX108" fmla="*/ 603 w 10000"/>
                <a:gd name="connsiteY108" fmla="*/ 2501 h 10000"/>
                <a:gd name="connsiteX109" fmla="*/ 540 w 10000"/>
                <a:gd name="connsiteY109" fmla="*/ 2687 h 10000"/>
                <a:gd name="connsiteX110" fmla="*/ 558 w 10000"/>
                <a:gd name="connsiteY110" fmla="*/ 2764 h 10000"/>
                <a:gd name="connsiteX111" fmla="*/ 577 w 10000"/>
                <a:gd name="connsiteY111" fmla="*/ 2868 h 10000"/>
                <a:gd name="connsiteX112" fmla="*/ 577 w 10000"/>
                <a:gd name="connsiteY112" fmla="*/ 2868 h 10000"/>
                <a:gd name="connsiteX113" fmla="*/ 577 w 10000"/>
                <a:gd name="connsiteY113" fmla="*/ 2896 h 10000"/>
                <a:gd name="connsiteX114" fmla="*/ 682 w 10000"/>
                <a:gd name="connsiteY114" fmla="*/ 3116 h 10000"/>
                <a:gd name="connsiteX115" fmla="*/ 786 w 10000"/>
                <a:gd name="connsiteY115" fmla="*/ 3351 h 10000"/>
                <a:gd name="connsiteX116" fmla="*/ 921 w 10000"/>
                <a:gd name="connsiteY116" fmla="*/ 3488 h 10000"/>
                <a:gd name="connsiteX117" fmla="*/ 876 w 10000"/>
                <a:gd name="connsiteY117" fmla="*/ 3548 h 10000"/>
                <a:gd name="connsiteX118" fmla="*/ 805 w 10000"/>
                <a:gd name="connsiteY118" fmla="*/ 3603 h 10000"/>
                <a:gd name="connsiteX119" fmla="*/ 887 w 10000"/>
                <a:gd name="connsiteY119" fmla="*/ 3697 h 10000"/>
                <a:gd name="connsiteX120" fmla="*/ 876 w 10000"/>
                <a:gd name="connsiteY120" fmla="*/ 4053 h 10000"/>
                <a:gd name="connsiteX121" fmla="*/ 693 w 10000"/>
                <a:gd name="connsiteY121" fmla="*/ 4124 h 10000"/>
                <a:gd name="connsiteX122" fmla="*/ 498 w 10000"/>
                <a:gd name="connsiteY122" fmla="*/ 4531 h 10000"/>
                <a:gd name="connsiteX123" fmla="*/ 371 w 10000"/>
                <a:gd name="connsiteY123" fmla="*/ 4936 h 10000"/>
                <a:gd name="connsiteX124" fmla="*/ 195 w 10000"/>
                <a:gd name="connsiteY124" fmla="*/ 5260 h 10000"/>
                <a:gd name="connsiteX125" fmla="*/ 270 w 10000"/>
                <a:gd name="connsiteY125" fmla="*/ 5517 h 10000"/>
                <a:gd name="connsiteX126" fmla="*/ 277 w 10000"/>
                <a:gd name="connsiteY126" fmla="*/ 5732 h 10000"/>
                <a:gd name="connsiteX127" fmla="*/ 400 w 10000"/>
                <a:gd name="connsiteY127" fmla="*/ 5841 h 10000"/>
                <a:gd name="connsiteX128" fmla="*/ 382 w 10000"/>
                <a:gd name="connsiteY128" fmla="*/ 5945 h 10000"/>
                <a:gd name="connsiteX129" fmla="*/ 202 w 10000"/>
                <a:gd name="connsiteY129" fmla="*/ 5852 h 10000"/>
                <a:gd name="connsiteX130" fmla="*/ 124 w 10000"/>
                <a:gd name="connsiteY130" fmla="*/ 6099 h 10000"/>
                <a:gd name="connsiteX131" fmla="*/ 105 w 10000"/>
                <a:gd name="connsiteY131" fmla="*/ 6346 h 10000"/>
                <a:gd name="connsiteX132" fmla="*/ 1 w 10000"/>
                <a:gd name="connsiteY132" fmla="*/ 6571 h 10000"/>
                <a:gd name="connsiteX133" fmla="*/ 19 w 10000"/>
                <a:gd name="connsiteY133" fmla="*/ 6779 h 10000"/>
                <a:gd name="connsiteX134" fmla="*/ 90 w 10000"/>
                <a:gd name="connsiteY134" fmla="*/ 6828 h 10000"/>
                <a:gd name="connsiteX135" fmla="*/ 154 w 10000"/>
                <a:gd name="connsiteY135" fmla="*/ 6960 h 10000"/>
                <a:gd name="connsiteX136" fmla="*/ 240 w 10000"/>
                <a:gd name="connsiteY136" fmla="*/ 6943 h 10000"/>
                <a:gd name="connsiteX137" fmla="*/ 292 w 10000"/>
                <a:gd name="connsiteY137" fmla="*/ 7076 h 10000"/>
                <a:gd name="connsiteX138" fmla="*/ 445 w 10000"/>
                <a:gd name="connsiteY138" fmla="*/ 7103 h 10000"/>
                <a:gd name="connsiteX139" fmla="*/ 453 w 10000"/>
                <a:gd name="connsiteY139" fmla="*/ 7251 h 10000"/>
                <a:gd name="connsiteX140" fmla="*/ 494 w 10000"/>
                <a:gd name="connsiteY140" fmla="*/ 7278 h 10000"/>
                <a:gd name="connsiteX141" fmla="*/ 525 w 10000"/>
                <a:gd name="connsiteY141" fmla="*/ 7174 h 10000"/>
                <a:gd name="connsiteX142" fmla="*/ 581 w 10000"/>
                <a:gd name="connsiteY142" fmla="*/ 7196 h 10000"/>
                <a:gd name="connsiteX143" fmla="*/ 644 w 10000"/>
                <a:gd name="connsiteY143" fmla="*/ 6992 h 10000"/>
                <a:gd name="connsiteX144" fmla="*/ 820 w 10000"/>
                <a:gd name="connsiteY144" fmla="*/ 7174 h 10000"/>
                <a:gd name="connsiteX145" fmla="*/ 1283 w 10000"/>
                <a:gd name="connsiteY145" fmla="*/ 7163 h 10000"/>
                <a:gd name="connsiteX146" fmla="*/ 1466 w 10000"/>
                <a:gd name="connsiteY146" fmla="*/ 7092 h 10000"/>
                <a:gd name="connsiteX147" fmla="*/ 1766 w 10000"/>
                <a:gd name="connsiteY147" fmla="*/ 7344 h 10000"/>
                <a:gd name="connsiteX148" fmla="*/ 1956 w 10000"/>
                <a:gd name="connsiteY148" fmla="*/ 7087 h 10000"/>
                <a:gd name="connsiteX149" fmla="*/ 2382 w 10000"/>
                <a:gd name="connsiteY149" fmla="*/ 6861 h 10000"/>
                <a:gd name="connsiteX150" fmla="*/ 2536 w 10000"/>
                <a:gd name="connsiteY150" fmla="*/ 6489 h 10000"/>
                <a:gd name="connsiteX151" fmla="*/ 2648 w 10000"/>
                <a:gd name="connsiteY151" fmla="*/ 6439 h 10000"/>
                <a:gd name="connsiteX152" fmla="*/ 2648 w 10000"/>
                <a:gd name="connsiteY152" fmla="*/ 6379 h 10000"/>
                <a:gd name="connsiteX153" fmla="*/ 2693 w 10000"/>
                <a:gd name="connsiteY153" fmla="*/ 6379 h 10000"/>
                <a:gd name="connsiteX154" fmla="*/ 2682 w 10000"/>
                <a:gd name="connsiteY154" fmla="*/ 6230 h 10000"/>
                <a:gd name="connsiteX155" fmla="*/ 2820 w 10000"/>
                <a:gd name="connsiteY155" fmla="*/ 6285 h 10000"/>
                <a:gd name="connsiteX156" fmla="*/ 2839 w 10000"/>
                <a:gd name="connsiteY156" fmla="*/ 6159 h 10000"/>
                <a:gd name="connsiteX157" fmla="*/ 2921 w 10000"/>
                <a:gd name="connsiteY157" fmla="*/ 6230 h 10000"/>
                <a:gd name="connsiteX158" fmla="*/ 2981 w 10000"/>
                <a:gd name="connsiteY158" fmla="*/ 6126 h 10000"/>
                <a:gd name="connsiteX159" fmla="*/ 3078 w 10000"/>
                <a:gd name="connsiteY159" fmla="*/ 6154 h 10000"/>
                <a:gd name="connsiteX160" fmla="*/ 3164 w 10000"/>
                <a:gd name="connsiteY160" fmla="*/ 6055 h 10000"/>
                <a:gd name="connsiteX161" fmla="*/ 3328 w 10000"/>
                <a:gd name="connsiteY161" fmla="*/ 6192 h 10000"/>
                <a:gd name="connsiteX162" fmla="*/ 3411 w 10000"/>
                <a:gd name="connsiteY162" fmla="*/ 6197 h 10000"/>
                <a:gd name="connsiteX163" fmla="*/ 3437 w 10000"/>
                <a:gd name="connsiteY163" fmla="*/ 6307 h 10000"/>
                <a:gd name="connsiteX164" fmla="*/ 3591 w 10000"/>
                <a:gd name="connsiteY164" fmla="*/ 6236 h 10000"/>
                <a:gd name="connsiteX165" fmla="*/ 3576 w 10000"/>
                <a:gd name="connsiteY165" fmla="*/ 6357 h 10000"/>
                <a:gd name="connsiteX166" fmla="*/ 3632 w 10000"/>
                <a:gd name="connsiteY166" fmla="*/ 6341 h 10000"/>
                <a:gd name="connsiteX167" fmla="*/ 3699 w 10000"/>
                <a:gd name="connsiteY167" fmla="*/ 6428 h 10000"/>
                <a:gd name="connsiteX168" fmla="*/ 3703 w 10000"/>
                <a:gd name="connsiteY168" fmla="*/ 6301 h 10000"/>
                <a:gd name="connsiteX169" fmla="*/ 3882 w 10000"/>
                <a:gd name="connsiteY169" fmla="*/ 6341 h 10000"/>
                <a:gd name="connsiteX170" fmla="*/ 3946 w 10000"/>
                <a:gd name="connsiteY170" fmla="*/ 6511 h 10000"/>
                <a:gd name="connsiteX171" fmla="*/ 4047 w 10000"/>
                <a:gd name="connsiteY171" fmla="*/ 6494 h 10000"/>
                <a:gd name="connsiteX172" fmla="*/ 4091 w 10000"/>
                <a:gd name="connsiteY172" fmla="*/ 6417 h 10000"/>
                <a:gd name="connsiteX173" fmla="*/ 4192 w 10000"/>
                <a:gd name="connsiteY173" fmla="*/ 6735 h 10000"/>
                <a:gd name="connsiteX174" fmla="*/ 4155 w 10000"/>
                <a:gd name="connsiteY174" fmla="*/ 6987 h 10000"/>
                <a:gd name="connsiteX175" fmla="*/ 4207 w 10000"/>
                <a:gd name="connsiteY175" fmla="*/ 7114 h 10000"/>
                <a:gd name="connsiteX176" fmla="*/ 4278 w 10000"/>
                <a:gd name="connsiteY176" fmla="*/ 7119 h 10000"/>
                <a:gd name="connsiteX177" fmla="*/ 4387 w 10000"/>
                <a:gd name="connsiteY177" fmla="*/ 7256 h 10000"/>
                <a:gd name="connsiteX178" fmla="*/ 4431 w 10000"/>
                <a:gd name="connsiteY178" fmla="*/ 7152 h 10000"/>
                <a:gd name="connsiteX179" fmla="*/ 4480 w 10000"/>
                <a:gd name="connsiteY179" fmla="*/ 7322 h 10000"/>
                <a:gd name="connsiteX180" fmla="*/ 4541 w 10000"/>
                <a:gd name="connsiteY180" fmla="*/ 7662 h 10000"/>
                <a:gd name="connsiteX181" fmla="*/ 4720 w 10000"/>
                <a:gd name="connsiteY181" fmla="*/ 7739 h 10000"/>
                <a:gd name="connsiteX182" fmla="*/ 4761 w 10000"/>
                <a:gd name="connsiteY182" fmla="*/ 8183 h 10000"/>
                <a:gd name="connsiteX183" fmla="*/ 4914 w 10000"/>
                <a:gd name="connsiteY183" fmla="*/ 8276 h 10000"/>
                <a:gd name="connsiteX184" fmla="*/ 4757 w 10000"/>
                <a:gd name="connsiteY184" fmla="*/ 8370 h 10000"/>
                <a:gd name="connsiteX185" fmla="*/ 4705 w 10000"/>
                <a:gd name="connsiteY185" fmla="*/ 8260 h 10000"/>
                <a:gd name="connsiteX186" fmla="*/ 4645 w 10000"/>
                <a:gd name="connsiteY186" fmla="*/ 8403 h 10000"/>
                <a:gd name="connsiteX187" fmla="*/ 4491 w 10000"/>
                <a:gd name="connsiteY187" fmla="*/ 8287 h 10000"/>
                <a:gd name="connsiteX188" fmla="*/ 4405 w 10000"/>
                <a:gd name="connsiteY188" fmla="*/ 8452 h 10000"/>
                <a:gd name="connsiteX189" fmla="*/ 4226 w 10000"/>
                <a:gd name="connsiteY189" fmla="*/ 8331 h 10000"/>
                <a:gd name="connsiteX190" fmla="*/ 4312 w 10000"/>
                <a:gd name="connsiteY190" fmla="*/ 8699 h 10000"/>
                <a:gd name="connsiteX191" fmla="*/ 4304 w 10000"/>
                <a:gd name="connsiteY191" fmla="*/ 8967 h 10000"/>
                <a:gd name="connsiteX192" fmla="*/ 4189 w 10000"/>
                <a:gd name="connsiteY192" fmla="*/ 9088 h 10000"/>
                <a:gd name="connsiteX193" fmla="*/ 4226 w 10000"/>
                <a:gd name="connsiteY193" fmla="*/ 9193 h 10000"/>
                <a:gd name="connsiteX194" fmla="*/ 4065 w 10000"/>
                <a:gd name="connsiteY194" fmla="*/ 9412 h 10000"/>
                <a:gd name="connsiteX195" fmla="*/ 4129 w 10000"/>
                <a:gd name="connsiteY195" fmla="*/ 9647 h 10000"/>
                <a:gd name="connsiteX196" fmla="*/ 3972 w 10000"/>
                <a:gd name="connsiteY196" fmla="*/ 9681 h 10000"/>
                <a:gd name="connsiteX197" fmla="*/ 3931 w 10000"/>
                <a:gd name="connsiteY197" fmla="*/ 9741 h 10000"/>
                <a:gd name="connsiteX198" fmla="*/ 3998 w 10000"/>
                <a:gd name="connsiteY198" fmla="*/ 9785 h 10000"/>
                <a:gd name="connsiteX199" fmla="*/ 4118 w 10000"/>
                <a:gd name="connsiteY199" fmla="*/ 9944 h 10000"/>
                <a:gd name="connsiteX200" fmla="*/ 4312 w 10000"/>
                <a:gd name="connsiteY200" fmla="*/ 9999 h 10000"/>
                <a:gd name="connsiteX201" fmla="*/ 4319 w 10000"/>
                <a:gd name="connsiteY201" fmla="*/ 9851 h 10000"/>
                <a:gd name="connsiteX202" fmla="*/ 4387 w 10000"/>
                <a:gd name="connsiteY202" fmla="*/ 9856 h 10000"/>
                <a:gd name="connsiteX203" fmla="*/ 4675 w 10000"/>
                <a:gd name="connsiteY203" fmla="*/ 9603 h 10000"/>
                <a:gd name="connsiteX204" fmla="*/ 4866 w 10000"/>
                <a:gd name="connsiteY204" fmla="*/ 9845 h 10000"/>
                <a:gd name="connsiteX205" fmla="*/ 4866 w 10000"/>
                <a:gd name="connsiteY205" fmla="*/ 9862 h 10000"/>
                <a:gd name="connsiteX206" fmla="*/ 4896 w 10000"/>
                <a:gd name="connsiteY206" fmla="*/ 9703 h 10000"/>
                <a:gd name="connsiteX207" fmla="*/ 4843 w 10000"/>
                <a:gd name="connsiteY207" fmla="*/ 9570 h 10000"/>
                <a:gd name="connsiteX208" fmla="*/ 4776 w 10000"/>
                <a:gd name="connsiteY208" fmla="*/ 9549 h 10000"/>
                <a:gd name="connsiteX209" fmla="*/ 4821 w 10000"/>
                <a:gd name="connsiteY209" fmla="*/ 9466 h 10000"/>
                <a:gd name="connsiteX210" fmla="*/ 4806 w 10000"/>
                <a:gd name="connsiteY210" fmla="*/ 9444 h 10000"/>
                <a:gd name="connsiteX211" fmla="*/ 4750 w 10000"/>
                <a:gd name="connsiteY211" fmla="*/ 9439 h 10000"/>
                <a:gd name="connsiteX212" fmla="*/ 4720 w 10000"/>
                <a:gd name="connsiteY212" fmla="*/ 9121 h 10000"/>
                <a:gd name="connsiteX213" fmla="*/ 4761 w 10000"/>
                <a:gd name="connsiteY213" fmla="*/ 9105 h 10000"/>
                <a:gd name="connsiteX214" fmla="*/ 4783 w 10000"/>
                <a:gd name="connsiteY214" fmla="*/ 9253 h 10000"/>
                <a:gd name="connsiteX215" fmla="*/ 4836 w 10000"/>
                <a:gd name="connsiteY215" fmla="*/ 9384 h 10000"/>
                <a:gd name="connsiteX216" fmla="*/ 4881 w 10000"/>
                <a:gd name="connsiteY216" fmla="*/ 9302 h 10000"/>
                <a:gd name="connsiteX217" fmla="*/ 4869 w 10000"/>
                <a:gd name="connsiteY217" fmla="*/ 9220 h 10000"/>
                <a:gd name="connsiteX218" fmla="*/ 4940 w 10000"/>
                <a:gd name="connsiteY218" fmla="*/ 9203 h 10000"/>
                <a:gd name="connsiteX219" fmla="*/ 4903 w 10000"/>
                <a:gd name="connsiteY219" fmla="*/ 9034 h 10000"/>
                <a:gd name="connsiteX220" fmla="*/ 5000 w 10000"/>
                <a:gd name="connsiteY220" fmla="*/ 9061 h 10000"/>
                <a:gd name="connsiteX221" fmla="*/ 5004 w 10000"/>
                <a:gd name="connsiteY221" fmla="*/ 8972 h 10000"/>
                <a:gd name="connsiteX222" fmla="*/ 5041 w 10000"/>
                <a:gd name="connsiteY222" fmla="*/ 9039 h 10000"/>
                <a:gd name="connsiteX223" fmla="*/ 5206 w 10000"/>
                <a:gd name="connsiteY223" fmla="*/ 8781 h 10000"/>
                <a:gd name="connsiteX224" fmla="*/ 5112 w 10000"/>
                <a:gd name="connsiteY224" fmla="*/ 8584 h 10000"/>
                <a:gd name="connsiteX225" fmla="*/ 4937 w 10000"/>
                <a:gd name="connsiteY225" fmla="*/ 8425 h 10000"/>
                <a:gd name="connsiteX226" fmla="*/ 5037 w 10000"/>
                <a:gd name="connsiteY226" fmla="*/ 8370 h 10000"/>
                <a:gd name="connsiteX227" fmla="*/ 5183 w 10000"/>
                <a:gd name="connsiteY227" fmla="*/ 8633 h 10000"/>
                <a:gd name="connsiteX228" fmla="*/ 5292 w 10000"/>
                <a:gd name="connsiteY228" fmla="*/ 8199 h 10000"/>
                <a:gd name="connsiteX229" fmla="*/ 5299 w 10000"/>
                <a:gd name="connsiteY229" fmla="*/ 8030 h 10000"/>
                <a:gd name="connsiteX230" fmla="*/ 5482 w 10000"/>
                <a:gd name="connsiteY230" fmla="*/ 7942 h 10000"/>
                <a:gd name="connsiteX231" fmla="*/ 5550 w 10000"/>
                <a:gd name="connsiteY231" fmla="*/ 7607 h 10000"/>
                <a:gd name="connsiteX232" fmla="*/ 5561 w 10000"/>
                <a:gd name="connsiteY232" fmla="*/ 7734 h 10000"/>
                <a:gd name="connsiteX233" fmla="*/ 5677 w 10000"/>
                <a:gd name="connsiteY233" fmla="*/ 7596 h 10000"/>
                <a:gd name="connsiteX234" fmla="*/ 5759 w 10000"/>
                <a:gd name="connsiteY234" fmla="*/ 7579 h 10000"/>
                <a:gd name="connsiteX235" fmla="*/ 5842 w 10000"/>
                <a:gd name="connsiteY235" fmla="*/ 7207 h 10000"/>
                <a:gd name="connsiteX236" fmla="*/ 5916 w 10000"/>
                <a:gd name="connsiteY236" fmla="*/ 7486 h 10000"/>
                <a:gd name="connsiteX237" fmla="*/ 6137 w 10000"/>
                <a:gd name="connsiteY237" fmla="*/ 7563 h 10000"/>
                <a:gd name="connsiteX238" fmla="*/ 5969 w 10000"/>
                <a:gd name="connsiteY238" fmla="*/ 7618 h 10000"/>
                <a:gd name="connsiteX239" fmla="*/ 5954 w 10000"/>
                <a:gd name="connsiteY239" fmla="*/ 7679 h 10000"/>
                <a:gd name="connsiteX240" fmla="*/ 5786 w 10000"/>
                <a:gd name="connsiteY240" fmla="*/ 7690 h 10000"/>
                <a:gd name="connsiteX241" fmla="*/ 5700 w 10000"/>
                <a:gd name="connsiteY241" fmla="*/ 7723 h 10000"/>
                <a:gd name="connsiteX242" fmla="*/ 5767 w 10000"/>
                <a:gd name="connsiteY242" fmla="*/ 7772 h 10000"/>
                <a:gd name="connsiteX243" fmla="*/ 5827 w 10000"/>
                <a:gd name="connsiteY243" fmla="*/ 7756 h 10000"/>
                <a:gd name="connsiteX244" fmla="*/ 5991 w 10000"/>
                <a:gd name="connsiteY244" fmla="*/ 7789 h 10000"/>
                <a:gd name="connsiteX245" fmla="*/ 5804 w 10000"/>
                <a:gd name="connsiteY245" fmla="*/ 7964 h 10000"/>
                <a:gd name="connsiteX246" fmla="*/ 5872 w 10000"/>
                <a:gd name="connsiteY246" fmla="*/ 8008 h 10000"/>
                <a:gd name="connsiteX247" fmla="*/ 6043 w 10000"/>
                <a:gd name="connsiteY247" fmla="*/ 7958 h 10000"/>
                <a:gd name="connsiteX248" fmla="*/ 6275 w 10000"/>
                <a:gd name="connsiteY248" fmla="*/ 8101 h 10000"/>
                <a:gd name="connsiteX249" fmla="*/ 6575 w 10000"/>
                <a:gd name="connsiteY249" fmla="*/ 7909 h 10000"/>
                <a:gd name="connsiteX250" fmla="*/ 6870 w 10000"/>
                <a:gd name="connsiteY250" fmla="*/ 7887 h 10000"/>
                <a:gd name="connsiteX251" fmla="*/ 6915 w 10000"/>
                <a:gd name="connsiteY251" fmla="*/ 7745 h 10000"/>
                <a:gd name="connsiteX252" fmla="*/ 6993 w 10000"/>
                <a:gd name="connsiteY252" fmla="*/ 7958 h 10000"/>
                <a:gd name="connsiteX253" fmla="*/ 7075 w 10000"/>
                <a:gd name="connsiteY253" fmla="*/ 7986 h 10000"/>
                <a:gd name="connsiteX254" fmla="*/ 7045 w 10000"/>
                <a:gd name="connsiteY254" fmla="*/ 8134 h 10000"/>
                <a:gd name="connsiteX255" fmla="*/ 6788 w 10000"/>
                <a:gd name="connsiteY255" fmla="*/ 8281 h 10000"/>
                <a:gd name="connsiteX256" fmla="*/ 6769 w 10000"/>
                <a:gd name="connsiteY256" fmla="*/ 8386 h 10000"/>
                <a:gd name="connsiteX257" fmla="*/ 6627 w 10000"/>
                <a:gd name="connsiteY257" fmla="*/ 8523 h 10000"/>
                <a:gd name="connsiteX258" fmla="*/ 6623 w 10000"/>
                <a:gd name="connsiteY258" fmla="*/ 8649 h 10000"/>
                <a:gd name="connsiteX259" fmla="*/ 6537 w 10000"/>
                <a:gd name="connsiteY259" fmla="*/ 8704 h 10000"/>
                <a:gd name="connsiteX260" fmla="*/ 6428 w 10000"/>
                <a:gd name="connsiteY260" fmla="*/ 8989 h 10000"/>
                <a:gd name="connsiteX261" fmla="*/ 6582 w 10000"/>
                <a:gd name="connsiteY261" fmla="*/ 9001 h 10000"/>
                <a:gd name="connsiteX262" fmla="*/ 6672 w 10000"/>
                <a:gd name="connsiteY262" fmla="*/ 8879 h 10000"/>
                <a:gd name="connsiteX263" fmla="*/ 6769 w 10000"/>
                <a:gd name="connsiteY263" fmla="*/ 8912 h 10000"/>
                <a:gd name="connsiteX264" fmla="*/ 6814 w 10000"/>
                <a:gd name="connsiteY264" fmla="*/ 8786 h 10000"/>
                <a:gd name="connsiteX265" fmla="*/ 6877 w 10000"/>
                <a:gd name="connsiteY265" fmla="*/ 9001 h 10000"/>
                <a:gd name="connsiteX266" fmla="*/ 7060 w 10000"/>
                <a:gd name="connsiteY266" fmla="*/ 8994 h 10000"/>
                <a:gd name="connsiteX267" fmla="*/ 7217 w 10000"/>
                <a:gd name="connsiteY267" fmla="*/ 9362 h 10000"/>
                <a:gd name="connsiteX268" fmla="*/ 7232 w 10000"/>
                <a:gd name="connsiteY268" fmla="*/ 9675 h 10000"/>
                <a:gd name="connsiteX269" fmla="*/ 7176 w 10000"/>
                <a:gd name="connsiteY269" fmla="*/ 9692 h 10000"/>
                <a:gd name="connsiteX270" fmla="*/ 7187 w 10000"/>
                <a:gd name="connsiteY270" fmla="*/ 9780 h 10000"/>
                <a:gd name="connsiteX271" fmla="*/ 7423 w 10000"/>
                <a:gd name="connsiteY271" fmla="*/ 9900 h 10000"/>
                <a:gd name="connsiteX272" fmla="*/ 7741 w 10000"/>
                <a:gd name="connsiteY272" fmla="*/ 9565 h 10000"/>
                <a:gd name="connsiteX273" fmla="*/ 7879 w 10000"/>
                <a:gd name="connsiteY273" fmla="*/ 9176 h 10000"/>
                <a:gd name="connsiteX274" fmla="*/ 8107 w 10000"/>
                <a:gd name="connsiteY274" fmla="*/ 9023 h 10000"/>
                <a:gd name="connsiteX275" fmla="*/ 8182 w 10000"/>
                <a:gd name="connsiteY275" fmla="*/ 8841 h 10000"/>
                <a:gd name="connsiteX276" fmla="*/ 8268 w 10000"/>
                <a:gd name="connsiteY276" fmla="*/ 8786 h 10000"/>
                <a:gd name="connsiteX277" fmla="*/ 8320 w 10000"/>
                <a:gd name="connsiteY277" fmla="*/ 8512 h 10000"/>
                <a:gd name="connsiteX278" fmla="*/ 8542 w 10000"/>
                <a:gd name="connsiteY278" fmla="*/ 8617 h 10000"/>
                <a:gd name="connsiteX279" fmla="*/ 8672 w 10000"/>
                <a:gd name="connsiteY279" fmla="*/ 8474 h 10000"/>
                <a:gd name="connsiteX280" fmla="*/ 8855 w 10000"/>
                <a:gd name="connsiteY280" fmla="*/ 8343 h 10000"/>
                <a:gd name="connsiteX281" fmla="*/ 8781 w 10000"/>
                <a:gd name="connsiteY281" fmla="*/ 8128 h 10000"/>
                <a:gd name="connsiteX282" fmla="*/ 7708 w 10000"/>
                <a:gd name="connsiteY282" fmla="*/ 7991 h 10000"/>
                <a:gd name="connsiteX283" fmla="*/ 7682 w 10000"/>
                <a:gd name="connsiteY283" fmla="*/ 7904 h 10000"/>
                <a:gd name="connsiteX284" fmla="*/ 7607 w 10000"/>
                <a:gd name="connsiteY284" fmla="*/ 8002 h 10000"/>
                <a:gd name="connsiteX285" fmla="*/ 7715 w 10000"/>
                <a:gd name="connsiteY285" fmla="*/ 7761 h 10000"/>
                <a:gd name="connsiteX286" fmla="*/ 7674 w 10000"/>
                <a:gd name="connsiteY286" fmla="*/ 7717 h 10000"/>
                <a:gd name="connsiteX287" fmla="*/ 7554 w 10000"/>
                <a:gd name="connsiteY287" fmla="*/ 7915 h 10000"/>
                <a:gd name="connsiteX288" fmla="*/ 7618 w 10000"/>
                <a:gd name="connsiteY288" fmla="*/ 7712 h 10000"/>
                <a:gd name="connsiteX289" fmla="*/ 7532 w 10000"/>
                <a:gd name="connsiteY289" fmla="*/ 7767 h 10000"/>
                <a:gd name="connsiteX290" fmla="*/ 7419 w 10000"/>
                <a:gd name="connsiteY290" fmla="*/ 7717 h 10000"/>
                <a:gd name="connsiteX291" fmla="*/ 7333 w 10000"/>
                <a:gd name="connsiteY291" fmla="*/ 7794 h 10000"/>
                <a:gd name="connsiteX292" fmla="*/ 7240 w 10000"/>
                <a:gd name="connsiteY292" fmla="*/ 7728 h 10000"/>
                <a:gd name="connsiteX293" fmla="*/ 7087 w 10000"/>
                <a:gd name="connsiteY293" fmla="*/ 7717 h 10000"/>
                <a:gd name="connsiteX294" fmla="*/ 7090 w 10000"/>
                <a:gd name="connsiteY294" fmla="*/ 7547 h 10000"/>
                <a:gd name="connsiteX295" fmla="*/ 7229 w 10000"/>
                <a:gd name="connsiteY295" fmla="*/ 7662 h 10000"/>
                <a:gd name="connsiteX296" fmla="*/ 7273 w 10000"/>
                <a:gd name="connsiteY296" fmla="*/ 7541 h 10000"/>
                <a:gd name="connsiteX297" fmla="*/ 7236 w 10000"/>
                <a:gd name="connsiteY297" fmla="*/ 7410 h 10000"/>
                <a:gd name="connsiteX298" fmla="*/ 7341 w 10000"/>
                <a:gd name="connsiteY298" fmla="*/ 7547 h 10000"/>
                <a:gd name="connsiteX299" fmla="*/ 7483 w 10000"/>
                <a:gd name="connsiteY299" fmla="*/ 7536 h 10000"/>
                <a:gd name="connsiteX300" fmla="*/ 7506 w 10000"/>
                <a:gd name="connsiteY300" fmla="*/ 7685 h 10000"/>
                <a:gd name="connsiteX301" fmla="*/ 7547 w 10000"/>
                <a:gd name="connsiteY301" fmla="*/ 7685 h 10000"/>
                <a:gd name="connsiteX302" fmla="*/ 7558 w 10000"/>
                <a:gd name="connsiteY302" fmla="*/ 7415 h 10000"/>
                <a:gd name="connsiteX303" fmla="*/ 7607 w 10000"/>
                <a:gd name="connsiteY303" fmla="*/ 7585 h 10000"/>
                <a:gd name="connsiteX304" fmla="*/ 7693 w 10000"/>
                <a:gd name="connsiteY304" fmla="*/ 7590 h 10000"/>
                <a:gd name="connsiteX305" fmla="*/ 7629 w 10000"/>
                <a:gd name="connsiteY305" fmla="*/ 7333 h 10000"/>
                <a:gd name="connsiteX306" fmla="*/ 7786 w 10000"/>
                <a:gd name="connsiteY306" fmla="*/ 7240 h 10000"/>
                <a:gd name="connsiteX307" fmla="*/ 7779 w 10000"/>
                <a:gd name="connsiteY307" fmla="*/ 6987 h 10000"/>
                <a:gd name="connsiteX308" fmla="*/ 7887 w 10000"/>
                <a:gd name="connsiteY308" fmla="*/ 7081 h 10000"/>
                <a:gd name="connsiteX309" fmla="*/ 7906 w 10000"/>
                <a:gd name="connsiteY309" fmla="*/ 7015 h 10000"/>
                <a:gd name="connsiteX310" fmla="*/ 7775 w 10000"/>
                <a:gd name="connsiteY310" fmla="*/ 6735 h 10000"/>
                <a:gd name="connsiteX311" fmla="*/ 7950 w 10000"/>
                <a:gd name="connsiteY311" fmla="*/ 6894 h 10000"/>
                <a:gd name="connsiteX312" fmla="*/ 8171 w 10000"/>
                <a:gd name="connsiteY312" fmla="*/ 6511 h 10000"/>
                <a:gd name="connsiteX313" fmla="*/ 8384 w 10000"/>
                <a:gd name="connsiteY313" fmla="*/ 6483 h 10000"/>
                <a:gd name="connsiteX314" fmla="*/ 8429 w 10000"/>
                <a:gd name="connsiteY31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165 w 10000"/>
                <a:gd name="connsiteY45" fmla="*/ 1996 h 10000"/>
                <a:gd name="connsiteX46" fmla="*/ 6892 w 10000"/>
                <a:gd name="connsiteY46" fmla="*/ 1827 h 10000"/>
                <a:gd name="connsiteX47" fmla="*/ 6922 w 10000"/>
                <a:gd name="connsiteY47" fmla="*/ 1728 h 10000"/>
                <a:gd name="connsiteX48" fmla="*/ 6765 w 10000"/>
                <a:gd name="connsiteY48" fmla="*/ 1398 h 10000"/>
                <a:gd name="connsiteX49" fmla="*/ 6799 w 10000"/>
                <a:gd name="connsiteY49" fmla="*/ 1256 h 10000"/>
                <a:gd name="connsiteX50" fmla="*/ 6728 w 10000"/>
                <a:gd name="connsiteY50" fmla="*/ 1229 h 10000"/>
                <a:gd name="connsiteX51" fmla="*/ 6657 w 10000"/>
                <a:gd name="connsiteY51" fmla="*/ 1311 h 10000"/>
                <a:gd name="connsiteX52" fmla="*/ 6593 w 10000"/>
                <a:gd name="connsiteY52" fmla="*/ 1114 h 10000"/>
                <a:gd name="connsiteX53" fmla="*/ 6391 w 10000"/>
                <a:gd name="connsiteY53" fmla="*/ 1311 h 10000"/>
                <a:gd name="connsiteX54" fmla="*/ 6309 w 10000"/>
                <a:gd name="connsiteY54" fmla="*/ 1223 h 10000"/>
                <a:gd name="connsiteX55" fmla="*/ 6126 w 10000"/>
                <a:gd name="connsiteY55" fmla="*/ 1273 h 10000"/>
                <a:gd name="connsiteX56" fmla="*/ 6144 w 10000"/>
                <a:gd name="connsiteY56" fmla="*/ 1125 h 10000"/>
                <a:gd name="connsiteX57" fmla="*/ 6073 w 10000"/>
                <a:gd name="connsiteY57" fmla="*/ 1119 h 10000"/>
                <a:gd name="connsiteX58" fmla="*/ 6040 w 10000"/>
                <a:gd name="connsiteY58" fmla="*/ 910 h 10000"/>
                <a:gd name="connsiteX59" fmla="*/ 5942 w 10000"/>
                <a:gd name="connsiteY59" fmla="*/ 795 h 10000"/>
                <a:gd name="connsiteX60" fmla="*/ 6144 w 10000"/>
                <a:gd name="connsiteY60" fmla="*/ 620 h 10000"/>
                <a:gd name="connsiteX61" fmla="*/ 5901 w 10000"/>
                <a:gd name="connsiteY61" fmla="*/ 395 h 10000"/>
                <a:gd name="connsiteX62" fmla="*/ 5853 w 10000"/>
                <a:gd name="connsiteY62" fmla="*/ 142 h 10000"/>
                <a:gd name="connsiteX63" fmla="*/ 5741 w 10000"/>
                <a:gd name="connsiteY63" fmla="*/ 110 h 10000"/>
                <a:gd name="connsiteX64" fmla="*/ 5647 w 10000"/>
                <a:gd name="connsiteY64" fmla="*/ 0 h 10000"/>
                <a:gd name="connsiteX65" fmla="*/ 5547 w 10000"/>
                <a:gd name="connsiteY65" fmla="*/ 120 h 10000"/>
                <a:gd name="connsiteX66" fmla="*/ 5377 w 10000"/>
                <a:gd name="connsiteY66" fmla="*/ 110 h 10000"/>
                <a:gd name="connsiteX67" fmla="*/ 5232 w 10000"/>
                <a:gd name="connsiteY67" fmla="*/ 351 h 10000"/>
                <a:gd name="connsiteX68" fmla="*/ 4952 w 10000"/>
                <a:gd name="connsiteY68" fmla="*/ 329 h 10000"/>
                <a:gd name="connsiteX69" fmla="*/ 4884 w 10000"/>
                <a:gd name="connsiteY69" fmla="*/ 680 h 10000"/>
                <a:gd name="connsiteX70" fmla="*/ 4701 w 10000"/>
                <a:gd name="connsiteY70" fmla="*/ 707 h 10000"/>
                <a:gd name="connsiteX71" fmla="*/ 4795 w 10000"/>
                <a:gd name="connsiteY71" fmla="*/ 844 h 10000"/>
                <a:gd name="connsiteX72" fmla="*/ 4739 w 10000"/>
                <a:gd name="connsiteY72" fmla="*/ 899 h 10000"/>
                <a:gd name="connsiteX73" fmla="*/ 4612 w 10000"/>
                <a:gd name="connsiteY73" fmla="*/ 894 h 10000"/>
                <a:gd name="connsiteX74" fmla="*/ 4439 w 10000"/>
                <a:gd name="connsiteY74" fmla="*/ 1026 h 10000"/>
                <a:gd name="connsiteX75" fmla="*/ 4252 w 10000"/>
                <a:gd name="connsiteY75" fmla="*/ 1668 h 10000"/>
                <a:gd name="connsiteX76" fmla="*/ 4308 w 10000"/>
                <a:gd name="connsiteY76" fmla="*/ 2090 h 10000"/>
                <a:gd name="connsiteX77" fmla="*/ 4121 w 10000"/>
                <a:gd name="connsiteY77" fmla="*/ 1865 h 10000"/>
                <a:gd name="connsiteX78" fmla="*/ 3849 w 10000"/>
                <a:gd name="connsiteY78" fmla="*/ 1991 h 10000"/>
                <a:gd name="connsiteX79" fmla="*/ 3822 w 10000"/>
                <a:gd name="connsiteY79" fmla="*/ 1931 h 10000"/>
                <a:gd name="connsiteX80" fmla="*/ 3695 w 10000"/>
                <a:gd name="connsiteY80" fmla="*/ 2002 h 10000"/>
                <a:gd name="connsiteX81" fmla="*/ 3621 w 10000"/>
                <a:gd name="connsiteY81" fmla="*/ 2144 h 10000"/>
                <a:gd name="connsiteX82" fmla="*/ 3561 w 10000"/>
                <a:gd name="connsiteY82" fmla="*/ 1909 h 10000"/>
                <a:gd name="connsiteX83" fmla="*/ 3478 w 10000"/>
                <a:gd name="connsiteY83" fmla="*/ 1843 h 10000"/>
                <a:gd name="connsiteX84" fmla="*/ 3444 w 10000"/>
                <a:gd name="connsiteY84" fmla="*/ 1964 h 10000"/>
                <a:gd name="connsiteX85" fmla="*/ 3332 w 10000"/>
                <a:gd name="connsiteY85" fmla="*/ 1996 h 10000"/>
                <a:gd name="connsiteX86" fmla="*/ 3272 w 10000"/>
                <a:gd name="connsiteY86" fmla="*/ 2161 h 10000"/>
                <a:gd name="connsiteX87" fmla="*/ 3235 w 10000"/>
                <a:gd name="connsiteY87" fmla="*/ 2013 h 10000"/>
                <a:gd name="connsiteX88" fmla="*/ 3123 w 10000"/>
                <a:gd name="connsiteY88" fmla="*/ 2024 h 10000"/>
                <a:gd name="connsiteX89" fmla="*/ 3078 w 10000"/>
                <a:gd name="connsiteY89" fmla="*/ 2128 h 10000"/>
                <a:gd name="connsiteX90" fmla="*/ 3011 w 10000"/>
                <a:gd name="connsiteY90" fmla="*/ 1975 h 10000"/>
                <a:gd name="connsiteX91" fmla="*/ 2895 w 10000"/>
                <a:gd name="connsiteY91" fmla="*/ 2117 h 10000"/>
                <a:gd name="connsiteX92" fmla="*/ 2783 w 10000"/>
                <a:gd name="connsiteY92" fmla="*/ 2106 h 10000"/>
                <a:gd name="connsiteX93" fmla="*/ 2779 w 10000"/>
                <a:gd name="connsiteY93" fmla="*/ 2276 h 10000"/>
                <a:gd name="connsiteX94" fmla="*/ 2727 w 10000"/>
                <a:gd name="connsiteY94" fmla="*/ 2144 h 10000"/>
                <a:gd name="connsiteX95" fmla="*/ 2559 w 10000"/>
                <a:gd name="connsiteY95" fmla="*/ 2155 h 10000"/>
                <a:gd name="connsiteX96" fmla="*/ 2438 w 10000"/>
                <a:gd name="connsiteY96" fmla="*/ 1980 h 10000"/>
                <a:gd name="connsiteX97" fmla="*/ 2293 w 10000"/>
                <a:gd name="connsiteY97" fmla="*/ 2073 h 10000"/>
                <a:gd name="connsiteX98" fmla="*/ 2143 w 10000"/>
                <a:gd name="connsiteY98" fmla="*/ 1958 h 10000"/>
                <a:gd name="connsiteX99" fmla="*/ 2057 w 10000"/>
                <a:gd name="connsiteY99" fmla="*/ 2035 h 10000"/>
                <a:gd name="connsiteX100" fmla="*/ 1975 w 10000"/>
                <a:gd name="connsiteY100" fmla="*/ 1947 h 10000"/>
                <a:gd name="connsiteX101" fmla="*/ 1852 w 10000"/>
                <a:gd name="connsiteY101" fmla="*/ 1936 h 10000"/>
                <a:gd name="connsiteX102" fmla="*/ 1669 w 10000"/>
                <a:gd name="connsiteY102" fmla="*/ 1925 h 10000"/>
                <a:gd name="connsiteX103" fmla="*/ 1444 w 10000"/>
                <a:gd name="connsiteY103" fmla="*/ 1991 h 10000"/>
                <a:gd name="connsiteX104" fmla="*/ 1205 w 10000"/>
                <a:gd name="connsiteY104" fmla="*/ 2062 h 10000"/>
                <a:gd name="connsiteX105" fmla="*/ 921 w 10000"/>
                <a:gd name="connsiteY105" fmla="*/ 2166 h 10000"/>
                <a:gd name="connsiteX106" fmla="*/ 797 w 10000"/>
                <a:gd name="connsiteY106" fmla="*/ 2496 h 10000"/>
                <a:gd name="connsiteX107" fmla="*/ 603 w 10000"/>
                <a:gd name="connsiteY107" fmla="*/ 2501 h 10000"/>
                <a:gd name="connsiteX108" fmla="*/ 540 w 10000"/>
                <a:gd name="connsiteY108" fmla="*/ 2687 h 10000"/>
                <a:gd name="connsiteX109" fmla="*/ 558 w 10000"/>
                <a:gd name="connsiteY109" fmla="*/ 2764 h 10000"/>
                <a:gd name="connsiteX110" fmla="*/ 577 w 10000"/>
                <a:gd name="connsiteY110" fmla="*/ 2868 h 10000"/>
                <a:gd name="connsiteX111" fmla="*/ 577 w 10000"/>
                <a:gd name="connsiteY111" fmla="*/ 2868 h 10000"/>
                <a:gd name="connsiteX112" fmla="*/ 577 w 10000"/>
                <a:gd name="connsiteY112" fmla="*/ 2896 h 10000"/>
                <a:gd name="connsiteX113" fmla="*/ 682 w 10000"/>
                <a:gd name="connsiteY113" fmla="*/ 3116 h 10000"/>
                <a:gd name="connsiteX114" fmla="*/ 786 w 10000"/>
                <a:gd name="connsiteY114" fmla="*/ 3351 h 10000"/>
                <a:gd name="connsiteX115" fmla="*/ 921 w 10000"/>
                <a:gd name="connsiteY115" fmla="*/ 3488 h 10000"/>
                <a:gd name="connsiteX116" fmla="*/ 876 w 10000"/>
                <a:gd name="connsiteY116" fmla="*/ 3548 h 10000"/>
                <a:gd name="connsiteX117" fmla="*/ 805 w 10000"/>
                <a:gd name="connsiteY117" fmla="*/ 3603 h 10000"/>
                <a:gd name="connsiteX118" fmla="*/ 887 w 10000"/>
                <a:gd name="connsiteY118" fmla="*/ 3697 h 10000"/>
                <a:gd name="connsiteX119" fmla="*/ 876 w 10000"/>
                <a:gd name="connsiteY119" fmla="*/ 4053 h 10000"/>
                <a:gd name="connsiteX120" fmla="*/ 693 w 10000"/>
                <a:gd name="connsiteY120" fmla="*/ 4124 h 10000"/>
                <a:gd name="connsiteX121" fmla="*/ 498 w 10000"/>
                <a:gd name="connsiteY121" fmla="*/ 4531 h 10000"/>
                <a:gd name="connsiteX122" fmla="*/ 371 w 10000"/>
                <a:gd name="connsiteY122" fmla="*/ 4936 h 10000"/>
                <a:gd name="connsiteX123" fmla="*/ 195 w 10000"/>
                <a:gd name="connsiteY123" fmla="*/ 5260 h 10000"/>
                <a:gd name="connsiteX124" fmla="*/ 270 w 10000"/>
                <a:gd name="connsiteY124" fmla="*/ 5517 h 10000"/>
                <a:gd name="connsiteX125" fmla="*/ 277 w 10000"/>
                <a:gd name="connsiteY125" fmla="*/ 5732 h 10000"/>
                <a:gd name="connsiteX126" fmla="*/ 400 w 10000"/>
                <a:gd name="connsiteY126" fmla="*/ 5841 h 10000"/>
                <a:gd name="connsiteX127" fmla="*/ 382 w 10000"/>
                <a:gd name="connsiteY127" fmla="*/ 5945 h 10000"/>
                <a:gd name="connsiteX128" fmla="*/ 202 w 10000"/>
                <a:gd name="connsiteY128" fmla="*/ 5852 h 10000"/>
                <a:gd name="connsiteX129" fmla="*/ 124 w 10000"/>
                <a:gd name="connsiteY129" fmla="*/ 6099 h 10000"/>
                <a:gd name="connsiteX130" fmla="*/ 105 w 10000"/>
                <a:gd name="connsiteY130" fmla="*/ 6346 h 10000"/>
                <a:gd name="connsiteX131" fmla="*/ 1 w 10000"/>
                <a:gd name="connsiteY131" fmla="*/ 6571 h 10000"/>
                <a:gd name="connsiteX132" fmla="*/ 19 w 10000"/>
                <a:gd name="connsiteY132" fmla="*/ 6779 h 10000"/>
                <a:gd name="connsiteX133" fmla="*/ 90 w 10000"/>
                <a:gd name="connsiteY133" fmla="*/ 6828 h 10000"/>
                <a:gd name="connsiteX134" fmla="*/ 154 w 10000"/>
                <a:gd name="connsiteY134" fmla="*/ 6960 h 10000"/>
                <a:gd name="connsiteX135" fmla="*/ 240 w 10000"/>
                <a:gd name="connsiteY135" fmla="*/ 6943 h 10000"/>
                <a:gd name="connsiteX136" fmla="*/ 292 w 10000"/>
                <a:gd name="connsiteY136" fmla="*/ 7076 h 10000"/>
                <a:gd name="connsiteX137" fmla="*/ 445 w 10000"/>
                <a:gd name="connsiteY137" fmla="*/ 7103 h 10000"/>
                <a:gd name="connsiteX138" fmla="*/ 453 w 10000"/>
                <a:gd name="connsiteY138" fmla="*/ 7251 h 10000"/>
                <a:gd name="connsiteX139" fmla="*/ 494 w 10000"/>
                <a:gd name="connsiteY139" fmla="*/ 7278 h 10000"/>
                <a:gd name="connsiteX140" fmla="*/ 525 w 10000"/>
                <a:gd name="connsiteY140" fmla="*/ 7174 h 10000"/>
                <a:gd name="connsiteX141" fmla="*/ 581 w 10000"/>
                <a:gd name="connsiteY141" fmla="*/ 7196 h 10000"/>
                <a:gd name="connsiteX142" fmla="*/ 644 w 10000"/>
                <a:gd name="connsiteY142" fmla="*/ 6992 h 10000"/>
                <a:gd name="connsiteX143" fmla="*/ 820 w 10000"/>
                <a:gd name="connsiteY143" fmla="*/ 7174 h 10000"/>
                <a:gd name="connsiteX144" fmla="*/ 1283 w 10000"/>
                <a:gd name="connsiteY144" fmla="*/ 7163 h 10000"/>
                <a:gd name="connsiteX145" fmla="*/ 1466 w 10000"/>
                <a:gd name="connsiteY145" fmla="*/ 7092 h 10000"/>
                <a:gd name="connsiteX146" fmla="*/ 1766 w 10000"/>
                <a:gd name="connsiteY146" fmla="*/ 7344 h 10000"/>
                <a:gd name="connsiteX147" fmla="*/ 1956 w 10000"/>
                <a:gd name="connsiteY147" fmla="*/ 7087 h 10000"/>
                <a:gd name="connsiteX148" fmla="*/ 2382 w 10000"/>
                <a:gd name="connsiteY148" fmla="*/ 6861 h 10000"/>
                <a:gd name="connsiteX149" fmla="*/ 2536 w 10000"/>
                <a:gd name="connsiteY149" fmla="*/ 6489 h 10000"/>
                <a:gd name="connsiteX150" fmla="*/ 2648 w 10000"/>
                <a:gd name="connsiteY150" fmla="*/ 6439 h 10000"/>
                <a:gd name="connsiteX151" fmla="*/ 2648 w 10000"/>
                <a:gd name="connsiteY151" fmla="*/ 6379 h 10000"/>
                <a:gd name="connsiteX152" fmla="*/ 2693 w 10000"/>
                <a:gd name="connsiteY152" fmla="*/ 6379 h 10000"/>
                <a:gd name="connsiteX153" fmla="*/ 2682 w 10000"/>
                <a:gd name="connsiteY153" fmla="*/ 6230 h 10000"/>
                <a:gd name="connsiteX154" fmla="*/ 2820 w 10000"/>
                <a:gd name="connsiteY154" fmla="*/ 6285 h 10000"/>
                <a:gd name="connsiteX155" fmla="*/ 2839 w 10000"/>
                <a:gd name="connsiteY155" fmla="*/ 6159 h 10000"/>
                <a:gd name="connsiteX156" fmla="*/ 2921 w 10000"/>
                <a:gd name="connsiteY156" fmla="*/ 6230 h 10000"/>
                <a:gd name="connsiteX157" fmla="*/ 2981 w 10000"/>
                <a:gd name="connsiteY157" fmla="*/ 6126 h 10000"/>
                <a:gd name="connsiteX158" fmla="*/ 3078 w 10000"/>
                <a:gd name="connsiteY158" fmla="*/ 6154 h 10000"/>
                <a:gd name="connsiteX159" fmla="*/ 3164 w 10000"/>
                <a:gd name="connsiteY159" fmla="*/ 6055 h 10000"/>
                <a:gd name="connsiteX160" fmla="*/ 3328 w 10000"/>
                <a:gd name="connsiteY160" fmla="*/ 6192 h 10000"/>
                <a:gd name="connsiteX161" fmla="*/ 3411 w 10000"/>
                <a:gd name="connsiteY161" fmla="*/ 6197 h 10000"/>
                <a:gd name="connsiteX162" fmla="*/ 3437 w 10000"/>
                <a:gd name="connsiteY162" fmla="*/ 6307 h 10000"/>
                <a:gd name="connsiteX163" fmla="*/ 3591 w 10000"/>
                <a:gd name="connsiteY163" fmla="*/ 6236 h 10000"/>
                <a:gd name="connsiteX164" fmla="*/ 3576 w 10000"/>
                <a:gd name="connsiteY164" fmla="*/ 6357 h 10000"/>
                <a:gd name="connsiteX165" fmla="*/ 3632 w 10000"/>
                <a:gd name="connsiteY165" fmla="*/ 6341 h 10000"/>
                <a:gd name="connsiteX166" fmla="*/ 3699 w 10000"/>
                <a:gd name="connsiteY166" fmla="*/ 6428 h 10000"/>
                <a:gd name="connsiteX167" fmla="*/ 3703 w 10000"/>
                <a:gd name="connsiteY167" fmla="*/ 6301 h 10000"/>
                <a:gd name="connsiteX168" fmla="*/ 3882 w 10000"/>
                <a:gd name="connsiteY168" fmla="*/ 6341 h 10000"/>
                <a:gd name="connsiteX169" fmla="*/ 3946 w 10000"/>
                <a:gd name="connsiteY169" fmla="*/ 6511 h 10000"/>
                <a:gd name="connsiteX170" fmla="*/ 4047 w 10000"/>
                <a:gd name="connsiteY170" fmla="*/ 6494 h 10000"/>
                <a:gd name="connsiteX171" fmla="*/ 4091 w 10000"/>
                <a:gd name="connsiteY171" fmla="*/ 6417 h 10000"/>
                <a:gd name="connsiteX172" fmla="*/ 4192 w 10000"/>
                <a:gd name="connsiteY172" fmla="*/ 6735 h 10000"/>
                <a:gd name="connsiteX173" fmla="*/ 4155 w 10000"/>
                <a:gd name="connsiteY173" fmla="*/ 6987 h 10000"/>
                <a:gd name="connsiteX174" fmla="*/ 4207 w 10000"/>
                <a:gd name="connsiteY174" fmla="*/ 7114 h 10000"/>
                <a:gd name="connsiteX175" fmla="*/ 4278 w 10000"/>
                <a:gd name="connsiteY175" fmla="*/ 7119 h 10000"/>
                <a:gd name="connsiteX176" fmla="*/ 4387 w 10000"/>
                <a:gd name="connsiteY176" fmla="*/ 7256 h 10000"/>
                <a:gd name="connsiteX177" fmla="*/ 4431 w 10000"/>
                <a:gd name="connsiteY177" fmla="*/ 7152 h 10000"/>
                <a:gd name="connsiteX178" fmla="*/ 4480 w 10000"/>
                <a:gd name="connsiteY178" fmla="*/ 7322 h 10000"/>
                <a:gd name="connsiteX179" fmla="*/ 4541 w 10000"/>
                <a:gd name="connsiteY179" fmla="*/ 7662 h 10000"/>
                <a:gd name="connsiteX180" fmla="*/ 4720 w 10000"/>
                <a:gd name="connsiteY180" fmla="*/ 7739 h 10000"/>
                <a:gd name="connsiteX181" fmla="*/ 4761 w 10000"/>
                <a:gd name="connsiteY181" fmla="*/ 8183 h 10000"/>
                <a:gd name="connsiteX182" fmla="*/ 4914 w 10000"/>
                <a:gd name="connsiteY182" fmla="*/ 8276 h 10000"/>
                <a:gd name="connsiteX183" fmla="*/ 4757 w 10000"/>
                <a:gd name="connsiteY183" fmla="*/ 8370 h 10000"/>
                <a:gd name="connsiteX184" fmla="*/ 4705 w 10000"/>
                <a:gd name="connsiteY184" fmla="*/ 8260 h 10000"/>
                <a:gd name="connsiteX185" fmla="*/ 4645 w 10000"/>
                <a:gd name="connsiteY185" fmla="*/ 8403 h 10000"/>
                <a:gd name="connsiteX186" fmla="*/ 4491 w 10000"/>
                <a:gd name="connsiteY186" fmla="*/ 8287 h 10000"/>
                <a:gd name="connsiteX187" fmla="*/ 4405 w 10000"/>
                <a:gd name="connsiteY187" fmla="*/ 8452 h 10000"/>
                <a:gd name="connsiteX188" fmla="*/ 4226 w 10000"/>
                <a:gd name="connsiteY188" fmla="*/ 8331 h 10000"/>
                <a:gd name="connsiteX189" fmla="*/ 4312 w 10000"/>
                <a:gd name="connsiteY189" fmla="*/ 8699 h 10000"/>
                <a:gd name="connsiteX190" fmla="*/ 4304 w 10000"/>
                <a:gd name="connsiteY190" fmla="*/ 8967 h 10000"/>
                <a:gd name="connsiteX191" fmla="*/ 4189 w 10000"/>
                <a:gd name="connsiteY191" fmla="*/ 9088 h 10000"/>
                <a:gd name="connsiteX192" fmla="*/ 4226 w 10000"/>
                <a:gd name="connsiteY192" fmla="*/ 9193 h 10000"/>
                <a:gd name="connsiteX193" fmla="*/ 4065 w 10000"/>
                <a:gd name="connsiteY193" fmla="*/ 9412 h 10000"/>
                <a:gd name="connsiteX194" fmla="*/ 4129 w 10000"/>
                <a:gd name="connsiteY194" fmla="*/ 9647 h 10000"/>
                <a:gd name="connsiteX195" fmla="*/ 3972 w 10000"/>
                <a:gd name="connsiteY195" fmla="*/ 9681 h 10000"/>
                <a:gd name="connsiteX196" fmla="*/ 3931 w 10000"/>
                <a:gd name="connsiteY196" fmla="*/ 9741 h 10000"/>
                <a:gd name="connsiteX197" fmla="*/ 3998 w 10000"/>
                <a:gd name="connsiteY197" fmla="*/ 9785 h 10000"/>
                <a:gd name="connsiteX198" fmla="*/ 4118 w 10000"/>
                <a:gd name="connsiteY198" fmla="*/ 9944 h 10000"/>
                <a:gd name="connsiteX199" fmla="*/ 4312 w 10000"/>
                <a:gd name="connsiteY199" fmla="*/ 9999 h 10000"/>
                <a:gd name="connsiteX200" fmla="*/ 4319 w 10000"/>
                <a:gd name="connsiteY200" fmla="*/ 9851 h 10000"/>
                <a:gd name="connsiteX201" fmla="*/ 4387 w 10000"/>
                <a:gd name="connsiteY201" fmla="*/ 9856 h 10000"/>
                <a:gd name="connsiteX202" fmla="*/ 4675 w 10000"/>
                <a:gd name="connsiteY202" fmla="*/ 9603 h 10000"/>
                <a:gd name="connsiteX203" fmla="*/ 4866 w 10000"/>
                <a:gd name="connsiteY203" fmla="*/ 9845 h 10000"/>
                <a:gd name="connsiteX204" fmla="*/ 4866 w 10000"/>
                <a:gd name="connsiteY204" fmla="*/ 9862 h 10000"/>
                <a:gd name="connsiteX205" fmla="*/ 4896 w 10000"/>
                <a:gd name="connsiteY205" fmla="*/ 9703 h 10000"/>
                <a:gd name="connsiteX206" fmla="*/ 4843 w 10000"/>
                <a:gd name="connsiteY206" fmla="*/ 9570 h 10000"/>
                <a:gd name="connsiteX207" fmla="*/ 4776 w 10000"/>
                <a:gd name="connsiteY207" fmla="*/ 9549 h 10000"/>
                <a:gd name="connsiteX208" fmla="*/ 4821 w 10000"/>
                <a:gd name="connsiteY208" fmla="*/ 9466 h 10000"/>
                <a:gd name="connsiteX209" fmla="*/ 4806 w 10000"/>
                <a:gd name="connsiteY209" fmla="*/ 9444 h 10000"/>
                <a:gd name="connsiteX210" fmla="*/ 4750 w 10000"/>
                <a:gd name="connsiteY210" fmla="*/ 9439 h 10000"/>
                <a:gd name="connsiteX211" fmla="*/ 4720 w 10000"/>
                <a:gd name="connsiteY211" fmla="*/ 9121 h 10000"/>
                <a:gd name="connsiteX212" fmla="*/ 4761 w 10000"/>
                <a:gd name="connsiteY212" fmla="*/ 9105 h 10000"/>
                <a:gd name="connsiteX213" fmla="*/ 4783 w 10000"/>
                <a:gd name="connsiteY213" fmla="*/ 9253 h 10000"/>
                <a:gd name="connsiteX214" fmla="*/ 4836 w 10000"/>
                <a:gd name="connsiteY214" fmla="*/ 9384 h 10000"/>
                <a:gd name="connsiteX215" fmla="*/ 4881 w 10000"/>
                <a:gd name="connsiteY215" fmla="*/ 9302 h 10000"/>
                <a:gd name="connsiteX216" fmla="*/ 4869 w 10000"/>
                <a:gd name="connsiteY216" fmla="*/ 9220 h 10000"/>
                <a:gd name="connsiteX217" fmla="*/ 4940 w 10000"/>
                <a:gd name="connsiteY217" fmla="*/ 9203 h 10000"/>
                <a:gd name="connsiteX218" fmla="*/ 4903 w 10000"/>
                <a:gd name="connsiteY218" fmla="*/ 9034 h 10000"/>
                <a:gd name="connsiteX219" fmla="*/ 5000 w 10000"/>
                <a:gd name="connsiteY219" fmla="*/ 9061 h 10000"/>
                <a:gd name="connsiteX220" fmla="*/ 5004 w 10000"/>
                <a:gd name="connsiteY220" fmla="*/ 8972 h 10000"/>
                <a:gd name="connsiteX221" fmla="*/ 5041 w 10000"/>
                <a:gd name="connsiteY221" fmla="*/ 9039 h 10000"/>
                <a:gd name="connsiteX222" fmla="*/ 5206 w 10000"/>
                <a:gd name="connsiteY222" fmla="*/ 8781 h 10000"/>
                <a:gd name="connsiteX223" fmla="*/ 5112 w 10000"/>
                <a:gd name="connsiteY223" fmla="*/ 8584 h 10000"/>
                <a:gd name="connsiteX224" fmla="*/ 4937 w 10000"/>
                <a:gd name="connsiteY224" fmla="*/ 8425 h 10000"/>
                <a:gd name="connsiteX225" fmla="*/ 5037 w 10000"/>
                <a:gd name="connsiteY225" fmla="*/ 8370 h 10000"/>
                <a:gd name="connsiteX226" fmla="*/ 5183 w 10000"/>
                <a:gd name="connsiteY226" fmla="*/ 8633 h 10000"/>
                <a:gd name="connsiteX227" fmla="*/ 5292 w 10000"/>
                <a:gd name="connsiteY227" fmla="*/ 8199 h 10000"/>
                <a:gd name="connsiteX228" fmla="*/ 5299 w 10000"/>
                <a:gd name="connsiteY228" fmla="*/ 8030 h 10000"/>
                <a:gd name="connsiteX229" fmla="*/ 5482 w 10000"/>
                <a:gd name="connsiteY229" fmla="*/ 7942 h 10000"/>
                <a:gd name="connsiteX230" fmla="*/ 5550 w 10000"/>
                <a:gd name="connsiteY230" fmla="*/ 7607 h 10000"/>
                <a:gd name="connsiteX231" fmla="*/ 5561 w 10000"/>
                <a:gd name="connsiteY231" fmla="*/ 7734 h 10000"/>
                <a:gd name="connsiteX232" fmla="*/ 5677 w 10000"/>
                <a:gd name="connsiteY232" fmla="*/ 7596 h 10000"/>
                <a:gd name="connsiteX233" fmla="*/ 5759 w 10000"/>
                <a:gd name="connsiteY233" fmla="*/ 7579 h 10000"/>
                <a:gd name="connsiteX234" fmla="*/ 5842 w 10000"/>
                <a:gd name="connsiteY234" fmla="*/ 7207 h 10000"/>
                <a:gd name="connsiteX235" fmla="*/ 5916 w 10000"/>
                <a:gd name="connsiteY235" fmla="*/ 7486 h 10000"/>
                <a:gd name="connsiteX236" fmla="*/ 6137 w 10000"/>
                <a:gd name="connsiteY236" fmla="*/ 7563 h 10000"/>
                <a:gd name="connsiteX237" fmla="*/ 5969 w 10000"/>
                <a:gd name="connsiteY237" fmla="*/ 7618 h 10000"/>
                <a:gd name="connsiteX238" fmla="*/ 5954 w 10000"/>
                <a:gd name="connsiteY238" fmla="*/ 7679 h 10000"/>
                <a:gd name="connsiteX239" fmla="*/ 5786 w 10000"/>
                <a:gd name="connsiteY239" fmla="*/ 7690 h 10000"/>
                <a:gd name="connsiteX240" fmla="*/ 5700 w 10000"/>
                <a:gd name="connsiteY240" fmla="*/ 7723 h 10000"/>
                <a:gd name="connsiteX241" fmla="*/ 5767 w 10000"/>
                <a:gd name="connsiteY241" fmla="*/ 7772 h 10000"/>
                <a:gd name="connsiteX242" fmla="*/ 5827 w 10000"/>
                <a:gd name="connsiteY242" fmla="*/ 7756 h 10000"/>
                <a:gd name="connsiteX243" fmla="*/ 5991 w 10000"/>
                <a:gd name="connsiteY243" fmla="*/ 7789 h 10000"/>
                <a:gd name="connsiteX244" fmla="*/ 5804 w 10000"/>
                <a:gd name="connsiteY244" fmla="*/ 7964 h 10000"/>
                <a:gd name="connsiteX245" fmla="*/ 5872 w 10000"/>
                <a:gd name="connsiteY245" fmla="*/ 8008 h 10000"/>
                <a:gd name="connsiteX246" fmla="*/ 6043 w 10000"/>
                <a:gd name="connsiteY246" fmla="*/ 7958 h 10000"/>
                <a:gd name="connsiteX247" fmla="*/ 6275 w 10000"/>
                <a:gd name="connsiteY247" fmla="*/ 8101 h 10000"/>
                <a:gd name="connsiteX248" fmla="*/ 6575 w 10000"/>
                <a:gd name="connsiteY248" fmla="*/ 7909 h 10000"/>
                <a:gd name="connsiteX249" fmla="*/ 6870 w 10000"/>
                <a:gd name="connsiteY249" fmla="*/ 7887 h 10000"/>
                <a:gd name="connsiteX250" fmla="*/ 6915 w 10000"/>
                <a:gd name="connsiteY250" fmla="*/ 7745 h 10000"/>
                <a:gd name="connsiteX251" fmla="*/ 6993 w 10000"/>
                <a:gd name="connsiteY251" fmla="*/ 7958 h 10000"/>
                <a:gd name="connsiteX252" fmla="*/ 7075 w 10000"/>
                <a:gd name="connsiteY252" fmla="*/ 7986 h 10000"/>
                <a:gd name="connsiteX253" fmla="*/ 7045 w 10000"/>
                <a:gd name="connsiteY253" fmla="*/ 8134 h 10000"/>
                <a:gd name="connsiteX254" fmla="*/ 6788 w 10000"/>
                <a:gd name="connsiteY254" fmla="*/ 8281 h 10000"/>
                <a:gd name="connsiteX255" fmla="*/ 6769 w 10000"/>
                <a:gd name="connsiteY255" fmla="*/ 8386 h 10000"/>
                <a:gd name="connsiteX256" fmla="*/ 6627 w 10000"/>
                <a:gd name="connsiteY256" fmla="*/ 8523 h 10000"/>
                <a:gd name="connsiteX257" fmla="*/ 6623 w 10000"/>
                <a:gd name="connsiteY257" fmla="*/ 8649 h 10000"/>
                <a:gd name="connsiteX258" fmla="*/ 6537 w 10000"/>
                <a:gd name="connsiteY258" fmla="*/ 8704 h 10000"/>
                <a:gd name="connsiteX259" fmla="*/ 6428 w 10000"/>
                <a:gd name="connsiteY259" fmla="*/ 8989 h 10000"/>
                <a:gd name="connsiteX260" fmla="*/ 6582 w 10000"/>
                <a:gd name="connsiteY260" fmla="*/ 9001 h 10000"/>
                <a:gd name="connsiteX261" fmla="*/ 6672 w 10000"/>
                <a:gd name="connsiteY261" fmla="*/ 8879 h 10000"/>
                <a:gd name="connsiteX262" fmla="*/ 6769 w 10000"/>
                <a:gd name="connsiteY262" fmla="*/ 8912 h 10000"/>
                <a:gd name="connsiteX263" fmla="*/ 6814 w 10000"/>
                <a:gd name="connsiteY263" fmla="*/ 8786 h 10000"/>
                <a:gd name="connsiteX264" fmla="*/ 6877 w 10000"/>
                <a:gd name="connsiteY264" fmla="*/ 9001 h 10000"/>
                <a:gd name="connsiteX265" fmla="*/ 7060 w 10000"/>
                <a:gd name="connsiteY265" fmla="*/ 8994 h 10000"/>
                <a:gd name="connsiteX266" fmla="*/ 7217 w 10000"/>
                <a:gd name="connsiteY266" fmla="*/ 9362 h 10000"/>
                <a:gd name="connsiteX267" fmla="*/ 7232 w 10000"/>
                <a:gd name="connsiteY267" fmla="*/ 9675 h 10000"/>
                <a:gd name="connsiteX268" fmla="*/ 7176 w 10000"/>
                <a:gd name="connsiteY268" fmla="*/ 9692 h 10000"/>
                <a:gd name="connsiteX269" fmla="*/ 7187 w 10000"/>
                <a:gd name="connsiteY269" fmla="*/ 9780 h 10000"/>
                <a:gd name="connsiteX270" fmla="*/ 7423 w 10000"/>
                <a:gd name="connsiteY270" fmla="*/ 9900 h 10000"/>
                <a:gd name="connsiteX271" fmla="*/ 7741 w 10000"/>
                <a:gd name="connsiteY271" fmla="*/ 9565 h 10000"/>
                <a:gd name="connsiteX272" fmla="*/ 7879 w 10000"/>
                <a:gd name="connsiteY272" fmla="*/ 9176 h 10000"/>
                <a:gd name="connsiteX273" fmla="*/ 8107 w 10000"/>
                <a:gd name="connsiteY273" fmla="*/ 9023 h 10000"/>
                <a:gd name="connsiteX274" fmla="*/ 8182 w 10000"/>
                <a:gd name="connsiteY274" fmla="*/ 8841 h 10000"/>
                <a:gd name="connsiteX275" fmla="*/ 8268 w 10000"/>
                <a:gd name="connsiteY275" fmla="*/ 8786 h 10000"/>
                <a:gd name="connsiteX276" fmla="*/ 8320 w 10000"/>
                <a:gd name="connsiteY276" fmla="*/ 8512 h 10000"/>
                <a:gd name="connsiteX277" fmla="*/ 8542 w 10000"/>
                <a:gd name="connsiteY277" fmla="*/ 8617 h 10000"/>
                <a:gd name="connsiteX278" fmla="*/ 8672 w 10000"/>
                <a:gd name="connsiteY278" fmla="*/ 8474 h 10000"/>
                <a:gd name="connsiteX279" fmla="*/ 8855 w 10000"/>
                <a:gd name="connsiteY279" fmla="*/ 8343 h 10000"/>
                <a:gd name="connsiteX280" fmla="*/ 8781 w 10000"/>
                <a:gd name="connsiteY280" fmla="*/ 8128 h 10000"/>
                <a:gd name="connsiteX281" fmla="*/ 7708 w 10000"/>
                <a:gd name="connsiteY281" fmla="*/ 7991 h 10000"/>
                <a:gd name="connsiteX282" fmla="*/ 7682 w 10000"/>
                <a:gd name="connsiteY282" fmla="*/ 7904 h 10000"/>
                <a:gd name="connsiteX283" fmla="*/ 7607 w 10000"/>
                <a:gd name="connsiteY283" fmla="*/ 8002 h 10000"/>
                <a:gd name="connsiteX284" fmla="*/ 7715 w 10000"/>
                <a:gd name="connsiteY284" fmla="*/ 7761 h 10000"/>
                <a:gd name="connsiteX285" fmla="*/ 7674 w 10000"/>
                <a:gd name="connsiteY285" fmla="*/ 7717 h 10000"/>
                <a:gd name="connsiteX286" fmla="*/ 7554 w 10000"/>
                <a:gd name="connsiteY286" fmla="*/ 7915 h 10000"/>
                <a:gd name="connsiteX287" fmla="*/ 7618 w 10000"/>
                <a:gd name="connsiteY287" fmla="*/ 7712 h 10000"/>
                <a:gd name="connsiteX288" fmla="*/ 7532 w 10000"/>
                <a:gd name="connsiteY288" fmla="*/ 7767 h 10000"/>
                <a:gd name="connsiteX289" fmla="*/ 7419 w 10000"/>
                <a:gd name="connsiteY289" fmla="*/ 7717 h 10000"/>
                <a:gd name="connsiteX290" fmla="*/ 7333 w 10000"/>
                <a:gd name="connsiteY290" fmla="*/ 7794 h 10000"/>
                <a:gd name="connsiteX291" fmla="*/ 7240 w 10000"/>
                <a:gd name="connsiteY291" fmla="*/ 7728 h 10000"/>
                <a:gd name="connsiteX292" fmla="*/ 7087 w 10000"/>
                <a:gd name="connsiteY292" fmla="*/ 7717 h 10000"/>
                <a:gd name="connsiteX293" fmla="*/ 7090 w 10000"/>
                <a:gd name="connsiteY293" fmla="*/ 7547 h 10000"/>
                <a:gd name="connsiteX294" fmla="*/ 7229 w 10000"/>
                <a:gd name="connsiteY294" fmla="*/ 7662 h 10000"/>
                <a:gd name="connsiteX295" fmla="*/ 7273 w 10000"/>
                <a:gd name="connsiteY295" fmla="*/ 7541 h 10000"/>
                <a:gd name="connsiteX296" fmla="*/ 7236 w 10000"/>
                <a:gd name="connsiteY296" fmla="*/ 7410 h 10000"/>
                <a:gd name="connsiteX297" fmla="*/ 7341 w 10000"/>
                <a:gd name="connsiteY297" fmla="*/ 7547 h 10000"/>
                <a:gd name="connsiteX298" fmla="*/ 7483 w 10000"/>
                <a:gd name="connsiteY298" fmla="*/ 7536 h 10000"/>
                <a:gd name="connsiteX299" fmla="*/ 7506 w 10000"/>
                <a:gd name="connsiteY299" fmla="*/ 7685 h 10000"/>
                <a:gd name="connsiteX300" fmla="*/ 7547 w 10000"/>
                <a:gd name="connsiteY300" fmla="*/ 7685 h 10000"/>
                <a:gd name="connsiteX301" fmla="*/ 7558 w 10000"/>
                <a:gd name="connsiteY301" fmla="*/ 7415 h 10000"/>
                <a:gd name="connsiteX302" fmla="*/ 7607 w 10000"/>
                <a:gd name="connsiteY302" fmla="*/ 7585 h 10000"/>
                <a:gd name="connsiteX303" fmla="*/ 7693 w 10000"/>
                <a:gd name="connsiteY303" fmla="*/ 7590 h 10000"/>
                <a:gd name="connsiteX304" fmla="*/ 7629 w 10000"/>
                <a:gd name="connsiteY304" fmla="*/ 7333 h 10000"/>
                <a:gd name="connsiteX305" fmla="*/ 7786 w 10000"/>
                <a:gd name="connsiteY305" fmla="*/ 7240 h 10000"/>
                <a:gd name="connsiteX306" fmla="*/ 7779 w 10000"/>
                <a:gd name="connsiteY306" fmla="*/ 6987 h 10000"/>
                <a:gd name="connsiteX307" fmla="*/ 7887 w 10000"/>
                <a:gd name="connsiteY307" fmla="*/ 7081 h 10000"/>
                <a:gd name="connsiteX308" fmla="*/ 7906 w 10000"/>
                <a:gd name="connsiteY308" fmla="*/ 7015 h 10000"/>
                <a:gd name="connsiteX309" fmla="*/ 7775 w 10000"/>
                <a:gd name="connsiteY309" fmla="*/ 6735 h 10000"/>
                <a:gd name="connsiteX310" fmla="*/ 7950 w 10000"/>
                <a:gd name="connsiteY310" fmla="*/ 6894 h 10000"/>
                <a:gd name="connsiteX311" fmla="*/ 8171 w 10000"/>
                <a:gd name="connsiteY311" fmla="*/ 6511 h 10000"/>
                <a:gd name="connsiteX312" fmla="*/ 8384 w 10000"/>
                <a:gd name="connsiteY312" fmla="*/ 6483 h 10000"/>
                <a:gd name="connsiteX313" fmla="*/ 8429 w 10000"/>
                <a:gd name="connsiteY31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165 w 10000"/>
                <a:gd name="connsiteY44" fmla="*/ 1996 h 10000"/>
                <a:gd name="connsiteX45" fmla="*/ 6892 w 10000"/>
                <a:gd name="connsiteY45" fmla="*/ 1827 h 10000"/>
                <a:gd name="connsiteX46" fmla="*/ 6922 w 10000"/>
                <a:gd name="connsiteY46" fmla="*/ 1728 h 10000"/>
                <a:gd name="connsiteX47" fmla="*/ 6765 w 10000"/>
                <a:gd name="connsiteY47" fmla="*/ 1398 h 10000"/>
                <a:gd name="connsiteX48" fmla="*/ 6799 w 10000"/>
                <a:gd name="connsiteY48" fmla="*/ 1256 h 10000"/>
                <a:gd name="connsiteX49" fmla="*/ 6728 w 10000"/>
                <a:gd name="connsiteY49" fmla="*/ 1229 h 10000"/>
                <a:gd name="connsiteX50" fmla="*/ 6657 w 10000"/>
                <a:gd name="connsiteY50" fmla="*/ 1311 h 10000"/>
                <a:gd name="connsiteX51" fmla="*/ 6593 w 10000"/>
                <a:gd name="connsiteY51" fmla="*/ 1114 h 10000"/>
                <a:gd name="connsiteX52" fmla="*/ 6391 w 10000"/>
                <a:gd name="connsiteY52" fmla="*/ 1311 h 10000"/>
                <a:gd name="connsiteX53" fmla="*/ 6309 w 10000"/>
                <a:gd name="connsiteY53" fmla="*/ 1223 h 10000"/>
                <a:gd name="connsiteX54" fmla="*/ 6126 w 10000"/>
                <a:gd name="connsiteY54" fmla="*/ 1273 h 10000"/>
                <a:gd name="connsiteX55" fmla="*/ 6144 w 10000"/>
                <a:gd name="connsiteY55" fmla="*/ 1125 h 10000"/>
                <a:gd name="connsiteX56" fmla="*/ 6073 w 10000"/>
                <a:gd name="connsiteY56" fmla="*/ 1119 h 10000"/>
                <a:gd name="connsiteX57" fmla="*/ 6040 w 10000"/>
                <a:gd name="connsiteY57" fmla="*/ 910 h 10000"/>
                <a:gd name="connsiteX58" fmla="*/ 5942 w 10000"/>
                <a:gd name="connsiteY58" fmla="*/ 795 h 10000"/>
                <a:gd name="connsiteX59" fmla="*/ 6144 w 10000"/>
                <a:gd name="connsiteY59" fmla="*/ 620 h 10000"/>
                <a:gd name="connsiteX60" fmla="*/ 5901 w 10000"/>
                <a:gd name="connsiteY60" fmla="*/ 395 h 10000"/>
                <a:gd name="connsiteX61" fmla="*/ 5853 w 10000"/>
                <a:gd name="connsiteY61" fmla="*/ 142 h 10000"/>
                <a:gd name="connsiteX62" fmla="*/ 5741 w 10000"/>
                <a:gd name="connsiteY62" fmla="*/ 110 h 10000"/>
                <a:gd name="connsiteX63" fmla="*/ 5647 w 10000"/>
                <a:gd name="connsiteY63" fmla="*/ 0 h 10000"/>
                <a:gd name="connsiteX64" fmla="*/ 5547 w 10000"/>
                <a:gd name="connsiteY64" fmla="*/ 120 h 10000"/>
                <a:gd name="connsiteX65" fmla="*/ 5377 w 10000"/>
                <a:gd name="connsiteY65" fmla="*/ 110 h 10000"/>
                <a:gd name="connsiteX66" fmla="*/ 5232 w 10000"/>
                <a:gd name="connsiteY66" fmla="*/ 351 h 10000"/>
                <a:gd name="connsiteX67" fmla="*/ 4952 w 10000"/>
                <a:gd name="connsiteY67" fmla="*/ 329 h 10000"/>
                <a:gd name="connsiteX68" fmla="*/ 4884 w 10000"/>
                <a:gd name="connsiteY68" fmla="*/ 680 h 10000"/>
                <a:gd name="connsiteX69" fmla="*/ 4701 w 10000"/>
                <a:gd name="connsiteY69" fmla="*/ 707 h 10000"/>
                <a:gd name="connsiteX70" fmla="*/ 4795 w 10000"/>
                <a:gd name="connsiteY70" fmla="*/ 844 h 10000"/>
                <a:gd name="connsiteX71" fmla="*/ 4739 w 10000"/>
                <a:gd name="connsiteY71" fmla="*/ 899 h 10000"/>
                <a:gd name="connsiteX72" fmla="*/ 4612 w 10000"/>
                <a:gd name="connsiteY72" fmla="*/ 894 h 10000"/>
                <a:gd name="connsiteX73" fmla="*/ 4439 w 10000"/>
                <a:gd name="connsiteY73" fmla="*/ 1026 h 10000"/>
                <a:gd name="connsiteX74" fmla="*/ 4252 w 10000"/>
                <a:gd name="connsiteY74" fmla="*/ 1668 h 10000"/>
                <a:gd name="connsiteX75" fmla="*/ 4308 w 10000"/>
                <a:gd name="connsiteY75" fmla="*/ 2090 h 10000"/>
                <a:gd name="connsiteX76" fmla="*/ 4121 w 10000"/>
                <a:gd name="connsiteY76" fmla="*/ 1865 h 10000"/>
                <a:gd name="connsiteX77" fmla="*/ 3849 w 10000"/>
                <a:gd name="connsiteY77" fmla="*/ 1991 h 10000"/>
                <a:gd name="connsiteX78" fmla="*/ 3822 w 10000"/>
                <a:gd name="connsiteY78" fmla="*/ 1931 h 10000"/>
                <a:gd name="connsiteX79" fmla="*/ 3695 w 10000"/>
                <a:gd name="connsiteY79" fmla="*/ 2002 h 10000"/>
                <a:gd name="connsiteX80" fmla="*/ 3621 w 10000"/>
                <a:gd name="connsiteY80" fmla="*/ 2144 h 10000"/>
                <a:gd name="connsiteX81" fmla="*/ 3561 w 10000"/>
                <a:gd name="connsiteY81" fmla="*/ 1909 h 10000"/>
                <a:gd name="connsiteX82" fmla="*/ 3478 w 10000"/>
                <a:gd name="connsiteY82" fmla="*/ 1843 h 10000"/>
                <a:gd name="connsiteX83" fmla="*/ 3444 w 10000"/>
                <a:gd name="connsiteY83" fmla="*/ 1964 h 10000"/>
                <a:gd name="connsiteX84" fmla="*/ 3332 w 10000"/>
                <a:gd name="connsiteY84" fmla="*/ 1996 h 10000"/>
                <a:gd name="connsiteX85" fmla="*/ 3272 w 10000"/>
                <a:gd name="connsiteY85" fmla="*/ 2161 h 10000"/>
                <a:gd name="connsiteX86" fmla="*/ 3235 w 10000"/>
                <a:gd name="connsiteY86" fmla="*/ 2013 h 10000"/>
                <a:gd name="connsiteX87" fmla="*/ 3123 w 10000"/>
                <a:gd name="connsiteY87" fmla="*/ 2024 h 10000"/>
                <a:gd name="connsiteX88" fmla="*/ 3078 w 10000"/>
                <a:gd name="connsiteY88" fmla="*/ 2128 h 10000"/>
                <a:gd name="connsiteX89" fmla="*/ 3011 w 10000"/>
                <a:gd name="connsiteY89" fmla="*/ 1975 h 10000"/>
                <a:gd name="connsiteX90" fmla="*/ 2895 w 10000"/>
                <a:gd name="connsiteY90" fmla="*/ 2117 h 10000"/>
                <a:gd name="connsiteX91" fmla="*/ 2783 w 10000"/>
                <a:gd name="connsiteY91" fmla="*/ 2106 h 10000"/>
                <a:gd name="connsiteX92" fmla="*/ 2779 w 10000"/>
                <a:gd name="connsiteY92" fmla="*/ 2276 h 10000"/>
                <a:gd name="connsiteX93" fmla="*/ 2727 w 10000"/>
                <a:gd name="connsiteY93" fmla="*/ 2144 h 10000"/>
                <a:gd name="connsiteX94" fmla="*/ 2559 w 10000"/>
                <a:gd name="connsiteY94" fmla="*/ 2155 h 10000"/>
                <a:gd name="connsiteX95" fmla="*/ 2438 w 10000"/>
                <a:gd name="connsiteY95" fmla="*/ 1980 h 10000"/>
                <a:gd name="connsiteX96" fmla="*/ 2293 w 10000"/>
                <a:gd name="connsiteY96" fmla="*/ 2073 h 10000"/>
                <a:gd name="connsiteX97" fmla="*/ 2143 w 10000"/>
                <a:gd name="connsiteY97" fmla="*/ 1958 h 10000"/>
                <a:gd name="connsiteX98" fmla="*/ 2057 w 10000"/>
                <a:gd name="connsiteY98" fmla="*/ 2035 h 10000"/>
                <a:gd name="connsiteX99" fmla="*/ 1975 w 10000"/>
                <a:gd name="connsiteY99" fmla="*/ 1947 h 10000"/>
                <a:gd name="connsiteX100" fmla="*/ 1852 w 10000"/>
                <a:gd name="connsiteY100" fmla="*/ 1936 h 10000"/>
                <a:gd name="connsiteX101" fmla="*/ 1669 w 10000"/>
                <a:gd name="connsiteY101" fmla="*/ 1925 h 10000"/>
                <a:gd name="connsiteX102" fmla="*/ 1444 w 10000"/>
                <a:gd name="connsiteY102" fmla="*/ 1991 h 10000"/>
                <a:gd name="connsiteX103" fmla="*/ 1205 w 10000"/>
                <a:gd name="connsiteY103" fmla="*/ 2062 h 10000"/>
                <a:gd name="connsiteX104" fmla="*/ 921 w 10000"/>
                <a:gd name="connsiteY104" fmla="*/ 2166 h 10000"/>
                <a:gd name="connsiteX105" fmla="*/ 797 w 10000"/>
                <a:gd name="connsiteY105" fmla="*/ 2496 h 10000"/>
                <a:gd name="connsiteX106" fmla="*/ 603 w 10000"/>
                <a:gd name="connsiteY106" fmla="*/ 2501 h 10000"/>
                <a:gd name="connsiteX107" fmla="*/ 540 w 10000"/>
                <a:gd name="connsiteY107" fmla="*/ 2687 h 10000"/>
                <a:gd name="connsiteX108" fmla="*/ 558 w 10000"/>
                <a:gd name="connsiteY108" fmla="*/ 2764 h 10000"/>
                <a:gd name="connsiteX109" fmla="*/ 577 w 10000"/>
                <a:gd name="connsiteY109" fmla="*/ 2868 h 10000"/>
                <a:gd name="connsiteX110" fmla="*/ 577 w 10000"/>
                <a:gd name="connsiteY110" fmla="*/ 2868 h 10000"/>
                <a:gd name="connsiteX111" fmla="*/ 577 w 10000"/>
                <a:gd name="connsiteY111" fmla="*/ 2896 h 10000"/>
                <a:gd name="connsiteX112" fmla="*/ 682 w 10000"/>
                <a:gd name="connsiteY112" fmla="*/ 3116 h 10000"/>
                <a:gd name="connsiteX113" fmla="*/ 786 w 10000"/>
                <a:gd name="connsiteY113" fmla="*/ 3351 h 10000"/>
                <a:gd name="connsiteX114" fmla="*/ 921 w 10000"/>
                <a:gd name="connsiteY114" fmla="*/ 3488 h 10000"/>
                <a:gd name="connsiteX115" fmla="*/ 876 w 10000"/>
                <a:gd name="connsiteY115" fmla="*/ 3548 h 10000"/>
                <a:gd name="connsiteX116" fmla="*/ 805 w 10000"/>
                <a:gd name="connsiteY116" fmla="*/ 3603 h 10000"/>
                <a:gd name="connsiteX117" fmla="*/ 887 w 10000"/>
                <a:gd name="connsiteY117" fmla="*/ 3697 h 10000"/>
                <a:gd name="connsiteX118" fmla="*/ 876 w 10000"/>
                <a:gd name="connsiteY118" fmla="*/ 4053 h 10000"/>
                <a:gd name="connsiteX119" fmla="*/ 693 w 10000"/>
                <a:gd name="connsiteY119" fmla="*/ 4124 h 10000"/>
                <a:gd name="connsiteX120" fmla="*/ 498 w 10000"/>
                <a:gd name="connsiteY120" fmla="*/ 4531 h 10000"/>
                <a:gd name="connsiteX121" fmla="*/ 371 w 10000"/>
                <a:gd name="connsiteY121" fmla="*/ 4936 h 10000"/>
                <a:gd name="connsiteX122" fmla="*/ 195 w 10000"/>
                <a:gd name="connsiteY122" fmla="*/ 5260 h 10000"/>
                <a:gd name="connsiteX123" fmla="*/ 270 w 10000"/>
                <a:gd name="connsiteY123" fmla="*/ 5517 h 10000"/>
                <a:gd name="connsiteX124" fmla="*/ 277 w 10000"/>
                <a:gd name="connsiteY124" fmla="*/ 5732 h 10000"/>
                <a:gd name="connsiteX125" fmla="*/ 400 w 10000"/>
                <a:gd name="connsiteY125" fmla="*/ 5841 h 10000"/>
                <a:gd name="connsiteX126" fmla="*/ 382 w 10000"/>
                <a:gd name="connsiteY126" fmla="*/ 5945 h 10000"/>
                <a:gd name="connsiteX127" fmla="*/ 202 w 10000"/>
                <a:gd name="connsiteY127" fmla="*/ 5852 h 10000"/>
                <a:gd name="connsiteX128" fmla="*/ 124 w 10000"/>
                <a:gd name="connsiteY128" fmla="*/ 6099 h 10000"/>
                <a:gd name="connsiteX129" fmla="*/ 105 w 10000"/>
                <a:gd name="connsiteY129" fmla="*/ 6346 h 10000"/>
                <a:gd name="connsiteX130" fmla="*/ 1 w 10000"/>
                <a:gd name="connsiteY130" fmla="*/ 6571 h 10000"/>
                <a:gd name="connsiteX131" fmla="*/ 19 w 10000"/>
                <a:gd name="connsiteY131" fmla="*/ 6779 h 10000"/>
                <a:gd name="connsiteX132" fmla="*/ 90 w 10000"/>
                <a:gd name="connsiteY132" fmla="*/ 6828 h 10000"/>
                <a:gd name="connsiteX133" fmla="*/ 154 w 10000"/>
                <a:gd name="connsiteY133" fmla="*/ 6960 h 10000"/>
                <a:gd name="connsiteX134" fmla="*/ 240 w 10000"/>
                <a:gd name="connsiteY134" fmla="*/ 6943 h 10000"/>
                <a:gd name="connsiteX135" fmla="*/ 292 w 10000"/>
                <a:gd name="connsiteY135" fmla="*/ 7076 h 10000"/>
                <a:gd name="connsiteX136" fmla="*/ 445 w 10000"/>
                <a:gd name="connsiteY136" fmla="*/ 7103 h 10000"/>
                <a:gd name="connsiteX137" fmla="*/ 453 w 10000"/>
                <a:gd name="connsiteY137" fmla="*/ 7251 h 10000"/>
                <a:gd name="connsiteX138" fmla="*/ 494 w 10000"/>
                <a:gd name="connsiteY138" fmla="*/ 7278 h 10000"/>
                <a:gd name="connsiteX139" fmla="*/ 525 w 10000"/>
                <a:gd name="connsiteY139" fmla="*/ 7174 h 10000"/>
                <a:gd name="connsiteX140" fmla="*/ 581 w 10000"/>
                <a:gd name="connsiteY140" fmla="*/ 7196 h 10000"/>
                <a:gd name="connsiteX141" fmla="*/ 644 w 10000"/>
                <a:gd name="connsiteY141" fmla="*/ 6992 h 10000"/>
                <a:gd name="connsiteX142" fmla="*/ 820 w 10000"/>
                <a:gd name="connsiteY142" fmla="*/ 7174 h 10000"/>
                <a:gd name="connsiteX143" fmla="*/ 1283 w 10000"/>
                <a:gd name="connsiteY143" fmla="*/ 7163 h 10000"/>
                <a:gd name="connsiteX144" fmla="*/ 1466 w 10000"/>
                <a:gd name="connsiteY144" fmla="*/ 7092 h 10000"/>
                <a:gd name="connsiteX145" fmla="*/ 1766 w 10000"/>
                <a:gd name="connsiteY145" fmla="*/ 7344 h 10000"/>
                <a:gd name="connsiteX146" fmla="*/ 1956 w 10000"/>
                <a:gd name="connsiteY146" fmla="*/ 7087 h 10000"/>
                <a:gd name="connsiteX147" fmla="*/ 2382 w 10000"/>
                <a:gd name="connsiteY147" fmla="*/ 6861 h 10000"/>
                <a:gd name="connsiteX148" fmla="*/ 2536 w 10000"/>
                <a:gd name="connsiteY148" fmla="*/ 6489 h 10000"/>
                <a:gd name="connsiteX149" fmla="*/ 2648 w 10000"/>
                <a:gd name="connsiteY149" fmla="*/ 6439 h 10000"/>
                <a:gd name="connsiteX150" fmla="*/ 2648 w 10000"/>
                <a:gd name="connsiteY150" fmla="*/ 6379 h 10000"/>
                <a:gd name="connsiteX151" fmla="*/ 2693 w 10000"/>
                <a:gd name="connsiteY151" fmla="*/ 6379 h 10000"/>
                <a:gd name="connsiteX152" fmla="*/ 2682 w 10000"/>
                <a:gd name="connsiteY152" fmla="*/ 6230 h 10000"/>
                <a:gd name="connsiteX153" fmla="*/ 2820 w 10000"/>
                <a:gd name="connsiteY153" fmla="*/ 6285 h 10000"/>
                <a:gd name="connsiteX154" fmla="*/ 2839 w 10000"/>
                <a:gd name="connsiteY154" fmla="*/ 6159 h 10000"/>
                <a:gd name="connsiteX155" fmla="*/ 2921 w 10000"/>
                <a:gd name="connsiteY155" fmla="*/ 6230 h 10000"/>
                <a:gd name="connsiteX156" fmla="*/ 2981 w 10000"/>
                <a:gd name="connsiteY156" fmla="*/ 6126 h 10000"/>
                <a:gd name="connsiteX157" fmla="*/ 3078 w 10000"/>
                <a:gd name="connsiteY157" fmla="*/ 6154 h 10000"/>
                <a:gd name="connsiteX158" fmla="*/ 3164 w 10000"/>
                <a:gd name="connsiteY158" fmla="*/ 6055 h 10000"/>
                <a:gd name="connsiteX159" fmla="*/ 3328 w 10000"/>
                <a:gd name="connsiteY159" fmla="*/ 6192 h 10000"/>
                <a:gd name="connsiteX160" fmla="*/ 3411 w 10000"/>
                <a:gd name="connsiteY160" fmla="*/ 6197 h 10000"/>
                <a:gd name="connsiteX161" fmla="*/ 3437 w 10000"/>
                <a:gd name="connsiteY161" fmla="*/ 6307 h 10000"/>
                <a:gd name="connsiteX162" fmla="*/ 3591 w 10000"/>
                <a:gd name="connsiteY162" fmla="*/ 6236 h 10000"/>
                <a:gd name="connsiteX163" fmla="*/ 3576 w 10000"/>
                <a:gd name="connsiteY163" fmla="*/ 6357 h 10000"/>
                <a:gd name="connsiteX164" fmla="*/ 3632 w 10000"/>
                <a:gd name="connsiteY164" fmla="*/ 6341 h 10000"/>
                <a:gd name="connsiteX165" fmla="*/ 3699 w 10000"/>
                <a:gd name="connsiteY165" fmla="*/ 6428 h 10000"/>
                <a:gd name="connsiteX166" fmla="*/ 3703 w 10000"/>
                <a:gd name="connsiteY166" fmla="*/ 6301 h 10000"/>
                <a:gd name="connsiteX167" fmla="*/ 3882 w 10000"/>
                <a:gd name="connsiteY167" fmla="*/ 6341 h 10000"/>
                <a:gd name="connsiteX168" fmla="*/ 3946 w 10000"/>
                <a:gd name="connsiteY168" fmla="*/ 6511 h 10000"/>
                <a:gd name="connsiteX169" fmla="*/ 4047 w 10000"/>
                <a:gd name="connsiteY169" fmla="*/ 6494 h 10000"/>
                <a:gd name="connsiteX170" fmla="*/ 4091 w 10000"/>
                <a:gd name="connsiteY170" fmla="*/ 6417 h 10000"/>
                <a:gd name="connsiteX171" fmla="*/ 4192 w 10000"/>
                <a:gd name="connsiteY171" fmla="*/ 6735 h 10000"/>
                <a:gd name="connsiteX172" fmla="*/ 4155 w 10000"/>
                <a:gd name="connsiteY172" fmla="*/ 6987 h 10000"/>
                <a:gd name="connsiteX173" fmla="*/ 4207 w 10000"/>
                <a:gd name="connsiteY173" fmla="*/ 7114 h 10000"/>
                <a:gd name="connsiteX174" fmla="*/ 4278 w 10000"/>
                <a:gd name="connsiteY174" fmla="*/ 7119 h 10000"/>
                <a:gd name="connsiteX175" fmla="*/ 4387 w 10000"/>
                <a:gd name="connsiteY175" fmla="*/ 7256 h 10000"/>
                <a:gd name="connsiteX176" fmla="*/ 4431 w 10000"/>
                <a:gd name="connsiteY176" fmla="*/ 7152 h 10000"/>
                <a:gd name="connsiteX177" fmla="*/ 4480 w 10000"/>
                <a:gd name="connsiteY177" fmla="*/ 7322 h 10000"/>
                <a:gd name="connsiteX178" fmla="*/ 4541 w 10000"/>
                <a:gd name="connsiteY178" fmla="*/ 7662 h 10000"/>
                <a:gd name="connsiteX179" fmla="*/ 4720 w 10000"/>
                <a:gd name="connsiteY179" fmla="*/ 7739 h 10000"/>
                <a:gd name="connsiteX180" fmla="*/ 4761 w 10000"/>
                <a:gd name="connsiteY180" fmla="*/ 8183 h 10000"/>
                <a:gd name="connsiteX181" fmla="*/ 4914 w 10000"/>
                <a:gd name="connsiteY181" fmla="*/ 8276 h 10000"/>
                <a:gd name="connsiteX182" fmla="*/ 4757 w 10000"/>
                <a:gd name="connsiteY182" fmla="*/ 8370 h 10000"/>
                <a:gd name="connsiteX183" fmla="*/ 4705 w 10000"/>
                <a:gd name="connsiteY183" fmla="*/ 8260 h 10000"/>
                <a:gd name="connsiteX184" fmla="*/ 4645 w 10000"/>
                <a:gd name="connsiteY184" fmla="*/ 8403 h 10000"/>
                <a:gd name="connsiteX185" fmla="*/ 4491 w 10000"/>
                <a:gd name="connsiteY185" fmla="*/ 8287 h 10000"/>
                <a:gd name="connsiteX186" fmla="*/ 4405 w 10000"/>
                <a:gd name="connsiteY186" fmla="*/ 8452 h 10000"/>
                <a:gd name="connsiteX187" fmla="*/ 4226 w 10000"/>
                <a:gd name="connsiteY187" fmla="*/ 8331 h 10000"/>
                <a:gd name="connsiteX188" fmla="*/ 4312 w 10000"/>
                <a:gd name="connsiteY188" fmla="*/ 8699 h 10000"/>
                <a:gd name="connsiteX189" fmla="*/ 4304 w 10000"/>
                <a:gd name="connsiteY189" fmla="*/ 8967 h 10000"/>
                <a:gd name="connsiteX190" fmla="*/ 4189 w 10000"/>
                <a:gd name="connsiteY190" fmla="*/ 9088 h 10000"/>
                <a:gd name="connsiteX191" fmla="*/ 4226 w 10000"/>
                <a:gd name="connsiteY191" fmla="*/ 9193 h 10000"/>
                <a:gd name="connsiteX192" fmla="*/ 4065 w 10000"/>
                <a:gd name="connsiteY192" fmla="*/ 9412 h 10000"/>
                <a:gd name="connsiteX193" fmla="*/ 4129 w 10000"/>
                <a:gd name="connsiteY193" fmla="*/ 9647 h 10000"/>
                <a:gd name="connsiteX194" fmla="*/ 3972 w 10000"/>
                <a:gd name="connsiteY194" fmla="*/ 9681 h 10000"/>
                <a:gd name="connsiteX195" fmla="*/ 3931 w 10000"/>
                <a:gd name="connsiteY195" fmla="*/ 9741 h 10000"/>
                <a:gd name="connsiteX196" fmla="*/ 3998 w 10000"/>
                <a:gd name="connsiteY196" fmla="*/ 9785 h 10000"/>
                <a:gd name="connsiteX197" fmla="*/ 4118 w 10000"/>
                <a:gd name="connsiteY197" fmla="*/ 9944 h 10000"/>
                <a:gd name="connsiteX198" fmla="*/ 4312 w 10000"/>
                <a:gd name="connsiteY198" fmla="*/ 9999 h 10000"/>
                <a:gd name="connsiteX199" fmla="*/ 4319 w 10000"/>
                <a:gd name="connsiteY199" fmla="*/ 9851 h 10000"/>
                <a:gd name="connsiteX200" fmla="*/ 4387 w 10000"/>
                <a:gd name="connsiteY200" fmla="*/ 9856 h 10000"/>
                <a:gd name="connsiteX201" fmla="*/ 4675 w 10000"/>
                <a:gd name="connsiteY201" fmla="*/ 9603 h 10000"/>
                <a:gd name="connsiteX202" fmla="*/ 4866 w 10000"/>
                <a:gd name="connsiteY202" fmla="*/ 9845 h 10000"/>
                <a:gd name="connsiteX203" fmla="*/ 4866 w 10000"/>
                <a:gd name="connsiteY203" fmla="*/ 9862 h 10000"/>
                <a:gd name="connsiteX204" fmla="*/ 4896 w 10000"/>
                <a:gd name="connsiteY204" fmla="*/ 9703 h 10000"/>
                <a:gd name="connsiteX205" fmla="*/ 4843 w 10000"/>
                <a:gd name="connsiteY205" fmla="*/ 9570 h 10000"/>
                <a:gd name="connsiteX206" fmla="*/ 4776 w 10000"/>
                <a:gd name="connsiteY206" fmla="*/ 9549 h 10000"/>
                <a:gd name="connsiteX207" fmla="*/ 4821 w 10000"/>
                <a:gd name="connsiteY207" fmla="*/ 9466 h 10000"/>
                <a:gd name="connsiteX208" fmla="*/ 4806 w 10000"/>
                <a:gd name="connsiteY208" fmla="*/ 9444 h 10000"/>
                <a:gd name="connsiteX209" fmla="*/ 4750 w 10000"/>
                <a:gd name="connsiteY209" fmla="*/ 9439 h 10000"/>
                <a:gd name="connsiteX210" fmla="*/ 4720 w 10000"/>
                <a:gd name="connsiteY210" fmla="*/ 9121 h 10000"/>
                <a:gd name="connsiteX211" fmla="*/ 4761 w 10000"/>
                <a:gd name="connsiteY211" fmla="*/ 9105 h 10000"/>
                <a:gd name="connsiteX212" fmla="*/ 4783 w 10000"/>
                <a:gd name="connsiteY212" fmla="*/ 9253 h 10000"/>
                <a:gd name="connsiteX213" fmla="*/ 4836 w 10000"/>
                <a:gd name="connsiteY213" fmla="*/ 9384 h 10000"/>
                <a:gd name="connsiteX214" fmla="*/ 4881 w 10000"/>
                <a:gd name="connsiteY214" fmla="*/ 9302 h 10000"/>
                <a:gd name="connsiteX215" fmla="*/ 4869 w 10000"/>
                <a:gd name="connsiteY215" fmla="*/ 9220 h 10000"/>
                <a:gd name="connsiteX216" fmla="*/ 4940 w 10000"/>
                <a:gd name="connsiteY216" fmla="*/ 9203 h 10000"/>
                <a:gd name="connsiteX217" fmla="*/ 4903 w 10000"/>
                <a:gd name="connsiteY217" fmla="*/ 9034 h 10000"/>
                <a:gd name="connsiteX218" fmla="*/ 5000 w 10000"/>
                <a:gd name="connsiteY218" fmla="*/ 9061 h 10000"/>
                <a:gd name="connsiteX219" fmla="*/ 5004 w 10000"/>
                <a:gd name="connsiteY219" fmla="*/ 8972 h 10000"/>
                <a:gd name="connsiteX220" fmla="*/ 5041 w 10000"/>
                <a:gd name="connsiteY220" fmla="*/ 9039 h 10000"/>
                <a:gd name="connsiteX221" fmla="*/ 5206 w 10000"/>
                <a:gd name="connsiteY221" fmla="*/ 8781 h 10000"/>
                <a:gd name="connsiteX222" fmla="*/ 5112 w 10000"/>
                <a:gd name="connsiteY222" fmla="*/ 8584 h 10000"/>
                <a:gd name="connsiteX223" fmla="*/ 4937 w 10000"/>
                <a:gd name="connsiteY223" fmla="*/ 8425 h 10000"/>
                <a:gd name="connsiteX224" fmla="*/ 5037 w 10000"/>
                <a:gd name="connsiteY224" fmla="*/ 8370 h 10000"/>
                <a:gd name="connsiteX225" fmla="*/ 5183 w 10000"/>
                <a:gd name="connsiteY225" fmla="*/ 8633 h 10000"/>
                <a:gd name="connsiteX226" fmla="*/ 5292 w 10000"/>
                <a:gd name="connsiteY226" fmla="*/ 8199 h 10000"/>
                <a:gd name="connsiteX227" fmla="*/ 5299 w 10000"/>
                <a:gd name="connsiteY227" fmla="*/ 8030 h 10000"/>
                <a:gd name="connsiteX228" fmla="*/ 5482 w 10000"/>
                <a:gd name="connsiteY228" fmla="*/ 7942 h 10000"/>
                <a:gd name="connsiteX229" fmla="*/ 5550 w 10000"/>
                <a:gd name="connsiteY229" fmla="*/ 7607 h 10000"/>
                <a:gd name="connsiteX230" fmla="*/ 5561 w 10000"/>
                <a:gd name="connsiteY230" fmla="*/ 7734 h 10000"/>
                <a:gd name="connsiteX231" fmla="*/ 5677 w 10000"/>
                <a:gd name="connsiteY231" fmla="*/ 7596 h 10000"/>
                <a:gd name="connsiteX232" fmla="*/ 5759 w 10000"/>
                <a:gd name="connsiteY232" fmla="*/ 7579 h 10000"/>
                <a:gd name="connsiteX233" fmla="*/ 5842 w 10000"/>
                <a:gd name="connsiteY233" fmla="*/ 7207 h 10000"/>
                <a:gd name="connsiteX234" fmla="*/ 5916 w 10000"/>
                <a:gd name="connsiteY234" fmla="*/ 7486 h 10000"/>
                <a:gd name="connsiteX235" fmla="*/ 6137 w 10000"/>
                <a:gd name="connsiteY235" fmla="*/ 7563 h 10000"/>
                <a:gd name="connsiteX236" fmla="*/ 5969 w 10000"/>
                <a:gd name="connsiteY236" fmla="*/ 7618 h 10000"/>
                <a:gd name="connsiteX237" fmla="*/ 5954 w 10000"/>
                <a:gd name="connsiteY237" fmla="*/ 7679 h 10000"/>
                <a:gd name="connsiteX238" fmla="*/ 5786 w 10000"/>
                <a:gd name="connsiteY238" fmla="*/ 7690 h 10000"/>
                <a:gd name="connsiteX239" fmla="*/ 5700 w 10000"/>
                <a:gd name="connsiteY239" fmla="*/ 7723 h 10000"/>
                <a:gd name="connsiteX240" fmla="*/ 5767 w 10000"/>
                <a:gd name="connsiteY240" fmla="*/ 7772 h 10000"/>
                <a:gd name="connsiteX241" fmla="*/ 5827 w 10000"/>
                <a:gd name="connsiteY241" fmla="*/ 7756 h 10000"/>
                <a:gd name="connsiteX242" fmla="*/ 5991 w 10000"/>
                <a:gd name="connsiteY242" fmla="*/ 7789 h 10000"/>
                <a:gd name="connsiteX243" fmla="*/ 5804 w 10000"/>
                <a:gd name="connsiteY243" fmla="*/ 7964 h 10000"/>
                <a:gd name="connsiteX244" fmla="*/ 5872 w 10000"/>
                <a:gd name="connsiteY244" fmla="*/ 8008 h 10000"/>
                <a:gd name="connsiteX245" fmla="*/ 6043 w 10000"/>
                <a:gd name="connsiteY245" fmla="*/ 7958 h 10000"/>
                <a:gd name="connsiteX246" fmla="*/ 6275 w 10000"/>
                <a:gd name="connsiteY246" fmla="*/ 8101 h 10000"/>
                <a:gd name="connsiteX247" fmla="*/ 6575 w 10000"/>
                <a:gd name="connsiteY247" fmla="*/ 7909 h 10000"/>
                <a:gd name="connsiteX248" fmla="*/ 6870 w 10000"/>
                <a:gd name="connsiteY248" fmla="*/ 7887 h 10000"/>
                <a:gd name="connsiteX249" fmla="*/ 6915 w 10000"/>
                <a:gd name="connsiteY249" fmla="*/ 7745 h 10000"/>
                <a:gd name="connsiteX250" fmla="*/ 6993 w 10000"/>
                <a:gd name="connsiteY250" fmla="*/ 7958 h 10000"/>
                <a:gd name="connsiteX251" fmla="*/ 7075 w 10000"/>
                <a:gd name="connsiteY251" fmla="*/ 7986 h 10000"/>
                <a:gd name="connsiteX252" fmla="*/ 7045 w 10000"/>
                <a:gd name="connsiteY252" fmla="*/ 8134 h 10000"/>
                <a:gd name="connsiteX253" fmla="*/ 6788 w 10000"/>
                <a:gd name="connsiteY253" fmla="*/ 8281 h 10000"/>
                <a:gd name="connsiteX254" fmla="*/ 6769 w 10000"/>
                <a:gd name="connsiteY254" fmla="*/ 8386 h 10000"/>
                <a:gd name="connsiteX255" fmla="*/ 6627 w 10000"/>
                <a:gd name="connsiteY255" fmla="*/ 8523 h 10000"/>
                <a:gd name="connsiteX256" fmla="*/ 6623 w 10000"/>
                <a:gd name="connsiteY256" fmla="*/ 8649 h 10000"/>
                <a:gd name="connsiteX257" fmla="*/ 6537 w 10000"/>
                <a:gd name="connsiteY257" fmla="*/ 8704 h 10000"/>
                <a:gd name="connsiteX258" fmla="*/ 6428 w 10000"/>
                <a:gd name="connsiteY258" fmla="*/ 8989 h 10000"/>
                <a:gd name="connsiteX259" fmla="*/ 6582 w 10000"/>
                <a:gd name="connsiteY259" fmla="*/ 9001 h 10000"/>
                <a:gd name="connsiteX260" fmla="*/ 6672 w 10000"/>
                <a:gd name="connsiteY260" fmla="*/ 8879 h 10000"/>
                <a:gd name="connsiteX261" fmla="*/ 6769 w 10000"/>
                <a:gd name="connsiteY261" fmla="*/ 8912 h 10000"/>
                <a:gd name="connsiteX262" fmla="*/ 6814 w 10000"/>
                <a:gd name="connsiteY262" fmla="*/ 8786 h 10000"/>
                <a:gd name="connsiteX263" fmla="*/ 6877 w 10000"/>
                <a:gd name="connsiteY263" fmla="*/ 9001 h 10000"/>
                <a:gd name="connsiteX264" fmla="*/ 7060 w 10000"/>
                <a:gd name="connsiteY264" fmla="*/ 8994 h 10000"/>
                <a:gd name="connsiteX265" fmla="*/ 7217 w 10000"/>
                <a:gd name="connsiteY265" fmla="*/ 9362 h 10000"/>
                <a:gd name="connsiteX266" fmla="*/ 7232 w 10000"/>
                <a:gd name="connsiteY266" fmla="*/ 9675 h 10000"/>
                <a:gd name="connsiteX267" fmla="*/ 7176 w 10000"/>
                <a:gd name="connsiteY267" fmla="*/ 9692 h 10000"/>
                <a:gd name="connsiteX268" fmla="*/ 7187 w 10000"/>
                <a:gd name="connsiteY268" fmla="*/ 9780 h 10000"/>
                <a:gd name="connsiteX269" fmla="*/ 7423 w 10000"/>
                <a:gd name="connsiteY269" fmla="*/ 9900 h 10000"/>
                <a:gd name="connsiteX270" fmla="*/ 7741 w 10000"/>
                <a:gd name="connsiteY270" fmla="*/ 9565 h 10000"/>
                <a:gd name="connsiteX271" fmla="*/ 7879 w 10000"/>
                <a:gd name="connsiteY271" fmla="*/ 9176 h 10000"/>
                <a:gd name="connsiteX272" fmla="*/ 8107 w 10000"/>
                <a:gd name="connsiteY272" fmla="*/ 9023 h 10000"/>
                <a:gd name="connsiteX273" fmla="*/ 8182 w 10000"/>
                <a:gd name="connsiteY273" fmla="*/ 8841 h 10000"/>
                <a:gd name="connsiteX274" fmla="*/ 8268 w 10000"/>
                <a:gd name="connsiteY274" fmla="*/ 8786 h 10000"/>
                <a:gd name="connsiteX275" fmla="*/ 8320 w 10000"/>
                <a:gd name="connsiteY275" fmla="*/ 8512 h 10000"/>
                <a:gd name="connsiteX276" fmla="*/ 8542 w 10000"/>
                <a:gd name="connsiteY276" fmla="*/ 8617 h 10000"/>
                <a:gd name="connsiteX277" fmla="*/ 8672 w 10000"/>
                <a:gd name="connsiteY277" fmla="*/ 8474 h 10000"/>
                <a:gd name="connsiteX278" fmla="*/ 8855 w 10000"/>
                <a:gd name="connsiteY278" fmla="*/ 8343 h 10000"/>
                <a:gd name="connsiteX279" fmla="*/ 8781 w 10000"/>
                <a:gd name="connsiteY279" fmla="*/ 8128 h 10000"/>
                <a:gd name="connsiteX280" fmla="*/ 7708 w 10000"/>
                <a:gd name="connsiteY280" fmla="*/ 7991 h 10000"/>
                <a:gd name="connsiteX281" fmla="*/ 7682 w 10000"/>
                <a:gd name="connsiteY281" fmla="*/ 7904 h 10000"/>
                <a:gd name="connsiteX282" fmla="*/ 7607 w 10000"/>
                <a:gd name="connsiteY282" fmla="*/ 8002 h 10000"/>
                <a:gd name="connsiteX283" fmla="*/ 7715 w 10000"/>
                <a:gd name="connsiteY283" fmla="*/ 7761 h 10000"/>
                <a:gd name="connsiteX284" fmla="*/ 7674 w 10000"/>
                <a:gd name="connsiteY284" fmla="*/ 7717 h 10000"/>
                <a:gd name="connsiteX285" fmla="*/ 7554 w 10000"/>
                <a:gd name="connsiteY285" fmla="*/ 7915 h 10000"/>
                <a:gd name="connsiteX286" fmla="*/ 7618 w 10000"/>
                <a:gd name="connsiteY286" fmla="*/ 7712 h 10000"/>
                <a:gd name="connsiteX287" fmla="*/ 7532 w 10000"/>
                <a:gd name="connsiteY287" fmla="*/ 7767 h 10000"/>
                <a:gd name="connsiteX288" fmla="*/ 7419 w 10000"/>
                <a:gd name="connsiteY288" fmla="*/ 7717 h 10000"/>
                <a:gd name="connsiteX289" fmla="*/ 7333 w 10000"/>
                <a:gd name="connsiteY289" fmla="*/ 7794 h 10000"/>
                <a:gd name="connsiteX290" fmla="*/ 7240 w 10000"/>
                <a:gd name="connsiteY290" fmla="*/ 7728 h 10000"/>
                <a:gd name="connsiteX291" fmla="*/ 7087 w 10000"/>
                <a:gd name="connsiteY291" fmla="*/ 7717 h 10000"/>
                <a:gd name="connsiteX292" fmla="*/ 7090 w 10000"/>
                <a:gd name="connsiteY292" fmla="*/ 7547 h 10000"/>
                <a:gd name="connsiteX293" fmla="*/ 7229 w 10000"/>
                <a:gd name="connsiteY293" fmla="*/ 7662 h 10000"/>
                <a:gd name="connsiteX294" fmla="*/ 7273 w 10000"/>
                <a:gd name="connsiteY294" fmla="*/ 7541 h 10000"/>
                <a:gd name="connsiteX295" fmla="*/ 7236 w 10000"/>
                <a:gd name="connsiteY295" fmla="*/ 7410 h 10000"/>
                <a:gd name="connsiteX296" fmla="*/ 7341 w 10000"/>
                <a:gd name="connsiteY296" fmla="*/ 7547 h 10000"/>
                <a:gd name="connsiteX297" fmla="*/ 7483 w 10000"/>
                <a:gd name="connsiteY297" fmla="*/ 7536 h 10000"/>
                <a:gd name="connsiteX298" fmla="*/ 7506 w 10000"/>
                <a:gd name="connsiteY298" fmla="*/ 7685 h 10000"/>
                <a:gd name="connsiteX299" fmla="*/ 7547 w 10000"/>
                <a:gd name="connsiteY299" fmla="*/ 7685 h 10000"/>
                <a:gd name="connsiteX300" fmla="*/ 7558 w 10000"/>
                <a:gd name="connsiteY300" fmla="*/ 7415 h 10000"/>
                <a:gd name="connsiteX301" fmla="*/ 7607 w 10000"/>
                <a:gd name="connsiteY301" fmla="*/ 7585 h 10000"/>
                <a:gd name="connsiteX302" fmla="*/ 7693 w 10000"/>
                <a:gd name="connsiteY302" fmla="*/ 7590 h 10000"/>
                <a:gd name="connsiteX303" fmla="*/ 7629 w 10000"/>
                <a:gd name="connsiteY303" fmla="*/ 7333 h 10000"/>
                <a:gd name="connsiteX304" fmla="*/ 7786 w 10000"/>
                <a:gd name="connsiteY304" fmla="*/ 7240 h 10000"/>
                <a:gd name="connsiteX305" fmla="*/ 7779 w 10000"/>
                <a:gd name="connsiteY305" fmla="*/ 6987 h 10000"/>
                <a:gd name="connsiteX306" fmla="*/ 7887 w 10000"/>
                <a:gd name="connsiteY306" fmla="*/ 7081 h 10000"/>
                <a:gd name="connsiteX307" fmla="*/ 7906 w 10000"/>
                <a:gd name="connsiteY307" fmla="*/ 7015 h 10000"/>
                <a:gd name="connsiteX308" fmla="*/ 7775 w 10000"/>
                <a:gd name="connsiteY308" fmla="*/ 6735 h 10000"/>
                <a:gd name="connsiteX309" fmla="*/ 7950 w 10000"/>
                <a:gd name="connsiteY309" fmla="*/ 6894 h 10000"/>
                <a:gd name="connsiteX310" fmla="*/ 8171 w 10000"/>
                <a:gd name="connsiteY310" fmla="*/ 6511 h 10000"/>
                <a:gd name="connsiteX311" fmla="*/ 8384 w 10000"/>
                <a:gd name="connsiteY311" fmla="*/ 6483 h 10000"/>
                <a:gd name="connsiteX312" fmla="*/ 8429 w 10000"/>
                <a:gd name="connsiteY31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165 w 10000"/>
                <a:gd name="connsiteY43" fmla="*/ 1996 h 10000"/>
                <a:gd name="connsiteX44" fmla="*/ 6892 w 10000"/>
                <a:gd name="connsiteY44" fmla="*/ 1827 h 10000"/>
                <a:gd name="connsiteX45" fmla="*/ 6922 w 10000"/>
                <a:gd name="connsiteY45" fmla="*/ 1728 h 10000"/>
                <a:gd name="connsiteX46" fmla="*/ 6765 w 10000"/>
                <a:gd name="connsiteY46" fmla="*/ 1398 h 10000"/>
                <a:gd name="connsiteX47" fmla="*/ 6799 w 10000"/>
                <a:gd name="connsiteY47" fmla="*/ 1256 h 10000"/>
                <a:gd name="connsiteX48" fmla="*/ 6728 w 10000"/>
                <a:gd name="connsiteY48" fmla="*/ 1229 h 10000"/>
                <a:gd name="connsiteX49" fmla="*/ 6657 w 10000"/>
                <a:gd name="connsiteY49" fmla="*/ 1311 h 10000"/>
                <a:gd name="connsiteX50" fmla="*/ 6593 w 10000"/>
                <a:gd name="connsiteY50" fmla="*/ 1114 h 10000"/>
                <a:gd name="connsiteX51" fmla="*/ 6391 w 10000"/>
                <a:gd name="connsiteY51" fmla="*/ 1311 h 10000"/>
                <a:gd name="connsiteX52" fmla="*/ 6309 w 10000"/>
                <a:gd name="connsiteY52" fmla="*/ 1223 h 10000"/>
                <a:gd name="connsiteX53" fmla="*/ 6126 w 10000"/>
                <a:gd name="connsiteY53" fmla="*/ 1273 h 10000"/>
                <a:gd name="connsiteX54" fmla="*/ 6144 w 10000"/>
                <a:gd name="connsiteY54" fmla="*/ 1125 h 10000"/>
                <a:gd name="connsiteX55" fmla="*/ 6073 w 10000"/>
                <a:gd name="connsiteY55" fmla="*/ 1119 h 10000"/>
                <a:gd name="connsiteX56" fmla="*/ 6040 w 10000"/>
                <a:gd name="connsiteY56" fmla="*/ 910 h 10000"/>
                <a:gd name="connsiteX57" fmla="*/ 5942 w 10000"/>
                <a:gd name="connsiteY57" fmla="*/ 795 h 10000"/>
                <a:gd name="connsiteX58" fmla="*/ 6144 w 10000"/>
                <a:gd name="connsiteY58" fmla="*/ 620 h 10000"/>
                <a:gd name="connsiteX59" fmla="*/ 5901 w 10000"/>
                <a:gd name="connsiteY59" fmla="*/ 395 h 10000"/>
                <a:gd name="connsiteX60" fmla="*/ 5853 w 10000"/>
                <a:gd name="connsiteY60" fmla="*/ 142 h 10000"/>
                <a:gd name="connsiteX61" fmla="*/ 5741 w 10000"/>
                <a:gd name="connsiteY61" fmla="*/ 110 h 10000"/>
                <a:gd name="connsiteX62" fmla="*/ 5647 w 10000"/>
                <a:gd name="connsiteY62" fmla="*/ 0 h 10000"/>
                <a:gd name="connsiteX63" fmla="*/ 5547 w 10000"/>
                <a:gd name="connsiteY63" fmla="*/ 120 h 10000"/>
                <a:gd name="connsiteX64" fmla="*/ 5377 w 10000"/>
                <a:gd name="connsiteY64" fmla="*/ 110 h 10000"/>
                <a:gd name="connsiteX65" fmla="*/ 5232 w 10000"/>
                <a:gd name="connsiteY65" fmla="*/ 351 h 10000"/>
                <a:gd name="connsiteX66" fmla="*/ 4952 w 10000"/>
                <a:gd name="connsiteY66" fmla="*/ 329 h 10000"/>
                <a:gd name="connsiteX67" fmla="*/ 4884 w 10000"/>
                <a:gd name="connsiteY67" fmla="*/ 680 h 10000"/>
                <a:gd name="connsiteX68" fmla="*/ 4701 w 10000"/>
                <a:gd name="connsiteY68" fmla="*/ 707 h 10000"/>
                <a:gd name="connsiteX69" fmla="*/ 4795 w 10000"/>
                <a:gd name="connsiteY69" fmla="*/ 844 h 10000"/>
                <a:gd name="connsiteX70" fmla="*/ 4739 w 10000"/>
                <a:gd name="connsiteY70" fmla="*/ 899 h 10000"/>
                <a:gd name="connsiteX71" fmla="*/ 4612 w 10000"/>
                <a:gd name="connsiteY71" fmla="*/ 894 h 10000"/>
                <a:gd name="connsiteX72" fmla="*/ 4439 w 10000"/>
                <a:gd name="connsiteY72" fmla="*/ 1026 h 10000"/>
                <a:gd name="connsiteX73" fmla="*/ 4252 w 10000"/>
                <a:gd name="connsiteY73" fmla="*/ 1668 h 10000"/>
                <a:gd name="connsiteX74" fmla="*/ 4308 w 10000"/>
                <a:gd name="connsiteY74" fmla="*/ 2090 h 10000"/>
                <a:gd name="connsiteX75" fmla="*/ 4121 w 10000"/>
                <a:gd name="connsiteY75" fmla="*/ 1865 h 10000"/>
                <a:gd name="connsiteX76" fmla="*/ 3849 w 10000"/>
                <a:gd name="connsiteY76" fmla="*/ 1991 h 10000"/>
                <a:gd name="connsiteX77" fmla="*/ 3822 w 10000"/>
                <a:gd name="connsiteY77" fmla="*/ 1931 h 10000"/>
                <a:gd name="connsiteX78" fmla="*/ 3695 w 10000"/>
                <a:gd name="connsiteY78" fmla="*/ 2002 h 10000"/>
                <a:gd name="connsiteX79" fmla="*/ 3621 w 10000"/>
                <a:gd name="connsiteY79" fmla="*/ 2144 h 10000"/>
                <a:gd name="connsiteX80" fmla="*/ 3561 w 10000"/>
                <a:gd name="connsiteY80" fmla="*/ 1909 h 10000"/>
                <a:gd name="connsiteX81" fmla="*/ 3478 w 10000"/>
                <a:gd name="connsiteY81" fmla="*/ 1843 h 10000"/>
                <a:gd name="connsiteX82" fmla="*/ 3444 w 10000"/>
                <a:gd name="connsiteY82" fmla="*/ 1964 h 10000"/>
                <a:gd name="connsiteX83" fmla="*/ 3332 w 10000"/>
                <a:gd name="connsiteY83" fmla="*/ 1996 h 10000"/>
                <a:gd name="connsiteX84" fmla="*/ 3272 w 10000"/>
                <a:gd name="connsiteY84" fmla="*/ 2161 h 10000"/>
                <a:gd name="connsiteX85" fmla="*/ 3235 w 10000"/>
                <a:gd name="connsiteY85" fmla="*/ 2013 h 10000"/>
                <a:gd name="connsiteX86" fmla="*/ 3123 w 10000"/>
                <a:gd name="connsiteY86" fmla="*/ 2024 h 10000"/>
                <a:gd name="connsiteX87" fmla="*/ 3078 w 10000"/>
                <a:gd name="connsiteY87" fmla="*/ 2128 h 10000"/>
                <a:gd name="connsiteX88" fmla="*/ 3011 w 10000"/>
                <a:gd name="connsiteY88" fmla="*/ 1975 h 10000"/>
                <a:gd name="connsiteX89" fmla="*/ 2895 w 10000"/>
                <a:gd name="connsiteY89" fmla="*/ 2117 h 10000"/>
                <a:gd name="connsiteX90" fmla="*/ 2783 w 10000"/>
                <a:gd name="connsiteY90" fmla="*/ 2106 h 10000"/>
                <a:gd name="connsiteX91" fmla="*/ 2779 w 10000"/>
                <a:gd name="connsiteY91" fmla="*/ 2276 h 10000"/>
                <a:gd name="connsiteX92" fmla="*/ 2727 w 10000"/>
                <a:gd name="connsiteY92" fmla="*/ 2144 h 10000"/>
                <a:gd name="connsiteX93" fmla="*/ 2559 w 10000"/>
                <a:gd name="connsiteY93" fmla="*/ 2155 h 10000"/>
                <a:gd name="connsiteX94" fmla="*/ 2438 w 10000"/>
                <a:gd name="connsiteY94" fmla="*/ 1980 h 10000"/>
                <a:gd name="connsiteX95" fmla="*/ 2293 w 10000"/>
                <a:gd name="connsiteY95" fmla="*/ 2073 h 10000"/>
                <a:gd name="connsiteX96" fmla="*/ 2143 w 10000"/>
                <a:gd name="connsiteY96" fmla="*/ 1958 h 10000"/>
                <a:gd name="connsiteX97" fmla="*/ 2057 w 10000"/>
                <a:gd name="connsiteY97" fmla="*/ 2035 h 10000"/>
                <a:gd name="connsiteX98" fmla="*/ 1975 w 10000"/>
                <a:gd name="connsiteY98" fmla="*/ 1947 h 10000"/>
                <a:gd name="connsiteX99" fmla="*/ 1852 w 10000"/>
                <a:gd name="connsiteY99" fmla="*/ 1936 h 10000"/>
                <a:gd name="connsiteX100" fmla="*/ 1669 w 10000"/>
                <a:gd name="connsiteY100" fmla="*/ 1925 h 10000"/>
                <a:gd name="connsiteX101" fmla="*/ 1444 w 10000"/>
                <a:gd name="connsiteY101" fmla="*/ 1991 h 10000"/>
                <a:gd name="connsiteX102" fmla="*/ 1205 w 10000"/>
                <a:gd name="connsiteY102" fmla="*/ 2062 h 10000"/>
                <a:gd name="connsiteX103" fmla="*/ 921 w 10000"/>
                <a:gd name="connsiteY103" fmla="*/ 2166 h 10000"/>
                <a:gd name="connsiteX104" fmla="*/ 797 w 10000"/>
                <a:gd name="connsiteY104" fmla="*/ 2496 h 10000"/>
                <a:gd name="connsiteX105" fmla="*/ 603 w 10000"/>
                <a:gd name="connsiteY105" fmla="*/ 2501 h 10000"/>
                <a:gd name="connsiteX106" fmla="*/ 540 w 10000"/>
                <a:gd name="connsiteY106" fmla="*/ 2687 h 10000"/>
                <a:gd name="connsiteX107" fmla="*/ 558 w 10000"/>
                <a:gd name="connsiteY107" fmla="*/ 2764 h 10000"/>
                <a:gd name="connsiteX108" fmla="*/ 577 w 10000"/>
                <a:gd name="connsiteY108" fmla="*/ 2868 h 10000"/>
                <a:gd name="connsiteX109" fmla="*/ 577 w 10000"/>
                <a:gd name="connsiteY109" fmla="*/ 2868 h 10000"/>
                <a:gd name="connsiteX110" fmla="*/ 577 w 10000"/>
                <a:gd name="connsiteY110" fmla="*/ 2896 h 10000"/>
                <a:gd name="connsiteX111" fmla="*/ 682 w 10000"/>
                <a:gd name="connsiteY111" fmla="*/ 3116 h 10000"/>
                <a:gd name="connsiteX112" fmla="*/ 786 w 10000"/>
                <a:gd name="connsiteY112" fmla="*/ 3351 h 10000"/>
                <a:gd name="connsiteX113" fmla="*/ 921 w 10000"/>
                <a:gd name="connsiteY113" fmla="*/ 3488 h 10000"/>
                <a:gd name="connsiteX114" fmla="*/ 876 w 10000"/>
                <a:gd name="connsiteY114" fmla="*/ 3548 h 10000"/>
                <a:gd name="connsiteX115" fmla="*/ 805 w 10000"/>
                <a:gd name="connsiteY115" fmla="*/ 3603 h 10000"/>
                <a:gd name="connsiteX116" fmla="*/ 887 w 10000"/>
                <a:gd name="connsiteY116" fmla="*/ 3697 h 10000"/>
                <a:gd name="connsiteX117" fmla="*/ 876 w 10000"/>
                <a:gd name="connsiteY117" fmla="*/ 4053 h 10000"/>
                <a:gd name="connsiteX118" fmla="*/ 693 w 10000"/>
                <a:gd name="connsiteY118" fmla="*/ 4124 h 10000"/>
                <a:gd name="connsiteX119" fmla="*/ 498 w 10000"/>
                <a:gd name="connsiteY119" fmla="*/ 4531 h 10000"/>
                <a:gd name="connsiteX120" fmla="*/ 371 w 10000"/>
                <a:gd name="connsiteY120" fmla="*/ 4936 h 10000"/>
                <a:gd name="connsiteX121" fmla="*/ 195 w 10000"/>
                <a:gd name="connsiteY121" fmla="*/ 5260 h 10000"/>
                <a:gd name="connsiteX122" fmla="*/ 270 w 10000"/>
                <a:gd name="connsiteY122" fmla="*/ 5517 h 10000"/>
                <a:gd name="connsiteX123" fmla="*/ 277 w 10000"/>
                <a:gd name="connsiteY123" fmla="*/ 5732 h 10000"/>
                <a:gd name="connsiteX124" fmla="*/ 400 w 10000"/>
                <a:gd name="connsiteY124" fmla="*/ 5841 h 10000"/>
                <a:gd name="connsiteX125" fmla="*/ 382 w 10000"/>
                <a:gd name="connsiteY125" fmla="*/ 5945 h 10000"/>
                <a:gd name="connsiteX126" fmla="*/ 202 w 10000"/>
                <a:gd name="connsiteY126" fmla="*/ 5852 h 10000"/>
                <a:gd name="connsiteX127" fmla="*/ 124 w 10000"/>
                <a:gd name="connsiteY127" fmla="*/ 6099 h 10000"/>
                <a:gd name="connsiteX128" fmla="*/ 105 w 10000"/>
                <a:gd name="connsiteY128" fmla="*/ 6346 h 10000"/>
                <a:gd name="connsiteX129" fmla="*/ 1 w 10000"/>
                <a:gd name="connsiteY129" fmla="*/ 6571 h 10000"/>
                <a:gd name="connsiteX130" fmla="*/ 19 w 10000"/>
                <a:gd name="connsiteY130" fmla="*/ 6779 h 10000"/>
                <a:gd name="connsiteX131" fmla="*/ 90 w 10000"/>
                <a:gd name="connsiteY131" fmla="*/ 6828 h 10000"/>
                <a:gd name="connsiteX132" fmla="*/ 154 w 10000"/>
                <a:gd name="connsiteY132" fmla="*/ 6960 h 10000"/>
                <a:gd name="connsiteX133" fmla="*/ 240 w 10000"/>
                <a:gd name="connsiteY133" fmla="*/ 6943 h 10000"/>
                <a:gd name="connsiteX134" fmla="*/ 292 w 10000"/>
                <a:gd name="connsiteY134" fmla="*/ 7076 h 10000"/>
                <a:gd name="connsiteX135" fmla="*/ 445 w 10000"/>
                <a:gd name="connsiteY135" fmla="*/ 7103 h 10000"/>
                <a:gd name="connsiteX136" fmla="*/ 453 w 10000"/>
                <a:gd name="connsiteY136" fmla="*/ 7251 h 10000"/>
                <a:gd name="connsiteX137" fmla="*/ 494 w 10000"/>
                <a:gd name="connsiteY137" fmla="*/ 7278 h 10000"/>
                <a:gd name="connsiteX138" fmla="*/ 525 w 10000"/>
                <a:gd name="connsiteY138" fmla="*/ 7174 h 10000"/>
                <a:gd name="connsiteX139" fmla="*/ 581 w 10000"/>
                <a:gd name="connsiteY139" fmla="*/ 7196 h 10000"/>
                <a:gd name="connsiteX140" fmla="*/ 644 w 10000"/>
                <a:gd name="connsiteY140" fmla="*/ 6992 h 10000"/>
                <a:gd name="connsiteX141" fmla="*/ 820 w 10000"/>
                <a:gd name="connsiteY141" fmla="*/ 7174 h 10000"/>
                <a:gd name="connsiteX142" fmla="*/ 1283 w 10000"/>
                <a:gd name="connsiteY142" fmla="*/ 7163 h 10000"/>
                <a:gd name="connsiteX143" fmla="*/ 1466 w 10000"/>
                <a:gd name="connsiteY143" fmla="*/ 7092 h 10000"/>
                <a:gd name="connsiteX144" fmla="*/ 1766 w 10000"/>
                <a:gd name="connsiteY144" fmla="*/ 7344 h 10000"/>
                <a:gd name="connsiteX145" fmla="*/ 1956 w 10000"/>
                <a:gd name="connsiteY145" fmla="*/ 7087 h 10000"/>
                <a:gd name="connsiteX146" fmla="*/ 2382 w 10000"/>
                <a:gd name="connsiteY146" fmla="*/ 6861 h 10000"/>
                <a:gd name="connsiteX147" fmla="*/ 2536 w 10000"/>
                <a:gd name="connsiteY147" fmla="*/ 6489 h 10000"/>
                <a:gd name="connsiteX148" fmla="*/ 2648 w 10000"/>
                <a:gd name="connsiteY148" fmla="*/ 6439 h 10000"/>
                <a:gd name="connsiteX149" fmla="*/ 2648 w 10000"/>
                <a:gd name="connsiteY149" fmla="*/ 6379 h 10000"/>
                <a:gd name="connsiteX150" fmla="*/ 2693 w 10000"/>
                <a:gd name="connsiteY150" fmla="*/ 6379 h 10000"/>
                <a:gd name="connsiteX151" fmla="*/ 2682 w 10000"/>
                <a:gd name="connsiteY151" fmla="*/ 6230 h 10000"/>
                <a:gd name="connsiteX152" fmla="*/ 2820 w 10000"/>
                <a:gd name="connsiteY152" fmla="*/ 6285 h 10000"/>
                <a:gd name="connsiteX153" fmla="*/ 2839 w 10000"/>
                <a:gd name="connsiteY153" fmla="*/ 6159 h 10000"/>
                <a:gd name="connsiteX154" fmla="*/ 2921 w 10000"/>
                <a:gd name="connsiteY154" fmla="*/ 6230 h 10000"/>
                <a:gd name="connsiteX155" fmla="*/ 2981 w 10000"/>
                <a:gd name="connsiteY155" fmla="*/ 6126 h 10000"/>
                <a:gd name="connsiteX156" fmla="*/ 3078 w 10000"/>
                <a:gd name="connsiteY156" fmla="*/ 6154 h 10000"/>
                <a:gd name="connsiteX157" fmla="*/ 3164 w 10000"/>
                <a:gd name="connsiteY157" fmla="*/ 6055 h 10000"/>
                <a:gd name="connsiteX158" fmla="*/ 3328 w 10000"/>
                <a:gd name="connsiteY158" fmla="*/ 6192 h 10000"/>
                <a:gd name="connsiteX159" fmla="*/ 3411 w 10000"/>
                <a:gd name="connsiteY159" fmla="*/ 6197 h 10000"/>
                <a:gd name="connsiteX160" fmla="*/ 3437 w 10000"/>
                <a:gd name="connsiteY160" fmla="*/ 6307 h 10000"/>
                <a:gd name="connsiteX161" fmla="*/ 3591 w 10000"/>
                <a:gd name="connsiteY161" fmla="*/ 6236 h 10000"/>
                <a:gd name="connsiteX162" fmla="*/ 3576 w 10000"/>
                <a:gd name="connsiteY162" fmla="*/ 6357 h 10000"/>
                <a:gd name="connsiteX163" fmla="*/ 3632 w 10000"/>
                <a:gd name="connsiteY163" fmla="*/ 6341 h 10000"/>
                <a:gd name="connsiteX164" fmla="*/ 3699 w 10000"/>
                <a:gd name="connsiteY164" fmla="*/ 6428 h 10000"/>
                <a:gd name="connsiteX165" fmla="*/ 3703 w 10000"/>
                <a:gd name="connsiteY165" fmla="*/ 6301 h 10000"/>
                <a:gd name="connsiteX166" fmla="*/ 3882 w 10000"/>
                <a:gd name="connsiteY166" fmla="*/ 6341 h 10000"/>
                <a:gd name="connsiteX167" fmla="*/ 3946 w 10000"/>
                <a:gd name="connsiteY167" fmla="*/ 6511 h 10000"/>
                <a:gd name="connsiteX168" fmla="*/ 4047 w 10000"/>
                <a:gd name="connsiteY168" fmla="*/ 6494 h 10000"/>
                <a:gd name="connsiteX169" fmla="*/ 4091 w 10000"/>
                <a:gd name="connsiteY169" fmla="*/ 6417 h 10000"/>
                <a:gd name="connsiteX170" fmla="*/ 4192 w 10000"/>
                <a:gd name="connsiteY170" fmla="*/ 6735 h 10000"/>
                <a:gd name="connsiteX171" fmla="*/ 4155 w 10000"/>
                <a:gd name="connsiteY171" fmla="*/ 6987 h 10000"/>
                <a:gd name="connsiteX172" fmla="*/ 4207 w 10000"/>
                <a:gd name="connsiteY172" fmla="*/ 7114 h 10000"/>
                <a:gd name="connsiteX173" fmla="*/ 4278 w 10000"/>
                <a:gd name="connsiteY173" fmla="*/ 7119 h 10000"/>
                <a:gd name="connsiteX174" fmla="*/ 4387 w 10000"/>
                <a:gd name="connsiteY174" fmla="*/ 7256 h 10000"/>
                <a:gd name="connsiteX175" fmla="*/ 4431 w 10000"/>
                <a:gd name="connsiteY175" fmla="*/ 7152 h 10000"/>
                <a:gd name="connsiteX176" fmla="*/ 4480 w 10000"/>
                <a:gd name="connsiteY176" fmla="*/ 7322 h 10000"/>
                <a:gd name="connsiteX177" fmla="*/ 4541 w 10000"/>
                <a:gd name="connsiteY177" fmla="*/ 7662 h 10000"/>
                <a:gd name="connsiteX178" fmla="*/ 4720 w 10000"/>
                <a:gd name="connsiteY178" fmla="*/ 7739 h 10000"/>
                <a:gd name="connsiteX179" fmla="*/ 4761 w 10000"/>
                <a:gd name="connsiteY179" fmla="*/ 8183 h 10000"/>
                <a:gd name="connsiteX180" fmla="*/ 4914 w 10000"/>
                <a:gd name="connsiteY180" fmla="*/ 8276 h 10000"/>
                <a:gd name="connsiteX181" fmla="*/ 4757 w 10000"/>
                <a:gd name="connsiteY181" fmla="*/ 8370 h 10000"/>
                <a:gd name="connsiteX182" fmla="*/ 4705 w 10000"/>
                <a:gd name="connsiteY182" fmla="*/ 8260 h 10000"/>
                <a:gd name="connsiteX183" fmla="*/ 4645 w 10000"/>
                <a:gd name="connsiteY183" fmla="*/ 8403 h 10000"/>
                <a:gd name="connsiteX184" fmla="*/ 4491 w 10000"/>
                <a:gd name="connsiteY184" fmla="*/ 8287 h 10000"/>
                <a:gd name="connsiteX185" fmla="*/ 4405 w 10000"/>
                <a:gd name="connsiteY185" fmla="*/ 8452 h 10000"/>
                <a:gd name="connsiteX186" fmla="*/ 4226 w 10000"/>
                <a:gd name="connsiteY186" fmla="*/ 8331 h 10000"/>
                <a:gd name="connsiteX187" fmla="*/ 4312 w 10000"/>
                <a:gd name="connsiteY187" fmla="*/ 8699 h 10000"/>
                <a:gd name="connsiteX188" fmla="*/ 4304 w 10000"/>
                <a:gd name="connsiteY188" fmla="*/ 8967 h 10000"/>
                <a:gd name="connsiteX189" fmla="*/ 4189 w 10000"/>
                <a:gd name="connsiteY189" fmla="*/ 9088 h 10000"/>
                <a:gd name="connsiteX190" fmla="*/ 4226 w 10000"/>
                <a:gd name="connsiteY190" fmla="*/ 9193 h 10000"/>
                <a:gd name="connsiteX191" fmla="*/ 4065 w 10000"/>
                <a:gd name="connsiteY191" fmla="*/ 9412 h 10000"/>
                <a:gd name="connsiteX192" fmla="*/ 4129 w 10000"/>
                <a:gd name="connsiteY192" fmla="*/ 9647 h 10000"/>
                <a:gd name="connsiteX193" fmla="*/ 3972 w 10000"/>
                <a:gd name="connsiteY193" fmla="*/ 9681 h 10000"/>
                <a:gd name="connsiteX194" fmla="*/ 3931 w 10000"/>
                <a:gd name="connsiteY194" fmla="*/ 9741 h 10000"/>
                <a:gd name="connsiteX195" fmla="*/ 3998 w 10000"/>
                <a:gd name="connsiteY195" fmla="*/ 9785 h 10000"/>
                <a:gd name="connsiteX196" fmla="*/ 4118 w 10000"/>
                <a:gd name="connsiteY196" fmla="*/ 9944 h 10000"/>
                <a:gd name="connsiteX197" fmla="*/ 4312 w 10000"/>
                <a:gd name="connsiteY197" fmla="*/ 9999 h 10000"/>
                <a:gd name="connsiteX198" fmla="*/ 4319 w 10000"/>
                <a:gd name="connsiteY198" fmla="*/ 9851 h 10000"/>
                <a:gd name="connsiteX199" fmla="*/ 4387 w 10000"/>
                <a:gd name="connsiteY199" fmla="*/ 9856 h 10000"/>
                <a:gd name="connsiteX200" fmla="*/ 4675 w 10000"/>
                <a:gd name="connsiteY200" fmla="*/ 9603 h 10000"/>
                <a:gd name="connsiteX201" fmla="*/ 4866 w 10000"/>
                <a:gd name="connsiteY201" fmla="*/ 9845 h 10000"/>
                <a:gd name="connsiteX202" fmla="*/ 4866 w 10000"/>
                <a:gd name="connsiteY202" fmla="*/ 9862 h 10000"/>
                <a:gd name="connsiteX203" fmla="*/ 4896 w 10000"/>
                <a:gd name="connsiteY203" fmla="*/ 9703 h 10000"/>
                <a:gd name="connsiteX204" fmla="*/ 4843 w 10000"/>
                <a:gd name="connsiteY204" fmla="*/ 9570 h 10000"/>
                <a:gd name="connsiteX205" fmla="*/ 4776 w 10000"/>
                <a:gd name="connsiteY205" fmla="*/ 9549 h 10000"/>
                <a:gd name="connsiteX206" fmla="*/ 4821 w 10000"/>
                <a:gd name="connsiteY206" fmla="*/ 9466 h 10000"/>
                <a:gd name="connsiteX207" fmla="*/ 4806 w 10000"/>
                <a:gd name="connsiteY207" fmla="*/ 9444 h 10000"/>
                <a:gd name="connsiteX208" fmla="*/ 4750 w 10000"/>
                <a:gd name="connsiteY208" fmla="*/ 9439 h 10000"/>
                <a:gd name="connsiteX209" fmla="*/ 4720 w 10000"/>
                <a:gd name="connsiteY209" fmla="*/ 9121 h 10000"/>
                <a:gd name="connsiteX210" fmla="*/ 4761 w 10000"/>
                <a:gd name="connsiteY210" fmla="*/ 9105 h 10000"/>
                <a:gd name="connsiteX211" fmla="*/ 4783 w 10000"/>
                <a:gd name="connsiteY211" fmla="*/ 9253 h 10000"/>
                <a:gd name="connsiteX212" fmla="*/ 4836 w 10000"/>
                <a:gd name="connsiteY212" fmla="*/ 9384 h 10000"/>
                <a:gd name="connsiteX213" fmla="*/ 4881 w 10000"/>
                <a:gd name="connsiteY213" fmla="*/ 9302 h 10000"/>
                <a:gd name="connsiteX214" fmla="*/ 4869 w 10000"/>
                <a:gd name="connsiteY214" fmla="*/ 9220 h 10000"/>
                <a:gd name="connsiteX215" fmla="*/ 4940 w 10000"/>
                <a:gd name="connsiteY215" fmla="*/ 9203 h 10000"/>
                <a:gd name="connsiteX216" fmla="*/ 4903 w 10000"/>
                <a:gd name="connsiteY216" fmla="*/ 9034 h 10000"/>
                <a:gd name="connsiteX217" fmla="*/ 5000 w 10000"/>
                <a:gd name="connsiteY217" fmla="*/ 9061 h 10000"/>
                <a:gd name="connsiteX218" fmla="*/ 5004 w 10000"/>
                <a:gd name="connsiteY218" fmla="*/ 8972 h 10000"/>
                <a:gd name="connsiteX219" fmla="*/ 5041 w 10000"/>
                <a:gd name="connsiteY219" fmla="*/ 9039 h 10000"/>
                <a:gd name="connsiteX220" fmla="*/ 5206 w 10000"/>
                <a:gd name="connsiteY220" fmla="*/ 8781 h 10000"/>
                <a:gd name="connsiteX221" fmla="*/ 5112 w 10000"/>
                <a:gd name="connsiteY221" fmla="*/ 8584 h 10000"/>
                <a:gd name="connsiteX222" fmla="*/ 4937 w 10000"/>
                <a:gd name="connsiteY222" fmla="*/ 8425 h 10000"/>
                <a:gd name="connsiteX223" fmla="*/ 5037 w 10000"/>
                <a:gd name="connsiteY223" fmla="*/ 8370 h 10000"/>
                <a:gd name="connsiteX224" fmla="*/ 5183 w 10000"/>
                <a:gd name="connsiteY224" fmla="*/ 8633 h 10000"/>
                <a:gd name="connsiteX225" fmla="*/ 5292 w 10000"/>
                <a:gd name="connsiteY225" fmla="*/ 8199 h 10000"/>
                <a:gd name="connsiteX226" fmla="*/ 5299 w 10000"/>
                <a:gd name="connsiteY226" fmla="*/ 8030 h 10000"/>
                <a:gd name="connsiteX227" fmla="*/ 5482 w 10000"/>
                <a:gd name="connsiteY227" fmla="*/ 7942 h 10000"/>
                <a:gd name="connsiteX228" fmla="*/ 5550 w 10000"/>
                <a:gd name="connsiteY228" fmla="*/ 7607 h 10000"/>
                <a:gd name="connsiteX229" fmla="*/ 5561 w 10000"/>
                <a:gd name="connsiteY229" fmla="*/ 7734 h 10000"/>
                <a:gd name="connsiteX230" fmla="*/ 5677 w 10000"/>
                <a:gd name="connsiteY230" fmla="*/ 7596 h 10000"/>
                <a:gd name="connsiteX231" fmla="*/ 5759 w 10000"/>
                <a:gd name="connsiteY231" fmla="*/ 7579 h 10000"/>
                <a:gd name="connsiteX232" fmla="*/ 5842 w 10000"/>
                <a:gd name="connsiteY232" fmla="*/ 7207 h 10000"/>
                <a:gd name="connsiteX233" fmla="*/ 5916 w 10000"/>
                <a:gd name="connsiteY233" fmla="*/ 7486 h 10000"/>
                <a:gd name="connsiteX234" fmla="*/ 6137 w 10000"/>
                <a:gd name="connsiteY234" fmla="*/ 7563 h 10000"/>
                <a:gd name="connsiteX235" fmla="*/ 5969 w 10000"/>
                <a:gd name="connsiteY235" fmla="*/ 7618 h 10000"/>
                <a:gd name="connsiteX236" fmla="*/ 5954 w 10000"/>
                <a:gd name="connsiteY236" fmla="*/ 7679 h 10000"/>
                <a:gd name="connsiteX237" fmla="*/ 5786 w 10000"/>
                <a:gd name="connsiteY237" fmla="*/ 7690 h 10000"/>
                <a:gd name="connsiteX238" fmla="*/ 5700 w 10000"/>
                <a:gd name="connsiteY238" fmla="*/ 7723 h 10000"/>
                <a:gd name="connsiteX239" fmla="*/ 5767 w 10000"/>
                <a:gd name="connsiteY239" fmla="*/ 7772 h 10000"/>
                <a:gd name="connsiteX240" fmla="*/ 5827 w 10000"/>
                <a:gd name="connsiteY240" fmla="*/ 7756 h 10000"/>
                <a:gd name="connsiteX241" fmla="*/ 5991 w 10000"/>
                <a:gd name="connsiteY241" fmla="*/ 7789 h 10000"/>
                <a:gd name="connsiteX242" fmla="*/ 5804 w 10000"/>
                <a:gd name="connsiteY242" fmla="*/ 7964 h 10000"/>
                <a:gd name="connsiteX243" fmla="*/ 5872 w 10000"/>
                <a:gd name="connsiteY243" fmla="*/ 8008 h 10000"/>
                <a:gd name="connsiteX244" fmla="*/ 6043 w 10000"/>
                <a:gd name="connsiteY244" fmla="*/ 7958 h 10000"/>
                <a:gd name="connsiteX245" fmla="*/ 6275 w 10000"/>
                <a:gd name="connsiteY245" fmla="*/ 8101 h 10000"/>
                <a:gd name="connsiteX246" fmla="*/ 6575 w 10000"/>
                <a:gd name="connsiteY246" fmla="*/ 7909 h 10000"/>
                <a:gd name="connsiteX247" fmla="*/ 6870 w 10000"/>
                <a:gd name="connsiteY247" fmla="*/ 7887 h 10000"/>
                <a:gd name="connsiteX248" fmla="*/ 6915 w 10000"/>
                <a:gd name="connsiteY248" fmla="*/ 7745 h 10000"/>
                <a:gd name="connsiteX249" fmla="*/ 6993 w 10000"/>
                <a:gd name="connsiteY249" fmla="*/ 7958 h 10000"/>
                <a:gd name="connsiteX250" fmla="*/ 7075 w 10000"/>
                <a:gd name="connsiteY250" fmla="*/ 7986 h 10000"/>
                <a:gd name="connsiteX251" fmla="*/ 7045 w 10000"/>
                <a:gd name="connsiteY251" fmla="*/ 8134 h 10000"/>
                <a:gd name="connsiteX252" fmla="*/ 6788 w 10000"/>
                <a:gd name="connsiteY252" fmla="*/ 8281 h 10000"/>
                <a:gd name="connsiteX253" fmla="*/ 6769 w 10000"/>
                <a:gd name="connsiteY253" fmla="*/ 8386 h 10000"/>
                <a:gd name="connsiteX254" fmla="*/ 6627 w 10000"/>
                <a:gd name="connsiteY254" fmla="*/ 8523 h 10000"/>
                <a:gd name="connsiteX255" fmla="*/ 6623 w 10000"/>
                <a:gd name="connsiteY255" fmla="*/ 8649 h 10000"/>
                <a:gd name="connsiteX256" fmla="*/ 6537 w 10000"/>
                <a:gd name="connsiteY256" fmla="*/ 8704 h 10000"/>
                <a:gd name="connsiteX257" fmla="*/ 6428 w 10000"/>
                <a:gd name="connsiteY257" fmla="*/ 8989 h 10000"/>
                <a:gd name="connsiteX258" fmla="*/ 6582 w 10000"/>
                <a:gd name="connsiteY258" fmla="*/ 9001 h 10000"/>
                <a:gd name="connsiteX259" fmla="*/ 6672 w 10000"/>
                <a:gd name="connsiteY259" fmla="*/ 8879 h 10000"/>
                <a:gd name="connsiteX260" fmla="*/ 6769 w 10000"/>
                <a:gd name="connsiteY260" fmla="*/ 8912 h 10000"/>
                <a:gd name="connsiteX261" fmla="*/ 6814 w 10000"/>
                <a:gd name="connsiteY261" fmla="*/ 8786 h 10000"/>
                <a:gd name="connsiteX262" fmla="*/ 6877 w 10000"/>
                <a:gd name="connsiteY262" fmla="*/ 9001 h 10000"/>
                <a:gd name="connsiteX263" fmla="*/ 7060 w 10000"/>
                <a:gd name="connsiteY263" fmla="*/ 8994 h 10000"/>
                <a:gd name="connsiteX264" fmla="*/ 7217 w 10000"/>
                <a:gd name="connsiteY264" fmla="*/ 9362 h 10000"/>
                <a:gd name="connsiteX265" fmla="*/ 7232 w 10000"/>
                <a:gd name="connsiteY265" fmla="*/ 9675 h 10000"/>
                <a:gd name="connsiteX266" fmla="*/ 7176 w 10000"/>
                <a:gd name="connsiteY266" fmla="*/ 9692 h 10000"/>
                <a:gd name="connsiteX267" fmla="*/ 7187 w 10000"/>
                <a:gd name="connsiteY267" fmla="*/ 9780 h 10000"/>
                <a:gd name="connsiteX268" fmla="*/ 7423 w 10000"/>
                <a:gd name="connsiteY268" fmla="*/ 9900 h 10000"/>
                <a:gd name="connsiteX269" fmla="*/ 7741 w 10000"/>
                <a:gd name="connsiteY269" fmla="*/ 9565 h 10000"/>
                <a:gd name="connsiteX270" fmla="*/ 7879 w 10000"/>
                <a:gd name="connsiteY270" fmla="*/ 9176 h 10000"/>
                <a:gd name="connsiteX271" fmla="*/ 8107 w 10000"/>
                <a:gd name="connsiteY271" fmla="*/ 9023 h 10000"/>
                <a:gd name="connsiteX272" fmla="*/ 8182 w 10000"/>
                <a:gd name="connsiteY272" fmla="*/ 8841 h 10000"/>
                <a:gd name="connsiteX273" fmla="*/ 8268 w 10000"/>
                <a:gd name="connsiteY273" fmla="*/ 8786 h 10000"/>
                <a:gd name="connsiteX274" fmla="*/ 8320 w 10000"/>
                <a:gd name="connsiteY274" fmla="*/ 8512 h 10000"/>
                <a:gd name="connsiteX275" fmla="*/ 8542 w 10000"/>
                <a:gd name="connsiteY275" fmla="*/ 8617 h 10000"/>
                <a:gd name="connsiteX276" fmla="*/ 8672 w 10000"/>
                <a:gd name="connsiteY276" fmla="*/ 8474 h 10000"/>
                <a:gd name="connsiteX277" fmla="*/ 8855 w 10000"/>
                <a:gd name="connsiteY277" fmla="*/ 8343 h 10000"/>
                <a:gd name="connsiteX278" fmla="*/ 8781 w 10000"/>
                <a:gd name="connsiteY278" fmla="*/ 8128 h 10000"/>
                <a:gd name="connsiteX279" fmla="*/ 7708 w 10000"/>
                <a:gd name="connsiteY279" fmla="*/ 7991 h 10000"/>
                <a:gd name="connsiteX280" fmla="*/ 7682 w 10000"/>
                <a:gd name="connsiteY280" fmla="*/ 7904 h 10000"/>
                <a:gd name="connsiteX281" fmla="*/ 7607 w 10000"/>
                <a:gd name="connsiteY281" fmla="*/ 8002 h 10000"/>
                <a:gd name="connsiteX282" fmla="*/ 7715 w 10000"/>
                <a:gd name="connsiteY282" fmla="*/ 7761 h 10000"/>
                <a:gd name="connsiteX283" fmla="*/ 7674 w 10000"/>
                <a:gd name="connsiteY283" fmla="*/ 7717 h 10000"/>
                <a:gd name="connsiteX284" fmla="*/ 7554 w 10000"/>
                <a:gd name="connsiteY284" fmla="*/ 7915 h 10000"/>
                <a:gd name="connsiteX285" fmla="*/ 7618 w 10000"/>
                <a:gd name="connsiteY285" fmla="*/ 7712 h 10000"/>
                <a:gd name="connsiteX286" fmla="*/ 7532 w 10000"/>
                <a:gd name="connsiteY286" fmla="*/ 7767 h 10000"/>
                <a:gd name="connsiteX287" fmla="*/ 7419 w 10000"/>
                <a:gd name="connsiteY287" fmla="*/ 7717 h 10000"/>
                <a:gd name="connsiteX288" fmla="*/ 7333 w 10000"/>
                <a:gd name="connsiteY288" fmla="*/ 7794 h 10000"/>
                <a:gd name="connsiteX289" fmla="*/ 7240 w 10000"/>
                <a:gd name="connsiteY289" fmla="*/ 7728 h 10000"/>
                <a:gd name="connsiteX290" fmla="*/ 7087 w 10000"/>
                <a:gd name="connsiteY290" fmla="*/ 7717 h 10000"/>
                <a:gd name="connsiteX291" fmla="*/ 7090 w 10000"/>
                <a:gd name="connsiteY291" fmla="*/ 7547 h 10000"/>
                <a:gd name="connsiteX292" fmla="*/ 7229 w 10000"/>
                <a:gd name="connsiteY292" fmla="*/ 7662 h 10000"/>
                <a:gd name="connsiteX293" fmla="*/ 7273 w 10000"/>
                <a:gd name="connsiteY293" fmla="*/ 7541 h 10000"/>
                <a:gd name="connsiteX294" fmla="*/ 7236 w 10000"/>
                <a:gd name="connsiteY294" fmla="*/ 7410 h 10000"/>
                <a:gd name="connsiteX295" fmla="*/ 7341 w 10000"/>
                <a:gd name="connsiteY295" fmla="*/ 7547 h 10000"/>
                <a:gd name="connsiteX296" fmla="*/ 7483 w 10000"/>
                <a:gd name="connsiteY296" fmla="*/ 7536 h 10000"/>
                <a:gd name="connsiteX297" fmla="*/ 7506 w 10000"/>
                <a:gd name="connsiteY297" fmla="*/ 7685 h 10000"/>
                <a:gd name="connsiteX298" fmla="*/ 7547 w 10000"/>
                <a:gd name="connsiteY298" fmla="*/ 7685 h 10000"/>
                <a:gd name="connsiteX299" fmla="*/ 7558 w 10000"/>
                <a:gd name="connsiteY299" fmla="*/ 7415 h 10000"/>
                <a:gd name="connsiteX300" fmla="*/ 7607 w 10000"/>
                <a:gd name="connsiteY300" fmla="*/ 7585 h 10000"/>
                <a:gd name="connsiteX301" fmla="*/ 7693 w 10000"/>
                <a:gd name="connsiteY301" fmla="*/ 7590 h 10000"/>
                <a:gd name="connsiteX302" fmla="*/ 7629 w 10000"/>
                <a:gd name="connsiteY302" fmla="*/ 7333 h 10000"/>
                <a:gd name="connsiteX303" fmla="*/ 7786 w 10000"/>
                <a:gd name="connsiteY303" fmla="*/ 7240 h 10000"/>
                <a:gd name="connsiteX304" fmla="*/ 7779 w 10000"/>
                <a:gd name="connsiteY304" fmla="*/ 6987 h 10000"/>
                <a:gd name="connsiteX305" fmla="*/ 7887 w 10000"/>
                <a:gd name="connsiteY305" fmla="*/ 7081 h 10000"/>
                <a:gd name="connsiteX306" fmla="*/ 7906 w 10000"/>
                <a:gd name="connsiteY306" fmla="*/ 7015 h 10000"/>
                <a:gd name="connsiteX307" fmla="*/ 7775 w 10000"/>
                <a:gd name="connsiteY307" fmla="*/ 6735 h 10000"/>
                <a:gd name="connsiteX308" fmla="*/ 7950 w 10000"/>
                <a:gd name="connsiteY308" fmla="*/ 6894 h 10000"/>
                <a:gd name="connsiteX309" fmla="*/ 8171 w 10000"/>
                <a:gd name="connsiteY309" fmla="*/ 6511 h 10000"/>
                <a:gd name="connsiteX310" fmla="*/ 8384 w 10000"/>
                <a:gd name="connsiteY310" fmla="*/ 6483 h 10000"/>
                <a:gd name="connsiteX311" fmla="*/ 8429 w 10000"/>
                <a:gd name="connsiteY31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165 w 10000"/>
                <a:gd name="connsiteY42" fmla="*/ 1996 h 10000"/>
                <a:gd name="connsiteX43" fmla="*/ 6892 w 10000"/>
                <a:gd name="connsiteY43" fmla="*/ 1827 h 10000"/>
                <a:gd name="connsiteX44" fmla="*/ 6922 w 10000"/>
                <a:gd name="connsiteY44" fmla="*/ 1728 h 10000"/>
                <a:gd name="connsiteX45" fmla="*/ 6765 w 10000"/>
                <a:gd name="connsiteY45" fmla="*/ 1398 h 10000"/>
                <a:gd name="connsiteX46" fmla="*/ 6799 w 10000"/>
                <a:gd name="connsiteY46" fmla="*/ 1256 h 10000"/>
                <a:gd name="connsiteX47" fmla="*/ 6728 w 10000"/>
                <a:gd name="connsiteY47" fmla="*/ 1229 h 10000"/>
                <a:gd name="connsiteX48" fmla="*/ 6657 w 10000"/>
                <a:gd name="connsiteY48" fmla="*/ 1311 h 10000"/>
                <a:gd name="connsiteX49" fmla="*/ 6593 w 10000"/>
                <a:gd name="connsiteY49" fmla="*/ 1114 h 10000"/>
                <a:gd name="connsiteX50" fmla="*/ 6391 w 10000"/>
                <a:gd name="connsiteY50" fmla="*/ 1311 h 10000"/>
                <a:gd name="connsiteX51" fmla="*/ 6309 w 10000"/>
                <a:gd name="connsiteY51" fmla="*/ 1223 h 10000"/>
                <a:gd name="connsiteX52" fmla="*/ 6126 w 10000"/>
                <a:gd name="connsiteY52" fmla="*/ 1273 h 10000"/>
                <a:gd name="connsiteX53" fmla="*/ 6144 w 10000"/>
                <a:gd name="connsiteY53" fmla="*/ 1125 h 10000"/>
                <a:gd name="connsiteX54" fmla="*/ 6073 w 10000"/>
                <a:gd name="connsiteY54" fmla="*/ 1119 h 10000"/>
                <a:gd name="connsiteX55" fmla="*/ 6040 w 10000"/>
                <a:gd name="connsiteY55" fmla="*/ 910 h 10000"/>
                <a:gd name="connsiteX56" fmla="*/ 5942 w 10000"/>
                <a:gd name="connsiteY56" fmla="*/ 795 h 10000"/>
                <a:gd name="connsiteX57" fmla="*/ 6144 w 10000"/>
                <a:gd name="connsiteY57" fmla="*/ 620 h 10000"/>
                <a:gd name="connsiteX58" fmla="*/ 5901 w 10000"/>
                <a:gd name="connsiteY58" fmla="*/ 395 h 10000"/>
                <a:gd name="connsiteX59" fmla="*/ 5853 w 10000"/>
                <a:gd name="connsiteY59" fmla="*/ 142 h 10000"/>
                <a:gd name="connsiteX60" fmla="*/ 5741 w 10000"/>
                <a:gd name="connsiteY60" fmla="*/ 110 h 10000"/>
                <a:gd name="connsiteX61" fmla="*/ 5647 w 10000"/>
                <a:gd name="connsiteY61" fmla="*/ 0 h 10000"/>
                <a:gd name="connsiteX62" fmla="*/ 5547 w 10000"/>
                <a:gd name="connsiteY62" fmla="*/ 120 h 10000"/>
                <a:gd name="connsiteX63" fmla="*/ 5377 w 10000"/>
                <a:gd name="connsiteY63" fmla="*/ 110 h 10000"/>
                <a:gd name="connsiteX64" fmla="*/ 5232 w 10000"/>
                <a:gd name="connsiteY64" fmla="*/ 351 h 10000"/>
                <a:gd name="connsiteX65" fmla="*/ 4952 w 10000"/>
                <a:gd name="connsiteY65" fmla="*/ 329 h 10000"/>
                <a:gd name="connsiteX66" fmla="*/ 4884 w 10000"/>
                <a:gd name="connsiteY66" fmla="*/ 680 h 10000"/>
                <a:gd name="connsiteX67" fmla="*/ 4701 w 10000"/>
                <a:gd name="connsiteY67" fmla="*/ 707 h 10000"/>
                <a:gd name="connsiteX68" fmla="*/ 4795 w 10000"/>
                <a:gd name="connsiteY68" fmla="*/ 844 h 10000"/>
                <a:gd name="connsiteX69" fmla="*/ 4739 w 10000"/>
                <a:gd name="connsiteY69" fmla="*/ 899 h 10000"/>
                <a:gd name="connsiteX70" fmla="*/ 4612 w 10000"/>
                <a:gd name="connsiteY70" fmla="*/ 894 h 10000"/>
                <a:gd name="connsiteX71" fmla="*/ 4439 w 10000"/>
                <a:gd name="connsiteY71" fmla="*/ 1026 h 10000"/>
                <a:gd name="connsiteX72" fmla="*/ 4252 w 10000"/>
                <a:gd name="connsiteY72" fmla="*/ 1668 h 10000"/>
                <a:gd name="connsiteX73" fmla="*/ 4308 w 10000"/>
                <a:gd name="connsiteY73" fmla="*/ 2090 h 10000"/>
                <a:gd name="connsiteX74" fmla="*/ 4121 w 10000"/>
                <a:gd name="connsiteY74" fmla="*/ 1865 h 10000"/>
                <a:gd name="connsiteX75" fmla="*/ 3849 w 10000"/>
                <a:gd name="connsiteY75" fmla="*/ 1991 h 10000"/>
                <a:gd name="connsiteX76" fmla="*/ 3822 w 10000"/>
                <a:gd name="connsiteY76" fmla="*/ 1931 h 10000"/>
                <a:gd name="connsiteX77" fmla="*/ 3695 w 10000"/>
                <a:gd name="connsiteY77" fmla="*/ 2002 h 10000"/>
                <a:gd name="connsiteX78" fmla="*/ 3621 w 10000"/>
                <a:gd name="connsiteY78" fmla="*/ 2144 h 10000"/>
                <a:gd name="connsiteX79" fmla="*/ 3561 w 10000"/>
                <a:gd name="connsiteY79" fmla="*/ 1909 h 10000"/>
                <a:gd name="connsiteX80" fmla="*/ 3478 w 10000"/>
                <a:gd name="connsiteY80" fmla="*/ 1843 h 10000"/>
                <a:gd name="connsiteX81" fmla="*/ 3444 w 10000"/>
                <a:gd name="connsiteY81" fmla="*/ 1964 h 10000"/>
                <a:gd name="connsiteX82" fmla="*/ 3332 w 10000"/>
                <a:gd name="connsiteY82" fmla="*/ 1996 h 10000"/>
                <a:gd name="connsiteX83" fmla="*/ 3272 w 10000"/>
                <a:gd name="connsiteY83" fmla="*/ 2161 h 10000"/>
                <a:gd name="connsiteX84" fmla="*/ 3235 w 10000"/>
                <a:gd name="connsiteY84" fmla="*/ 2013 h 10000"/>
                <a:gd name="connsiteX85" fmla="*/ 3123 w 10000"/>
                <a:gd name="connsiteY85" fmla="*/ 2024 h 10000"/>
                <a:gd name="connsiteX86" fmla="*/ 3078 w 10000"/>
                <a:gd name="connsiteY86" fmla="*/ 2128 h 10000"/>
                <a:gd name="connsiteX87" fmla="*/ 3011 w 10000"/>
                <a:gd name="connsiteY87" fmla="*/ 1975 h 10000"/>
                <a:gd name="connsiteX88" fmla="*/ 2895 w 10000"/>
                <a:gd name="connsiteY88" fmla="*/ 2117 h 10000"/>
                <a:gd name="connsiteX89" fmla="*/ 2783 w 10000"/>
                <a:gd name="connsiteY89" fmla="*/ 2106 h 10000"/>
                <a:gd name="connsiteX90" fmla="*/ 2779 w 10000"/>
                <a:gd name="connsiteY90" fmla="*/ 2276 h 10000"/>
                <a:gd name="connsiteX91" fmla="*/ 2727 w 10000"/>
                <a:gd name="connsiteY91" fmla="*/ 2144 h 10000"/>
                <a:gd name="connsiteX92" fmla="*/ 2559 w 10000"/>
                <a:gd name="connsiteY92" fmla="*/ 2155 h 10000"/>
                <a:gd name="connsiteX93" fmla="*/ 2438 w 10000"/>
                <a:gd name="connsiteY93" fmla="*/ 1980 h 10000"/>
                <a:gd name="connsiteX94" fmla="*/ 2293 w 10000"/>
                <a:gd name="connsiteY94" fmla="*/ 2073 h 10000"/>
                <a:gd name="connsiteX95" fmla="*/ 2143 w 10000"/>
                <a:gd name="connsiteY95" fmla="*/ 1958 h 10000"/>
                <a:gd name="connsiteX96" fmla="*/ 2057 w 10000"/>
                <a:gd name="connsiteY96" fmla="*/ 2035 h 10000"/>
                <a:gd name="connsiteX97" fmla="*/ 1975 w 10000"/>
                <a:gd name="connsiteY97" fmla="*/ 1947 h 10000"/>
                <a:gd name="connsiteX98" fmla="*/ 1852 w 10000"/>
                <a:gd name="connsiteY98" fmla="*/ 1936 h 10000"/>
                <a:gd name="connsiteX99" fmla="*/ 1669 w 10000"/>
                <a:gd name="connsiteY99" fmla="*/ 1925 h 10000"/>
                <a:gd name="connsiteX100" fmla="*/ 1444 w 10000"/>
                <a:gd name="connsiteY100" fmla="*/ 1991 h 10000"/>
                <a:gd name="connsiteX101" fmla="*/ 1205 w 10000"/>
                <a:gd name="connsiteY101" fmla="*/ 2062 h 10000"/>
                <a:gd name="connsiteX102" fmla="*/ 921 w 10000"/>
                <a:gd name="connsiteY102" fmla="*/ 2166 h 10000"/>
                <a:gd name="connsiteX103" fmla="*/ 797 w 10000"/>
                <a:gd name="connsiteY103" fmla="*/ 2496 h 10000"/>
                <a:gd name="connsiteX104" fmla="*/ 603 w 10000"/>
                <a:gd name="connsiteY104" fmla="*/ 2501 h 10000"/>
                <a:gd name="connsiteX105" fmla="*/ 540 w 10000"/>
                <a:gd name="connsiteY105" fmla="*/ 2687 h 10000"/>
                <a:gd name="connsiteX106" fmla="*/ 558 w 10000"/>
                <a:gd name="connsiteY106" fmla="*/ 2764 h 10000"/>
                <a:gd name="connsiteX107" fmla="*/ 577 w 10000"/>
                <a:gd name="connsiteY107" fmla="*/ 2868 h 10000"/>
                <a:gd name="connsiteX108" fmla="*/ 577 w 10000"/>
                <a:gd name="connsiteY108" fmla="*/ 2868 h 10000"/>
                <a:gd name="connsiteX109" fmla="*/ 577 w 10000"/>
                <a:gd name="connsiteY109" fmla="*/ 2896 h 10000"/>
                <a:gd name="connsiteX110" fmla="*/ 682 w 10000"/>
                <a:gd name="connsiteY110" fmla="*/ 3116 h 10000"/>
                <a:gd name="connsiteX111" fmla="*/ 786 w 10000"/>
                <a:gd name="connsiteY111" fmla="*/ 3351 h 10000"/>
                <a:gd name="connsiteX112" fmla="*/ 921 w 10000"/>
                <a:gd name="connsiteY112" fmla="*/ 3488 h 10000"/>
                <a:gd name="connsiteX113" fmla="*/ 876 w 10000"/>
                <a:gd name="connsiteY113" fmla="*/ 3548 h 10000"/>
                <a:gd name="connsiteX114" fmla="*/ 805 w 10000"/>
                <a:gd name="connsiteY114" fmla="*/ 3603 h 10000"/>
                <a:gd name="connsiteX115" fmla="*/ 887 w 10000"/>
                <a:gd name="connsiteY115" fmla="*/ 3697 h 10000"/>
                <a:gd name="connsiteX116" fmla="*/ 876 w 10000"/>
                <a:gd name="connsiteY116" fmla="*/ 4053 h 10000"/>
                <a:gd name="connsiteX117" fmla="*/ 693 w 10000"/>
                <a:gd name="connsiteY117" fmla="*/ 4124 h 10000"/>
                <a:gd name="connsiteX118" fmla="*/ 498 w 10000"/>
                <a:gd name="connsiteY118" fmla="*/ 4531 h 10000"/>
                <a:gd name="connsiteX119" fmla="*/ 371 w 10000"/>
                <a:gd name="connsiteY119" fmla="*/ 4936 h 10000"/>
                <a:gd name="connsiteX120" fmla="*/ 195 w 10000"/>
                <a:gd name="connsiteY120" fmla="*/ 5260 h 10000"/>
                <a:gd name="connsiteX121" fmla="*/ 270 w 10000"/>
                <a:gd name="connsiteY121" fmla="*/ 5517 h 10000"/>
                <a:gd name="connsiteX122" fmla="*/ 277 w 10000"/>
                <a:gd name="connsiteY122" fmla="*/ 5732 h 10000"/>
                <a:gd name="connsiteX123" fmla="*/ 400 w 10000"/>
                <a:gd name="connsiteY123" fmla="*/ 5841 h 10000"/>
                <a:gd name="connsiteX124" fmla="*/ 382 w 10000"/>
                <a:gd name="connsiteY124" fmla="*/ 5945 h 10000"/>
                <a:gd name="connsiteX125" fmla="*/ 202 w 10000"/>
                <a:gd name="connsiteY125" fmla="*/ 5852 h 10000"/>
                <a:gd name="connsiteX126" fmla="*/ 124 w 10000"/>
                <a:gd name="connsiteY126" fmla="*/ 6099 h 10000"/>
                <a:gd name="connsiteX127" fmla="*/ 105 w 10000"/>
                <a:gd name="connsiteY127" fmla="*/ 6346 h 10000"/>
                <a:gd name="connsiteX128" fmla="*/ 1 w 10000"/>
                <a:gd name="connsiteY128" fmla="*/ 6571 h 10000"/>
                <a:gd name="connsiteX129" fmla="*/ 19 w 10000"/>
                <a:gd name="connsiteY129" fmla="*/ 6779 h 10000"/>
                <a:gd name="connsiteX130" fmla="*/ 90 w 10000"/>
                <a:gd name="connsiteY130" fmla="*/ 6828 h 10000"/>
                <a:gd name="connsiteX131" fmla="*/ 154 w 10000"/>
                <a:gd name="connsiteY131" fmla="*/ 6960 h 10000"/>
                <a:gd name="connsiteX132" fmla="*/ 240 w 10000"/>
                <a:gd name="connsiteY132" fmla="*/ 6943 h 10000"/>
                <a:gd name="connsiteX133" fmla="*/ 292 w 10000"/>
                <a:gd name="connsiteY133" fmla="*/ 7076 h 10000"/>
                <a:gd name="connsiteX134" fmla="*/ 445 w 10000"/>
                <a:gd name="connsiteY134" fmla="*/ 7103 h 10000"/>
                <a:gd name="connsiteX135" fmla="*/ 453 w 10000"/>
                <a:gd name="connsiteY135" fmla="*/ 7251 h 10000"/>
                <a:gd name="connsiteX136" fmla="*/ 494 w 10000"/>
                <a:gd name="connsiteY136" fmla="*/ 7278 h 10000"/>
                <a:gd name="connsiteX137" fmla="*/ 525 w 10000"/>
                <a:gd name="connsiteY137" fmla="*/ 7174 h 10000"/>
                <a:gd name="connsiteX138" fmla="*/ 581 w 10000"/>
                <a:gd name="connsiteY138" fmla="*/ 7196 h 10000"/>
                <a:gd name="connsiteX139" fmla="*/ 644 w 10000"/>
                <a:gd name="connsiteY139" fmla="*/ 6992 h 10000"/>
                <a:gd name="connsiteX140" fmla="*/ 820 w 10000"/>
                <a:gd name="connsiteY140" fmla="*/ 7174 h 10000"/>
                <a:gd name="connsiteX141" fmla="*/ 1283 w 10000"/>
                <a:gd name="connsiteY141" fmla="*/ 7163 h 10000"/>
                <a:gd name="connsiteX142" fmla="*/ 1466 w 10000"/>
                <a:gd name="connsiteY142" fmla="*/ 7092 h 10000"/>
                <a:gd name="connsiteX143" fmla="*/ 1766 w 10000"/>
                <a:gd name="connsiteY143" fmla="*/ 7344 h 10000"/>
                <a:gd name="connsiteX144" fmla="*/ 1956 w 10000"/>
                <a:gd name="connsiteY144" fmla="*/ 7087 h 10000"/>
                <a:gd name="connsiteX145" fmla="*/ 2382 w 10000"/>
                <a:gd name="connsiteY145" fmla="*/ 6861 h 10000"/>
                <a:gd name="connsiteX146" fmla="*/ 2536 w 10000"/>
                <a:gd name="connsiteY146" fmla="*/ 6489 h 10000"/>
                <a:gd name="connsiteX147" fmla="*/ 2648 w 10000"/>
                <a:gd name="connsiteY147" fmla="*/ 6439 h 10000"/>
                <a:gd name="connsiteX148" fmla="*/ 2648 w 10000"/>
                <a:gd name="connsiteY148" fmla="*/ 6379 h 10000"/>
                <a:gd name="connsiteX149" fmla="*/ 2693 w 10000"/>
                <a:gd name="connsiteY149" fmla="*/ 6379 h 10000"/>
                <a:gd name="connsiteX150" fmla="*/ 2682 w 10000"/>
                <a:gd name="connsiteY150" fmla="*/ 6230 h 10000"/>
                <a:gd name="connsiteX151" fmla="*/ 2820 w 10000"/>
                <a:gd name="connsiteY151" fmla="*/ 6285 h 10000"/>
                <a:gd name="connsiteX152" fmla="*/ 2839 w 10000"/>
                <a:gd name="connsiteY152" fmla="*/ 6159 h 10000"/>
                <a:gd name="connsiteX153" fmla="*/ 2921 w 10000"/>
                <a:gd name="connsiteY153" fmla="*/ 6230 h 10000"/>
                <a:gd name="connsiteX154" fmla="*/ 2981 w 10000"/>
                <a:gd name="connsiteY154" fmla="*/ 6126 h 10000"/>
                <a:gd name="connsiteX155" fmla="*/ 3078 w 10000"/>
                <a:gd name="connsiteY155" fmla="*/ 6154 h 10000"/>
                <a:gd name="connsiteX156" fmla="*/ 3164 w 10000"/>
                <a:gd name="connsiteY156" fmla="*/ 6055 h 10000"/>
                <a:gd name="connsiteX157" fmla="*/ 3328 w 10000"/>
                <a:gd name="connsiteY157" fmla="*/ 6192 h 10000"/>
                <a:gd name="connsiteX158" fmla="*/ 3411 w 10000"/>
                <a:gd name="connsiteY158" fmla="*/ 6197 h 10000"/>
                <a:gd name="connsiteX159" fmla="*/ 3437 w 10000"/>
                <a:gd name="connsiteY159" fmla="*/ 6307 h 10000"/>
                <a:gd name="connsiteX160" fmla="*/ 3591 w 10000"/>
                <a:gd name="connsiteY160" fmla="*/ 6236 h 10000"/>
                <a:gd name="connsiteX161" fmla="*/ 3576 w 10000"/>
                <a:gd name="connsiteY161" fmla="*/ 6357 h 10000"/>
                <a:gd name="connsiteX162" fmla="*/ 3632 w 10000"/>
                <a:gd name="connsiteY162" fmla="*/ 6341 h 10000"/>
                <a:gd name="connsiteX163" fmla="*/ 3699 w 10000"/>
                <a:gd name="connsiteY163" fmla="*/ 6428 h 10000"/>
                <a:gd name="connsiteX164" fmla="*/ 3703 w 10000"/>
                <a:gd name="connsiteY164" fmla="*/ 6301 h 10000"/>
                <a:gd name="connsiteX165" fmla="*/ 3882 w 10000"/>
                <a:gd name="connsiteY165" fmla="*/ 6341 h 10000"/>
                <a:gd name="connsiteX166" fmla="*/ 3946 w 10000"/>
                <a:gd name="connsiteY166" fmla="*/ 6511 h 10000"/>
                <a:gd name="connsiteX167" fmla="*/ 4047 w 10000"/>
                <a:gd name="connsiteY167" fmla="*/ 6494 h 10000"/>
                <a:gd name="connsiteX168" fmla="*/ 4091 w 10000"/>
                <a:gd name="connsiteY168" fmla="*/ 6417 h 10000"/>
                <a:gd name="connsiteX169" fmla="*/ 4192 w 10000"/>
                <a:gd name="connsiteY169" fmla="*/ 6735 h 10000"/>
                <a:gd name="connsiteX170" fmla="*/ 4155 w 10000"/>
                <a:gd name="connsiteY170" fmla="*/ 6987 h 10000"/>
                <a:gd name="connsiteX171" fmla="*/ 4207 w 10000"/>
                <a:gd name="connsiteY171" fmla="*/ 7114 h 10000"/>
                <a:gd name="connsiteX172" fmla="*/ 4278 w 10000"/>
                <a:gd name="connsiteY172" fmla="*/ 7119 h 10000"/>
                <a:gd name="connsiteX173" fmla="*/ 4387 w 10000"/>
                <a:gd name="connsiteY173" fmla="*/ 7256 h 10000"/>
                <a:gd name="connsiteX174" fmla="*/ 4431 w 10000"/>
                <a:gd name="connsiteY174" fmla="*/ 7152 h 10000"/>
                <a:gd name="connsiteX175" fmla="*/ 4480 w 10000"/>
                <a:gd name="connsiteY175" fmla="*/ 7322 h 10000"/>
                <a:gd name="connsiteX176" fmla="*/ 4541 w 10000"/>
                <a:gd name="connsiteY176" fmla="*/ 7662 h 10000"/>
                <a:gd name="connsiteX177" fmla="*/ 4720 w 10000"/>
                <a:gd name="connsiteY177" fmla="*/ 7739 h 10000"/>
                <a:gd name="connsiteX178" fmla="*/ 4761 w 10000"/>
                <a:gd name="connsiteY178" fmla="*/ 8183 h 10000"/>
                <a:gd name="connsiteX179" fmla="*/ 4914 w 10000"/>
                <a:gd name="connsiteY179" fmla="*/ 8276 h 10000"/>
                <a:gd name="connsiteX180" fmla="*/ 4757 w 10000"/>
                <a:gd name="connsiteY180" fmla="*/ 8370 h 10000"/>
                <a:gd name="connsiteX181" fmla="*/ 4705 w 10000"/>
                <a:gd name="connsiteY181" fmla="*/ 8260 h 10000"/>
                <a:gd name="connsiteX182" fmla="*/ 4645 w 10000"/>
                <a:gd name="connsiteY182" fmla="*/ 8403 h 10000"/>
                <a:gd name="connsiteX183" fmla="*/ 4491 w 10000"/>
                <a:gd name="connsiteY183" fmla="*/ 8287 h 10000"/>
                <a:gd name="connsiteX184" fmla="*/ 4405 w 10000"/>
                <a:gd name="connsiteY184" fmla="*/ 8452 h 10000"/>
                <a:gd name="connsiteX185" fmla="*/ 4226 w 10000"/>
                <a:gd name="connsiteY185" fmla="*/ 8331 h 10000"/>
                <a:gd name="connsiteX186" fmla="*/ 4312 w 10000"/>
                <a:gd name="connsiteY186" fmla="*/ 8699 h 10000"/>
                <a:gd name="connsiteX187" fmla="*/ 4304 w 10000"/>
                <a:gd name="connsiteY187" fmla="*/ 8967 h 10000"/>
                <a:gd name="connsiteX188" fmla="*/ 4189 w 10000"/>
                <a:gd name="connsiteY188" fmla="*/ 9088 h 10000"/>
                <a:gd name="connsiteX189" fmla="*/ 4226 w 10000"/>
                <a:gd name="connsiteY189" fmla="*/ 9193 h 10000"/>
                <a:gd name="connsiteX190" fmla="*/ 4065 w 10000"/>
                <a:gd name="connsiteY190" fmla="*/ 9412 h 10000"/>
                <a:gd name="connsiteX191" fmla="*/ 4129 w 10000"/>
                <a:gd name="connsiteY191" fmla="*/ 9647 h 10000"/>
                <a:gd name="connsiteX192" fmla="*/ 3972 w 10000"/>
                <a:gd name="connsiteY192" fmla="*/ 9681 h 10000"/>
                <a:gd name="connsiteX193" fmla="*/ 3931 w 10000"/>
                <a:gd name="connsiteY193" fmla="*/ 9741 h 10000"/>
                <a:gd name="connsiteX194" fmla="*/ 3998 w 10000"/>
                <a:gd name="connsiteY194" fmla="*/ 9785 h 10000"/>
                <a:gd name="connsiteX195" fmla="*/ 4118 w 10000"/>
                <a:gd name="connsiteY195" fmla="*/ 9944 h 10000"/>
                <a:gd name="connsiteX196" fmla="*/ 4312 w 10000"/>
                <a:gd name="connsiteY196" fmla="*/ 9999 h 10000"/>
                <a:gd name="connsiteX197" fmla="*/ 4319 w 10000"/>
                <a:gd name="connsiteY197" fmla="*/ 9851 h 10000"/>
                <a:gd name="connsiteX198" fmla="*/ 4387 w 10000"/>
                <a:gd name="connsiteY198" fmla="*/ 9856 h 10000"/>
                <a:gd name="connsiteX199" fmla="*/ 4675 w 10000"/>
                <a:gd name="connsiteY199" fmla="*/ 9603 h 10000"/>
                <a:gd name="connsiteX200" fmla="*/ 4866 w 10000"/>
                <a:gd name="connsiteY200" fmla="*/ 9845 h 10000"/>
                <a:gd name="connsiteX201" fmla="*/ 4866 w 10000"/>
                <a:gd name="connsiteY201" fmla="*/ 9862 h 10000"/>
                <a:gd name="connsiteX202" fmla="*/ 4896 w 10000"/>
                <a:gd name="connsiteY202" fmla="*/ 9703 h 10000"/>
                <a:gd name="connsiteX203" fmla="*/ 4843 w 10000"/>
                <a:gd name="connsiteY203" fmla="*/ 9570 h 10000"/>
                <a:gd name="connsiteX204" fmla="*/ 4776 w 10000"/>
                <a:gd name="connsiteY204" fmla="*/ 9549 h 10000"/>
                <a:gd name="connsiteX205" fmla="*/ 4821 w 10000"/>
                <a:gd name="connsiteY205" fmla="*/ 9466 h 10000"/>
                <a:gd name="connsiteX206" fmla="*/ 4806 w 10000"/>
                <a:gd name="connsiteY206" fmla="*/ 9444 h 10000"/>
                <a:gd name="connsiteX207" fmla="*/ 4750 w 10000"/>
                <a:gd name="connsiteY207" fmla="*/ 9439 h 10000"/>
                <a:gd name="connsiteX208" fmla="*/ 4720 w 10000"/>
                <a:gd name="connsiteY208" fmla="*/ 9121 h 10000"/>
                <a:gd name="connsiteX209" fmla="*/ 4761 w 10000"/>
                <a:gd name="connsiteY209" fmla="*/ 9105 h 10000"/>
                <a:gd name="connsiteX210" fmla="*/ 4783 w 10000"/>
                <a:gd name="connsiteY210" fmla="*/ 9253 h 10000"/>
                <a:gd name="connsiteX211" fmla="*/ 4836 w 10000"/>
                <a:gd name="connsiteY211" fmla="*/ 9384 h 10000"/>
                <a:gd name="connsiteX212" fmla="*/ 4881 w 10000"/>
                <a:gd name="connsiteY212" fmla="*/ 9302 h 10000"/>
                <a:gd name="connsiteX213" fmla="*/ 4869 w 10000"/>
                <a:gd name="connsiteY213" fmla="*/ 9220 h 10000"/>
                <a:gd name="connsiteX214" fmla="*/ 4940 w 10000"/>
                <a:gd name="connsiteY214" fmla="*/ 9203 h 10000"/>
                <a:gd name="connsiteX215" fmla="*/ 4903 w 10000"/>
                <a:gd name="connsiteY215" fmla="*/ 9034 h 10000"/>
                <a:gd name="connsiteX216" fmla="*/ 5000 w 10000"/>
                <a:gd name="connsiteY216" fmla="*/ 9061 h 10000"/>
                <a:gd name="connsiteX217" fmla="*/ 5004 w 10000"/>
                <a:gd name="connsiteY217" fmla="*/ 8972 h 10000"/>
                <a:gd name="connsiteX218" fmla="*/ 5041 w 10000"/>
                <a:gd name="connsiteY218" fmla="*/ 9039 h 10000"/>
                <a:gd name="connsiteX219" fmla="*/ 5206 w 10000"/>
                <a:gd name="connsiteY219" fmla="*/ 8781 h 10000"/>
                <a:gd name="connsiteX220" fmla="*/ 5112 w 10000"/>
                <a:gd name="connsiteY220" fmla="*/ 8584 h 10000"/>
                <a:gd name="connsiteX221" fmla="*/ 4937 w 10000"/>
                <a:gd name="connsiteY221" fmla="*/ 8425 h 10000"/>
                <a:gd name="connsiteX222" fmla="*/ 5037 w 10000"/>
                <a:gd name="connsiteY222" fmla="*/ 8370 h 10000"/>
                <a:gd name="connsiteX223" fmla="*/ 5183 w 10000"/>
                <a:gd name="connsiteY223" fmla="*/ 8633 h 10000"/>
                <a:gd name="connsiteX224" fmla="*/ 5292 w 10000"/>
                <a:gd name="connsiteY224" fmla="*/ 8199 h 10000"/>
                <a:gd name="connsiteX225" fmla="*/ 5299 w 10000"/>
                <a:gd name="connsiteY225" fmla="*/ 8030 h 10000"/>
                <a:gd name="connsiteX226" fmla="*/ 5482 w 10000"/>
                <a:gd name="connsiteY226" fmla="*/ 7942 h 10000"/>
                <a:gd name="connsiteX227" fmla="*/ 5550 w 10000"/>
                <a:gd name="connsiteY227" fmla="*/ 7607 h 10000"/>
                <a:gd name="connsiteX228" fmla="*/ 5561 w 10000"/>
                <a:gd name="connsiteY228" fmla="*/ 7734 h 10000"/>
                <a:gd name="connsiteX229" fmla="*/ 5677 w 10000"/>
                <a:gd name="connsiteY229" fmla="*/ 7596 h 10000"/>
                <a:gd name="connsiteX230" fmla="*/ 5759 w 10000"/>
                <a:gd name="connsiteY230" fmla="*/ 7579 h 10000"/>
                <a:gd name="connsiteX231" fmla="*/ 5842 w 10000"/>
                <a:gd name="connsiteY231" fmla="*/ 7207 h 10000"/>
                <a:gd name="connsiteX232" fmla="*/ 5916 w 10000"/>
                <a:gd name="connsiteY232" fmla="*/ 7486 h 10000"/>
                <a:gd name="connsiteX233" fmla="*/ 6137 w 10000"/>
                <a:gd name="connsiteY233" fmla="*/ 7563 h 10000"/>
                <a:gd name="connsiteX234" fmla="*/ 5969 w 10000"/>
                <a:gd name="connsiteY234" fmla="*/ 7618 h 10000"/>
                <a:gd name="connsiteX235" fmla="*/ 5954 w 10000"/>
                <a:gd name="connsiteY235" fmla="*/ 7679 h 10000"/>
                <a:gd name="connsiteX236" fmla="*/ 5786 w 10000"/>
                <a:gd name="connsiteY236" fmla="*/ 7690 h 10000"/>
                <a:gd name="connsiteX237" fmla="*/ 5700 w 10000"/>
                <a:gd name="connsiteY237" fmla="*/ 7723 h 10000"/>
                <a:gd name="connsiteX238" fmla="*/ 5767 w 10000"/>
                <a:gd name="connsiteY238" fmla="*/ 7772 h 10000"/>
                <a:gd name="connsiteX239" fmla="*/ 5827 w 10000"/>
                <a:gd name="connsiteY239" fmla="*/ 7756 h 10000"/>
                <a:gd name="connsiteX240" fmla="*/ 5991 w 10000"/>
                <a:gd name="connsiteY240" fmla="*/ 7789 h 10000"/>
                <a:gd name="connsiteX241" fmla="*/ 5804 w 10000"/>
                <a:gd name="connsiteY241" fmla="*/ 7964 h 10000"/>
                <a:gd name="connsiteX242" fmla="*/ 5872 w 10000"/>
                <a:gd name="connsiteY242" fmla="*/ 8008 h 10000"/>
                <a:gd name="connsiteX243" fmla="*/ 6043 w 10000"/>
                <a:gd name="connsiteY243" fmla="*/ 7958 h 10000"/>
                <a:gd name="connsiteX244" fmla="*/ 6275 w 10000"/>
                <a:gd name="connsiteY244" fmla="*/ 8101 h 10000"/>
                <a:gd name="connsiteX245" fmla="*/ 6575 w 10000"/>
                <a:gd name="connsiteY245" fmla="*/ 7909 h 10000"/>
                <a:gd name="connsiteX246" fmla="*/ 6870 w 10000"/>
                <a:gd name="connsiteY246" fmla="*/ 7887 h 10000"/>
                <a:gd name="connsiteX247" fmla="*/ 6915 w 10000"/>
                <a:gd name="connsiteY247" fmla="*/ 7745 h 10000"/>
                <a:gd name="connsiteX248" fmla="*/ 6993 w 10000"/>
                <a:gd name="connsiteY248" fmla="*/ 7958 h 10000"/>
                <a:gd name="connsiteX249" fmla="*/ 7075 w 10000"/>
                <a:gd name="connsiteY249" fmla="*/ 7986 h 10000"/>
                <a:gd name="connsiteX250" fmla="*/ 7045 w 10000"/>
                <a:gd name="connsiteY250" fmla="*/ 8134 h 10000"/>
                <a:gd name="connsiteX251" fmla="*/ 6788 w 10000"/>
                <a:gd name="connsiteY251" fmla="*/ 8281 h 10000"/>
                <a:gd name="connsiteX252" fmla="*/ 6769 w 10000"/>
                <a:gd name="connsiteY252" fmla="*/ 8386 h 10000"/>
                <a:gd name="connsiteX253" fmla="*/ 6627 w 10000"/>
                <a:gd name="connsiteY253" fmla="*/ 8523 h 10000"/>
                <a:gd name="connsiteX254" fmla="*/ 6623 w 10000"/>
                <a:gd name="connsiteY254" fmla="*/ 8649 h 10000"/>
                <a:gd name="connsiteX255" fmla="*/ 6537 w 10000"/>
                <a:gd name="connsiteY255" fmla="*/ 8704 h 10000"/>
                <a:gd name="connsiteX256" fmla="*/ 6428 w 10000"/>
                <a:gd name="connsiteY256" fmla="*/ 8989 h 10000"/>
                <a:gd name="connsiteX257" fmla="*/ 6582 w 10000"/>
                <a:gd name="connsiteY257" fmla="*/ 9001 h 10000"/>
                <a:gd name="connsiteX258" fmla="*/ 6672 w 10000"/>
                <a:gd name="connsiteY258" fmla="*/ 8879 h 10000"/>
                <a:gd name="connsiteX259" fmla="*/ 6769 w 10000"/>
                <a:gd name="connsiteY259" fmla="*/ 8912 h 10000"/>
                <a:gd name="connsiteX260" fmla="*/ 6814 w 10000"/>
                <a:gd name="connsiteY260" fmla="*/ 8786 h 10000"/>
                <a:gd name="connsiteX261" fmla="*/ 6877 w 10000"/>
                <a:gd name="connsiteY261" fmla="*/ 9001 h 10000"/>
                <a:gd name="connsiteX262" fmla="*/ 7060 w 10000"/>
                <a:gd name="connsiteY262" fmla="*/ 8994 h 10000"/>
                <a:gd name="connsiteX263" fmla="*/ 7217 w 10000"/>
                <a:gd name="connsiteY263" fmla="*/ 9362 h 10000"/>
                <a:gd name="connsiteX264" fmla="*/ 7232 w 10000"/>
                <a:gd name="connsiteY264" fmla="*/ 9675 h 10000"/>
                <a:gd name="connsiteX265" fmla="*/ 7176 w 10000"/>
                <a:gd name="connsiteY265" fmla="*/ 9692 h 10000"/>
                <a:gd name="connsiteX266" fmla="*/ 7187 w 10000"/>
                <a:gd name="connsiteY266" fmla="*/ 9780 h 10000"/>
                <a:gd name="connsiteX267" fmla="*/ 7423 w 10000"/>
                <a:gd name="connsiteY267" fmla="*/ 9900 h 10000"/>
                <a:gd name="connsiteX268" fmla="*/ 7741 w 10000"/>
                <a:gd name="connsiteY268" fmla="*/ 9565 h 10000"/>
                <a:gd name="connsiteX269" fmla="*/ 7879 w 10000"/>
                <a:gd name="connsiteY269" fmla="*/ 9176 h 10000"/>
                <a:gd name="connsiteX270" fmla="*/ 8107 w 10000"/>
                <a:gd name="connsiteY270" fmla="*/ 9023 h 10000"/>
                <a:gd name="connsiteX271" fmla="*/ 8182 w 10000"/>
                <a:gd name="connsiteY271" fmla="*/ 8841 h 10000"/>
                <a:gd name="connsiteX272" fmla="*/ 8268 w 10000"/>
                <a:gd name="connsiteY272" fmla="*/ 8786 h 10000"/>
                <a:gd name="connsiteX273" fmla="*/ 8320 w 10000"/>
                <a:gd name="connsiteY273" fmla="*/ 8512 h 10000"/>
                <a:gd name="connsiteX274" fmla="*/ 8542 w 10000"/>
                <a:gd name="connsiteY274" fmla="*/ 8617 h 10000"/>
                <a:gd name="connsiteX275" fmla="*/ 8672 w 10000"/>
                <a:gd name="connsiteY275" fmla="*/ 8474 h 10000"/>
                <a:gd name="connsiteX276" fmla="*/ 8855 w 10000"/>
                <a:gd name="connsiteY276" fmla="*/ 8343 h 10000"/>
                <a:gd name="connsiteX277" fmla="*/ 8781 w 10000"/>
                <a:gd name="connsiteY277" fmla="*/ 8128 h 10000"/>
                <a:gd name="connsiteX278" fmla="*/ 7708 w 10000"/>
                <a:gd name="connsiteY278" fmla="*/ 7991 h 10000"/>
                <a:gd name="connsiteX279" fmla="*/ 7682 w 10000"/>
                <a:gd name="connsiteY279" fmla="*/ 7904 h 10000"/>
                <a:gd name="connsiteX280" fmla="*/ 7607 w 10000"/>
                <a:gd name="connsiteY280" fmla="*/ 8002 h 10000"/>
                <a:gd name="connsiteX281" fmla="*/ 7715 w 10000"/>
                <a:gd name="connsiteY281" fmla="*/ 7761 h 10000"/>
                <a:gd name="connsiteX282" fmla="*/ 7674 w 10000"/>
                <a:gd name="connsiteY282" fmla="*/ 7717 h 10000"/>
                <a:gd name="connsiteX283" fmla="*/ 7554 w 10000"/>
                <a:gd name="connsiteY283" fmla="*/ 7915 h 10000"/>
                <a:gd name="connsiteX284" fmla="*/ 7618 w 10000"/>
                <a:gd name="connsiteY284" fmla="*/ 7712 h 10000"/>
                <a:gd name="connsiteX285" fmla="*/ 7532 w 10000"/>
                <a:gd name="connsiteY285" fmla="*/ 7767 h 10000"/>
                <a:gd name="connsiteX286" fmla="*/ 7419 w 10000"/>
                <a:gd name="connsiteY286" fmla="*/ 7717 h 10000"/>
                <a:gd name="connsiteX287" fmla="*/ 7333 w 10000"/>
                <a:gd name="connsiteY287" fmla="*/ 7794 h 10000"/>
                <a:gd name="connsiteX288" fmla="*/ 7240 w 10000"/>
                <a:gd name="connsiteY288" fmla="*/ 7728 h 10000"/>
                <a:gd name="connsiteX289" fmla="*/ 7087 w 10000"/>
                <a:gd name="connsiteY289" fmla="*/ 7717 h 10000"/>
                <a:gd name="connsiteX290" fmla="*/ 7090 w 10000"/>
                <a:gd name="connsiteY290" fmla="*/ 7547 h 10000"/>
                <a:gd name="connsiteX291" fmla="*/ 7229 w 10000"/>
                <a:gd name="connsiteY291" fmla="*/ 7662 h 10000"/>
                <a:gd name="connsiteX292" fmla="*/ 7273 w 10000"/>
                <a:gd name="connsiteY292" fmla="*/ 7541 h 10000"/>
                <a:gd name="connsiteX293" fmla="*/ 7236 w 10000"/>
                <a:gd name="connsiteY293" fmla="*/ 7410 h 10000"/>
                <a:gd name="connsiteX294" fmla="*/ 7341 w 10000"/>
                <a:gd name="connsiteY294" fmla="*/ 7547 h 10000"/>
                <a:gd name="connsiteX295" fmla="*/ 7483 w 10000"/>
                <a:gd name="connsiteY295" fmla="*/ 7536 h 10000"/>
                <a:gd name="connsiteX296" fmla="*/ 7506 w 10000"/>
                <a:gd name="connsiteY296" fmla="*/ 7685 h 10000"/>
                <a:gd name="connsiteX297" fmla="*/ 7547 w 10000"/>
                <a:gd name="connsiteY297" fmla="*/ 7685 h 10000"/>
                <a:gd name="connsiteX298" fmla="*/ 7558 w 10000"/>
                <a:gd name="connsiteY298" fmla="*/ 7415 h 10000"/>
                <a:gd name="connsiteX299" fmla="*/ 7607 w 10000"/>
                <a:gd name="connsiteY299" fmla="*/ 7585 h 10000"/>
                <a:gd name="connsiteX300" fmla="*/ 7693 w 10000"/>
                <a:gd name="connsiteY300" fmla="*/ 7590 h 10000"/>
                <a:gd name="connsiteX301" fmla="*/ 7629 w 10000"/>
                <a:gd name="connsiteY301" fmla="*/ 7333 h 10000"/>
                <a:gd name="connsiteX302" fmla="*/ 7786 w 10000"/>
                <a:gd name="connsiteY302" fmla="*/ 7240 h 10000"/>
                <a:gd name="connsiteX303" fmla="*/ 7779 w 10000"/>
                <a:gd name="connsiteY303" fmla="*/ 6987 h 10000"/>
                <a:gd name="connsiteX304" fmla="*/ 7887 w 10000"/>
                <a:gd name="connsiteY304" fmla="*/ 7081 h 10000"/>
                <a:gd name="connsiteX305" fmla="*/ 7906 w 10000"/>
                <a:gd name="connsiteY305" fmla="*/ 7015 h 10000"/>
                <a:gd name="connsiteX306" fmla="*/ 7775 w 10000"/>
                <a:gd name="connsiteY306" fmla="*/ 6735 h 10000"/>
                <a:gd name="connsiteX307" fmla="*/ 7950 w 10000"/>
                <a:gd name="connsiteY307" fmla="*/ 6894 h 10000"/>
                <a:gd name="connsiteX308" fmla="*/ 8171 w 10000"/>
                <a:gd name="connsiteY308" fmla="*/ 6511 h 10000"/>
                <a:gd name="connsiteX309" fmla="*/ 8384 w 10000"/>
                <a:gd name="connsiteY309" fmla="*/ 6483 h 10000"/>
                <a:gd name="connsiteX310" fmla="*/ 8429 w 10000"/>
                <a:gd name="connsiteY31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569 w 10000"/>
                <a:gd name="connsiteY42" fmla="*/ 1873 h 10000"/>
                <a:gd name="connsiteX43" fmla="*/ 7165 w 10000"/>
                <a:gd name="connsiteY43" fmla="*/ 1996 h 10000"/>
                <a:gd name="connsiteX44" fmla="*/ 6892 w 10000"/>
                <a:gd name="connsiteY44" fmla="*/ 1827 h 10000"/>
                <a:gd name="connsiteX45" fmla="*/ 6922 w 10000"/>
                <a:gd name="connsiteY45" fmla="*/ 1728 h 10000"/>
                <a:gd name="connsiteX46" fmla="*/ 6765 w 10000"/>
                <a:gd name="connsiteY46" fmla="*/ 1398 h 10000"/>
                <a:gd name="connsiteX47" fmla="*/ 6799 w 10000"/>
                <a:gd name="connsiteY47" fmla="*/ 1256 h 10000"/>
                <a:gd name="connsiteX48" fmla="*/ 6728 w 10000"/>
                <a:gd name="connsiteY48" fmla="*/ 1229 h 10000"/>
                <a:gd name="connsiteX49" fmla="*/ 6657 w 10000"/>
                <a:gd name="connsiteY49" fmla="*/ 1311 h 10000"/>
                <a:gd name="connsiteX50" fmla="*/ 6593 w 10000"/>
                <a:gd name="connsiteY50" fmla="*/ 1114 h 10000"/>
                <a:gd name="connsiteX51" fmla="*/ 6391 w 10000"/>
                <a:gd name="connsiteY51" fmla="*/ 1311 h 10000"/>
                <a:gd name="connsiteX52" fmla="*/ 6309 w 10000"/>
                <a:gd name="connsiteY52" fmla="*/ 1223 h 10000"/>
                <a:gd name="connsiteX53" fmla="*/ 6126 w 10000"/>
                <a:gd name="connsiteY53" fmla="*/ 1273 h 10000"/>
                <a:gd name="connsiteX54" fmla="*/ 6144 w 10000"/>
                <a:gd name="connsiteY54" fmla="*/ 1125 h 10000"/>
                <a:gd name="connsiteX55" fmla="*/ 6073 w 10000"/>
                <a:gd name="connsiteY55" fmla="*/ 1119 h 10000"/>
                <a:gd name="connsiteX56" fmla="*/ 6040 w 10000"/>
                <a:gd name="connsiteY56" fmla="*/ 910 h 10000"/>
                <a:gd name="connsiteX57" fmla="*/ 5942 w 10000"/>
                <a:gd name="connsiteY57" fmla="*/ 795 h 10000"/>
                <a:gd name="connsiteX58" fmla="*/ 6144 w 10000"/>
                <a:gd name="connsiteY58" fmla="*/ 620 h 10000"/>
                <a:gd name="connsiteX59" fmla="*/ 5901 w 10000"/>
                <a:gd name="connsiteY59" fmla="*/ 395 h 10000"/>
                <a:gd name="connsiteX60" fmla="*/ 5853 w 10000"/>
                <a:gd name="connsiteY60" fmla="*/ 142 h 10000"/>
                <a:gd name="connsiteX61" fmla="*/ 5741 w 10000"/>
                <a:gd name="connsiteY61" fmla="*/ 110 h 10000"/>
                <a:gd name="connsiteX62" fmla="*/ 5647 w 10000"/>
                <a:gd name="connsiteY62" fmla="*/ 0 h 10000"/>
                <a:gd name="connsiteX63" fmla="*/ 5547 w 10000"/>
                <a:gd name="connsiteY63" fmla="*/ 120 h 10000"/>
                <a:gd name="connsiteX64" fmla="*/ 5377 w 10000"/>
                <a:gd name="connsiteY64" fmla="*/ 110 h 10000"/>
                <a:gd name="connsiteX65" fmla="*/ 5232 w 10000"/>
                <a:gd name="connsiteY65" fmla="*/ 351 h 10000"/>
                <a:gd name="connsiteX66" fmla="*/ 4952 w 10000"/>
                <a:gd name="connsiteY66" fmla="*/ 329 h 10000"/>
                <a:gd name="connsiteX67" fmla="*/ 4884 w 10000"/>
                <a:gd name="connsiteY67" fmla="*/ 680 h 10000"/>
                <a:gd name="connsiteX68" fmla="*/ 4701 w 10000"/>
                <a:gd name="connsiteY68" fmla="*/ 707 h 10000"/>
                <a:gd name="connsiteX69" fmla="*/ 4795 w 10000"/>
                <a:gd name="connsiteY69" fmla="*/ 844 h 10000"/>
                <a:gd name="connsiteX70" fmla="*/ 4739 w 10000"/>
                <a:gd name="connsiteY70" fmla="*/ 899 h 10000"/>
                <a:gd name="connsiteX71" fmla="*/ 4612 w 10000"/>
                <a:gd name="connsiteY71" fmla="*/ 894 h 10000"/>
                <a:gd name="connsiteX72" fmla="*/ 4439 w 10000"/>
                <a:gd name="connsiteY72" fmla="*/ 1026 h 10000"/>
                <a:gd name="connsiteX73" fmla="*/ 4252 w 10000"/>
                <a:gd name="connsiteY73" fmla="*/ 1668 h 10000"/>
                <a:gd name="connsiteX74" fmla="*/ 4308 w 10000"/>
                <a:gd name="connsiteY74" fmla="*/ 2090 h 10000"/>
                <a:gd name="connsiteX75" fmla="*/ 4121 w 10000"/>
                <a:gd name="connsiteY75" fmla="*/ 1865 h 10000"/>
                <a:gd name="connsiteX76" fmla="*/ 3849 w 10000"/>
                <a:gd name="connsiteY76" fmla="*/ 1991 h 10000"/>
                <a:gd name="connsiteX77" fmla="*/ 3822 w 10000"/>
                <a:gd name="connsiteY77" fmla="*/ 1931 h 10000"/>
                <a:gd name="connsiteX78" fmla="*/ 3695 w 10000"/>
                <a:gd name="connsiteY78" fmla="*/ 2002 h 10000"/>
                <a:gd name="connsiteX79" fmla="*/ 3621 w 10000"/>
                <a:gd name="connsiteY79" fmla="*/ 2144 h 10000"/>
                <a:gd name="connsiteX80" fmla="*/ 3561 w 10000"/>
                <a:gd name="connsiteY80" fmla="*/ 1909 h 10000"/>
                <a:gd name="connsiteX81" fmla="*/ 3478 w 10000"/>
                <a:gd name="connsiteY81" fmla="*/ 1843 h 10000"/>
                <a:gd name="connsiteX82" fmla="*/ 3444 w 10000"/>
                <a:gd name="connsiteY82" fmla="*/ 1964 h 10000"/>
                <a:gd name="connsiteX83" fmla="*/ 3332 w 10000"/>
                <a:gd name="connsiteY83" fmla="*/ 1996 h 10000"/>
                <a:gd name="connsiteX84" fmla="*/ 3272 w 10000"/>
                <a:gd name="connsiteY84" fmla="*/ 2161 h 10000"/>
                <a:gd name="connsiteX85" fmla="*/ 3235 w 10000"/>
                <a:gd name="connsiteY85" fmla="*/ 2013 h 10000"/>
                <a:gd name="connsiteX86" fmla="*/ 3123 w 10000"/>
                <a:gd name="connsiteY86" fmla="*/ 2024 h 10000"/>
                <a:gd name="connsiteX87" fmla="*/ 3078 w 10000"/>
                <a:gd name="connsiteY87" fmla="*/ 2128 h 10000"/>
                <a:gd name="connsiteX88" fmla="*/ 3011 w 10000"/>
                <a:gd name="connsiteY88" fmla="*/ 1975 h 10000"/>
                <a:gd name="connsiteX89" fmla="*/ 2895 w 10000"/>
                <a:gd name="connsiteY89" fmla="*/ 2117 h 10000"/>
                <a:gd name="connsiteX90" fmla="*/ 2783 w 10000"/>
                <a:gd name="connsiteY90" fmla="*/ 2106 h 10000"/>
                <a:gd name="connsiteX91" fmla="*/ 2779 w 10000"/>
                <a:gd name="connsiteY91" fmla="*/ 2276 h 10000"/>
                <a:gd name="connsiteX92" fmla="*/ 2727 w 10000"/>
                <a:gd name="connsiteY92" fmla="*/ 2144 h 10000"/>
                <a:gd name="connsiteX93" fmla="*/ 2559 w 10000"/>
                <a:gd name="connsiteY93" fmla="*/ 2155 h 10000"/>
                <a:gd name="connsiteX94" fmla="*/ 2438 w 10000"/>
                <a:gd name="connsiteY94" fmla="*/ 1980 h 10000"/>
                <a:gd name="connsiteX95" fmla="*/ 2293 w 10000"/>
                <a:gd name="connsiteY95" fmla="*/ 2073 h 10000"/>
                <a:gd name="connsiteX96" fmla="*/ 2143 w 10000"/>
                <a:gd name="connsiteY96" fmla="*/ 1958 h 10000"/>
                <a:gd name="connsiteX97" fmla="*/ 2057 w 10000"/>
                <a:gd name="connsiteY97" fmla="*/ 2035 h 10000"/>
                <a:gd name="connsiteX98" fmla="*/ 1975 w 10000"/>
                <a:gd name="connsiteY98" fmla="*/ 1947 h 10000"/>
                <a:gd name="connsiteX99" fmla="*/ 1852 w 10000"/>
                <a:gd name="connsiteY99" fmla="*/ 1936 h 10000"/>
                <a:gd name="connsiteX100" fmla="*/ 1669 w 10000"/>
                <a:gd name="connsiteY100" fmla="*/ 1925 h 10000"/>
                <a:gd name="connsiteX101" fmla="*/ 1444 w 10000"/>
                <a:gd name="connsiteY101" fmla="*/ 1991 h 10000"/>
                <a:gd name="connsiteX102" fmla="*/ 1205 w 10000"/>
                <a:gd name="connsiteY102" fmla="*/ 2062 h 10000"/>
                <a:gd name="connsiteX103" fmla="*/ 921 w 10000"/>
                <a:gd name="connsiteY103" fmla="*/ 2166 h 10000"/>
                <a:gd name="connsiteX104" fmla="*/ 797 w 10000"/>
                <a:gd name="connsiteY104" fmla="*/ 2496 h 10000"/>
                <a:gd name="connsiteX105" fmla="*/ 603 w 10000"/>
                <a:gd name="connsiteY105" fmla="*/ 2501 h 10000"/>
                <a:gd name="connsiteX106" fmla="*/ 540 w 10000"/>
                <a:gd name="connsiteY106" fmla="*/ 2687 h 10000"/>
                <a:gd name="connsiteX107" fmla="*/ 558 w 10000"/>
                <a:gd name="connsiteY107" fmla="*/ 2764 h 10000"/>
                <a:gd name="connsiteX108" fmla="*/ 577 w 10000"/>
                <a:gd name="connsiteY108" fmla="*/ 2868 h 10000"/>
                <a:gd name="connsiteX109" fmla="*/ 577 w 10000"/>
                <a:gd name="connsiteY109" fmla="*/ 2868 h 10000"/>
                <a:gd name="connsiteX110" fmla="*/ 577 w 10000"/>
                <a:gd name="connsiteY110" fmla="*/ 2896 h 10000"/>
                <a:gd name="connsiteX111" fmla="*/ 682 w 10000"/>
                <a:gd name="connsiteY111" fmla="*/ 3116 h 10000"/>
                <a:gd name="connsiteX112" fmla="*/ 786 w 10000"/>
                <a:gd name="connsiteY112" fmla="*/ 3351 h 10000"/>
                <a:gd name="connsiteX113" fmla="*/ 921 w 10000"/>
                <a:gd name="connsiteY113" fmla="*/ 3488 h 10000"/>
                <a:gd name="connsiteX114" fmla="*/ 876 w 10000"/>
                <a:gd name="connsiteY114" fmla="*/ 3548 h 10000"/>
                <a:gd name="connsiteX115" fmla="*/ 805 w 10000"/>
                <a:gd name="connsiteY115" fmla="*/ 3603 h 10000"/>
                <a:gd name="connsiteX116" fmla="*/ 887 w 10000"/>
                <a:gd name="connsiteY116" fmla="*/ 3697 h 10000"/>
                <a:gd name="connsiteX117" fmla="*/ 876 w 10000"/>
                <a:gd name="connsiteY117" fmla="*/ 4053 h 10000"/>
                <a:gd name="connsiteX118" fmla="*/ 693 w 10000"/>
                <a:gd name="connsiteY118" fmla="*/ 4124 h 10000"/>
                <a:gd name="connsiteX119" fmla="*/ 498 w 10000"/>
                <a:gd name="connsiteY119" fmla="*/ 4531 h 10000"/>
                <a:gd name="connsiteX120" fmla="*/ 371 w 10000"/>
                <a:gd name="connsiteY120" fmla="*/ 4936 h 10000"/>
                <a:gd name="connsiteX121" fmla="*/ 195 w 10000"/>
                <a:gd name="connsiteY121" fmla="*/ 5260 h 10000"/>
                <a:gd name="connsiteX122" fmla="*/ 270 w 10000"/>
                <a:gd name="connsiteY122" fmla="*/ 5517 h 10000"/>
                <a:gd name="connsiteX123" fmla="*/ 277 w 10000"/>
                <a:gd name="connsiteY123" fmla="*/ 5732 h 10000"/>
                <a:gd name="connsiteX124" fmla="*/ 400 w 10000"/>
                <a:gd name="connsiteY124" fmla="*/ 5841 h 10000"/>
                <a:gd name="connsiteX125" fmla="*/ 382 w 10000"/>
                <a:gd name="connsiteY125" fmla="*/ 5945 h 10000"/>
                <a:gd name="connsiteX126" fmla="*/ 202 w 10000"/>
                <a:gd name="connsiteY126" fmla="*/ 5852 h 10000"/>
                <a:gd name="connsiteX127" fmla="*/ 124 w 10000"/>
                <a:gd name="connsiteY127" fmla="*/ 6099 h 10000"/>
                <a:gd name="connsiteX128" fmla="*/ 105 w 10000"/>
                <a:gd name="connsiteY128" fmla="*/ 6346 h 10000"/>
                <a:gd name="connsiteX129" fmla="*/ 1 w 10000"/>
                <a:gd name="connsiteY129" fmla="*/ 6571 h 10000"/>
                <a:gd name="connsiteX130" fmla="*/ 19 w 10000"/>
                <a:gd name="connsiteY130" fmla="*/ 6779 h 10000"/>
                <a:gd name="connsiteX131" fmla="*/ 90 w 10000"/>
                <a:gd name="connsiteY131" fmla="*/ 6828 h 10000"/>
                <a:gd name="connsiteX132" fmla="*/ 154 w 10000"/>
                <a:gd name="connsiteY132" fmla="*/ 6960 h 10000"/>
                <a:gd name="connsiteX133" fmla="*/ 240 w 10000"/>
                <a:gd name="connsiteY133" fmla="*/ 6943 h 10000"/>
                <a:gd name="connsiteX134" fmla="*/ 292 w 10000"/>
                <a:gd name="connsiteY134" fmla="*/ 7076 h 10000"/>
                <a:gd name="connsiteX135" fmla="*/ 445 w 10000"/>
                <a:gd name="connsiteY135" fmla="*/ 7103 h 10000"/>
                <a:gd name="connsiteX136" fmla="*/ 453 w 10000"/>
                <a:gd name="connsiteY136" fmla="*/ 7251 h 10000"/>
                <a:gd name="connsiteX137" fmla="*/ 494 w 10000"/>
                <a:gd name="connsiteY137" fmla="*/ 7278 h 10000"/>
                <a:gd name="connsiteX138" fmla="*/ 525 w 10000"/>
                <a:gd name="connsiteY138" fmla="*/ 7174 h 10000"/>
                <a:gd name="connsiteX139" fmla="*/ 581 w 10000"/>
                <a:gd name="connsiteY139" fmla="*/ 7196 h 10000"/>
                <a:gd name="connsiteX140" fmla="*/ 644 w 10000"/>
                <a:gd name="connsiteY140" fmla="*/ 6992 h 10000"/>
                <a:gd name="connsiteX141" fmla="*/ 820 w 10000"/>
                <a:gd name="connsiteY141" fmla="*/ 7174 h 10000"/>
                <a:gd name="connsiteX142" fmla="*/ 1283 w 10000"/>
                <a:gd name="connsiteY142" fmla="*/ 7163 h 10000"/>
                <a:gd name="connsiteX143" fmla="*/ 1466 w 10000"/>
                <a:gd name="connsiteY143" fmla="*/ 7092 h 10000"/>
                <a:gd name="connsiteX144" fmla="*/ 1766 w 10000"/>
                <a:gd name="connsiteY144" fmla="*/ 7344 h 10000"/>
                <a:gd name="connsiteX145" fmla="*/ 1956 w 10000"/>
                <a:gd name="connsiteY145" fmla="*/ 7087 h 10000"/>
                <a:gd name="connsiteX146" fmla="*/ 2382 w 10000"/>
                <a:gd name="connsiteY146" fmla="*/ 6861 h 10000"/>
                <a:gd name="connsiteX147" fmla="*/ 2536 w 10000"/>
                <a:gd name="connsiteY147" fmla="*/ 6489 h 10000"/>
                <a:gd name="connsiteX148" fmla="*/ 2648 w 10000"/>
                <a:gd name="connsiteY148" fmla="*/ 6439 h 10000"/>
                <a:gd name="connsiteX149" fmla="*/ 2648 w 10000"/>
                <a:gd name="connsiteY149" fmla="*/ 6379 h 10000"/>
                <a:gd name="connsiteX150" fmla="*/ 2693 w 10000"/>
                <a:gd name="connsiteY150" fmla="*/ 6379 h 10000"/>
                <a:gd name="connsiteX151" fmla="*/ 2682 w 10000"/>
                <a:gd name="connsiteY151" fmla="*/ 6230 h 10000"/>
                <a:gd name="connsiteX152" fmla="*/ 2820 w 10000"/>
                <a:gd name="connsiteY152" fmla="*/ 6285 h 10000"/>
                <a:gd name="connsiteX153" fmla="*/ 2839 w 10000"/>
                <a:gd name="connsiteY153" fmla="*/ 6159 h 10000"/>
                <a:gd name="connsiteX154" fmla="*/ 2921 w 10000"/>
                <a:gd name="connsiteY154" fmla="*/ 6230 h 10000"/>
                <a:gd name="connsiteX155" fmla="*/ 2981 w 10000"/>
                <a:gd name="connsiteY155" fmla="*/ 6126 h 10000"/>
                <a:gd name="connsiteX156" fmla="*/ 3078 w 10000"/>
                <a:gd name="connsiteY156" fmla="*/ 6154 h 10000"/>
                <a:gd name="connsiteX157" fmla="*/ 3164 w 10000"/>
                <a:gd name="connsiteY157" fmla="*/ 6055 h 10000"/>
                <a:gd name="connsiteX158" fmla="*/ 3328 w 10000"/>
                <a:gd name="connsiteY158" fmla="*/ 6192 h 10000"/>
                <a:gd name="connsiteX159" fmla="*/ 3411 w 10000"/>
                <a:gd name="connsiteY159" fmla="*/ 6197 h 10000"/>
                <a:gd name="connsiteX160" fmla="*/ 3437 w 10000"/>
                <a:gd name="connsiteY160" fmla="*/ 6307 h 10000"/>
                <a:gd name="connsiteX161" fmla="*/ 3591 w 10000"/>
                <a:gd name="connsiteY161" fmla="*/ 6236 h 10000"/>
                <a:gd name="connsiteX162" fmla="*/ 3576 w 10000"/>
                <a:gd name="connsiteY162" fmla="*/ 6357 h 10000"/>
                <a:gd name="connsiteX163" fmla="*/ 3632 w 10000"/>
                <a:gd name="connsiteY163" fmla="*/ 6341 h 10000"/>
                <a:gd name="connsiteX164" fmla="*/ 3699 w 10000"/>
                <a:gd name="connsiteY164" fmla="*/ 6428 h 10000"/>
                <a:gd name="connsiteX165" fmla="*/ 3703 w 10000"/>
                <a:gd name="connsiteY165" fmla="*/ 6301 h 10000"/>
                <a:gd name="connsiteX166" fmla="*/ 3882 w 10000"/>
                <a:gd name="connsiteY166" fmla="*/ 6341 h 10000"/>
                <a:gd name="connsiteX167" fmla="*/ 3946 w 10000"/>
                <a:gd name="connsiteY167" fmla="*/ 6511 h 10000"/>
                <a:gd name="connsiteX168" fmla="*/ 4047 w 10000"/>
                <a:gd name="connsiteY168" fmla="*/ 6494 h 10000"/>
                <a:gd name="connsiteX169" fmla="*/ 4091 w 10000"/>
                <a:gd name="connsiteY169" fmla="*/ 6417 h 10000"/>
                <a:gd name="connsiteX170" fmla="*/ 4192 w 10000"/>
                <a:gd name="connsiteY170" fmla="*/ 6735 h 10000"/>
                <a:gd name="connsiteX171" fmla="*/ 4155 w 10000"/>
                <a:gd name="connsiteY171" fmla="*/ 6987 h 10000"/>
                <a:gd name="connsiteX172" fmla="*/ 4207 w 10000"/>
                <a:gd name="connsiteY172" fmla="*/ 7114 h 10000"/>
                <a:gd name="connsiteX173" fmla="*/ 4278 w 10000"/>
                <a:gd name="connsiteY173" fmla="*/ 7119 h 10000"/>
                <a:gd name="connsiteX174" fmla="*/ 4387 w 10000"/>
                <a:gd name="connsiteY174" fmla="*/ 7256 h 10000"/>
                <a:gd name="connsiteX175" fmla="*/ 4431 w 10000"/>
                <a:gd name="connsiteY175" fmla="*/ 7152 h 10000"/>
                <a:gd name="connsiteX176" fmla="*/ 4480 w 10000"/>
                <a:gd name="connsiteY176" fmla="*/ 7322 h 10000"/>
                <a:gd name="connsiteX177" fmla="*/ 4541 w 10000"/>
                <a:gd name="connsiteY177" fmla="*/ 7662 h 10000"/>
                <a:gd name="connsiteX178" fmla="*/ 4720 w 10000"/>
                <a:gd name="connsiteY178" fmla="*/ 7739 h 10000"/>
                <a:gd name="connsiteX179" fmla="*/ 4761 w 10000"/>
                <a:gd name="connsiteY179" fmla="*/ 8183 h 10000"/>
                <a:gd name="connsiteX180" fmla="*/ 4914 w 10000"/>
                <a:gd name="connsiteY180" fmla="*/ 8276 h 10000"/>
                <a:gd name="connsiteX181" fmla="*/ 4757 w 10000"/>
                <a:gd name="connsiteY181" fmla="*/ 8370 h 10000"/>
                <a:gd name="connsiteX182" fmla="*/ 4705 w 10000"/>
                <a:gd name="connsiteY182" fmla="*/ 8260 h 10000"/>
                <a:gd name="connsiteX183" fmla="*/ 4645 w 10000"/>
                <a:gd name="connsiteY183" fmla="*/ 8403 h 10000"/>
                <a:gd name="connsiteX184" fmla="*/ 4491 w 10000"/>
                <a:gd name="connsiteY184" fmla="*/ 8287 h 10000"/>
                <a:gd name="connsiteX185" fmla="*/ 4405 w 10000"/>
                <a:gd name="connsiteY185" fmla="*/ 8452 h 10000"/>
                <a:gd name="connsiteX186" fmla="*/ 4226 w 10000"/>
                <a:gd name="connsiteY186" fmla="*/ 8331 h 10000"/>
                <a:gd name="connsiteX187" fmla="*/ 4312 w 10000"/>
                <a:gd name="connsiteY187" fmla="*/ 8699 h 10000"/>
                <a:gd name="connsiteX188" fmla="*/ 4304 w 10000"/>
                <a:gd name="connsiteY188" fmla="*/ 8967 h 10000"/>
                <a:gd name="connsiteX189" fmla="*/ 4189 w 10000"/>
                <a:gd name="connsiteY189" fmla="*/ 9088 h 10000"/>
                <a:gd name="connsiteX190" fmla="*/ 4226 w 10000"/>
                <a:gd name="connsiteY190" fmla="*/ 9193 h 10000"/>
                <a:gd name="connsiteX191" fmla="*/ 4065 w 10000"/>
                <a:gd name="connsiteY191" fmla="*/ 9412 h 10000"/>
                <a:gd name="connsiteX192" fmla="*/ 4129 w 10000"/>
                <a:gd name="connsiteY192" fmla="*/ 9647 h 10000"/>
                <a:gd name="connsiteX193" fmla="*/ 3972 w 10000"/>
                <a:gd name="connsiteY193" fmla="*/ 9681 h 10000"/>
                <a:gd name="connsiteX194" fmla="*/ 3931 w 10000"/>
                <a:gd name="connsiteY194" fmla="*/ 9741 h 10000"/>
                <a:gd name="connsiteX195" fmla="*/ 3998 w 10000"/>
                <a:gd name="connsiteY195" fmla="*/ 9785 h 10000"/>
                <a:gd name="connsiteX196" fmla="*/ 4118 w 10000"/>
                <a:gd name="connsiteY196" fmla="*/ 9944 h 10000"/>
                <a:gd name="connsiteX197" fmla="*/ 4312 w 10000"/>
                <a:gd name="connsiteY197" fmla="*/ 9999 h 10000"/>
                <a:gd name="connsiteX198" fmla="*/ 4319 w 10000"/>
                <a:gd name="connsiteY198" fmla="*/ 9851 h 10000"/>
                <a:gd name="connsiteX199" fmla="*/ 4387 w 10000"/>
                <a:gd name="connsiteY199" fmla="*/ 9856 h 10000"/>
                <a:gd name="connsiteX200" fmla="*/ 4675 w 10000"/>
                <a:gd name="connsiteY200" fmla="*/ 9603 h 10000"/>
                <a:gd name="connsiteX201" fmla="*/ 4866 w 10000"/>
                <a:gd name="connsiteY201" fmla="*/ 9845 h 10000"/>
                <a:gd name="connsiteX202" fmla="*/ 4866 w 10000"/>
                <a:gd name="connsiteY202" fmla="*/ 9862 h 10000"/>
                <a:gd name="connsiteX203" fmla="*/ 4896 w 10000"/>
                <a:gd name="connsiteY203" fmla="*/ 9703 h 10000"/>
                <a:gd name="connsiteX204" fmla="*/ 4843 w 10000"/>
                <a:gd name="connsiteY204" fmla="*/ 9570 h 10000"/>
                <a:gd name="connsiteX205" fmla="*/ 4776 w 10000"/>
                <a:gd name="connsiteY205" fmla="*/ 9549 h 10000"/>
                <a:gd name="connsiteX206" fmla="*/ 4821 w 10000"/>
                <a:gd name="connsiteY206" fmla="*/ 9466 h 10000"/>
                <a:gd name="connsiteX207" fmla="*/ 4806 w 10000"/>
                <a:gd name="connsiteY207" fmla="*/ 9444 h 10000"/>
                <a:gd name="connsiteX208" fmla="*/ 4750 w 10000"/>
                <a:gd name="connsiteY208" fmla="*/ 9439 h 10000"/>
                <a:gd name="connsiteX209" fmla="*/ 4720 w 10000"/>
                <a:gd name="connsiteY209" fmla="*/ 9121 h 10000"/>
                <a:gd name="connsiteX210" fmla="*/ 4761 w 10000"/>
                <a:gd name="connsiteY210" fmla="*/ 9105 h 10000"/>
                <a:gd name="connsiteX211" fmla="*/ 4783 w 10000"/>
                <a:gd name="connsiteY211" fmla="*/ 9253 h 10000"/>
                <a:gd name="connsiteX212" fmla="*/ 4836 w 10000"/>
                <a:gd name="connsiteY212" fmla="*/ 9384 h 10000"/>
                <a:gd name="connsiteX213" fmla="*/ 4881 w 10000"/>
                <a:gd name="connsiteY213" fmla="*/ 9302 h 10000"/>
                <a:gd name="connsiteX214" fmla="*/ 4869 w 10000"/>
                <a:gd name="connsiteY214" fmla="*/ 9220 h 10000"/>
                <a:gd name="connsiteX215" fmla="*/ 4940 w 10000"/>
                <a:gd name="connsiteY215" fmla="*/ 9203 h 10000"/>
                <a:gd name="connsiteX216" fmla="*/ 4903 w 10000"/>
                <a:gd name="connsiteY216" fmla="*/ 9034 h 10000"/>
                <a:gd name="connsiteX217" fmla="*/ 5000 w 10000"/>
                <a:gd name="connsiteY217" fmla="*/ 9061 h 10000"/>
                <a:gd name="connsiteX218" fmla="*/ 5004 w 10000"/>
                <a:gd name="connsiteY218" fmla="*/ 8972 h 10000"/>
                <a:gd name="connsiteX219" fmla="*/ 5041 w 10000"/>
                <a:gd name="connsiteY219" fmla="*/ 9039 h 10000"/>
                <a:gd name="connsiteX220" fmla="*/ 5206 w 10000"/>
                <a:gd name="connsiteY220" fmla="*/ 8781 h 10000"/>
                <a:gd name="connsiteX221" fmla="*/ 5112 w 10000"/>
                <a:gd name="connsiteY221" fmla="*/ 8584 h 10000"/>
                <a:gd name="connsiteX222" fmla="*/ 4937 w 10000"/>
                <a:gd name="connsiteY222" fmla="*/ 8425 h 10000"/>
                <a:gd name="connsiteX223" fmla="*/ 5037 w 10000"/>
                <a:gd name="connsiteY223" fmla="*/ 8370 h 10000"/>
                <a:gd name="connsiteX224" fmla="*/ 5183 w 10000"/>
                <a:gd name="connsiteY224" fmla="*/ 8633 h 10000"/>
                <a:gd name="connsiteX225" fmla="*/ 5292 w 10000"/>
                <a:gd name="connsiteY225" fmla="*/ 8199 h 10000"/>
                <a:gd name="connsiteX226" fmla="*/ 5299 w 10000"/>
                <a:gd name="connsiteY226" fmla="*/ 8030 h 10000"/>
                <a:gd name="connsiteX227" fmla="*/ 5482 w 10000"/>
                <a:gd name="connsiteY227" fmla="*/ 7942 h 10000"/>
                <a:gd name="connsiteX228" fmla="*/ 5550 w 10000"/>
                <a:gd name="connsiteY228" fmla="*/ 7607 h 10000"/>
                <a:gd name="connsiteX229" fmla="*/ 5561 w 10000"/>
                <a:gd name="connsiteY229" fmla="*/ 7734 h 10000"/>
                <a:gd name="connsiteX230" fmla="*/ 5677 w 10000"/>
                <a:gd name="connsiteY230" fmla="*/ 7596 h 10000"/>
                <a:gd name="connsiteX231" fmla="*/ 5759 w 10000"/>
                <a:gd name="connsiteY231" fmla="*/ 7579 h 10000"/>
                <a:gd name="connsiteX232" fmla="*/ 5842 w 10000"/>
                <a:gd name="connsiteY232" fmla="*/ 7207 h 10000"/>
                <a:gd name="connsiteX233" fmla="*/ 5916 w 10000"/>
                <a:gd name="connsiteY233" fmla="*/ 7486 h 10000"/>
                <a:gd name="connsiteX234" fmla="*/ 6137 w 10000"/>
                <a:gd name="connsiteY234" fmla="*/ 7563 h 10000"/>
                <a:gd name="connsiteX235" fmla="*/ 5969 w 10000"/>
                <a:gd name="connsiteY235" fmla="*/ 7618 h 10000"/>
                <a:gd name="connsiteX236" fmla="*/ 5954 w 10000"/>
                <a:gd name="connsiteY236" fmla="*/ 7679 h 10000"/>
                <a:gd name="connsiteX237" fmla="*/ 5786 w 10000"/>
                <a:gd name="connsiteY237" fmla="*/ 7690 h 10000"/>
                <a:gd name="connsiteX238" fmla="*/ 5700 w 10000"/>
                <a:gd name="connsiteY238" fmla="*/ 7723 h 10000"/>
                <a:gd name="connsiteX239" fmla="*/ 5767 w 10000"/>
                <a:gd name="connsiteY239" fmla="*/ 7772 h 10000"/>
                <a:gd name="connsiteX240" fmla="*/ 5827 w 10000"/>
                <a:gd name="connsiteY240" fmla="*/ 7756 h 10000"/>
                <a:gd name="connsiteX241" fmla="*/ 5991 w 10000"/>
                <a:gd name="connsiteY241" fmla="*/ 7789 h 10000"/>
                <a:gd name="connsiteX242" fmla="*/ 5804 w 10000"/>
                <a:gd name="connsiteY242" fmla="*/ 7964 h 10000"/>
                <a:gd name="connsiteX243" fmla="*/ 5872 w 10000"/>
                <a:gd name="connsiteY243" fmla="*/ 8008 h 10000"/>
                <a:gd name="connsiteX244" fmla="*/ 6043 w 10000"/>
                <a:gd name="connsiteY244" fmla="*/ 7958 h 10000"/>
                <a:gd name="connsiteX245" fmla="*/ 6275 w 10000"/>
                <a:gd name="connsiteY245" fmla="*/ 8101 h 10000"/>
                <a:gd name="connsiteX246" fmla="*/ 6575 w 10000"/>
                <a:gd name="connsiteY246" fmla="*/ 7909 h 10000"/>
                <a:gd name="connsiteX247" fmla="*/ 6870 w 10000"/>
                <a:gd name="connsiteY247" fmla="*/ 7887 h 10000"/>
                <a:gd name="connsiteX248" fmla="*/ 6915 w 10000"/>
                <a:gd name="connsiteY248" fmla="*/ 7745 h 10000"/>
                <a:gd name="connsiteX249" fmla="*/ 6993 w 10000"/>
                <a:gd name="connsiteY249" fmla="*/ 7958 h 10000"/>
                <a:gd name="connsiteX250" fmla="*/ 7075 w 10000"/>
                <a:gd name="connsiteY250" fmla="*/ 7986 h 10000"/>
                <a:gd name="connsiteX251" fmla="*/ 7045 w 10000"/>
                <a:gd name="connsiteY251" fmla="*/ 8134 h 10000"/>
                <a:gd name="connsiteX252" fmla="*/ 6788 w 10000"/>
                <a:gd name="connsiteY252" fmla="*/ 8281 h 10000"/>
                <a:gd name="connsiteX253" fmla="*/ 6769 w 10000"/>
                <a:gd name="connsiteY253" fmla="*/ 8386 h 10000"/>
                <a:gd name="connsiteX254" fmla="*/ 6627 w 10000"/>
                <a:gd name="connsiteY254" fmla="*/ 8523 h 10000"/>
                <a:gd name="connsiteX255" fmla="*/ 6623 w 10000"/>
                <a:gd name="connsiteY255" fmla="*/ 8649 h 10000"/>
                <a:gd name="connsiteX256" fmla="*/ 6537 w 10000"/>
                <a:gd name="connsiteY256" fmla="*/ 8704 h 10000"/>
                <a:gd name="connsiteX257" fmla="*/ 6428 w 10000"/>
                <a:gd name="connsiteY257" fmla="*/ 8989 h 10000"/>
                <a:gd name="connsiteX258" fmla="*/ 6582 w 10000"/>
                <a:gd name="connsiteY258" fmla="*/ 9001 h 10000"/>
                <a:gd name="connsiteX259" fmla="*/ 6672 w 10000"/>
                <a:gd name="connsiteY259" fmla="*/ 8879 h 10000"/>
                <a:gd name="connsiteX260" fmla="*/ 6769 w 10000"/>
                <a:gd name="connsiteY260" fmla="*/ 8912 h 10000"/>
                <a:gd name="connsiteX261" fmla="*/ 6814 w 10000"/>
                <a:gd name="connsiteY261" fmla="*/ 8786 h 10000"/>
                <a:gd name="connsiteX262" fmla="*/ 6877 w 10000"/>
                <a:gd name="connsiteY262" fmla="*/ 9001 h 10000"/>
                <a:gd name="connsiteX263" fmla="*/ 7060 w 10000"/>
                <a:gd name="connsiteY263" fmla="*/ 8994 h 10000"/>
                <a:gd name="connsiteX264" fmla="*/ 7217 w 10000"/>
                <a:gd name="connsiteY264" fmla="*/ 9362 h 10000"/>
                <a:gd name="connsiteX265" fmla="*/ 7232 w 10000"/>
                <a:gd name="connsiteY265" fmla="*/ 9675 h 10000"/>
                <a:gd name="connsiteX266" fmla="*/ 7176 w 10000"/>
                <a:gd name="connsiteY266" fmla="*/ 9692 h 10000"/>
                <a:gd name="connsiteX267" fmla="*/ 7187 w 10000"/>
                <a:gd name="connsiteY267" fmla="*/ 9780 h 10000"/>
                <a:gd name="connsiteX268" fmla="*/ 7423 w 10000"/>
                <a:gd name="connsiteY268" fmla="*/ 9900 h 10000"/>
                <a:gd name="connsiteX269" fmla="*/ 7741 w 10000"/>
                <a:gd name="connsiteY269" fmla="*/ 9565 h 10000"/>
                <a:gd name="connsiteX270" fmla="*/ 7879 w 10000"/>
                <a:gd name="connsiteY270" fmla="*/ 9176 h 10000"/>
                <a:gd name="connsiteX271" fmla="*/ 8107 w 10000"/>
                <a:gd name="connsiteY271" fmla="*/ 9023 h 10000"/>
                <a:gd name="connsiteX272" fmla="*/ 8182 w 10000"/>
                <a:gd name="connsiteY272" fmla="*/ 8841 h 10000"/>
                <a:gd name="connsiteX273" fmla="*/ 8268 w 10000"/>
                <a:gd name="connsiteY273" fmla="*/ 8786 h 10000"/>
                <a:gd name="connsiteX274" fmla="*/ 8320 w 10000"/>
                <a:gd name="connsiteY274" fmla="*/ 8512 h 10000"/>
                <a:gd name="connsiteX275" fmla="*/ 8542 w 10000"/>
                <a:gd name="connsiteY275" fmla="*/ 8617 h 10000"/>
                <a:gd name="connsiteX276" fmla="*/ 8672 w 10000"/>
                <a:gd name="connsiteY276" fmla="*/ 8474 h 10000"/>
                <a:gd name="connsiteX277" fmla="*/ 8855 w 10000"/>
                <a:gd name="connsiteY277" fmla="*/ 8343 h 10000"/>
                <a:gd name="connsiteX278" fmla="*/ 8781 w 10000"/>
                <a:gd name="connsiteY278" fmla="*/ 8128 h 10000"/>
                <a:gd name="connsiteX279" fmla="*/ 7708 w 10000"/>
                <a:gd name="connsiteY279" fmla="*/ 7991 h 10000"/>
                <a:gd name="connsiteX280" fmla="*/ 7682 w 10000"/>
                <a:gd name="connsiteY280" fmla="*/ 7904 h 10000"/>
                <a:gd name="connsiteX281" fmla="*/ 7607 w 10000"/>
                <a:gd name="connsiteY281" fmla="*/ 8002 h 10000"/>
                <a:gd name="connsiteX282" fmla="*/ 7715 w 10000"/>
                <a:gd name="connsiteY282" fmla="*/ 7761 h 10000"/>
                <a:gd name="connsiteX283" fmla="*/ 7674 w 10000"/>
                <a:gd name="connsiteY283" fmla="*/ 7717 h 10000"/>
                <a:gd name="connsiteX284" fmla="*/ 7554 w 10000"/>
                <a:gd name="connsiteY284" fmla="*/ 7915 h 10000"/>
                <a:gd name="connsiteX285" fmla="*/ 7618 w 10000"/>
                <a:gd name="connsiteY285" fmla="*/ 7712 h 10000"/>
                <a:gd name="connsiteX286" fmla="*/ 7532 w 10000"/>
                <a:gd name="connsiteY286" fmla="*/ 7767 h 10000"/>
                <a:gd name="connsiteX287" fmla="*/ 7419 w 10000"/>
                <a:gd name="connsiteY287" fmla="*/ 7717 h 10000"/>
                <a:gd name="connsiteX288" fmla="*/ 7333 w 10000"/>
                <a:gd name="connsiteY288" fmla="*/ 7794 h 10000"/>
                <a:gd name="connsiteX289" fmla="*/ 7240 w 10000"/>
                <a:gd name="connsiteY289" fmla="*/ 7728 h 10000"/>
                <a:gd name="connsiteX290" fmla="*/ 7087 w 10000"/>
                <a:gd name="connsiteY290" fmla="*/ 7717 h 10000"/>
                <a:gd name="connsiteX291" fmla="*/ 7090 w 10000"/>
                <a:gd name="connsiteY291" fmla="*/ 7547 h 10000"/>
                <a:gd name="connsiteX292" fmla="*/ 7229 w 10000"/>
                <a:gd name="connsiteY292" fmla="*/ 7662 h 10000"/>
                <a:gd name="connsiteX293" fmla="*/ 7273 w 10000"/>
                <a:gd name="connsiteY293" fmla="*/ 7541 h 10000"/>
                <a:gd name="connsiteX294" fmla="*/ 7236 w 10000"/>
                <a:gd name="connsiteY294" fmla="*/ 7410 h 10000"/>
                <a:gd name="connsiteX295" fmla="*/ 7341 w 10000"/>
                <a:gd name="connsiteY295" fmla="*/ 7547 h 10000"/>
                <a:gd name="connsiteX296" fmla="*/ 7483 w 10000"/>
                <a:gd name="connsiteY296" fmla="*/ 7536 h 10000"/>
                <a:gd name="connsiteX297" fmla="*/ 7506 w 10000"/>
                <a:gd name="connsiteY297" fmla="*/ 7685 h 10000"/>
                <a:gd name="connsiteX298" fmla="*/ 7547 w 10000"/>
                <a:gd name="connsiteY298" fmla="*/ 7685 h 10000"/>
                <a:gd name="connsiteX299" fmla="*/ 7558 w 10000"/>
                <a:gd name="connsiteY299" fmla="*/ 7415 h 10000"/>
                <a:gd name="connsiteX300" fmla="*/ 7607 w 10000"/>
                <a:gd name="connsiteY300" fmla="*/ 7585 h 10000"/>
                <a:gd name="connsiteX301" fmla="*/ 7693 w 10000"/>
                <a:gd name="connsiteY301" fmla="*/ 7590 h 10000"/>
                <a:gd name="connsiteX302" fmla="*/ 7629 w 10000"/>
                <a:gd name="connsiteY302" fmla="*/ 7333 h 10000"/>
                <a:gd name="connsiteX303" fmla="*/ 7786 w 10000"/>
                <a:gd name="connsiteY303" fmla="*/ 7240 h 10000"/>
                <a:gd name="connsiteX304" fmla="*/ 7779 w 10000"/>
                <a:gd name="connsiteY304" fmla="*/ 6987 h 10000"/>
                <a:gd name="connsiteX305" fmla="*/ 7887 w 10000"/>
                <a:gd name="connsiteY305" fmla="*/ 7081 h 10000"/>
                <a:gd name="connsiteX306" fmla="*/ 7906 w 10000"/>
                <a:gd name="connsiteY306" fmla="*/ 7015 h 10000"/>
                <a:gd name="connsiteX307" fmla="*/ 7775 w 10000"/>
                <a:gd name="connsiteY307" fmla="*/ 6735 h 10000"/>
                <a:gd name="connsiteX308" fmla="*/ 7950 w 10000"/>
                <a:gd name="connsiteY308" fmla="*/ 6894 h 10000"/>
                <a:gd name="connsiteX309" fmla="*/ 8171 w 10000"/>
                <a:gd name="connsiteY309" fmla="*/ 6511 h 10000"/>
                <a:gd name="connsiteX310" fmla="*/ 8384 w 10000"/>
                <a:gd name="connsiteY310" fmla="*/ 6483 h 10000"/>
                <a:gd name="connsiteX311" fmla="*/ 8429 w 10000"/>
                <a:gd name="connsiteY31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7569 w 10000"/>
                <a:gd name="connsiteY41" fmla="*/ 1873 h 10000"/>
                <a:gd name="connsiteX42" fmla="*/ 7165 w 10000"/>
                <a:gd name="connsiteY42" fmla="*/ 1996 h 10000"/>
                <a:gd name="connsiteX43" fmla="*/ 6892 w 10000"/>
                <a:gd name="connsiteY43" fmla="*/ 1827 h 10000"/>
                <a:gd name="connsiteX44" fmla="*/ 6922 w 10000"/>
                <a:gd name="connsiteY44" fmla="*/ 1728 h 10000"/>
                <a:gd name="connsiteX45" fmla="*/ 6765 w 10000"/>
                <a:gd name="connsiteY45" fmla="*/ 1398 h 10000"/>
                <a:gd name="connsiteX46" fmla="*/ 6799 w 10000"/>
                <a:gd name="connsiteY46" fmla="*/ 1256 h 10000"/>
                <a:gd name="connsiteX47" fmla="*/ 6728 w 10000"/>
                <a:gd name="connsiteY47" fmla="*/ 1229 h 10000"/>
                <a:gd name="connsiteX48" fmla="*/ 6657 w 10000"/>
                <a:gd name="connsiteY48" fmla="*/ 1311 h 10000"/>
                <a:gd name="connsiteX49" fmla="*/ 6593 w 10000"/>
                <a:gd name="connsiteY49" fmla="*/ 1114 h 10000"/>
                <a:gd name="connsiteX50" fmla="*/ 6391 w 10000"/>
                <a:gd name="connsiteY50" fmla="*/ 1311 h 10000"/>
                <a:gd name="connsiteX51" fmla="*/ 6309 w 10000"/>
                <a:gd name="connsiteY51" fmla="*/ 1223 h 10000"/>
                <a:gd name="connsiteX52" fmla="*/ 6126 w 10000"/>
                <a:gd name="connsiteY52" fmla="*/ 1273 h 10000"/>
                <a:gd name="connsiteX53" fmla="*/ 6144 w 10000"/>
                <a:gd name="connsiteY53" fmla="*/ 1125 h 10000"/>
                <a:gd name="connsiteX54" fmla="*/ 6073 w 10000"/>
                <a:gd name="connsiteY54" fmla="*/ 1119 h 10000"/>
                <a:gd name="connsiteX55" fmla="*/ 6040 w 10000"/>
                <a:gd name="connsiteY55" fmla="*/ 910 h 10000"/>
                <a:gd name="connsiteX56" fmla="*/ 5942 w 10000"/>
                <a:gd name="connsiteY56" fmla="*/ 795 h 10000"/>
                <a:gd name="connsiteX57" fmla="*/ 6144 w 10000"/>
                <a:gd name="connsiteY57" fmla="*/ 620 h 10000"/>
                <a:gd name="connsiteX58" fmla="*/ 5901 w 10000"/>
                <a:gd name="connsiteY58" fmla="*/ 395 h 10000"/>
                <a:gd name="connsiteX59" fmla="*/ 5853 w 10000"/>
                <a:gd name="connsiteY59" fmla="*/ 142 h 10000"/>
                <a:gd name="connsiteX60" fmla="*/ 5741 w 10000"/>
                <a:gd name="connsiteY60" fmla="*/ 110 h 10000"/>
                <a:gd name="connsiteX61" fmla="*/ 5647 w 10000"/>
                <a:gd name="connsiteY61" fmla="*/ 0 h 10000"/>
                <a:gd name="connsiteX62" fmla="*/ 5547 w 10000"/>
                <a:gd name="connsiteY62" fmla="*/ 120 h 10000"/>
                <a:gd name="connsiteX63" fmla="*/ 5377 w 10000"/>
                <a:gd name="connsiteY63" fmla="*/ 110 h 10000"/>
                <a:gd name="connsiteX64" fmla="*/ 5232 w 10000"/>
                <a:gd name="connsiteY64" fmla="*/ 351 h 10000"/>
                <a:gd name="connsiteX65" fmla="*/ 4952 w 10000"/>
                <a:gd name="connsiteY65" fmla="*/ 329 h 10000"/>
                <a:gd name="connsiteX66" fmla="*/ 4884 w 10000"/>
                <a:gd name="connsiteY66" fmla="*/ 680 h 10000"/>
                <a:gd name="connsiteX67" fmla="*/ 4701 w 10000"/>
                <a:gd name="connsiteY67" fmla="*/ 707 h 10000"/>
                <a:gd name="connsiteX68" fmla="*/ 4795 w 10000"/>
                <a:gd name="connsiteY68" fmla="*/ 844 h 10000"/>
                <a:gd name="connsiteX69" fmla="*/ 4739 w 10000"/>
                <a:gd name="connsiteY69" fmla="*/ 899 h 10000"/>
                <a:gd name="connsiteX70" fmla="*/ 4612 w 10000"/>
                <a:gd name="connsiteY70" fmla="*/ 894 h 10000"/>
                <a:gd name="connsiteX71" fmla="*/ 4439 w 10000"/>
                <a:gd name="connsiteY71" fmla="*/ 1026 h 10000"/>
                <a:gd name="connsiteX72" fmla="*/ 4252 w 10000"/>
                <a:gd name="connsiteY72" fmla="*/ 1668 h 10000"/>
                <a:gd name="connsiteX73" fmla="*/ 4308 w 10000"/>
                <a:gd name="connsiteY73" fmla="*/ 2090 h 10000"/>
                <a:gd name="connsiteX74" fmla="*/ 4121 w 10000"/>
                <a:gd name="connsiteY74" fmla="*/ 1865 h 10000"/>
                <a:gd name="connsiteX75" fmla="*/ 3849 w 10000"/>
                <a:gd name="connsiteY75" fmla="*/ 1991 h 10000"/>
                <a:gd name="connsiteX76" fmla="*/ 3822 w 10000"/>
                <a:gd name="connsiteY76" fmla="*/ 1931 h 10000"/>
                <a:gd name="connsiteX77" fmla="*/ 3695 w 10000"/>
                <a:gd name="connsiteY77" fmla="*/ 2002 h 10000"/>
                <a:gd name="connsiteX78" fmla="*/ 3621 w 10000"/>
                <a:gd name="connsiteY78" fmla="*/ 2144 h 10000"/>
                <a:gd name="connsiteX79" fmla="*/ 3561 w 10000"/>
                <a:gd name="connsiteY79" fmla="*/ 1909 h 10000"/>
                <a:gd name="connsiteX80" fmla="*/ 3478 w 10000"/>
                <a:gd name="connsiteY80" fmla="*/ 1843 h 10000"/>
                <a:gd name="connsiteX81" fmla="*/ 3444 w 10000"/>
                <a:gd name="connsiteY81" fmla="*/ 1964 h 10000"/>
                <a:gd name="connsiteX82" fmla="*/ 3332 w 10000"/>
                <a:gd name="connsiteY82" fmla="*/ 1996 h 10000"/>
                <a:gd name="connsiteX83" fmla="*/ 3272 w 10000"/>
                <a:gd name="connsiteY83" fmla="*/ 2161 h 10000"/>
                <a:gd name="connsiteX84" fmla="*/ 3235 w 10000"/>
                <a:gd name="connsiteY84" fmla="*/ 2013 h 10000"/>
                <a:gd name="connsiteX85" fmla="*/ 3123 w 10000"/>
                <a:gd name="connsiteY85" fmla="*/ 2024 h 10000"/>
                <a:gd name="connsiteX86" fmla="*/ 3078 w 10000"/>
                <a:gd name="connsiteY86" fmla="*/ 2128 h 10000"/>
                <a:gd name="connsiteX87" fmla="*/ 3011 w 10000"/>
                <a:gd name="connsiteY87" fmla="*/ 1975 h 10000"/>
                <a:gd name="connsiteX88" fmla="*/ 2895 w 10000"/>
                <a:gd name="connsiteY88" fmla="*/ 2117 h 10000"/>
                <a:gd name="connsiteX89" fmla="*/ 2783 w 10000"/>
                <a:gd name="connsiteY89" fmla="*/ 2106 h 10000"/>
                <a:gd name="connsiteX90" fmla="*/ 2779 w 10000"/>
                <a:gd name="connsiteY90" fmla="*/ 2276 h 10000"/>
                <a:gd name="connsiteX91" fmla="*/ 2727 w 10000"/>
                <a:gd name="connsiteY91" fmla="*/ 2144 h 10000"/>
                <a:gd name="connsiteX92" fmla="*/ 2559 w 10000"/>
                <a:gd name="connsiteY92" fmla="*/ 2155 h 10000"/>
                <a:gd name="connsiteX93" fmla="*/ 2438 w 10000"/>
                <a:gd name="connsiteY93" fmla="*/ 1980 h 10000"/>
                <a:gd name="connsiteX94" fmla="*/ 2293 w 10000"/>
                <a:gd name="connsiteY94" fmla="*/ 2073 h 10000"/>
                <a:gd name="connsiteX95" fmla="*/ 2143 w 10000"/>
                <a:gd name="connsiteY95" fmla="*/ 1958 h 10000"/>
                <a:gd name="connsiteX96" fmla="*/ 2057 w 10000"/>
                <a:gd name="connsiteY96" fmla="*/ 2035 h 10000"/>
                <a:gd name="connsiteX97" fmla="*/ 1975 w 10000"/>
                <a:gd name="connsiteY97" fmla="*/ 1947 h 10000"/>
                <a:gd name="connsiteX98" fmla="*/ 1852 w 10000"/>
                <a:gd name="connsiteY98" fmla="*/ 1936 h 10000"/>
                <a:gd name="connsiteX99" fmla="*/ 1669 w 10000"/>
                <a:gd name="connsiteY99" fmla="*/ 1925 h 10000"/>
                <a:gd name="connsiteX100" fmla="*/ 1444 w 10000"/>
                <a:gd name="connsiteY100" fmla="*/ 1991 h 10000"/>
                <a:gd name="connsiteX101" fmla="*/ 1205 w 10000"/>
                <a:gd name="connsiteY101" fmla="*/ 2062 h 10000"/>
                <a:gd name="connsiteX102" fmla="*/ 921 w 10000"/>
                <a:gd name="connsiteY102" fmla="*/ 2166 h 10000"/>
                <a:gd name="connsiteX103" fmla="*/ 797 w 10000"/>
                <a:gd name="connsiteY103" fmla="*/ 2496 h 10000"/>
                <a:gd name="connsiteX104" fmla="*/ 603 w 10000"/>
                <a:gd name="connsiteY104" fmla="*/ 2501 h 10000"/>
                <a:gd name="connsiteX105" fmla="*/ 540 w 10000"/>
                <a:gd name="connsiteY105" fmla="*/ 2687 h 10000"/>
                <a:gd name="connsiteX106" fmla="*/ 558 w 10000"/>
                <a:gd name="connsiteY106" fmla="*/ 2764 h 10000"/>
                <a:gd name="connsiteX107" fmla="*/ 577 w 10000"/>
                <a:gd name="connsiteY107" fmla="*/ 2868 h 10000"/>
                <a:gd name="connsiteX108" fmla="*/ 577 w 10000"/>
                <a:gd name="connsiteY108" fmla="*/ 2868 h 10000"/>
                <a:gd name="connsiteX109" fmla="*/ 577 w 10000"/>
                <a:gd name="connsiteY109" fmla="*/ 2896 h 10000"/>
                <a:gd name="connsiteX110" fmla="*/ 682 w 10000"/>
                <a:gd name="connsiteY110" fmla="*/ 3116 h 10000"/>
                <a:gd name="connsiteX111" fmla="*/ 786 w 10000"/>
                <a:gd name="connsiteY111" fmla="*/ 3351 h 10000"/>
                <a:gd name="connsiteX112" fmla="*/ 921 w 10000"/>
                <a:gd name="connsiteY112" fmla="*/ 3488 h 10000"/>
                <a:gd name="connsiteX113" fmla="*/ 876 w 10000"/>
                <a:gd name="connsiteY113" fmla="*/ 3548 h 10000"/>
                <a:gd name="connsiteX114" fmla="*/ 805 w 10000"/>
                <a:gd name="connsiteY114" fmla="*/ 3603 h 10000"/>
                <a:gd name="connsiteX115" fmla="*/ 887 w 10000"/>
                <a:gd name="connsiteY115" fmla="*/ 3697 h 10000"/>
                <a:gd name="connsiteX116" fmla="*/ 876 w 10000"/>
                <a:gd name="connsiteY116" fmla="*/ 4053 h 10000"/>
                <a:gd name="connsiteX117" fmla="*/ 693 w 10000"/>
                <a:gd name="connsiteY117" fmla="*/ 4124 h 10000"/>
                <a:gd name="connsiteX118" fmla="*/ 498 w 10000"/>
                <a:gd name="connsiteY118" fmla="*/ 4531 h 10000"/>
                <a:gd name="connsiteX119" fmla="*/ 371 w 10000"/>
                <a:gd name="connsiteY119" fmla="*/ 4936 h 10000"/>
                <a:gd name="connsiteX120" fmla="*/ 195 w 10000"/>
                <a:gd name="connsiteY120" fmla="*/ 5260 h 10000"/>
                <a:gd name="connsiteX121" fmla="*/ 270 w 10000"/>
                <a:gd name="connsiteY121" fmla="*/ 5517 h 10000"/>
                <a:gd name="connsiteX122" fmla="*/ 277 w 10000"/>
                <a:gd name="connsiteY122" fmla="*/ 5732 h 10000"/>
                <a:gd name="connsiteX123" fmla="*/ 400 w 10000"/>
                <a:gd name="connsiteY123" fmla="*/ 5841 h 10000"/>
                <a:gd name="connsiteX124" fmla="*/ 382 w 10000"/>
                <a:gd name="connsiteY124" fmla="*/ 5945 h 10000"/>
                <a:gd name="connsiteX125" fmla="*/ 202 w 10000"/>
                <a:gd name="connsiteY125" fmla="*/ 5852 h 10000"/>
                <a:gd name="connsiteX126" fmla="*/ 124 w 10000"/>
                <a:gd name="connsiteY126" fmla="*/ 6099 h 10000"/>
                <a:gd name="connsiteX127" fmla="*/ 105 w 10000"/>
                <a:gd name="connsiteY127" fmla="*/ 6346 h 10000"/>
                <a:gd name="connsiteX128" fmla="*/ 1 w 10000"/>
                <a:gd name="connsiteY128" fmla="*/ 6571 h 10000"/>
                <a:gd name="connsiteX129" fmla="*/ 19 w 10000"/>
                <a:gd name="connsiteY129" fmla="*/ 6779 h 10000"/>
                <a:gd name="connsiteX130" fmla="*/ 90 w 10000"/>
                <a:gd name="connsiteY130" fmla="*/ 6828 h 10000"/>
                <a:gd name="connsiteX131" fmla="*/ 154 w 10000"/>
                <a:gd name="connsiteY131" fmla="*/ 6960 h 10000"/>
                <a:gd name="connsiteX132" fmla="*/ 240 w 10000"/>
                <a:gd name="connsiteY132" fmla="*/ 6943 h 10000"/>
                <a:gd name="connsiteX133" fmla="*/ 292 w 10000"/>
                <a:gd name="connsiteY133" fmla="*/ 7076 h 10000"/>
                <a:gd name="connsiteX134" fmla="*/ 445 w 10000"/>
                <a:gd name="connsiteY134" fmla="*/ 7103 h 10000"/>
                <a:gd name="connsiteX135" fmla="*/ 453 w 10000"/>
                <a:gd name="connsiteY135" fmla="*/ 7251 h 10000"/>
                <a:gd name="connsiteX136" fmla="*/ 494 w 10000"/>
                <a:gd name="connsiteY136" fmla="*/ 7278 h 10000"/>
                <a:gd name="connsiteX137" fmla="*/ 525 w 10000"/>
                <a:gd name="connsiteY137" fmla="*/ 7174 h 10000"/>
                <a:gd name="connsiteX138" fmla="*/ 581 w 10000"/>
                <a:gd name="connsiteY138" fmla="*/ 7196 h 10000"/>
                <a:gd name="connsiteX139" fmla="*/ 644 w 10000"/>
                <a:gd name="connsiteY139" fmla="*/ 6992 h 10000"/>
                <a:gd name="connsiteX140" fmla="*/ 820 w 10000"/>
                <a:gd name="connsiteY140" fmla="*/ 7174 h 10000"/>
                <a:gd name="connsiteX141" fmla="*/ 1283 w 10000"/>
                <a:gd name="connsiteY141" fmla="*/ 7163 h 10000"/>
                <a:gd name="connsiteX142" fmla="*/ 1466 w 10000"/>
                <a:gd name="connsiteY142" fmla="*/ 7092 h 10000"/>
                <a:gd name="connsiteX143" fmla="*/ 1766 w 10000"/>
                <a:gd name="connsiteY143" fmla="*/ 7344 h 10000"/>
                <a:gd name="connsiteX144" fmla="*/ 1956 w 10000"/>
                <a:gd name="connsiteY144" fmla="*/ 7087 h 10000"/>
                <a:gd name="connsiteX145" fmla="*/ 2382 w 10000"/>
                <a:gd name="connsiteY145" fmla="*/ 6861 h 10000"/>
                <a:gd name="connsiteX146" fmla="*/ 2536 w 10000"/>
                <a:gd name="connsiteY146" fmla="*/ 6489 h 10000"/>
                <a:gd name="connsiteX147" fmla="*/ 2648 w 10000"/>
                <a:gd name="connsiteY147" fmla="*/ 6439 h 10000"/>
                <a:gd name="connsiteX148" fmla="*/ 2648 w 10000"/>
                <a:gd name="connsiteY148" fmla="*/ 6379 h 10000"/>
                <a:gd name="connsiteX149" fmla="*/ 2693 w 10000"/>
                <a:gd name="connsiteY149" fmla="*/ 6379 h 10000"/>
                <a:gd name="connsiteX150" fmla="*/ 2682 w 10000"/>
                <a:gd name="connsiteY150" fmla="*/ 6230 h 10000"/>
                <a:gd name="connsiteX151" fmla="*/ 2820 w 10000"/>
                <a:gd name="connsiteY151" fmla="*/ 6285 h 10000"/>
                <a:gd name="connsiteX152" fmla="*/ 2839 w 10000"/>
                <a:gd name="connsiteY152" fmla="*/ 6159 h 10000"/>
                <a:gd name="connsiteX153" fmla="*/ 2921 w 10000"/>
                <a:gd name="connsiteY153" fmla="*/ 6230 h 10000"/>
                <a:gd name="connsiteX154" fmla="*/ 2981 w 10000"/>
                <a:gd name="connsiteY154" fmla="*/ 6126 h 10000"/>
                <a:gd name="connsiteX155" fmla="*/ 3078 w 10000"/>
                <a:gd name="connsiteY155" fmla="*/ 6154 h 10000"/>
                <a:gd name="connsiteX156" fmla="*/ 3164 w 10000"/>
                <a:gd name="connsiteY156" fmla="*/ 6055 h 10000"/>
                <a:gd name="connsiteX157" fmla="*/ 3328 w 10000"/>
                <a:gd name="connsiteY157" fmla="*/ 6192 h 10000"/>
                <a:gd name="connsiteX158" fmla="*/ 3411 w 10000"/>
                <a:gd name="connsiteY158" fmla="*/ 6197 h 10000"/>
                <a:gd name="connsiteX159" fmla="*/ 3437 w 10000"/>
                <a:gd name="connsiteY159" fmla="*/ 6307 h 10000"/>
                <a:gd name="connsiteX160" fmla="*/ 3591 w 10000"/>
                <a:gd name="connsiteY160" fmla="*/ 6236 h 10000"/>
                <a:gd name="connsiteX161" fmla="*/ 3576 w 10000"/>
                <a:gd name="connsiteY161" fmla="*/ 6357 h 10000"/>
                <a:gd name="connsiteX162" fmla="*/ 3632 w 10000"/>
                <a:gd name="connsiteY162" fmla="*/ 6341 h 10000"/>
                <a:gd name="connsiteX163" fmla="*/ 3699 w 10000"/>
                <a:gd name="connsiteY163" fmla="*/ 6428 h 10000"/>
                <a:gd name="connsiteX164" fmla="*/ 3703 w 10000"/>
                <a:gd name="connsiteY164" fmla="*/ 6301 h 10000"/>
                <a:gd name="connsiteX165" fmla="*/ 3882 w 10000"/>
                <a:gd name="connsiteY165" fmla="*/ 6341 h 10000"/>
                <a:gd name="connsiteX166" fmla="*/ 3946 w 10000"/>
                <a:gd name="connsiteY166" fmla="*/ 6511 h 10000"/>
                <a:gd name="connsiteX167" fmla="*/ 4047 w 10000"/>
                <a:gd name="connsiteY167" fmla="*/ 6494 h 10000"/>
                <a:gd name="connsiteX168" fmla="*/ 4091 w 10000"/>
                <a:gd name="connsiteY168" fmla="*/ 6417 h 10000"/>
                <a:gd name="connsiteX169" fmla="*/ 4192 w 10000"/>
                <a:gd name="connsiteY169" fmla="*/ 6735 h 10000"/>
                <a:gd name="connsiteX170" fmla="*/ 4155 w 10000"/>
                <a:gd name="connsiteY170" fmla="*/ 6987 h 10000"/>
                <a:gd name="connsiteX171" fmla="*/ 4207 w 10000"/>
                <a:gd name="connsiteY171" fmla="*/ 7114 h 10000"/>
                <a:gd name="connsiteX172" fmla="*/ 4278 w 10000"/>
                <a:gd name="connsiteY172" fmla="*/ 7119 h 10000"/>
                <a:gd name="connsiteX173" fmla="*/ 4387 w 10000"/>
                <a:gd name="connsiteY173" fmla="*/ 7256 h 10000"/>
                <a:gd name="connsiteX174" fmla="*/ 4431 w 10000"/>
                <a:gd name="connsiteY174" fmla="*/ 7152 h 10000"/>
                <a:gd name="connsiteX175" fmla="*/ 4480 w 10000"/>
                <a:gd name="connsiteY175" fmla="*/ 7322 h 10000"/>
                <a:gd name="connsiteX176" fmla="*/ 4541 w 10000"/>
                <a:gd name="connsiteY176" fmla="*/ 7662 h 10000"/>
                <a:gd name="connsiteX177" fmla="*/ 4720 w 10000"/>
                <a:gd name="connsiteY177" fmla="*/ 7739 h 10000"/>
                <a:gd name="connsiteX178" fmla="*/ 4761 w 10000"/>
                <a:gd name="connsiteY178" fmla="*/ 8183 h 10000"/>
                <a:gd name="connsiteX179" fmla="*/ 4914 w 10000"/>
                <a:gd name="connsiteY179" fmla="*/ 8276 h 10000"/>
                <a:gd name="connsiteX180" fmla="*/ 4757 w 10000"/>
                <a:gd name="connsiteY180" fmla="*/ 8370 h 10000"/>
                <a:gd name="connsiteX181" fmla="*/ 4705 w 10000"/>
                <a:gd name="connsiteY181" fmla="*/ 8260 h 10000"/>
                <a:gd name="connsiteX182" fmla="*/ 4645 w 10000"/>
                <a:gd name="connsiteY182" fmla="*/ 8403 h 10000"/>
                <a:gd name="connsiteX183" fmla="*/ 4491 w 10000"/>
                <a:gd name="connsiteY183" fmla="*/ 8287 h 10000"/>
                <a:gd name="connsiteX184" fmla="*/ 4405 w 10000"/>
                <a:gd name="connsiteY184" fmla="*/ 8452 h 10000"/>
                <a:gd name="connsiteX185" fmla="*/ 4226 w 10000"/>
                <a:gd name="connsiteY185" fmla="*/ 8331 h 10000"/>
                <a:gd name="connsiteX186" fmla="*/ 4312 w 10000"/>
                <a:gd name="connsiteY186" fmla="*/ 8699 h 10000"/>
                <a:gd name="connsiteX187" fmla="*/ 4304 w 10000"/>
                <a:gd name="connsiteY187" fmla="*/ 8967 h 10000"/>
                <a:gd name="connsiteX188" fmla="*/ 4189 w 10000"/>
                <a:gd name="connsiteY188" fmla="*/ 9088 h 10000"/>
                <a:gd name="connsiteX189" fmla="*/ 4226 w 10000"/>
                <a:gd name="connsiteY189" fmla="*/ 9193 h 10000"/>
                <a:gd name="connsiteX190" fmla="*/ 4065 w 10000"/>
                <a:gd name="connsiteY190" fmla="*/ 9412 h 10000"/>
                <a:gd name="connsiteX191" fmla="*/ 4129 w 10000"/>
                <a:gd name="connsiteY191" fmla="*/ 9647 h 10000"/>
                <a:gd name="connsiteX192" fmla="*/ 3972 w 10000"/>
                <a:gd name="connsiteY192" fmla="*/ 9681 h 10000"/>
                <a:gd name="connsiteX193" fmla="*/ 3931 w 10000"/>
                <a:gd name="connsiteY193" fmla="*/ 9741 h 10000"/>
                <a:gd name="connsiteX194" fmla="*/ 3998 w 10000"/>
                <a:gd name="connsiteY194" fmla="*/ 9785 h 10000"/>
                <a:gd name="connsiteX195" fmla="*/ 4118 w 10000"/>
                <a:gd name="connsiteY195" fmla="*/ 9944 h 10000"/>
                <a:gd name="connsiteX196" fmla="*/ 4312 w 10000"/>
                <a:gd name="connsiteY196" fmla="*/ 9999 h 10000"/>
                <a:gd name="connsiteX197" fmla="*/ 4319 w 10000"/>
                <a:gd name="connsiteY197" fmla="*/ 9851 h 10000"/>
                <a:gd name="connsiteX198" fmla="*/ 4387 w 10000"/>
                <a:gd name="connsiteY198" fmla="*/ 9856 h 10000"/>
                <a:gd name="connsiteX199" fmla="*/ 4675 w 10000"/>
                <a:gd name="connsiteY199" fmla="*/ 9603 h 10000"/>
                <a:gd name="connsiteX200" fmla="*/ 4866 w 10000"/>
                <a:gd name="connsiteY200" fmla="*/ 9845 h 10000"/>
                <a:gd name="connsiteX201" fmla="*/ 4866 w 10000"/>
                <a:gd name="connsiteY201" fmla="*/ 9862 h 10000"/>
                <a:gd name="connsiteX202" fmla="*/ 4896 w 10000"/>
                <a:gd name="connsiteY202" fmla="*/ 9703 h 10000"/>
                <a:gd name="connsiteX203" fmla="*/ 4843 w 10000"/>
                <a:gd name="connsiteY203" fmla="*/ 9570 h 10000"/>
                <a:gd name="connsiteX204" fmla="*/ 4776 w 10000"/>
                <a:gd name="connsiteY204" fmla="*/ 9549 h 10000"/>
                <a:gd name="connsiteX205" fmla="*/ 4821 w 10000"/>
                <a:gd name="connsiteY205" fmla="*/ 9466 h 10000"/>
                <a:gd name="connsiteX206" fmla="*/ 4806 w 10000"/>
                <a:gd name="connsiteY206" fmla="*/ 9444 h 10000"/>
                <a:gd name="connsiteX207" fmla="*/ 4750 w 10000"/>
                <a:gd name="connsiteY207" fmla="*/ 9439 h 10000"/>
                <a:gd name="connsiteX208" fmla="*/ 4720 w 10000"/>
                <a:gd name="connsiteY208" fmla="*/ 9121 h 10000"/>
                <a:gd name="connsiteX209" fmla="*/ 4761 w 10000"/>
                <a:gd name="connsiteY209" fmla="*/ 9105 h 10000"/>
                <a:gd name="connsiteX210" fmla="*/ 4783 w 10000"/>
                <a:gd name="connsiteY210" fmla="*/ 9253 h 10000"/>
                <a:gd name="connsiteX211" fmla="*/ 4836 w 10000"/>
                <a:gd name="connsiteY211" fmla="*/ 9384 h 10000"/>
                <a:gd name="connsiteX212" fmla="*/ 4881 w 10000"/>
                <a:gd name="connsiteY212" fmla="*/ 9302 h 10000"/>
                <a:gd name="connsiteX213" fmla="*/ 4869 w 10000"/>
                <a:gd name="connsiteY213" fmla="*/ 9220 h 10000"/>
                <a:gd name="connsiteX214" fmla="*/ 4940 w 10000"/>
                <a:gd name="connsiteY214" fmla="*/ 9203 h 10000"/>
                <a:gd name="connsiteX215" fmla="*/ 4903 w 10000"/>
                <a:gd name="connsiteY215" fmla="*/ 9034 h 10000"/>
                <a:gd name="connsiteX216" fmla="*/ 5000 w 10000"/>
                <a:gd name="connsiteY216" fmla="*/ 9061 h 10000"/>
                <a:gd name="connsiteX217" fmla="*/ 5004 w 10000"/>
                <a:gd name="connsiteY217" fmla="*/ 8972 h 10000"/>
                <a:gd name="connsiteX218" fmla="*/ 5041 w 10000"/>
                <a:gd name="connsiteY218" fmla="*/ 9039 h 10000"/>
                <a:gd name="connsiteX219" fmla="*/ 5206 w 10000"/>
                <a:gd name="connsiteY219" fmla="*/ 8781 h 10000"/>
                <a:gd name="connsiteX220" fmla="*/ 5112 w 10000"/>
                <a:gd name="connsiteY220" fmla="*/ 8584 h 10000"/>
                <a:gd name="connsiteX221" fmla="*/ 4937 w 10000"/>
                <a:gd name="connsiteY221" fmla="*/ 8425 h 10000"/>
                <a:gd name="connsiteX222" fmla="*/ 5037 w 10000"/>
                <a:gd name="connsiteY222" fmla="*/ 8370 h 10000"/>
                <a:gd name="connsiteX223" fmla="*/ 5183 w 10000"/>
                <a:gd name="connsiteY223" fmla="*/ 8633 h 10000"/>
                <a:gd name="connsiteX224" fmla="*/ 5292 w 10000"/>
                <a:gd name="connsiteY224" fmla="*/ 8199 h 10000"/>
                <a:gd name="connsiteX225" fmla="*/ 5299 w 10000"/>
                <a:gd name="connsiteY225" fmla="*/ 8030 h 10000"/>
                <a:gd name="connsiteX226" fmla="*/ 5482 w 10000"/>
                <a:gd name="connsiteY226" fmla="*/ 7942 h 10000"/>
                <a:gd name="connsiteX227" fmla="*/ 5550 w 10000"/>
                <a:gd name="connsiteY227" fmla="*/ 7607 h 10000"/>
                <a:gd name="connsiteX228" fmla="*/ 5561 w 10000"/>
                <a:gd name="connsiteY228" fmla="*/ 7734 h 10000"/>
                <a:gd name="connsiteX229" fmla="*/ 5677 w 10000"/>
                <a:gd name="connsiteY229" fmla="*/ 7596 h 10000"/>
                <a:gd name="connsiteX230" fmla="*/ 5759 w 10000"/>
                <a:gd name="connsiteY230" fmla="*/ 7579 h 10000"/>
                <a:gd name="connsiteX231" fmla="*/ 5842 w 10000"/>
                <a:gd name="connsiteY231" fmla="*/ 7207 h 10000"/>
                <a:gd name="connsiteX232" fmla="*/ 5916 w 10000"/>
                <a:gd name="connsiteY232" fmla="*/ 7486 h 10000"/>
                <a:gd name="connsiteX233" fmla="*/ 6137 w 10000"/>
                <a:gd name="connsiteY233" fmla="*/ 7563 h 10000"/>
                <a:gd name="connsiteX234" fmla="*/ 5969 w 10000"/>
                <a:gd name="connsiteY234" fmla="*/ 7618 h 10000"/>
                <a:gd name="connsiteX235" fmla="*/ 5954 w 10000"/>
                <a:gd name="connsiteY235" fmla="*/ 7679 h 10000"/>
                <a:gd name="connsiteX236" fmla="*/ 5786 w 10000"/>
                <a:gd name="connsiteY236" fmla="*/ 7690 h 10000"/>
                <a:gd name="connsiteX237" fmla="*/ 5700 w 10000"/>
                <a:gd name="connsiteY237" fmla="*/ 7723 h 10000"/>
                <a:gd name="connsiteX238" fmla="*/ 5767 w 10000"/>
                <a:gd name="connsiteY238" fmla="*/ 7772 h 10000"/>
                <a:gd name="connsiteX239" fmla="*/ 5827 w 10000"/>
                <a:gd name="connsiteY239" fmla="*/ 7756 h 10000"/>
                <a:gd name="connsiteX240" fmla="*/ 5991 w 10000"/>
                <a:gd name="connsiteY240" fmla="*/ 7789 h 10000"/>
                <a:gd name="connsiteX241" fmla="*/ 5804 w 10000"/>
                <a:gd name="connsiteY241" fmla="*/ 7964 h 10000"/>
                <a:gd name="connsiteX242" fmla="*/ 5872 w 10000"/>
                <a:gd name="connsiteY242" fmla="*/ 8008 h 10000"/>
                <a:gd name="connsiteX243" fmla="*/ 6043 w 10000"/>
                <a:gd name="connsiteY243" fmla="*/ 7958 h 10000"/>
                <a:gd name="connsiteX244" fmla="*/ 6275 w 10000"/>
                <a:gd name="connsiteY244" fmla="*/ 8101 h 10000"/>
                <a:gd name="connsiteX245" fmla="*/ 6575 w 10000"/>
                <a:gd name="connsiteY245" fmla="*/ 7909 h 10000"/>
                <a:gd name="connsiteX246" fmla="*/ 6870 w 10000"/>
                <a:gd name="connsiteY246" fmla="*/ 7887 h 10000"/>
                <a:gd name="connsiteX247" fmla="*/ 6915 w 10000"/>
                <a:gd name="connsiteY247" fmla="*/ 7745 h 10000"/>
                <a:gd name="connsiteX248" fmla="*/ 6993 w 10000"/>
                <a:gd name="connsiteY248" fmla="*/ 7958 h 10000"/>
                <a:gd name="connsiteX249" fmla="*/ 7075 w 10000"/>
                <a:gd name="connsiteY249" fmla="*/ 7986 h 10000"/>
                <a:gd name="connsiteX250" fmla="*/ 7045 w 10000"/>
                <a:gd name="connsiteY250" fmla="*/ 8134 h 10000"/>
                <a:gd name="connsiteX251" fmla="*/ 6788 w 10000"/>
                <a:gd name="connsiteY251" fmla="*/ 8281 h 10000"/>
                <a:gd name="connsiteX252" fmla="*/ 6769 w 10000"/>
                <a:gd name="connsiteY252" fmla="*/ 8386 h 10000"/>
                <a:gd name="connsiteX253" fmla="*/ 6627 w 10000"/>
                <a:gd name="connsiteY253" fmla="*/ 8523 h 10000"/>
                <a:gd name="connsiteX254" fmla="*/ 6623 w 10000"/>
                <a:gd name="connsiteY254" fmla="*/ 8649 h 10000"/>
                <a:gd name="connsiteX255" fmla="*/ 6537 w 10000"/>
                <a:gd name="connsiteY255" fmla="*/ 8704 h 10000"/>
                <a:gd name="connsiteX256" fmla="*/ 6428 w 10000"/>
                <a:gd name="connsiteY256" fmla="*/ 8989 h 10000"/>
                <a:gd name="connsiteX257" fmla="*/ 6582 w 10000"/>
                <a:gd name="connsiteY257" fmla="*/ 9001 h 10000"/>
                <a:gd name="connsiteX258" fmla="*/ 6672 w 10000"/>
                <a:gd name="connsiteY258" fmla="*/ 8879 h 10000"/>
                <a:gd name="connsiteX259" fmla="*/ 6769 w 10000"/>
                <a:gd name="connsiteY259" fmla="*/ 8912 h 10000"/>
                <a:gd name="connsiteX260" fmla="*/ 6814 w 10000"/>
                <a:gd name="connsiteY260" fmla="*/ 8786 h 10000"/>
                <a:gd name="connsiteX261" fmla="*/ 6877 w 10000"/>
                <a:gd name="connsiteY261" fmla="*/ 9001 h 10000"/>
                <a:gd name="connsiteX262" fmla="*/ 7060 w 10000"/>
                <a:gd name="connsiteY262" fmla="*/ 8994 h 10000"/>
                <a:gd name="connsiteX263" fmla="*/ 7217 w 10000"/>
                <a:gd name="connsiteY263" fmla="*/ 9362 h 10000"/>
                <a:gd name="connsiteX264" fmla="*/ 7232 w 10000"/>
                <a:gd name="connsiteY264" fmla="*/ 9675 h 10000"/>
                <a:gd name="connsiteX265" fmla="*/ 7176 w 10000"/>
                <a:gd name="connsiteY265" fmla="*/ 9692 h 10000"/>
                <a:gd name="connsiteX266" fmla="*/ 7187 w 10000"/>
                <a:gd name="connsiteY266" fmla="*/ 9780 h 10000"/>
                <a:gd name="connsiteX267" fmla="*/ 7423 w 10000"/>
                <a:gd name="connsiteY267" fmla="*/ 9900 h 10000"/>
                <a:gd name="connsiteX268" fmla="*/ 7741 w 10000"/>
                <a:gd name="connsiteY268" fmla="*/ 9565 h 10000"/>
                <a:gd name="connsiteX269" fmla="*/ 7879 w 10000"/>
                <a:gd name="connsiteY269" fmla="*/ 9176 h 10000"/>
                <a:gd name="connsiteX270" fmla="*/ 8107 w 10000"/>
                <a:gd name="connsiteY270" fmla="*/ 9023 h 10000"/>
                <a:gd name="connsiteX271" fmla="*/ 8182 w 10000"/>
                <a:gd name="connsiteY271" fmla="*/ 8841 h 10000"/>
                <a:gd name="connsiteX272" fmla="*/ 8268 w 10000"/>
                <a:gd name="connsiteY272" fmla="*/ 8786 h 10000"/>
                <a:gd name="connsiteX273" fmla="*/ 8320 w 10000"/>
                <a:gd name="connsiteY273" fmla="*/ 8512 h 10000"/>
                <a:gd name="connsiteX274" fmla="*/ 8542 w 10000"/>
                <a:gd name="connsiteY274" fmla="*/ 8617 h 10000"/>
                <a:gd name="connsiteX275" fmla="*/ 8672 w 10000"/>
                <a:gd name="connsiteY275" fmla="*/ 8474 h 10000"/>
                <a:gd name="connsiteX276" fmla="*/ 8855 w 10000"/>
                <a:gd name="connsiteY276" fmla="*/ 8343 h 10000"/>
                <a:gd name="connsiteX277" fmla="*/ 8781 w 10000"/>
                <a:gd name="connsiteY277" fmla="*/ 8128 h 10000"/>
                <a:gd name="connsiteX278" fmla="*/ 7708 w 10000"/>
                <a:gd name="connsiteY278" fmla="*/ 7991 h 10000"/>
                <a:gd name="connsiteX279" fmla="*/ 7682 w 10000"/>
                <a:gd name="connsiteY279" fmla="*/ 7904 h 10000"/>
                <a:gd name="connsiteX280" fmla="*/ 7607 w 10000"/>
                <a:gd name="connsiteY280" fmla="*/ 8002 h 10000"/>
                <a:gd name="connsiteX281" fmla="*/ 7715 w 10000"/>
                <a:gd name="connsiteY281" fmla="*/ 7761 h 10000"/>
                <a:gd name="connsiteX282" fmla="*/ 7674 w 10000"/>
                <a:gd name="connsiteY282" fmla="*/ 7717 h 10000"/>
                <a:gd name="connsiteX283" fmla="*/ 7554 w 10000"/>
                <a:gd name="connsiteY283" fmla="*/ 7915 h 10000"/>
                <a:gd name="connsiteX284" fmla="*/ 7618 w 10000"/>
                <a:gd name="connsiteY284" fmla="*/ 7712 h 10000"/>
                <a:gd name="connsiteX285" fmla="*/ 7532 w 10000"/>
                <a:gd name="connsiteY285" fmla="*/ 7767 h 10000"/>
                <a:gd name="connsiteX286" fmla="*/ 7419 w 10000"/>
                <a:gd name="connsiteY286" fmla="*/ 7717 h 10000"/>
                <a:gd name="connsiteX287" fmla="*/ 7333 w 10000"/>
                <a:gd name="connsiteY287" fmla="*/ 7794 h 10000"/>
                <a:gd name="connsiteX288" fmla="*/ 7240 w 10000"/>
                <a:gd name="connsiteY288" fmla="*/ 7728 h 10000"/>
                <a:gd name="connsiteX289" fmla="*/ 7087 w 10000"/>
                <a:gd name="connsiteY289" fmla="*/ 7717 h 10000"/>
                <a:gd name="connsiteX290" fmla="*/ 7090 w 10000"/>
                <a:gd name="connsiteY290" fmla="*/ 7547 h 10000"/>
                <a:gd name="connsiteX291" fmla="*/ 7229 w 10000"/>
                <a:gd name="connsiteY291" fmla="*/ 7662 h 10000"/>
                <a:gd name="connsiteX292" fmla="*/ 7273 w 10000"/>
                <a:gd name="connsiteY292" fmla="*/ 7541 h 10000"/>
                <a:gd name="connsiteX293" fmla="*/ 7236 w 10000"/>
                <a:gd name="connsiteY293" fmla="*/ 7410 h 10000"/>
                <a:gd name="connsiteX294" fmla="*/ 7341 w 10000"/>
                <a:gd name="connsiteY294" fmla="*/ 7547 h 10000"/>
                <a:gd name="connsiteX295" fmla="*/ 7483 w 10000"/>
                <a:gd name="connsiteY295" fmla="*/ 7536 h 10000"/>
                <a:gd name="connsiteX296" fmla="*/ 7506 w 10000"/>
                <a:gd name="connsiteY296" fmla="*/ 7685 h 10000"/>
                <a:gd name="connsiteX297" fmla="*/ 7547 w 10000"/>
                <a:gd name="connsiteY297" fmla="*/ 7685 h 10000"/>
                <a:gd name="connsiteX298" fmla="*/ 7558 w 10000"/>
                <a:gd name="connsiteY298" fmla="*/ 7415 h 10000"/>
                <a:gd name="connsiteX299" fmla="*/ 7607 w 10000"/>
                <a:gd name="connsiteY299" fmla="*/ 7585 h 10000"/>
                <a:gd name="connsiteX300" fmla="*/ 7693 w 10000"/>
                <a:gd name="connsiteY300" fmla="*/ 7590 h 10000"/>
                <a:gd name="connsiteX301" fmla="*/ 7629 w 10000"/>
                <a:gd name="connsiteY301" fmla="*/ 7333 h 10000"/>
                <a:gd name="connsiteX302" fmla="*/ 7786 w 10000"/>
                <a:gd name="connsiteY302" fmla="*/ 7240 h 10000"/>
                <a:gd name="connsiteX303" fmla="*/ 7779 w 10000"/>
                <a:gd name="connsiteY303" fmla="*/ 6987 h 10000"/>
                <a:gd name="connsiteX304" fmla="*/ 7887 w 10000"/>
                <a:gd name="connsiteY304" fmla="*/ 7081 h 10000"/>
                <a:gd name="connsiteX305" fmla="*/ 7906 w 10000"/>
                <a:gd name="connsiteY305" fmla="*/ 7015 h 10000"/>
                <a:gd name="connsiteX306" fmla="*/ 7775 w 10000"/>
                <a:gd name="connsiteY306" fmla="*/ 6735 h 10000"/>
                <a:gd name="connsiteX307" fmla="*/ 7950 w 10000"/>
                <a:gd name="connsiteY307" fmla="*/ 6894 h 10000"/>
                <a:gd name="connsiteX308" fmla="*/ 8171 w 10000"/>
                <a:gd name="connsiteY308" fmla="*/ 6511 h 10000"/>
                <a:gd name="connsiteX309" fmla="*/ 8384 w 10000"/>
                <a:gd name="connsiteY309" fmla="*/ 6483 h 10000"/>
                <a:gd name="connsiteX310" fmla="*/ 8429 w 10000"/>
                <a:gd name="connsiteY31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7569 w 10000"/>
                <a:gd name="connsiteY40" fmla="*/ 1873 h 10000"/>
                <a:gd name="connsiteX41" fmla="*/ 7165 w 10000"/>
                <a:gd name="connsiteY41" fmla="*/ 1996 h 10000"/>
                <a:gd name="connsiteX42" fmla="*/ 6892 w 10000"/>
                <a:gd name="connsiteY42" fmla="*/ 1827 h 10000"/>
                <a:gd name="connsiteX43" fmla="*/ 6922 w 10000"/>
                <a:gd name="connsiteY43" fmla="*/ 1728 h 10000"/>
                <a:gd name="connsiteX44" fmla="*/ 6765 w 10000"/>
                <a:gd name="connsiteY44" fmla="*/ 1398 h 10000"/>
                <a:gd name="connsiteX45" fmla="*/ 6799 w 10000"/>
                <a:gd name="connsiteY45" fmla="*/ 1256 h 10000"/>
                <a:gd name="connsiteX46" fmla="*/ 6728 w 10000"/>
                <a:gd name="connsiteY46" fmla="*/ 1229 h 10000"/>
                <a:gd name="connsiteX47" fmla="*/ 6657 w 10000"/>
                <a:gd name="connsiteY47" fmla="*/ 1311 h 10000"/>
                <a:gd name="connsiteX48" fmla="*/ 6593 w 10000"/>
                <a:gd name="connsiteY48" fmla="*/ 1114 h 10000"/>
                <a:gd name="connsiteX49" fmla="*/ 6391 w 10000"/>
                <a:gd name="connsiteY49" fmla="*/ 1311 h 10000"/>
                <a:gd name="connsiteX50" fmla="*/ 6309 w 10000"/>
                <a:gd name="connsiteY50" fmla="*/ 1223 h 10000"/>
                <a:gd name="connsiteX51" fmla="*/ 6126 w 10000"/>
                <a:gd name="connsiteY51" fmla="*/ 1273 h 10000"/>
                <a:gd name="connsiteX52" fmla="*/ 6144 w 10000"/>
                <a:gd name="connsiteY52" fmla="*/ 1125 h 10000"/>
                <a:gd name="connsiteX53" fmla="*/ 6073 w 10000"/>
                <a:gd name="connsiteY53" fmla="*/ 1119 h 10000"/>
                <a:gd name="connsiteX54" fmla="*/ 6040 w 10000"/>
                <a:gd name="connsiteY54" fmla="*/ 910 h 10000"/>
                <a:gd name="connsiteX55" fmla="*/ 5942 w 10000"/>
                <a:gd name="connsiteY55" fmla="*/ 795 h 10000"/>
                <a:gd name="connsiteX56" fmla="*/ 6144 w 10000"/>
                <a:gd name="connsiteY56" fmla="*/ 620 h 10000"/>
                <a:gd name="connsiteX57" fmla="*/ 5901 w 10000"/>
                <a:gd name="connsiteY57" fmla="*/ 395 h 10000"/>
                <a:gd name="connsiteX58" fmla="*/ 5853 w 10000"/>
                <a:gd name="connsiteY58" fmla="*/ 142 h 10000"/>
                <a:gd name="connsiteX59" fmla="*/ 5741 w 10000"/>
                <a:gd name="connsiteY59" fmla="*/ 110 h 10000"/>
                <a:gd name="connsiteX60" fmla="*/ 5647 w 10000"/>
                <a:gd name="connsiteY60" fmla="*/ 0 h 10000"/>
                <a:gd name="connsiteX61" fmla="*/ 5547 w 10000"/>
                <a:gd name="connsiteY61" fmla="*/ 120 h 10000"/>
                <a:gd name="connsiteX62" fmla="*/ 5377 w 10000"/>
                <a:gd name="connsiteY62" fmla="*/ 110 h 10000"/>
                <a:gd name="connsiteX63" fmla="*/ 5232 w 10000"/>
                <a:gd name="connsiteY63" fmla="*/ 351 h 10000"/>
                <a:gd name="connsiteX64" fmla="*/ 4952 w 10000"/>
                <a:gd name="connsiteY64" fmla="*/ 329 h 10000"/>
                <a:gd name="connsiteX65" fmla="*/ 4884 w 10000"/>
                <a:gd name="connsiteY65" fmla="*/ 680 h 10000"/>
                <a:gd name="connsiteX66" fmla="*/ 4701 w 10000"/>
                <a:gd name="connsiteY66" fmla="*/ 707 h 10000"/>
                <a:gd name="connsiteX67" fmla="*/ 4795 w 10000"/>
                <a:gd name="connsiteY67" fmla="*/ 844 h 10000"/>
                <a:gd name="connsiteX68" fmla="*/ 4739 w 10000"/>
                <a:gd name="connsiteY68" fmla="*/ 899 h 10000"/>
                <a:gd name="connsiteX69" fmla="*/ 4612 w 10000"/>
                <a:gd name="connsiteY69" fmla="*/ 894 h 10000"/>
                <a:gd name="connsiteX70" fmla="*/ 4439 w 10000"/>
                <a:gd name="connsiteY70" fmla="*/ 1026 h 10000"/>
                <a:gd name="connsiteX71" fmla="*/ 4252 w 10000"/>
                <a:gd name="connsiteY71" fmla="*/ 1668 h 10000"/>
                <a:gd name="connsiteX72" fmla="*/ 4308 w 10000"/>
                <a:gd name="connsiteY72" fmla="*/ 2090 h 10000"/>
                <a:gd name="connsiteX73" fmla="*/ 4121 w 10000"/>
                <a:gd name="connsiteY73" fmla="*/ 1865 h 10000"/>
                <a:gd name="connsiteX74" fmla="*/ 3849 w 10000"/>
                <a:gd name="connsiteY74" fmla="*/ 1991 h 10000"/>
                <a:gd name="connsiteX75" fmla="*/ 3822 w 10000"/>
                <a:gd name="connsiteY75" fmla="*/ 1931 h 10000"/>
                <a:gd name="connsiteX76" fmla="*/ 3695 w 10000"/>
                <a:gd name="connsiteY76" fmla="*/ 2002 h 10000"/>
                <a:gd name="connsiteX77" fmla="*/ 3621 w 10000"/>
                <a:gd name="connsiteY77" fmla="*/ 2144 h 10000"/>
                <a:gd name="connsiteX78" fmla="*/ 3561 w 10000"/>
                <a:gd name="connsiteY78" fmla="*/ 1909 h 10000"/>
                <a:gd name="connsiteX79" fmla="*/ 3478 w 10000"/>
                <a:gd name="connsiteY79" fmla="*/ 1843 h 10000"/>
                <a:gd name="connsiteX80" fmla="*/ 3444 w 10000"/>
                <a:gd name="connsiteY80" fmla="*/ 1964 h 10000"/>
                <a:gd name="connsiteX81" fmla="*/ 3332 w 10000"/>
                <a:gd name="connsiteY81" fmla="*/ 1996 h 10000"/>
                <a:gd name="connsiteX82" fmla="*/ 3272 w 10000"/>
                <a:gd name="connsiteY82" fmla="*/ 2161 h 10000"/>
                <a:gd name="connsiteX83" fmla="*/ 3235 w 10000"/>
                <a:gd name="connsiteY83" fmla="*/ 2013 h 10000"/>
                <a:gd name="connsiteX84" fmla="*/ 3123 w 10000"/>
                <a:gd name="connsiteY84" fmla="*/ 2024 h 10000"/>
                <a:gd name="connsiteX85" fmla="*/ 3078 w 10000"/>
                <a:gd name="connsiteY85" fmla="*/ 2128 h 10000"/>
                <a:gd name="connsiteX86" fmla="*/ 3011 w 10000"/>
                <a:gd name="connsiteY86" fmla="*/ 1975 h 10000"/>
                <a:gd name="connsiteX87" fmla="*/ 2895 w 10000"/>
                <a:gd name="connsiteY87" fmla="*/ 2117 h 10000"/>
                <a:gd name="connsiteX88" fmla="*/ 2783 w 10000"/>
                <a:gd name="connsiteY88" fmla="*/ 2106 h 10000"/>
                <a:gd name="connsiteX89" fmla="*/ 2779 w 10000"/>
                <a:gd name="connsiteY89" fmla="*/ 2276 h 10000"/>
                <a:gd name="connsiteX90" fmla="*/ 2727 w 10000"/>
                <a:gd name="connsiteY90" fmla="*/ 2144 h 10000"/>
                <a:gd name="connsiteX91" fmla="*/ 2559 w 10000"/>
                <a:gd name="connsiteY91" fmla="*/ 2155 h 10000"/>
                <a:gd name="connsiteX92" fmla="*/ 2438 w 10000"/>
                <a:gd name="connsiteY92" fmla="*/ 1980 h 10000"/>
                <a:gd name="connsiteX93" fmla="*/ 2293 w 10000"/>
                <a:gd name="connsiteY93" fmla="*/ 2073 h 10000"/>
                <a:gd name="connsiteX94" fmla="*/ 2143 w 10000"/>
                <a:gd name="connsiteY94" fmla="*/ 1958 h 10000"/>
                <a:gd name="connsiteX95" fmla="*/ 2057 w 10000"/>
                <a:gd name="connsiteY95" fmla="*/ 2035 h 10000"/>
                <a:gd name="connsiteX96" fmla="*/ 1975 w 10000"/>
                <a:gd name="connsiteY96" fmla="*/ 1947 h 10000"/>
                <a:gd name="connsiteX97" fmla="*/ 1852 w 10000"/>
                <a:gd name="connsiteY97" fmla="*/ 1936 h 10000"/>
                <a:gd name="connsiteX98" fmla="*/ 1669 w 10000"/>
                <a:gd name="connsiteY98" fmla="*/ 1925 h 10000"/>
                <a:gd name="connsiteX99" fmla="*/ 1444 w 10000"/>
                <a:gd name="connsiteY99" fmla="*/ 1991 h 10000"/>
                <a:gd name="connsiteX100" fmla="*/ 1205 w 10000"/>
                <a:gd name="connsiteY100" fmla="*/ 2062 h 10000"/>
                <a:gd name="connsiteX101" fmla="*/ 921 w 10000"/>
                <a:gd name="connsiteY101" fmla="*/ 2166 h 10000"/>
                <a:gd name="connsiteX102" fmla="*/ 797 w 10000"/>
                <a:gd name="connsiteY102" fmla="*/ 2496 h 10000"/>
                <a:gd name="connsiteX103" fmla="*/ 603 w 10000"/>
                <a:gd name="connsiteY103" fmla="*/ 2501 h 10000"/>
                <a:gd name="connsiteX104" fmla="*/ 540 w 10000"/>
                <a:gd name="connsiteY104" fmla="*/ 2687 h 10000"/>
                <a:gd name="connsiteX105" fmla="*/ 558 w 10000"/>
                <a:gd name="connsiteY105" fmla="*/ 2764 h 10000"/>
                <a:gd name="connsiteX106" fmla="*/ 577 w 10000"/>
                <a:gd name="connsiteY106" fmla="*/ 2868 h 10000"/>
                <a:gd name="connsiteX107" fmla="*/ 577 w 10000"/>
                <a:gd name="connsiteY107" fmla="*/ 2868 h 10000"/>
                <a:gd name="connsiteX108" fmla="*/ 577 w 10000"/>
                <a:gd name="connsiteY108" fmla="*/ 2896 h 10000"/>
                <a:gd name="connsiteX109" fmla="*/ 682 w 10000"/>
                <a:gd name="connsiteY109" fmla="*/ 3116 h 10000"/>
                <a:gd name="connsiteX110" fmla="*/ 786 w 10000"/>
                <a:gd name="connsiteY110" fmla="*/ 3351 h 10000"/>
                <a:gd name="connsiteX111" fmla="*/ 921 w 10000"/>
                <a:gd name="connsiteY111" fmla="*/ 3488 h 10000"/>
                <a:gd name="connsiteX112" fmla="*/ 876 w 10000"/>
                <a:gd name="connsiteY112" fmla="*/ 3548 h 10000"/>
                <a:gd name="connsiteX113" fmla="*/ 805 w 10000"/>
                <a:gd name="connsiteY113" fmla="*/ 3603 h 10000"/>
                <a:gd name="connsiteX114" fmla="*/ 887 w 10000"/>
                <a:gd name="connsiteY114" fmla="*/ 3697 h 10000"/>
                <a:gd name="connsiteX115" fmla="*/ 876 w 10000"/>
                <a:gd name="connsiteY115" fmla="*/ 4053 h 10000"/>
                <a:gd name="connsiteX116" fmla="*/ 693 w 10000"/>
                <a:gd name="connsiteY116" fmla="*/ 4124 h 10000"/>
                <a:gd name="connsiteX117" fmla="*/ 498 w 10000"/>
                <a:gd name="connsiteY117" fmla="*/ 4531 h 10000"/>
                <a:gd name="connsiteX118" fmla="*/ 371 w 10000"/>
                <a:gd name="connsiteY118" fmla="*/ 4936 h 10000"/>
                <a:gd name="connsiteX119" fmla="*/ 195 w 10000"/>
                <a:gd name="connsiteY119" fmla="*/ 5260 h 10000"/>
                <a:gd name="connsiteX120" fmla="*/ 270 w 10000"/>
                <a:gd name="connsiteY120" fmla="*/ 5517 h 10000"/>
                <a:gd name="connsiteX121" fmla="*/ 277 w 10000"/>
                <a:gd name="connsiteY121" fmla="*/ 5732 h 10000"/>
                <a:gd name="connsiteX122" fmla="*/ 400 w 10000"/>
                <a:gd name="connsiteY122" fmla="*/ 5841 h 10000"/>
                <a:gd name="connsiteX123" fmla="*/ 382 w 10000"/>
                <a:gd name="connsiteY123" fmla="*/ 5945 h 10000"/>
                <a:gd name="connsiteX124" fmla="*/ 202 w 10000"/>
                <a:gd name="connsiteY124" fmla="*/ 5852 h 10000"/>
                <a:gd name="connsiteX125" fmla="*/ 124 w 10000"/>
                <a:gd name="connsiteY125" fmla="*/ 6099 h 10000"/>
                <a:gd name="connsiteX126" fmla="*/ 105 w 10000"/>
                <a:gd name="connsiteY126" fmla="*/ 6346 h 10000"/>
                <a:gd name="connsiteX127" fmla="*/ 1 w 10000"/>
                <a:gd name="connsiteY127" fmla="*/ 6571 h 10000"/>
                <a:gd name="connsiteX128" fmla="*/ 19 w 10000"/>
                <a:gd name="connsiteY128" fmla="*/ 6779 h 10000"/>
                <a:gd name="connsiteX129" fmla="*/ 90 w 10000"/>
                <a:gd name="connsiteY129" fmla="*/ 6828 h 10000"/>
                <a:gd name="connsiteX130" fmla="*/ 154 w 10000"/>
                <a:gd name="connsiteY130" fmla="*/ 6960 h 10000"/>
                <a:gd name="connsiteX131" fmla="*/ 240 w 10000"/>
                <a:gd name="connsiteY131" fmla="*/ 6943 h 10000"/>
                <a:gd name="connsiteX132" fmla="*/ 292 w 10000"/>
                <a:gd name="connsiteY132" fmla="*/ 7076 h 10000"/>
                <a:gd name="connsiteX133" fmla="*/ 445 w 10000"/>
                <a:gd name="connsiteY133" fmla="*/ 7103 h 10000"/>
                <a:gd name="connsiteX134" fmla="*/ 453 w 10000"/>
                <a:gd name="connsiteY134" fmla="*/ 7251 h 10000"/>
                <a:gd name="connsiteX135" fmla="*/ 494 w 10000"/>
                <a:gd name="connsiteY135" fmla="*/ 7278 h 10000"/>
                <a:gd name="connsiteX136" fmla="*/ 525 w 10000"/>
                <a:gd name="connsiteY136" fmla="*/ 7174 h 10000"/>
                <a:gd name="connsiteX137" fmla="*/ 581 w 10000"/>
                <a:gd name="connsiteY137" fmla="*/ 7196 h 10000"/>
                <a:gd name="connsiteX138" fmla="*/ 644 w 10000"/>
                <a:gd name="connsiteY138" fmla="*/ 6992 h 10000"/>
                <a:gd name="connsiteX139" fmla="*/ 820 w 10000"/>
                <a:gd name="connsiteY139" fmla="*/ 7174 h 10000"/>
                <a:gd name="connsiteX140" fmla="*/ 1283 w 10000"/>
                <a:gd name="connsiteY140" fmla="*/ 7163 h 10000"/>
                <a:gd name="connsiteX141" fmla="*/ 1466 w 10000"/>
                <a:gd name="connsiteY141" fmla="*/ 7092 h 10000"/>
                <a:gd name="connsiteX142" fmla="*/ 1766 w 10000"/>
                <a:gd name="connsiteY142" fmla="*/ 7344 h 10000"/>
                <a:gd name="connsiteX143" fmla="*/ 1956 w 10000"/>
                <a:gd name="connsiteY143" fmla="*/ 7087 h 10000"/>
                <a:gd name="connsiteX144" fmla="*/ 2382 w 10000"/>
                <a:gd name="connsiteY144" fmla="*/ 6861 h 10000"/>
                <a:gd name="connsiteX145" fmla="*/ 2536 w 10000"/>
                <a:gd name="connsiteY145" fmla="*/ 6489 h 10000"/>
                <a:gd name="connsiteX146" fmla="*/ 2648 w 10000"/>
                <a:gd name="connsiteY146" fmla="*/ 6439 h 10000"/>
                <a:gd name="connsiteX147" fmla="*/ 2648 w 10000"/>
                <a:gd name="connsiteY147" fmla="*/ 6379 h 10000"/>
                <a:gd name="connsiteX148" fmla="*/ 2693 w 10000"/>
                <a:gd name="connsiteY148" fmla="*/ 6379 h 10000"/>
                <a:gd name="connsiteX149" fmla="*/ 2682 w 10000"/>
                <a:gd name="connsiteY149" fmla="*/ 6230 h 10000"/>
                <a:gd name="connsiteX150" fmla="*/ 2820 w 10000"/>
                <a:gd name="connsiteY150" fmla="*/ 6285 h 10000"/>
                <a:gd name="connsiteX151" fmla="*/ 2839 w 10000"/>
                <a:gd name="connsiteY151" fmla="*/ 6159 h 10000"/>
                <a:gd name="connsiteX152" fmla="*/ 2921 w 10000"/>
                <a:gd name="connsiteY152" fmla="*/ 6230 h 10000"/>
                <a:gd name="connsiteX153" fmla="*/ 2981 w 10000"/>
                <a:gd name="connsiteY153" fmla="*/ 6126 h 10000"/>
                <a:gd name="connsiteX154" fmla="*/ 3078 w 10000"/>
                <a:gd name="connsiteY154" fmla="*/ 6154 h 10000"/>
                <a:gd name="connsiteX155" fmla="*/ 3164 w 10000"/>
                <a:gd name="connsiteY155" fmla="*/ 6055 h 10000"/>
                <a:gd name="connsiteX156" fmla="*/ 3328 w 10000"/>
                <a:gd name="connsiteY156" fmla="*/ 6192 h 10000"/>
                <a:gd name="connsiteX157" fmla="*/ 3411 w 10000"/>
                <a:gd name="connsiteY157" fmla="*/ 6197 h 10000"/>
                <a:gd name="connsiteX158" fmla="*/ 3437 w 10000"/>
                <a:gd name="connsiteY158" fmla="*/ 6307 h 10000"/>
                <a:gd name="connsiteX159" fmla="*/ 3591 w 10000"/>
                <a:gd name="connsiteY159" fmla="*/ 6236 h 10000"/>
                <a:gd name="connsiteX160" fmla="*/ 3576 w 10000"/>
                <a:gd name="connsiteY160" fmla="*/ 6357 h 10000"/>
                <a:gd name="connsiteX161" fmla="*/ 3632 w 10000"/>
                <a:gd name="connsiteY161" fmla="*/ 6341 h 10000"/>
                <a:gd name="connsiteX162" fmla="*/ 3699 w 10000"/>
                <a:gd name="connsiteY162" fmla="*/ 6428 h 10000"/>
                <a:gd name="connsiteX163" fmla="*/ 3703 w 10000"/>
                <a:gd name="connsiteY163" fmla="*/ 6301 h 10000"/>
                <a:gd name="connsiteX164" fmla="*/ 3882 w 10000"/>
                <a:gd name="connsiteY164" fmla="*/ 6341 h 10000"/>
                <a:gd name="connsiteX165" fmla="*/ 3946 w 10000"/>
                <a:gd name="connsiteY165" fmla="*/ 6511 h 10000"/>
                <a:gd name="connsiteX166" fmla="*/ 4047 w 10000"/>
                <a:gd name="connsiteY166" fmla="*/ 6494 h 10000"/>
                <a:gd name="connsiteX167" fmla="*/ 4091 w 10000"/>
                <a:gd name="connsiteY167" fmla="*/ 6417 h 10000"/>
                <a:gd name="connsiteX168" fmla="*/ 4192 w 10000"/>
                <a:gd name="connsiteY168" fmla="*/ 6735 h 10000"/>
                <a:gd name="connsiteX169" fmla="*/ 4155 w 10000"/>
                <a:gd name="connsiteY169" fmla="*/ 6987 h 10000"/>
                <a:gd name="connsiteX170" fmla="*/ 4207 w 10000"/>
                <a:gd name="connsiteY170" fmla="*/ 7114 h 10000"/>
                <a:gd name="connsiteX171" fmla="*/ 4278 w 10000"/>
                <a:gd name="connsiteY171" fmla="*/ 7119 h 10000"/>
                <a:gd name="connsiteX172" fmla="*/ 4387 w 10000"/>
                <a:gd name="connsiteY172" fmla="*/ 7256 h 10000"/>
                <a:gd name="connsiteX173" fmla="*/ 4431 w 10000"/>
                <a:gd name="connsiteY173" fmla="*/ 7152 h 10000"/>
                <a:gd name="connsiteX174" fmla="*/ 4480 w 10000"/>
                <a:gd name="connsiteY174" fmla="*/ 7322 h 10000"/>
                <a:gd name="connsiteX175" fmla="*/ 4541 w 10000"/>
                <a:gd name="connsiteY175" fmla="*/ 7662 h 10000"/>
                <a:gd name="connsiteX176" fmla="*/ 4720 w 10000"/>
                <a:gd name="connsiteY176" fmla="*/ 7739 h 10000"/>
                <a:gd name="connsiteX177" fmla="*/ 4761 w 10000"/>
                <a:gd name="connsiteY177" fmla="*/ 8183 h 10000"/>
                <a:gd name="connsiteX178" fmla="*/ 4914 w 10000"/>
                <a:gd name="connsiteY178" fmla="*/ 8276 h 10000"/>
                <a:gd name="connsiteX179" fmla="*/ 4757 w 10000"/>
                <a:gd name="connsiteY179" fmla="*/ 8370 h 10000"/>
                <a:gd name="connsiteX180" fmla="*/ 4705 w 10000"/>
                <a:gd name="connsiteY180" fmla="*/ 8260 h 10000"/>
                <a:gd name="connsiteX181" fmla="*/ 4645 w 10000"/>
                <a:gd name="connsiteY181" fmla="*/ 8403 h 10000"/>
                <a:gd name="connsiteX182" fmla="*/ 4491 w 10000"/>
                <a:gd name="connsiteY182" fmla="*/ 8287 h 10000"/>
                <a:gd name="connsiteX183" fmla="*/ 4405 w 10000"/>
                <a:gd name="connsiteY183" fmla="*/ 8452 h 10000"/>
                <a:gd name="connsiteX184" fmla="*/ 4226 w 10000"/>
                <a:gd name="connsiteY184" fmla="*/ 8331 h 10000"/>
                <a:gd name="connsiteX185" fmla="*/ 4312 w 10000"/>
                <a:gd name="connsiteY185" fmla="*/ 8699 h 10000"/>
                <a:gd name="connsiteX186" fmla="*/ 4304 w 10000"/>
                <a:gd name="connsiteY186" fmla="*/ 8967 h 10000"/>
                <a:gd name="connsiteX187" fmla="*/ 4189 w 10000"/>
                <a:gd name="connsiteY187" fmla="*/ 9088 h 10000"/>
                <a:gd name="connsiteX188" fmla="*/ 4226 w 10000"/>
                <a:gd name="connsiteY188" fmla="*/ 9193 h 10000"/>
                <a:gd name="connsiteX189" fmla="*/ 4065 w 10000"/>
                <a:gd name="connsiteY189" fmla="*/ 9412 h 10000"/>
                <a:gd name="connsiteX190" fmla="*/ 4129 w 10000"/>
                <a:gd name="connsiteY190" fmla="*/ 9647 h 10000"/>
                <a:gd name="connsiteX191" fmla="*/ 3972 w 10000"/>
                <a:gd name="connsiteY191" fmla="*/ 9681 h 10000"/>
                <a:gd name="connsiteX192" fmla="*/ 3931 w 10000"/>
                <a:gd name="connsiteY192" fmla="*/ 9741 h 10000"/>
                <a:gd name="connsiteX193" fmla="*/ 3998 w 10000"/>
                <a:gd name="connsiteY193" fmla="*/ 9785 h 10000"/>
                <a:gd name="connsiteX194" fmla="*/ 4118 w 10000"/>
                <a:gd name="connsiteY194" fmla="*/ 9944 h 10000"/>
                <a:gd name="connsiteX195" fmla="*/ 4312 w 10000"/>
                <a:gd name="connsiteY195" fmla="*/ 9999 h 10000"/>
                <a:gd name="connsiteX196" fmla="*/ 4319 w 10000"/>
                <a:gd name="connsiteY196" fmla="*/ 9851 h 10000"/>
                <a:gd name="connsiteX197" fmla="*/ 4387 w 10000"/>
                <a:gd name="connsiteY197" fmla="*/ 9856 h 10000"/>
                <a:gd name="connsiteX198" fmla="*/ 4675 w 10000"/>
                <a:gd name="connsiteY198" fmla="*/ 9603 h 10000"/>
                <a:gd name="connsiteX199" fmla="*/ 4866 w 10000"/>
                <a:gd name="connsiteY199" fmla="*/ 9845 h 10000"/>
                <a:gd name="connsiteX200" fmla="*/ 4866 w 10000"/>
                <a:gd name="connsiteY200" fmla="*/ 9862 h 10000"/>
                <a:gd name="connsiteX201" fmla="*/ 4896 w 10000"/>
                <a:gd name="connsiteY201" fmla="*/ 9703 h 10000"/>
                <a:gd name="connsiteX202" fmla="*/ 4843 w 10000"/>
                <a:gd name="connsiteY202" fmla="*/ 9570 h 10000"/>
                <a:gd name="connsiteX203" fmla="*/ 4776 w 10000"/>
                <a:gd name="connsiteY203" fmla="*/ 9549 h 10000"/>
                <a:gd name="connsiteX204" fmla="*/ 4821 w 10000"/>
                <a:gd name="connsiteY204" fmla="*/ 9466 h 10000"/>
                <a:gd name="connsiteX205" fmla="*/ 4806 w 10000"/>
                <a:gd name="connsiteY205" fmla="*/ 9444 h 10000"/>
                <a:gd name="connsiteX206" fmla="*/ 4750 w 10000"/>
                <a:gd name="connsiteY206" fmla="*/ 9439 h 10000"/>
                <a:gd name="connsiteX207" fmla="*/ 4720 w 10000"/>
                <a:gd name="connsiteY207" fmla="*/ 9121 h 10000"/>
                <a:gd name="connsiteX208" fmla="*/ 4761 w 10000"/>
                <a:gd name="connsiteY208" fmla="*/ 9105 h 10000"/>
                <a:gd name="connsiteX209" fmla="*/ 4783 w 10000"/>
                <a:gd name="connsiteY209" fmla="*/ 9253 h 10000"/>
                <a:gd name="connsiteX210" fmla="*/ 4836 w 10000"/>
                <a:gd name="connsiteY210" fmla="*/ 9384 h 10000"/>
                <a:gd name="connsiteX211" fmla="*/ 4881 w 10000"/>
                <a:gd name="connsiteY211" fmla="*/ 9302 h 10000"/>
                <a:gd name="connsiteX212" fmla="*/ 4869 w 10000"/>
                <a:gd name="connsiteY212" fmla="*/ 9220 h 10000"/>
                <a:gd name="connsiteX213" fmla="*/ 4940 w 10000"/>
                <a:gd name="connsiteY213" fmla="*/ 9203 h 10000"/>
                <a:gd name="connsiteX214" fmla="*/ 4903 w 10000"/>
                <a:gd name="connsiteY214" fmla="*/ 9034 h 10000"/>
                <a:gd name="connsiteX215" fmla="*/ 5000 w 10000"/>
                <a:gd name="connsiteY215" fmla="*/ 9061 h 10000"/>
                <a:gd name="connsiteX216" fmla="*/ 5004 w 10000"/>
                <a:gd name="connsiteY216" fmla="*/ 8972 h 10000"/>
                <a:gd name="connsiteX217" fmla="*/ 5041 w 10000"/>
                <a:gd name="connsiteY217" fmla="*/ 9039 h 10000"/>
                <a:gd name="connsiteX218" fmla="*/ 5206 w 10000"/>
                <a:gd name="connsiteY218" fmla="*/ 8781 h 10000"/>
                <a:gd name="connsiteX219" fmla="*/ 5112 w 10000"/>
                <a:gd name="connsiteY219" fmla="*/ 8584 h 10000"/>
                <a:gd name="connsiteX220" fmla="*/ 4937 w 10000"/>
                <a:gd name="connsiteY220" fmla="*/ 8425 h 10000"/>
                <a:gd name="connsiteX221" fmla="*/ 5037 w 10000"/>
                <a:gd name="connsiteY221" fmla="*/ 8370 h 10000"/>
                <a:gd name="connsiteX222" fmla="*/ 5183 w 10000"/>
                <a:gd name="connsiteY222" fmla="*/ 8633 h 10000"/>
                <a:gd name="connsiteX223" fmla="*/ 5292 w 10000"/>
                <a:gd name="connsiteY223" fmla="*/ 8199 h 10000"/>
                <a:gd name="connsiteX224" fmla="*/ 5299 w 10000"/>
                <a:gd name="connsiteY224" fmla="*/ 8030 h 10000"/>
                <a:gd name="connsiteX225" fmla="*/ 5482 w 10000"/>
                <a:gd name="connsiteY225" fmla="*/ 7942 h 10000"/>
                <a:gd name="connsiteX226" fmla="*/ 5550 w 10000"/>
                <a:gd name="connsiteY226" fmla="*/ 7607 h 10000"/>
                <a:gd name="connsiteX227" fmla="*/ 5561 w 10000"/>
                <a:gd name="connsiteY227" fmla="*/ 7734 h 10000"/>
                <a:gd name="connsiteX228" fmla="*/ 5677 w 10000"/>
                <a:gd name="connsiteY228" fmla="*/ 7596 h 10000"/>
                <a:gd name="connsiteX229" fmla="*/ 5759 w 10000"/>
                <a:gd name="connsiteY229" fmla="*/ 7579 h 10000"/>
                <a:gd name="connsiteX230" fmla="*/ 5842 w 10000"/>
                <a:gd name="connsiteY230" fmla="*/ 7207 h 10000"/>
                <a:gd name="connsiteX231" fmla="*/ 5916 w 10000"/>
                <a:gd name="connsiteY231" fmla="*/ 7486 h 10000"/>
                <a:gd name="connsiteX232" fmla="*/ 6137 w 10000"/>
                <a:gd name="connsiteY232" fmla="*/ 7563 h 10000"/>
                <a:gd name="connsiteX233" fmla="*/ 5969 w 10000"/>
                <a:gd name="connsiteY233" fmla="*/ 7618 h 10000"/>
                <a:gd name="connsiteX234" fmla="*/ 5954 w 10000"/>
                <a:gd name="connsiteY234" fmla="*/ 7679 h 10000"/>
                <a:gd name="connsiteX235" fmla="*/ 5786 w 10000"/>
                <a:gd name="connsiteY235" fmla="*/ 7690 h 10000"/>
                <a:gd name="connsiteX236" fmla="*/ 5700 w 10000"/>
                <a:gd name="connsiteY236" fmla="*/ 7723 h 10000"/>
                <a:gd name="connsiteX237" fmla="*/ 5767 w 10000"/>
                <a:gd name="connsiteY237" fmla="*/ 7772 h 10000"/>
                <a:gd name="connsiteX238" fmla="*/ 5827 w 10000"/>
                <a:gd name="connsiteY238" fmla="*/ 7756 h 10000"/>
                <a:gd name="connsiteX239" fmla="*/ 5991 w 10000"/>
                <a:gd name="connsiteY239" fmla="*/ 7789 h 10000"/>
                <a:gd name="connsiteX240" fmla="*/ 5804 w 10000"/>
                <a:gd name="connsiteY240" fmla="*/ 7964 h 10000"/>
                <a:gd name="connsiteX241" fmla="*/ 5872 w 10000"/>
                <a:gd name="connsiteY241" fmla="*/ 8008 h 10000"/>
                <a:gd name="connsiteX242" fmla="*/ 6043 w 10000"/>
                <a:gd name="connsiteY242" fmla="*/ 7958 h 10000"/>
                <a:gd name="connsiteX243" fmla="*/ 6275 w 10000"/>
                <a:gd name="connsiteY243" fmla="*/ 8101 h 10000"/>
                <a:gd name="connsiteX244" fmla="*/ 6575 w 10000"/>
                <a:gd name="connsiteY244" fmla="*/ 7909 h 10000"/>
                <a:gd name="connsiteX245" fmla="*/ 6870 w 10000"/>
                <a:gd name="connsiteY245" fmla="*/ 7887 h 10000"/>
                <a:gd name="connsiteX246" fmla="*/ 6915 w 10000"/>
                <a:gd name="connsiteY246" fmla="*/ 7745 h 10000"/>
                <a:gd name="connsiteX247" fmla="*/ 6993 w 10000"/>
                <a:gd name="connsiteY247" fmla="*/ 7958 h 10000"/>
                <a:gd name="connsiteX248" fmla="*/ 7075 w 10000"/>
                <a:gd name="connsiteY248" fmla="*/ 7986 h 10000"/>
                <a:gd name="connsiteX249" fmla="*/ 7045 w 10000"/>
                <a:gd name="connsiteY249" fmla="*/ 8134 h 10000"/>
                <a:gd name="connsiteX250" fmla="*/ 6788 w 10000"/>
                <a:gd name="connsiteY250" fmla="*/ 8281 h 10000"/>
                <a:gd name="connsiteX251" fmla="*/ 6769 w 10000"/>
                <a:gd name="connsiteY251" fmla="*/ 8386 h 10000"/>
                <a:gd name="connsiteX252" fmla="*/ 6627 w 10000"/>
                <a:gd name="connsiteY252" fmla="*/ 8523 h 10000"/>
                <a:gd name="connsiteX253" fmla="*/ 6623 w 10000"/>
                <a:gd name="connsiteY253" fmla="*/ 8649 h 10000"/>
                <a:gd name="connsiteX254" fmla="*/ 6537 w 10000"/>
                <a:gd name="connsiteY254" fmla="*/ 8704 h 10000"/>
                <a:gd name="connsiteX255" fmla="*/ 6428 w 10000"/>
                <a:gd name="connsiteY255" fmla="*/ 8989 h 10000"/>
                <a:gd name="connsiteX256" fmla="*/ 6582 w 10000"/>
                <a:gd name="connsiteY256" fmla="*/ 9001 h 10000"/>
                <a:gd name="connsiteX257" fmla="*/ 6672 w 10000"/>
                <a:gd name="connsiteY257" fmla="*/ 8879 h 10000"/>
                <a:gd name="connsiteX258" fmla="*/ 6769 w 10000"/>
                <a:gd name="connsiteY258" fmla="*/ 8912 h 10000"/>
                <a:gd name="connsiteX259" fmla="*/ 6814 w 10000"/>
                <a:gd name="connsiteY259" fmla="*/ 8786 h 10000"/>
                <a:gd name="connsiteX260" fmla="*/ 6877 w 10000"/>
                <a:gd name="connsiteY260" fmla="*/ 9001 h 10000"/>
                <a:gd name="connsiteX261" fmla="*/ 7060 w 10000"/>
                <a:gd name="connsiteY261" fmla="*/ 8994 h 10000"/>
                <a:gd name="connsiteX262" fmla="*/ 7217 w 10000"/>
                <a:gd name="connsiteY262" fmla="*/ 9362 h 10000"/>
                <a:gd name="connsiteX263" fmla="*/ 7232 w 10000"/>
                <a:gd name="connsiteY263" fmla="*/ 9675 h 10000"/>
                <a:gd name="connsiteX264" fmla="*/ 7176 w 10000"/>
                <a:gd name="connsiteY264" fmla="*/ 9692 h 10000"/>
                <a:gd name="connsiteX265" fmla="*/ 7187 w 10000"/>
                <a:gd name="connsiteY265" fmla="*/ 9780 h 10000"/>
                <a:gd name="connsiteX266" fmla="*/ 7423 w 10000"/>
                <a:gd name="connsiteY266" fmla="*/ 9900 h 10000"/>
                <a:gd name="connsiteX267" fmla="*/ 7741 w 10000"/>
                <a:gd name="connsiteY267" fmla="*/ 9565 h 10000"/>
                <a:gd name="connsiteX268" fmla="*/ 7879 w 10000"/>
                <a:gd name="connsiteY268" fmla="*/ 9176 h 10000"/>
                <a:gd name="connsiteX269" fmla="*/ 8107 w 10000"/>
                <a:gd name="connsiteY269" fmla="*/ 9023 h 10000"/>
                <a:gd name="connsiteX270" fmla="*/ 8182 w 10000"/>
                <a:gd name="connsiteY270" fmla="*/ 8841 h 10000"/>
                <a:gd name="connsiteX271" fmla="*/ 8268 w 10000"/>
                <a:gd name="connsiteY271" fmla="*/ 8786 h 10000"/>
                <a:gd name="connsiteX272" fmla="*/ 8320 w 10000"/>
                <a:gd name="connsiteY272" fmla="*/ 8512 h 10000"/>
                <a:gd name="connsiteX273" fmla="*/ 8542 w 10000"/>
                <a:gd name="connsiteY273" fmla="*/ 8617 h 10000"/>
                <a:gd name="connsiteX274" fmla="*/ 8672 w 10000"/>
                <a:gd name="connsiteY274" fmla="*/ 8474 h 10000"/>
                <a:gd name="connsiteX275" fmla="*/ 8855 w 10000"/>
                <a:gd name="connsiteY275" fmla="*/ 8343 h 10000"/>
                <a:gd name="connsiteX276" fmla="*/ 8781 w 10000"/>
                <a:gd name="connsiteY276" fmla="*/ 8128 h 10000"/>
                <a:gd name="connsiteX277" fmla="*/ 7708 w 10000"/>
                <a:gd name="connsiteY277" fmla="*/ 7991 h 10000"/>
                <a:gd name="connsiteX278" fmla="*/ 7682 w 10000"/>
                <a:gd name="connsiteY278" fmla="*/ 7904 h 10000"/>
                <a:gd name="connsiteX279" fmla="*/ 7607 w 10000"/>
                <a:gd name="connsiteY279" fmla="*/ 8002 h 10000"/>
                <a:gd name="connsiteX280" fmla="*/ 7715 w 10000"/>
                <a:gd name="connsiteY280" fmla="*/ 7761 h 10000"/>
                <a:gd name="connsiteX281" fmla="*/ 7674 w 10000"/>
                <a:gd name="connsiteY281" fmla="*/ 7717 h 10000"/>
                <a:gd name="connsiteX282" fmla="*/ 7554 w 10000"/>
                <a:gd name="connsiteY282" fmla="*/ 7915 h 10000"/>
                <a:gd name="connsiteX283" fmla="*/ 7618 w 10000"/>
                <a:gd name="connsiteY283" fmla="*/ 7712 h 10000"/>
                <a:gd name="connsiteX284" fmla="*/ 7532 w 10000"/>
                <a:gd name="connsiteY284" fmla="*/ 7767 h 10000"/>
                <a:gd name="connsiteX285" fmla="*/ 7419 w 10000"/>
                <a:gd name="connsiteY285" fmla="*/ 7717 h 10000"/>
                <a:gd name="connsiteX286" fmla="*/ 7333 w 10000"/>
                <a:gd name="connsiteY286" fmla="*/ 7794 h 10000"/>
                <a:gd name="connsiteX287" fmla="*/ 7240 w 10000"/>
                <a:gd name="connsiteY287" fmla="*/ 7728 h 10000"/>
                <a:gd name="connsiteX288" fmla="*/ 7087 w 10000"/>
                <a:gd name="connsiteY288" fmla="*/ 7717 h 10000"/>
                <a:gd name="connsiteX289" fmla="*/ 7090 w 10000"/>
                <a:gd name="connsiteY289" fmla="*/ 7547 h 10000"/>
                <a:gd name="connsiteX290" fmla="*/ 7229 w 10000"/>
                <a:gd name="connsiteY290" fmla="*/ 7662 h 10000"/>
                <a:gd name="connsiteX291" fmla="*/ 7273 w 10000"/>
                <a:gd name="connsiteY291" fmla="*/ 7541 h 10000"/>
                <a:gd name="connsiteX292" fmla="*/ 7236 w 10000"/>
                <a:gd name="connsiteY292" fmla="*/ 7410 h 10000"/>
                <a:gd name="connsiteX293" fmla="*/ 7341 w 10000"/>
                <a:gd name="connsiteY293" fmla="*/ 7547 h 10000"/>
                <a:gd name="connsiteX294" fmla="*/ 7483 w 10000"/>
                <a:gd name="connsiteY294" fmla="*/ 7536 h 10000"/>
                <a:gd name="connsiteX295" fmla="*/ 7506 w 10000"/>
                <a:gd name="connsiteY295" fmla="*/ 7685 h 10000"/>
                <a:gd name="connsiteX296" fmla="*/ 7547 w 10000"/>
                <a:gd name="connsiteY296" fmla="*/ 7685 h 10000"/>
                <a:gd name="connsiteX297" fmla="*/ 7558 w 10000"/>
                <a:gd name="connsiteY297" fmla="*/ 7415 h 10000"/>
                <a:gd name="connsiteX298" fmla="*/ 7607 w 10000"/>
                <a:gd name="connsiteY298" fmla="*/ 7585 h 10000"/>
                <a:gd name="connsiteX299" fmla="*/ 7693 w 10000"/>
                <a:gd name="connsiteY299" fmla="*/ 7590 h 10000"/>
                <a:gd name="connsiteX300" fmla="*/ 7629 w 10000"/>
                <a:gd name="connsiteY300" fmla="*/ 7333 h 10000"/>
                <a:gd name="connsiteX301" fmla="*/ 7786 w 10000"/>
                <a:gd name="connsiteY301" fmla="*/ 7240 h 10000"/>
                <a:gd name="connsiteX302" fmla="*/ 7779 w 10000"/>
                <a:gd name="connsiteY302" fmla="*/ 6987 h 10000"/>
                <a:gd name="connsiteX303" fmla="*/ 7887 w 10000"/>
                <a:gd name="connsiteY303" fmla="*/ 7081 h 10000"/>
                <a:gd name="connsiteX304" fmla="*/ 7906 w 10000"/>
                <a:gd name="connsiteY304" fmla="*/ 7015 h 10000"/>
                <a:gd name="connsiteX305" fmla="*/ 7775 w 10000"/>
                <a:gd name="connsiteY305" fmla="*/ 6735 h 10000"/>
                <a:gd name="connsiteX306" fmla="*/ 7950 w 10000"/>
                <a:gd name="connsiteY306" fmla="*/ 6894 h 10000"/>
                <a:gd name="connsiteX307" fmla="*/ 8171 w 10000"/>
                <a:gd name="connsiteY307" fmla="*/ 6511 h 10000"/>
                <a:gd name="connsiteX308" fmla="*/ 8384 w 10000"/>
                <a:gd name="connsiteY308" fmla="*/ 6483 h 10000"/>
                <a:gd name="connsiteX309" fmla="*/ 8429 w 10000"/>
                <a:gd name="connsiteY30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7569 w 10000"/>
                <a:gd name="connsiteY39" fmla="*/ 1873 h 10000"/>
                <a:gd name="connsiteX40" fmla="*/ 7165 w 10000"/>
                <a:gd name="connsiteY40" fmla="*/ 1996 h 10000"/>
                <a:gd name="connsiteX41" fmla="*/ 6892 w 10000"/>
                <a:gd name="connsiteY41" fmla="*/ 1827 h 10000"/>
                <a:gd name="connsiteX42" fmla="*/ 6922 w 10000"/>
                <a:gd name="connsiteY42" fmla="*/ 1728 h 10000"/>
                <a:gd name="connsiteX43" fmla="*/ 6765 w 10000"/>
                <a:gd name="connsiteY43" fmla="*/ 1398 h 10000"/>
                <a:gd name="connsiteX44" fmla="*/ 6799 w 10000"/>
                <a:gd name="connsiteY44" fmla="*/ 1256 h 10000"/>
                <a:gd name="connsiteX45" fmla="*/ 6728 w 10000"/>
                <a:gd name="connsiteY45" fmla="*/ 1229 h 10000"/>
                <a:gd name="connsiteX46" fmla="*/ 6657 w 10000"/>
                <a:gd name="connsiteY46" fmla="*/ 1311 h 10000"/>
                <a:gd name="connsiteX47" fmla="*/ 6593 w 10000"/>
                <a:gd name="connsiteY47" fmla="*/ 1114 h 10000"/>
                <a:gd name="connsiteX48" fmla="*/ 6391 w 10000"/>
                <a:gd name="connsiteY48" fmla="*/ 1311 h 10000"/>
                <a:gd name="connsiteX49" fmla="*/ 6309 w 10000"/>
                <a:gd name="connsiteY49" fmla="*/ 1223 h 10000"/>
                <a:gd name="connsiteX50" fmla="*/ 6126 w 10000"/>
                <a:gd name="connsiteY50" fmla="*/ 1273 h 10000"/>
                <a:gd name="connsiteX51" fmla="*/ 6144 w 10000"/>
                <a:gd name="connsiteY51" fmla="*/ 1125 h 10000"/>
                <a:gd name="connsiteX52" fmla="*/ 6073 w 10000"/>
                <a:gd name="connsiteY52" fmla="*/ 1119 h 10000"/>
                <a:gd name="connsiteX53" fmla="*/ 6040 w 10000"/>
                <a:gd name="connsiteY53" fmla="*/ 910 h 10000"/>
                <a:gd name="connsiteX54" fmla="*/ 5942 w 10000"/>
                <a:gd name="connsiteY54" fmla="*/ 795 h 10000"/>
                <a:gd name="connsiteX55" fmla="*/ 6144 w 10000"/>
                <a:gd name="connsiteY55" fmla="*/ 620 h 10000"/>
                <a:gd name="connsiteX56" fmla="*/ 5901 w 10000"/>
                <a:gd name="connsiteY56" fmla="*/ 395 h 10000"/>
                <a:gd name="connsiteX57" fmla="*/ 5853 w 10000"/>
                <a:gd name="connsiteY57" fmla="*/ 142 h 10000"/>
                <a:gd name="connsiteX58" fmla="*/ 5741 w 10000"/>
                <a:gd name="connsiteY58" fmla="*/ 110 h 10000"/>
                <a:gd name="connsiteX59" fmla="*/ 5647 w 10000"/>
                <a:gd name="connsiteY59" fmla="*/ 0 h 10000"/>
                <a:gd name="connsiteX60" fmla="*/ 5547 w 10000"/>
                <a:gd name="connsiteY60" fmla="*/ 120 h 10000"/>
                <a:gd name="connsiteX61" fmla="*/ 5377 w 10000"/>
                <a:gd name="connsiteY61" fmla="*/ 110 h 10000"/>
                <a:gd name="connsiteX62" fmla="*/ 5232 w 10000"/>
                <a:gd name="connsiteY62" fmla="*/ 351 h 10000"/>
                <a:gd name="connsiteX63" fmla="*/ 4952 w 10000"/>
                <a:gd name="connsiteY63" fmla="*/ 329 h 10000"/>
                <a:gd name="connsiteX64" fmla="*/ 4884 w 10000"/>
                <a:gd name="connsiteY64" fmla="*/ 680 h 10000"/>
                <a:gd name="connsiteX65" fmla="*/ 4701 w 10000"/>
                <a:gd name="connsiteY65" fmla="*/ 707 h 10000"/>
                <a:gd name="connsiteX66" fmla="*/ 4795 w 10000"/>
                <a:gd name="connsiteY66" fmla="*/ 844 h 10000"/>
                <a:gd name="connsiteX67" fmla="*/ 4739 w 10000"/>
                <a:gd name="connsiteY67" fmla="*/ 899 h 10000"/>
                <a:gd name="connsiteX68" fmla="*/ 4612 w 10000"/>
                <a:gd name="connsiteY68" fmla="*/ 894 h 10000"/>
                <a:gd name="connsiteX69" fmla="*/ 4439 w 10000"/>
                <a:gd name="connsiteY69" fmla="*/ 1026 h 10000"/>
                <a:gd name="connsiteX70" fmla="*/ 4252 w 10000"/>
                <a:gd name="connsiteY70" fmla="*/ 1668 h 10000"/>
                <a:gd name="connsiteX71" fmla="*/ 4308 w 10000"/>
                <a:gd name="connsiteY71" fmla="*/ 2090 h 10000"/>
                <a:gd name="connsiteX72" fmla="*/ 4121 w 10000"/>
                <a:gd name="connsiteY72" fmla="*/ 1865 h 10000"/>
                <a:gd name="connsiteX73" fmla="*/ 3849 w 10000"/>
                <a:gd name="connsiteY73" fmla="*/ 1991 h 10000"/>
                <a:gd name="connsiteX74" fmla="*/ 3822 w 10000"/>
                <a:gd name="connsiteY74" fmla="*/ 1931 h 10000"/>
                <a:gd name="connsiteX75" fmla="*/ 3695 w 10000"/>
                <a:gd name="connsiteY75" fmla="*/ 2002 h 10000"/>
                <a:gd name="connsiteX76" fmla="*/ 3621 w 10000"/>
                <a:gd name="connsiteY76" fmla="*/ 2144 h 10000"/>
                <a:gd name="connsiteX77" fmla="*/ 3561 w 10000"/>
                <a:gd name="connsiteY77" fmla="*/ 1909 h 10000"/>
                <a:gd name="connsiteX78" fmla="*/ 3478 w 10000"/>
                <a:gd name="connsiteY78" fmla="*/ 1843 h 10000"/>
                <a:gd name="connsiteX79" fmla="*/ 3444 w 10000"/>
                <a:gd name="connsiteY79" fmla="*/ 1964 h 10000"/>
                <a:gd name="connsiteX80" fmla="*/ 3332 w 10000"/>
                <a:gd name="connsiteY80" fmla="*/ 1996 h 10000"/>
                <a:gd name="connsiteX81" fmla="*/ 3272 w 10000"/>
                <a:gd name="connsiteY81" fmla="*/ 2161 h 10000"/>
                <a:gd name="connsiteX82" fmla="*/ 3235 w 10000"/>
                <a:gd name="connsiteY82" fmla="*/ 2013 h 10000"/>
                <a:gd name="connsiteX83" fmla="*/ 3123 w 10000"/>
                <a:gd name="connsiteY83" fmla="*/ 2024 h 10000"/>
                <a:gd name="connsiteX84" fmla="*/ 3078 w 10000"/>
                <a:gd name="connsiteY84" fmla="*/ 2128 h 10000"/>
                <a:gd name="connsiteX85" fmla="*/ 3011 w 10000"/>
                <a:gd name="connsiteY85" fmla="*/ 1975 h 10000"/>
                <a:gd name="connsiteX86" fmla="*/ 2895 w 10000"/>
                <a:gd name="connsiteY86" fmla="*/ 2117 h 10000"/>
                <a:gd name="connsiteX87" fmla="*/ 2783 w 10000"/>
                <a:gd name="connsiteY87" fmla="*/ 2106 h 10000"/>
                <a:gd name="connsiteX88" fmla="*/ 2779 w 10000"/>
                <a:gd name="connsiteY88" fmla="*/ 2276 h 10000"/>
                <a:gd name="connsiteX89" fmla="*/ 2727 w 10000"/>
                <a:gd name="connsiteY89" fmla="*/ 2144 h 10000"/>
                <a:gd name="connsiteX90" fmla="*/ 2559 w 10000"/>
                <a:gd name="connsiteY90" fmla="*/ 2155 h 10000"/>
                <a:gd name="connsiteX91" fmla="*/ 2438 w 10000"/>
                <a:gd name="connsiteY91" fmla="*/ 1980 h 10000"/>
                <a:gd name="connsiteX92" fmla="*/ 2293 w 10000"/>
                <a:gd name="connsiteY92" fmla="*/ 2073 h 10000"/>
                <a:gd name="connsiteX93" fmla="*/ 2143 w 10000"/>
                <a:gd name="connsiteY93" fmla="*/ 1958 h 10000"/>
                <a:gd name="connsiteX94" fmla="*/ 2057 w 10000"/>
                <a:gd name="connsiteY94" fmla="*/ 2035 h 10000"/>
                <a:gd name="connsiteX95" fmla="*/ 1975 w 10000"/>
                <a:gd name="connsiteY95" fmla="*/ 1947 h 10000"/>
                <a:gd name="connsiteX96" fmla="*/ 1852 w 10000"/>
                <a:gd name="connsiteY96" fmla="*/ 1936 h 10000"/>
                <a:gd name="connsiteX97" fmla="*/ 1669 w 10000"/>
                <a:gd name="connsiteY97" fmla="*/ 1925 h 10000"/>
                <a:gd name="connsiteX98" fmla="*/ 1444 w 10000"/>
                <a:gd name="connsiteY98" fmla="*/ 1991 h 10000"/>
                <a:gd name="connsiteX99" fmla="*/ 1205 w 10000"/>
                <a:gd name="connsiteY99" fmla="*/ 2062 h 10000"/>
                <a:gd name="connsiteX100" fmla="*/ 921 w 10000"/>
                <a:gd name="connsiteY100" fmla="*/ 2166 h 10000"/>
                <a:gd name="connsiteX101" fmla="*/ 797 w 10000"/>
                <a:gd name="connsiteY101" fmla="*/ 2496 h 10000"/>
                <a:gd name="connsiteX102" fmla="*/ 603 w 10000"/>
                <a:gd name="connsiteY102" fmla="*/ 2501 h 10000"/>
                <a:gd name="connsiteX103" fmla="*/ 540 w 10000"/>
                <a:gd name="connsiteY103" fmla="*/ 2687 h 10000"/>
                <a:gd name="connsiteX104" fmla="*/ 558 w 10000"/>
                <a:gd name="connsiteY104" fmla="*/ 2764 h 10000"/>
                <a:gd name="connsiteX105" fmla="*/ 577 w 10000"/>
                <a:gd name="connsiteY105" fmla="*/ 2868 h 10000"/>
                <a:gd name="connsiteX106" fmla="*/ 577 w 10000"/>
                <a:gd name="connsiteY106" fmla="*/ 2868 h 10000"/>
                <a:gd name="connsiteX107" fmla="*/ 577 w 10000"/>
                <a:gd name="connsiteY107" fmla="*/ 2896 h 10000"/>
                <a:gd name="connsiteX108" fmla="*/ 682 w 10000"/>
                <a:gd name="connsiteY108" fmla="*/ 3116 h 10000"/>
                <a:gd name="connsiteX109" fmla="*/ 786 w 10000"/>
                <a:gd name="connsiteY109" fmla="*/ 3351 h 10000"/>
                <a:gd name="connsiteX110" fmla="*/ 921 w 10000"/>
                <a:gd name="connsiteY110" fmla="*/ 3488 h 10000"/>
                <a:gd name="connsiteX111" fmla="*/ 876 w 10000"/>
                <a:gd name="connsiteY111" fmla="*/ 3548 h 10000"/>
                <a:gd name="connsiteX112" fmla="*/ 805 w 10000"/>
                <a:gd name="connsiteY112" fmla="*/ 3603 h 10000"/>
                <a:gd name="connsiteX113" fmla="*/ 887 w 10000"/>
                <a:gd name="connsiteY113" fmla="*/ 3697 h 10000"/>
                <a:gd name="connsiteX114" fmla="*/ 876 w 10000"/>
                <a:gd name="connsiteY114" fmla="*/ 4053 h 10000"/>
                <a:gd name="connsiteX115" fmla="*/ 693 w 10000"/>
                <a:gd name="connsiteY115" fmla="*/ 4124 h 10000"/>
                <a:gd name="connsiteX116" fmla="*/ 498 w 10000"/>
                <a:gd name="connsiteY116" fmla="*/ 4531 h 10000"/>
                <a:gd name="connsiteX117" fmla="*/ 371 w 10000"/>
                <a:gd name="connsiteY117" fmla="*/ 4936 h 10000"/>
                <a:gd name="connsiteX118" fmla="*/ 195 w 10000"/>
                <a:gd name="connsiteY118" fmla="*/ 5260 h 10000"/>
                <a:gd name="connsiteX119" fmla="*/ 270 w 10000"/>
                <a:gd name="connsiteY119" fmla="*/ 5517 h 10000"/>
                <a:gd name="connsiteX120" fmla="*/ 277 w 10000"/>
                <a:gd name="connsiteY120" fmla="*/ 5732 h 10000"/>
                <a:gd name="connsiteX121" fmla="*/ 400 w 10000"/>
                <a:gd name="connsiteY121" fmla="*/ 5841 h 10000"/>
                <a:gd name="connsiteX122" fmla="*/ 382 w 10000"/>
                <a:gd name="connsiteY122" fmla="*/ 5945 h 10000"/>
                <a:gd name="connsiteX123" fmla="*/ 202 w 10000"/>
                <a:gd name="connsiteY123" fmla="*/ 5852 h 10000"/>
                <a:gd name="connsiteX124" fmla="*/ 124 w 10000"/>
                <a:gd name="connsiteY124" fmla="*/ 6099 h 10000"/>
                <a:gd name="connsiteX125" fmla="*/ 105 w 10000"/>
                <a:gd name="connsiteY125" fmla="*/ 6346 h 10000"/>
                <a:gd name="connsiteX126" fmla="*/ 1 w 10000"/>
                <a:gd name="connsiteY126" fmla="*/ 6571 h 10000"/>
                <a:gd name="connsiteX127" fmla="*/ 19 w 10000"/>
                <a:gd name="connsiteY127" fmla="*/ 6779 h 10000"/>
                <a:gd name="connsiteX128" fmla="*/ 90 w 10000"/>
                <a:gd name="connsiteY128" fmla="*/ 6828 h 10000"/>
                <a:gd name="connsiteX129" fmla="*/ 154 w 10000"/>
                <a:gd name="connsiteY129" fmla="*/ 6960 h 10000"/>
                <a:gd name="connsiteX130" fmla="*/ 240 w 10000"/>
                <a:gd name="connsiteY130" fmla="*/ 6943 h 10000"/>
                <a:gd name="connsiteX131" fmla="*/ 292 w 10000"/>
                <a:gd name="connsiteY131" fmla="*/ 7076 h 10000"/>
                <a:gd name="connsiteX132" fmla="*/ 445 w 10000"/>
                <a:gd name="connsiteY132" fmla="*/ 7103 h 10000"/>
                <a:gd name="connsiteX133" fmla="*/ 453 w 10000"/>
                <a:gd name="connsiteY133" fmla="*/ 7251 h 10000"/>
                <a:gd name="connsiteX134" fmla="*/ 494 w 10000"/>
                <a:gd name="connsiteY134" fmla="*/ 7278 h 10000"/>
                <a:gd name="connsiteX135" fmla="*/ 525 w 10000"/>
                <a:gd name="connsiteY135" fmla="*/ 7174 h 10000"/>
                <a:gd name="connsiteX136" fmla="*/ 581 w 10000"/>
                <a:gd name="connsiteY136" fmla="*/ 7196 h 10000"/>
                <a:gd name="connsiteX137" fmla="*/ 644 w 10000"/>
                <a:gd name="connsiteY137" fmla="*/ 6992 h 10000"/>
                <a:gd name="connsiteX138" fmla="*/ 820 w 10000"/>
                <a:gd name="connsiteY138" fmla="*/ 7174 h 10000"/>
                <a:gd name="connsiteX139" fmla="*/ 1283 w 10000"/>
                <a:gd name="connsiteY139" fmla="*/ 7163 h 10000"/>
                <a:gd name="connsiteX140" fmla="*/ 1466 w 10000"/>
                <a:gd name="connsiteY140" fmla="*/ 7092 h 10000"/>
                <a:gd name="connsiteX141" fmla="*/ 1766 w 10000"/>
                <a:gd name="connsiteY141" fmla="*/ 7344 h 10000"/>
                <a:gd name="connsiteX142" fmla="*/ 1956 w 10000"/>
                <a:gd name="connsiteY142" fmla="*/ 7087 h 10000"/>
                <a:gd name="connsiteX143" fmla="*/ 2382 w 10000"/>
                <a:gd name="connsiteY143" fmla="*/ 6861 h 10000"/>
                <a:gd name="connsiteX144" fmla="*/ 2536 w 10000"/>
                <a:gd name="connsiteY144" fmla="*/ 6489 h 10000"/>
                <a:gd name="connsiteX145" fmla="*/ 2648 w 10000"/>
                <a:gd name="connsiteY145" fmla="*/ 6439 h 10000"/>
                <a:gd name="connsiteX146" fmla="*/ 2648 w 10000"/>
                <a:gd name="connsiteY146" fmla="*/ 6379 h 10000"/>
                <a:gd name="connsiteX147" fmla="*/ 2693 w 10000"/>
                <a:gd name="connsiteY147" fmla="*/ 6379 h 10000"/>
                <a:gd name="connsiteX148" fmla="*/ 2682 w 10000"/>
                <a:gd name="connsiteY148" fmla="*/ 6230 h 10000"/>
                <a:gd name="connsiteX149" fmla="*/ 2820 w 10000"/>
                <a:gd name="connsiteY149" fmla="*/ 6285 h 10000"/>
                <a:gd name="connsiteX150" fmla="*/ 2839 w 10000"/>
                <a:gd name="connsiteY150" fmla="*/ 6159 h 10000"/>
                <a:gd name="connsiteX151" fmla="*/ 2921 w 10000"/>
                <a:gd name="connsiteY151" fmla="*/ 6230 h 10000"/>
                <a:gd name="connsiteX152" fmla="*/ 2981 w 10000"/>
                <a:gd name="connsiteY152" fmla="*/ 6126 h 10000"/>
                <a:gd name="connsiteX153" fmla="*/ 3078 w 10000"/>
                <a:gd name="connsiteY153" fmla="*/ 6154 h 10000"/>
                <a:gd name="connsiteX154" fmla="*/ 3164 w 10000"/>
                <a:gd name="connsiteY154" fmla="*/ 6055 h 10000"/>
                <a:gd name="connsiteX155" fmla="*/ 3328 w 10000"/>
                <a:gd name="connsiteY155" fmla="*/ 6192 h 10000"/>
                <a:gd name="connsiteX156" fmla="*/ 3411 w 10000"/>
                <a:gd name="connsiteY156" fmla="*/ 6197 h 10000"/>
                <a:gd name="connsiteX157" fmla="*/ 3437 w 10000"/>
                <a:gd name="connsiteY157" fmla="*/ 6307 h 10000"/>
                <a:gd name="connsiteX158" fmla="*/ 3591 w 10000"/>
                <a:gd name="connsiteY158" fmla="*/ 6236 h 10000"/>
                <a:gd name="connsiteX159" fmla="*/ 3576 w 10000"/>
                <a:gd name="connsiteY159" fmla="*/ 6357 h 10000"/>
                <a:gd name="connsiteX160" fmla="*/ 3632 w 10000"/>
                <a:gd name="connsiteY160" fmla="*/ 6341 h 10000"/>
                <a:gd name="connsiteX161" fmla="*/ 3699 w 10000"/>
                <a:gd name="connsiteY161" fmla="*/ 6428 h 10000"/>
                <a:gd name="connsiteX162" fmla="*/ 3703 w 10000"/>
                <a:gd name="connsiteY162" fmla="*/ 6301 h 10000"/>
                <a:gd name="connsiteX163" fmla="*/ 3882 w 10000"/>
                <a:gd name="connsiteY163" fmla="*/ 6341 h 10000"/>
                <a:gd name="connsiteX164" fmla="*/ 3946 w 10000"/>
                <a:gd name="connsiteY164" fmla="*/ 6511 h 10000"/>
                <a:gd name="connsiteX165" fmla="*/ 4047 w 10000"/>
                <a:gd name="connsiteY165" fmla="*/ 6494 h 10000"/>
                <a:gd name="connsiteX166" fmla="*/ 4091 w 10000"/>
                <a:gd name="connsiteY166" fmla="*/ 6417 h 10000"/>
                <a:gd name="connsiteX167" fmla="*/ 4192 w 10000"/>
                <a:gd name="connsiteY167" fmla="*/ 6735 h 10000"/>
                <a:gd name="connsiteX168" fmla="*/ 4155 w 10000"/>
                <a:gd name="connsiteY168" fmla="*/ 6987 h 10000"/>
                <a:gd name="connsiteX169" fmla="*/ 4207 w 10000"/>
                <a:gd name="connsiteY169" fmla="*/ 7114 h 10000"/>
                <a:gd name="connsiteX170" fmla="*/ 4278 w 10000"/>
                <a:gd name="connsiteY170" fmla="*/ 7119 h 10000"/>
                <a:gd name="connsiteX171" fmla="*/ 4387 w 10000"/>
                <a:gd name="connsiteY171" fmla="*/ 7256 h 10000"/>
                <a:gd name="connsiteX172" fmla="*/ 4431 w 10000"/>
                <a:gd name="connsiteY172" fmla="*/ 7152 h 10000"/>
                <a:gd name="connsiteX173" fmla="*/ 4480 w 10000"/>
                <a:gd name="connsiteY173" fmla="*/ 7322 h 10000"/>
                <a:gd name="connsiteX174" fmla="*/ 4541 w 10000"/>
                <a:gd name="connsiteY174" fmla="*/ 7662 h 10000"/>
                <a:gd name="connsiteX175" fmla="*/ 4720 w 10000"/>
                <a:gd name="connsiteY175" fmla="*/ 7739 h 10000"/>
                <a:gd name="connsiteX176" fmla="*/ 4761 w 10000"/>
                <a:gd name="connsiteY176" fmla="*/ 8183 h 10000"/>
                <a:gd name="connsiteX177" fmla="*/ 4914 w 10000"/>
                <a:gd name="connsiteY177" fmla="*/ 8276 h 10000"/>
                <a:gd name="connsiteX178" fmla="*/ 4757 w 10000"/>
                <a:gd name="connsiteY178" fmla="*/ 8370 h 10000"/>
                <a:gd name="connsiteX179" fmla="*/ 4705 w 10000"/>
                <a:gd name="connsiteY179" fmla="*/ 8260 h 10000"/>
                <a:gd name="connsiteX180" fmla="*/ 4645 w 10000"/>
                <a:gd name="connsiteY180" fmla="*/ 8403 h 10000"/>
                <a:gd name="connsiteX181" fmla="*/ 4491 w 10000"/>
                <a:gd name="connsiteY181" fmla="*/ 8287 h 10000"/>
                <a:gd name="connsiteX182" fmla="*/ 4405 w 10000"/>
                <a:gd name="connsiteY182" fmla="*/ 8452 h 10000"/>
                <a:gd name="connsiteX183" fmla="*/ 4226 w 10000"/>
                <a:gd name="connsiteY183" fmla="*/ 8331 h 10000"/>
                <a:gd name="connsiteX184" fmla="*/ 4312 w 10000"/>
                <a:gd name="connsiteY184" fmla="*/ 8699 h 10000"/>
                <a:gd name="connsiteX185" fmla="*/ 4304 w 10000"/>
                <a:gd name="connsiteY185" fmla="*/ 8967 h 10000"/>
                <a:gd name="connsiteX186" fmla="*/ 4189 w 10000"/>
                <a:gd name="connsiteY186" fmla="*/ 9088 h 10000"/>
                <a:gd name="connsiteX187" fmla="*/ 4226 w 10000"/>
                <a:gd name="connsiteY187" fmla="*/ 9193 h 10000"/>
                <a:gd name="connsiteX188" fmla="*/ 4065 w 10000"/>
                <a:gd name="connsiteY188" fmla="*/ 9412 h 10000"/>
                <a:gd name="connsiteX189" fmla="*/ 4129 w 10000"/>
                <a:gd name="connsiteY189" fmla="*/ 9647 h 10000"/>
                <a:gd name="connsiteX190" fmla="*/ 3972 w 10000"/>
                <a:gd name="connsiteY190" fmla="*/ 9681 h 10000"/>
                <a:gd name="connsiteX191" fmla="*/ 3931 w 10000"/>
                <a:gd name="connsiteY191" fmla="*/ 9741 h 10000"/>
                <a:gd name="connsiteX192" fmla="*/ 3998 w 10000"/>
                <a:gd name="connsiteY192" fmla="*/ 9785 h 10000"/>
                <a:gd name="connsiteX193" fmla="*/ 4118 w 10000"/>
                <a:gd name="connsiteY193" fmla="*/ 9944 h 10000"/>
                <a:gd name="connsiteX194" fmla="*/ 4312 w 10000"/>
                <a:gd name="connsiteY194" fmla="*/ 9999 h 10000"/>
                <a:gd name="connsiteX195" fmla="*/ 4319 w 10000"/>
                <a:gd name="connsiteY195" fmla="*/ 9851 h 10000"/>
                <a:gd name="connsiteX196" fmla="*/ 4387 w 10000"/>
                <a:gd name="connsiteY196" fmla="*/ 9856 h 10000"/>
                <a:gd name="connsiteX197" fmla="*/ 4675 w 10000"/>
                <a:gd name="connsiteY197" fmla="*/ 9603 h 10000"/>
                <a:gd name="connsiteX198" fmla="*/ 4866 w 10000"/>
                <a:gd name="connsiteY198" fmla="*/ 9845 h 10000"/>
                <a:gd name="connsiteX199" fmla="*/ 4866 w 10000"/>
                <a:gd name="connsiteY199" fmla="*/ 9862 h 10000"/>
                <a:gd name="connsiteX200" fmla="*/ 4896 w 10000"/>
                <a:gd name="connsiteY200" fmla="*/ 9703 h 10000"/>
                <a:gd name="connsiteX201" fmla="*/ 4843 w 10000"/>
                <a:gd name="connsiteY201" fmla="*/ 9570 h 10000"/>
                <a:gd name="connsiteX202" fmla="*/ 4776 w 10000"/>
                <a:gd name="connsiteY202" fmla="*/ 9549 h 10000"/>
                <a:gd name="connsiteX203" fmla="*/ 4821 w 10000"/>
                <a:gd name="connsiteY203" fmla="*/ 9466 h 10000"/>
                <a:gd name="connsiteX204" fmla="*/ 4806 w 10000"/>
                <a:gd name="connsiteY204" fmla="*/ 9444 h 10000"/>
                <a:gd name="connsiteX205" fmla="*/ 4750 w 10000"/>
                <a:gd name="connsiteY205" fmla="*/ 9439 h 10000"/>
                <a:gd name="connsiteX206" fmla="*/ 4720 w 10000"/>
                <a:gd name="connsiteY206" fmla="*/ 9121 h 10000"/>
                <a:gd name="connsiteX207" fmla="*/ 4761 w 10000"/>
                <a:gd name="connsiteY207" fmla="*/ 9105 h 10000"/>
                <a:gd name="connsiteX208" fmla="*/ 4783 w 10000"/>
                <a:gd name="connsiteY208" fmla="*/ 9253 h 10000"/>
                <a:gd name="connsiteX209" fmla="*/ 4836 w 10000"/>
                <a:gd name="connsiteY209" fmla="*/ 9384 h 10000"/>
                <a:gd name="connsiteX210" fmla="*/ 4881 w 10000"/>
                <a:gd name="connsiteY210" fmla="*/ 9302 h 10000"/>
                <a:gd name="connsiteX211" fmla="*/ 4869 w 10000"/>
                <a:gd name="connsiteY211" fmla="*/ 9220 h 10000"/>
                <a:gd name="connsiteX212" fmla="*/ 4940 w 10000"/>
                <a:gd name="connsiteY212" fmla="*/ 9203 h 10000"/>
                <a:gd name="connsiteX213" fmla="*/ 4903 w 10000"/>
                <a:gd name="connsiteY213" fmla="*/ 9034 h 10000"/>
                <a:gd name="connsiteX214" fmla="*/ 5000 w 10000"/>
                <a:gd name="connsiteY214" fmla="*/ 9061 h 10000"/>
                <a:gd name="connsiteX215" fmla="*/ 5004 w 10000"/>
                <a:gd name="connsiteY215" fmla="*/ 8972 h 10000"/>
                <a:gd name="connsiteX216" fmla="*/ 5041 w 10000"/>
                <a:gd name="connsiteY216" fmla="*/ 9039 h 10000"/>
                <a:gd name="connsiteX217" fmla="*/ 5206 w 10000"/>
                <a:gd name="connsiteY217" fmla="*/ 8781 h 10000"/>
                <a:gd name="connsiteX218" fmla="*/ 5112 w 10000"/>
                <a:gd name="connsiteY218" fmla="*/ 8584 h 10000"/>
                <a:gd name="connsiteX219" fmla="*/ 4937 w 10000"/>
                <a:gd name="connsiteY219" fmla="*/ 8425 h 10000"/>
                <a:gd name="connsiteX220" fmla="*/ 5037 w 10000"/>
                <a:gd name="connsiteY220" fmla="*/ 8370 h 10000"/>
                <a:gd name="connsiteX221" fmla="*/ 5183 w 10000"/>
                <a:gd name="connsiteY221" fmla="*/ 8633 h 10000"/>
                <a:gd name="connsiteX222" fmla="*/ 5292 w 10000"/>
                <a:gd name="connsiteY222" fmla="*/ 8199 h 10000"/>
                <a:gd name="connsiteX223" fmla="*/ 5299 w 10000"/>
                <a:gd name="connsiteY223" fmla="*/ 8030 h 10000"/>
                <a:gd name="connsiteX224" fmla="*/ 5482 w 10000"/>
                <a:gd name="connsiteY224" fmla="*/ 7942 h 10000"/>
                <a:gd name="connsiteX225" fmla="*/ 5550 w 10000"/>
                <a:gd name="connsiteY225" fmla="*/ 7607 h 10000"/>
                <a:gd name="connsiteX226" fmla="*/ 5561 w 10000"/>
                <a:gd name="connsiteY226" fmla="*/ 7734 h 10000"/>
                <a:gd name="connsiteX227" fmla="*/ 5677 w 10000"/>
                <a:gd name="connsiteY227" fmla="*/ 7596 h 10000"/>
                <a:gd name="connsiteX228" fmla="*/ 5759 w 10000"/>
                <a:gd name="connsiteY228" fmla="*/ 7579 h 10000"/>
                <a:gd name="connsiteX229" fmla="*/ 5842 w 10000"/>
                <a:gd name="connsiteY229" fmla="*/ 7207 h 10000"/>
                <a:gd name="connsiteX230" fmla="*/ 5916 w 10000"/>
                <a:gd name="connsiteY230" fmla="*/ 7486 h 10000"/>
                <a:gd name="connsiteX231" fmla="*/ 6137 w 10000"/>
                <a:gd name="connsiteY231" fmla="*/ 7563 h 10000"/>
                <a:gd name="connsiteX232" fmla="*/ 5969 w 10000"/>
                <a:gd name="connsiteY232" fmla="*/ 7618 h 10000"/>
                <a:gd name="connsiteX233" fmla="*/ 5954 w 10000"/>
                <a:gd name="connsiteY233" fmla="*/ 7679 h 10000"/>
                <a:gd name="connsiteX234" fmla="*/ 5786 w 10000"/>
                <a:gd name="connsiteY234" fmla="*/ 7690 h 10000"/>
                <a:gd name="connsiteX235" fmla="*/ 5700 w 10000"/>
                <a:gd name="connsiteY235" fmla="*/ 7723 h 10000"/>
                <a:gd name="connsiteX236" fmla="*/ 5767 w 10000"/>
                <a:gd name="connsiteY236" fmla="*/ 7772 h 10000"/>
                <a:gd name="connsiteX237" fmla="*/ 5827 w 10000"/>
                <a:gd name="connsiteY237" fmla="*/ 7756 h 10000"/>
                <a:gd name="connsiteX238" fmla="*/ 5991 w 10000"/>
                <a:gd name="connsiteY238" fmla="*/ 7789 h 10000"/>
                <a:gd name="connsiteX239" fmla="*/ 5804 w 10000"/>
                <a:gd name="connsiteY239" fmla="*/ 7964 h 10000"/>
                <a:gd name="connsiteX240" fmla="*/ 5872 w 10000"/>
                <a:gd name="connsiteY240" fmla="*/ 8008 h 10000"/>
                <a:gd name="connsiteX241" fmla="*/ 6043 w 10000"/>
                <a:gd name="connsiteY241" fmla="*/ 7958 h 10000"/>
                <a:gd name="connsiteX242" fmla="*/ 6275 w 10000"/>
                <a:gd name="connsiteY242" fmla="*/ 8101 h 10000"/>
                <a:gd name="connsiteX243" fmla="*/ 6575 w 10000"/>
                <a:gd name="connsiteY243" fmla="*/ 7909 h 10000"/>
                <a:gd name="connsiteX244" fmla="*/ 6870 w 10000"/>
                <a:gd name="connsiteY244" fmla="*/ 7887 h 10000"/>
                <a:gd name="connsiteX245" fmla="*/ 6915 w 10000"/>
                <a:gd name="connsiteY245" fmla="*/ 7745 h 10000"/>
                <a:gd name="connsiteX246" fmla="*/ 6993 w 10000"/>
                <a:gd name="connsiteY246" fmla="*/ 7958 h 10000"/>
                <a:gd name="connsiteX247" fmla="*/ 7075 w 10000"/>
                <a:gd name="connsiteY247" fmla="*/ 7986 h 10000"/>
                <a:gd name="connsiteX248" fmla="*/ 7045 w 10000"/>
                <a:gd name="connsiteY248" fmla="*/ 8134 h 10000"/>
                <a:gd name="connsiteX249" fmla="*/ 6788 w 10000"/>
                <a:gd name="connsiteY249" fmla="*/ 8281 h 10000"/>
                <a:gd name="connsiteX250" fmla="*/ 6769 w 10000"/>
                <a:gd name="connsiteY250" fmla="*/ 8386 h 10000"/>
                <a:gd name="connsiteX251" fmla="*/ 6627 w 10000"/>
                <a:gd name="connsiteY251" fmla="*/ 8523 h 10000"/>
                <a:gd name="connsiteX252" fmla="*/ 6623 w 10000"/>
                <a:gd name="connsiteY252" fmla="*/ 8649 h 10000"/>
                <a:gd name="connsiteX253" fmla="*/ 6537 w 10000"/>
                <a:gd name="connsiteY253" fmla="*/ 8704 h 10000"/>
                <a:gd name="connsiteX254" fmla="*/ 6428 w 10000"/>
                <a:gd name="connsiteY254" fmla="*/ 8989 h 10000"/>
                <a:gd name="connsiteX255" fmla="*/ 6582 w 10000"/>
                <a:gd name="connsiteY255" fmla="*/ 9001 h 10000"/>
                <a:gd name="connsiteX256" fmla="*/ 6672 w 10000"/>
                <a:gd name="connsiteY256" fmla="*/ 8879 h 10000"/>
                <a:gd name="connsiteX257" fmla="*/ 6769 w 10000"/>
                <a:gd name="connsiteY257" fmla="*/ 8912 h 10000"/>
                <a:gd name="connsiteX258" fmla="*/ 6814 w 10000"/>
                <a:gd name="connsiteY258" fmla="*/ 8786 h 10000"/>
                <a:gd name="connsiteX259" fmla="*/ 6877 w 10000"/>
                <a:gd name="connsiteY259" fmla="*/ 9001 h 10000"/>
                <a:gd name="connsiteX260" fmla="*/ 7060 w 10000"/>
                <a:gd name="connsiteY260" fmla="*/ 8994 h 10000"/>
                <a:gd name="connsiteX261" fmla="*/ 7217 w 10000"/>
                <a:gd name="connsiteY261" fmla="*/ 9362 h 10000"/>
                <a:gd name="connsiteX262" fmla="*/ 7232 w 10000"/>
                <a:gd name="connsiteY262" fmla="*/ 9675 h 10000"/>
                <a:gd name="connsiteX263" fmla="*/ 7176 w 10000"/>
                <a:gd name="connsiteY263" fmla="*/ 9692 h 10000"/>
                <a:gd name="connsiteX264" fmla="*/ 7187 w 10000"/>
                <a:gd name="connsiteY264" fmla="*/ 9780 h 10000"/>
                <a:gd name="connsiteX265" fmla="*/ 7423 w 10000"/>
                <a:gd name="connsiteY265" fmla="*/ 9900 h 10000"/>
                <a:gd name="connsiteX266" fmla="*/ 7741 w 10000"/>
                <a:gd name="connsiteY266" fmla="*/ 9565 h 10000"/>
                <a:gd name="connsiteX267" fmla="*/ 7879 w 10000"/>
                <a:gd name="connsiteY267" fmla="*/ 9176 h 10000"/>
                <a:gd name="connsiteX268" fmla="*/ 8107 w 10000"/>
                <a:gd name="connsiteY268" fmla="*/ 9023 h 10000"/>
                <a:gd name="connsiteX269" fmla="*/ 8182 w 10000"/>
                <a:gd name="connsiteY269" fmla="*/ 8841 h 10000"/>
                <a:gd name="connsiteX270" fmla="*/ 8268 w 10000"/>
                <a:gd name="connsiteY270" fmla="*/ 8786 h 10000"/>
                <a:gd name="connsiteX271" fmla="*/ 8320 w 10000"/>
                <a:gd name="connsiteY271" fmla="*/ 8512 h 10000"/>
                <a:gd name="connsiteX272" fmla="*/ 8542 w 10000"/>
                <a:gd name="connsiteY272" fmla="*/ 8617 h 10000"/>
                <a:gd name="connsiteX273" fmla="*/ 8672 w 10000"/>
                <a:gd name="connsiteY273" fmla="*/ 8474 h 10000"/>
                <a:gd name="connsiteX274" fmla="*/ 8855 w 10000"/>
                <a:gd name="connsiteY274" fmla="*/ 8343 h 10000"/>
                <a:gd name="connsiteX275" fmla="*/ 8781 w 10000"/>
                <a:gd name="connsiteY275" fmla="*/ 8128 h 10000"/>
                <a:gd name="connsiteX276" fmla="*/ 7708 w 10000"/>
                <a:gd name="connsiteY276" fmla="*/ 7991 h 10000"/>
                <a:gd name="connsiteX277" fmla="*/ 7682 w 10000"/>
                <a:gd name="connsiteY277" fmla="*/ 7904 h 10000"/>
                <a:gd name="connsiteX278" fmla="*/ 7607 w 10000"/>
                <a:gd name="connsiteY278" fmla="*/ 8002 h 10000"/>
                <a:gd name="connsiteX279" fmla="*/ 7715 w 10000"/>
                <a:gd name="connsiteY279" fmla="*/ 7761 h 10000"/>
                <a:gd name="connsiteX280" fmla="*/ 7674 w 10000"/>
                <a:gd name="connsiteY280" fmla="*/ 7717 h 10000"/>
                <a:gd name="connsiteX281" fmla="*/ 7554 w 10000"/>
                <a:gd name="connsiteY281" fmla="*/ 7915 h 10000"/>
                <a:gd name="connsiteX282" fmla="*/ 7618 w 10000"/>
                <a:gd name="connsiteY282" fmla="*/ 7712 h 10000"/>
                <a:gd name="connsiteX283" fmla="*/ 7532 w 10000"/>
                <a:gd name="connsiteY283" fmla="*/ 7767 h 10000"/>
                <a:gd name="connsiteX284" fmla="*/ 7419 w 10000"/>
                <a:gd name="connsiteY284" fmla="*/ 7717 h 10000"/>
                <a:gd name="connsiteX285" fmla="*/ 7333 w 10000"/>
                <a:gd name="connsiteY285" fmla="*/ 7794 h 10000"/>
                <a:gd name="connsiteX286" fmla="*/ 7240 w 10000"/>
                <a:gd name="connsiteY286" fmla="*/ 7728 h 10000"/>
                <a:gd name="connsiteX287" fmla="*/ 7087 w 10000"/>
                <a:gd name="connsiteY287" fmla="*/ 7717 h 10000"/>
                <a:gd name="connsiteX288" fmla="*/ 7090 w 10000"/>
                <a:gd name="connsiteY288" fmla="*/ 7547 h 10000"/>
                <a:gd name="connsiteX289" fmla="*/ 7229 w 10000"/>
                <a:gd name="connsiteY289" fmla="*/ 7662 h 10000"/>
                <a:gd name="connsiteX290" fmla="*/ 7273 w 10000"/>
                <a:gd name="connsiteY290" fmla="*/ 7541 h 10000"/>
                <a:gd name="connsiteX291" fmla="*/ 7236 w 10000"/>
                <a:gd name="connsiteY291" fmla="*/ 7410 h 10000"/>
                <a:gd name="connsiteX292" fmla="*/ 7341 w 10000"/>
                <a:gd name="connsiteY292" fmla="*/ 7547 h 10000"/>
                <a:gd name="connsiteX293" fmla="*/ 7483 w 10000"/>
                <a:gd name="connsiteY293" fmla="*/ 7536 h 10000"/>
                <a:gd name="connsiteX294" fmla="*/ 7506 w 10000"/>
                <a:gd name="connsiteY294" fmla="*/ 7685 h 10000"/>
                <a:gd name="connsiteX295" fmla="*/ 7547 w 10000"/>
                <a:gd name="connsiteY295" fmla="*/ 7685 h 10000"/>
                <a:gd name="connsiteX296" fmla="*/ 7558 w 10000"/>
                <a:gd name="connsiteY296" fmla="*/ 7415 h 10000"/>
                <a:gd name="connsiteX297" fmla="*/ 7607 w 10000"/>
                <a:gd name="connsiteY297" fmla="*/ 7585 h 10000"/>
                <a:gd name="connsiteX298" fmla="*/ 7693 w 10000"/>
                <a:gd name="connsiteY298" fmla="*/ 7590 h 10000"/>
                <a:gd name="connsiteX299" fmla="*/ 7629 w 10000"/>
                <a:gd name="connsiteY299" fmla="*/ 7333 h 10000"/>
                <a:gd name="connsiteX300" fmla="*/ 7786 w 10000"/>
                <a:gd name="connsiteY300" fmla="*/ 7240 h 10000"/>
                <a:gd name="connsiteX301" fmla="*/ 7779 w 10000"/>
                <a:gd name="connsiteY301" fmla="*/ 6987 h 10000"/>
                <a:gd name="connsiteX302" fmla="*/ 7887 w 10000"/>
                <a:gd name="connsiteY302" fmla="*/ 7081 h 10000"/>
                <a:gd name="connsiteX303" fmla="*/ 7906 w 10000"/>
                <a:gd name="connsiteY303" fmla="*/ 7015 h 10000"/>
                <a:gd name="connsiteX304" fmla="*/ 7775 w 10000"/>
                <a:gd name="connsiteY304" fmla="*/ 6735 h 10000"/>
                <a:gd name="connsiteX305" fmla="*/ 7950 w 10000"/>
                <a:gd name="connsiteY305" fmla="*/ 6894 h 10000"/>
                <a:gd name="connsiteX306" fmla="*/ 8171 w 10000"/>
                <a:gd name="connsiteY306" fmla="*/ 6511 h 10000"/>
                <a:gd name="connsiteX307" fmla="*/ 8384 w 10000"/>
                <a:gd name="connsiteY307" fmla="*/ 6483 h 10000"/>
                <a:gd name="connsiteX308" fmla="*/ 8429 w 10000"/>
                <a:gd name="connsiteY30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7569 w 10000"/>
                <a:gd name="connsiteY38" fmla="*/ 1873 h 10000"/>
                <a:gd name="connsiteX39" fmla="*/ 7165 w 10000"/>
                <a:gd name="connsiteY39" fmla="*/ 1996 h 10000"/>
                <a:gd name="connsiteX40" fmla="*/ 6892 w 10000"/>
                <a:gd name="connsiteY40" fmla="*/ 1827 h 10000"/>
                <a:gd name="connsiteX41" fmla="*/ 6922 w 10000"/>
                <a:gd name="connsiteY41" fmla="*/ 1728 h 10000"/>
                <a:gd name="connsiteX42" fmla="*/ 6765 w 10000"/>
                <a:gd name="connsiteY42" fmla="*/ 1398 h 10000"/>
                <a:gd name="connsiteX43" fmla="*/ 6799 w 10000"/>
                <a:gd name="connsiteY43" fmla="*/ 1256 h 10000"/>
                <a:gd name="connsiteX44" fmla="*/ 6728 w 10000"/>
                <a:gd name="connsiteY44" fmla="*/ 1229 h 10000"/>
                <a:gd name="connsiteX45" fmla="*/ 6657 w 10000"/>
                <a:gd name="connsiteY45" fmla="*/ 1311 h 10000"/>
                <a:gd name="connsiteX46" fmla="*/ 6593 w 10000"/>
                <a:gd name="connsiteY46" fmla="*/ 1114 h 10000"/>
                <a:gd name="connsiteX47" fmla="*/ 6391 w 10000"/>
                <a:gd name="connsiteY47" fmla="*/ 1311 h 10000"/>
                <a:gd name="connsiteX48" fmla="*/ 6309 w 10000"/>
                <a:gd name="connsiteY48" fmla="*/ 1223 h 10000"/>
                <a:gd name="connsiteX49" fmla="*/ 6126 w 10000"/>
                <a:gd name="connsiteY49" fmla="*/ 1273 h 10000"/>
                <a:gd name="connsiteX50" fmla="*/ 6144 w 10000"/>
                <a:gd name="connsiteY50" fmla="*/ 1125 h 10000"/>
                <a:gd name="connsiteX51" fmla="*/ 6073 w 10000"/>
                <a:gd name="connsiteY51" fmla="*/ 1119 h 10000"/>
                <a:gd name="connsiteX52" fmla="*/ 6040 w 10000"/>
                <a:gd name="connsiteY52" fmla="*/ 910 h 10000"/>
                <a:gd name="connsiteX53" fmla="*/ 5942 w 10000"/>
                <a:gd name="connsiteY53" fmla="*/ 795 h 10000"/>
                <a:gd name="connsiteX54" fmla="*/ 6144 w 10000"/>
                <a:gd name="connsiteY54" fmla="*/ 620 h 10000"/>
                <a:gd name="connsiteX55" fmla="*/ 5901 w 10000"/>
                <a:gd name="connsiteY55" fmla="*/ 395 h 10000"/>
                <a:gd name="connsiteX56" fmla="*/ 5853 w 10000"/>
                <a:gd name="connsiteY56" fmla="*/ 142 h 10000"/>
                <a:gd name="connsiteX57" fmla="*/ 5741 w 10000"/>
                <a:gd name="connsiteY57" fmla="*/ 110 h 10000"/>
                <a:gd name="connsiteX58" fmla="*/ 5647 w 10000"/>
                <a:gd name="connsiteY58" fmla="*/ 0 h 10000"/>
                <a:gd name="connsiteX59" fmla="*/ 5547 w 10000"/>
                <a:gd name="connsiteY59" fmla="*/ 120 h 10000"/>
                <a:gd name="connsiteX60" fmla="*/ 5377 w 10000"/>
                <a:gd name="connsiteY60" fmla="*/ 110 h 10000"/>
                <a:gd name="connsiteX61" fmla="*/ 5232 w 10000"/>
                <a:gd name="connsiteY61" fmla="*/ 351 h 10000"/>
                <a:gd name="connsiteX62" fmla="*/ 4952 w 10000"/>
                <a:gd name="connsiteY62" fmla="*/ 329 h 10000"/>
                <a:gd name="connsiteX63" fmla="*/ 4884 w 10000"/>
                <a:gd name="connsiteY63" fmla="*/ 680 h 10000"/>
                <a:gd name="connsiteX64" fmla="*/ 4701 w 10000"/>
                <a:gd name="connsiteY64" fmla="*/ 707 h 10000"/>
                <a:gd name="connsiteX65" fmla="*/ 4795 w 10000"/>
                <a:gd name="connsiteY65" fmla="*/ 844 h 10000"/>
                <a:gd name="connsiteX66" fmla="*/ 4739 w 10000"/>
                <a:gd name="connsiteY66" fmla="*/ 899 h 10000"/>
                <a:gd name="connsiteX67" fmla="*/ 4612 w 10000"/>
                <a:gd name="connsiteY67" fmla="*/ 894 h 10000"/>
                <a:gd name="connsiteX68" fmla="*/ 4439 w 10000"/>
                <a:gd name="connsiteY68" fmla="*/ 1026 h 10000"/>
                <a:gd name="connsiteX69" fmla="*/ 4252 w 10000"/>
                <a:gd name="connsiteY69" fmla="*/ 1668 h 10000"/>
                <a:gd name="connsiteX70" fmla="*/ 4308 w 10000"/>
                <a:gd name="connsiteY70" fmla="*/ 2090 h 10000"/>
                <a:gd name="connsiteX71" fmla="*/ 4121 w 10000"/>
                <a:gd name="connsiteY71" fmla="*/ 1865 h 10000"/>
                <a:gd name="connsiteX72" fmla="*/ 3849 w 10000"/>
                <a:gd name="connsiteY72" fmla="*/ 1991 h 10000"/>
                <a:gd name="connsiteX73" fmla="*/ 3822 w 10000"/>
                <a:gd name="connsiteY73" fmla="*/ 1931 h 10000"/>
                <a:gd name="connsiteX74" fmla="*/ 3695 w 10000"/>
                <a:gd name="connsiteY74" fmla="*/ 2002 h 10000"/>
                <a:gd name="connsiteX75" fmla="*/ 3621 w 10000"/>
                <a:gd name="connsiteY75" fmla="*/ 2144 h 10000"/>
                <a:gd name="connsiteX76" fmla="*/ 3561 w 10000"/>
                <a:gd name="connsiteY76" fmla="*/ 1909 h 10000"/>
                <a:gd name="connsiteX77" fmla="*/ 3478 w 10000"/>
                <a:gd name="connsiteY77" fmla="*/ 1843 h 10000"/>
                <a:gd name="connsiteX78" fmla="*/ 3444 w 10000"/>
                <a:gd name="connsiteY78" fmla="*/ 1964 h 10000"/>
                <a:gd name="connsiteX79" fmla="*/ 3332 w 10000"/>
                <a:gd name="connsiteY79" fmla="*/ 1996 h 10000"/>
                <a:gd name="connsiteX80" fmla="*/ 3272 w 10000"/>
                <a:gd name="connsiteY80" fmla="*/ 2161 h 10000"/>
                <a:gd name="connsiteX81" fmla="*/ 3235 w 10000"/>
                <a:gd name="connsiteY81" fmla="*/ 2013 h 10000"/>
                <a:gd name="connsiteX82" fmla="*/ 3123 w 10000"/>
                <a:gd name="connsiteY82" fmla="*/ 2024 h 10000"/>
                <a:gd name="connsiteX83" fmla="*/ 3078 w 10000"/>
                <a:gd name="connsiteY83" fmla="*/ 2128 h 10000"/>
                <a:gd name="connsiteX84" fmla="*/ 3011 w 10000"/>
                <a:gd name="connsiteY84" fmla="*/ 1975 h 10000"/>
                <a:gd name="connsiteX85" fmla="*/ 2895 w 10000"/>
                <a:gd name="connsiteY85" fmla="*/ 2117 h 10000"/>
                <a:gd name="connsiteX86" fmla="*/ 2783 w 10000"/>
                <a:gd name="connsiteY86" fmla="*/ 2106 h 10000"/>
                <a:gd name="connsiteX87" fmla="*/ 2779 w 10000"/>
                <a:gd name="connsiteY87" fmla="*/ 2276 h 10000"/>
                <a:gd name="connsiteX88" fmla="*/ 2727 w 10000"/>
                <a:gd name="connsiteY88" fmla="*/ 2144 h 10000"/>
                <a:gd name="connsiteX89" fmla="*/ 2559 w 10000"/>
                <a:gd name="connsiteY89" fmla="*/ 2155 h 10000"/>
                <a:gd name="connsiteX90" fmla="*/ 2438 w 10000"/>
                <a:gd name="connsiteY90" fmla="*/ 1980 h 10000"/>
                <a:gd name="connsiteX91" fmla="*/ 2293 w 10000"/>
                <a:gd name="connsiteY91" fmla="*/ 2073 h 10000"/>
                <a:gd name="connsiteX92" fmla="*/ 2143 w 10000"/>
                <a:gd name="connsiteY92" fmla="*/ 1958 h 10000"/>
                <a:gd name="connsiteX93" fmla="*/ 2057 w 10000"/>
                <a:gd name="connsiteY93" fmla="*/ 2035 h 10000"/>
                <a:gd name="connsiteX94" fmla="*/ 1975 w 10000"/>
                <a:gd name="connsiteY94" fmla="*/ 1947 h 10000"/>
                <a:gd name="connsiteX95" fmla="*/ 1852 w 10000"/>
                <a:gd name="connsiteY95" fmla="*/ 1936 h 10000"/>
                <a:gd name="connsiteX96" fmla="*/ 1669 w 10000"/>
                <a:gd name="connsiteY96" fmla="*/ 1925 h 10000"/>
                <a:gd name="connsiteX97" fmla="*/ 1444 w 10000"/>
                <a:gd name="connsiteY97" fmla="*/ 1991 h 10000"/>
                <a:gd name="connsiteX98" fmla="*/ 1205 w 10000"/>
                <a:gd name="connsiteY98" fmla="*/ 2062 h 10000"/>
                <a:gd name="connsiteX99" fmla="*/ 921 w 10000"/>
                <a:gd name="connsiteY99" fmla="*/ 2166 h 10000"/>
                <a:gd name="connsiteX100" fmla="*/ 797 w 10000"/>
                <a:gd name="connsiteY100" fmla="*/ 2496 h 10000"/>
                <a:gd name="connsiteX101" fmla="*/ 603 w 10000"/>
                <a:gd name="connsiteY101" fmla="*/ 2501 h 10000"/>
                <a:gd name="connsiteX102" fmla="*/ 540 w 10000"/>
                <a:gd name="connsiteY102" fmla="*/ 2687 h 10000"/>
                <a:gd name="connsiteX103" fmla="*/ 558 w 10000"/>
                <a:gd name="connsiteY103" fmla="*/ 2764 h 10000"/>
                <a:gd name="connsiteX104" fmla="*/ 577 w 10000"/>
                <a:gd name="connsiteY104" fmla="*/ 2868 h 10000"/>
                <a:gd name="connsiteX105" fmla="*/ 577 w 10000"/>
                <a:gd name="connsiteY105" fmla="*/ 2868 h 10000"/>
                <a:gd name="connsiteX106" fmla="*/ 577 w 10000"/>
                <a:gd name="connsiteY106" fmla="*/ 2896 h 10000"/>
                <a:gd name="connsiteX107" fmla="*/ 682 w 10000"/>
                <a:gd name="connsiteY107" fmla="*/ 3116 h 10000"/>
                <a:gd name="connsiteX108" fmla="*/ 786 w 10000"/>
                <a:gd name="connsiteY108" fmla="*/ 3351 h 10000"/>
                <a:gd name="connsiteX109" fmla="*/ 921 w 10000"/>
                <a:gd name="connsiteY109" fmla="*/ 3488 h 10000"/>
                <a:gd name="connsiteX110" fmla="*/ 876 w 10000"/>
                <a:gd name="connsiteY110" fmla="*/ 3548 h 10000"/>
                <a:gd name="connsiteX111" fmla="*/ 805 w 10000"/>
                <a:gd name="connsiteY111" fmla="*/ 3603 h 10000"/>
                <a:gd name="connsiteX112" fmla="*/ 887 w 10000"/>
                <a:gd name="connsiteY112" fmla="*/ 3697 h 10000"/>
                <a:gd name="connsiteX113" fmla="*/ 876 w 10000"/>
                <a:gd name="connsiteY113" fmla="*/ 4053 h 10000"/>
                <a:gd name="connsiteX114" fmla="*/ 693 w 10000"/>
                <a:gd name="connsiteY114" fmla="*/ 4124 h 10000"/>
                <a:gd name="connsiteX115" fmla="*/ 498 w 10000"/>
                <a:gd name="connsiteY115" fmla="*/ 4531 h 10000"/>
                <a:gd name="connsiteX116" fmla="*/ 371 w 10000"/>
                <a:gd name="connsiteY116" fmla="*/ 4936 h 10000"/>
                <a:gd name="connsiteX117" fmla="*/ 195 w 10000"/>
                <a:gd name="connsiteY117" fmla="*/ 5260 h 10000"/>
                <a:gd name="connsiteX118" fmla="*/ 270 w 10000"/>
                <a:gd name="connsiteY118" fmla="*/ 5517 h 10000"/>
                <a:gd name="connsiteX119" fmla="*/ 277 w 10000"/>
                <a:gd name="connsiteY119" fmla="*/ 5732 h 10000"/>
                <a:gd name="connsiteX120" fmla="*/ 400 w 10000"/>
                <a:gd name="connsiteY120" fmla="*/ 5841 h 10000"/>
                <a:gd name="connsiteX121" fmla="*/ 382 w 10000"/>
                <a:gd name="connsiteY121" fmla="*/ 5945 h 10000"/>
                <a:gd name="connsiteX122" fmla="*/ 202 w 10000"/>
                <a:gd name="connsiteY122" fmla="*/ 5852 h 10000"/>
                <a:gd name="connsiteX123" fmla="*/ 124 w 10000"/>
                <a:gd name="connsiteY123" fmla="*/ 6099 h 10000"/>
                <a:gd name="connsiteX124" fmla="*/ 105 w 10000"/>
                <a:gd name="connsiteY124" fmla="*/ 6346 h 10000"/>
                <a:gd name="connsiteX125" fmla="*/ 1 w 10000"/>
                <a:gd name="connsiteY125" fmla="*/ 6571 h 10000"/>
                <a:gd name="connsiteX126" fmla="*/ 19 w 10000"/>
                <a:gd name="connsiteY126" fmla="*/ 6779 h 10000"/>
                <a:gd name="connsiteX127" fmla="*/ 90 w 10000"/>
                <a:gd name="connsiteY127" fmla="*/ 6828 h 10000"/>
                <a:gd name="connsiteX128" fmla="*/ 154 w 10000"/>
                <a:gd name="connsiteY128" fmla="*/ 6960 h 10000"/>
                <a:gd name="connsiteX129" fmla="*/ 240 w 10000"/>
                <a:gd name="connsiteY129" fmla="*/ 6943 h 10000"/>
                <a:gd name="connsiteX130" fmla="*/ 292 w 10000"/>
                <a:gd name="connsiteY130" fmla="*/ 7076 h 10000"/>
                <a:gd name="connsiteX131" fmla="*/ 445 w 10000"/>
                <a:gd name="connsiteY131" fmla="*/ 7103 h 10000"/>
                <a:gd name="connsiteX132" fmla="*/ 453 w 10000"/>
                <a:gd name="connsiteY132" fmla="*/ 7251 h 10000"/>
                <a:gd name="connsiteX133" fmla="*/ 494 w 10000"/>
                <a:gd name="connsiteY133" fmla="*/ 7278 h 10000"/>
                <a:gd name="connsiteX134" fmla="*/ 525 w 10000"/>
                <a:gd name="connsiteY134" fmla="*/ 7174 h 10000"/>
                <a:gd name="connsiteX135" fmla="*/ 581 w 10000"/>
                <a:gd name="connsiteY135" fmla="*/ 7196 h 10000"/>
                <a:gd name="connsiteX136" fmla="*/ 644 w 10000"/>
                <a:gd name="connsiteY136" fmla="*/ 6992 h 10000"/>
                <a:gd name="connsiteX137" fmla="*/ 820 w 10000"/>
                <a:gd name="connsiteY137" fmla="*/ 7174 h 10000"/>
                <a:gd name="connsiteX138" fmla="*/ 1283 w 10000"/>
                <a:gd name="connsiteY138" fmla="*/ 7163 h 10000"/>
                <a:gd name="connsiteX139" fmla="*/ 1466 w 10000"/>
                <a:gd name="connsiteY139" fmla="*/ 7092 h 10000"/>
                <a:gd name="connsiteX140" fmla="*/ 1766 w 10000"/>
                <a:gd name="connsiteY140" fmla="*/ 7344 h 10000"/>
                <a:gd name="connsiteX141" fmla="*/ 1956 w 10000"/>
                <a:gd name="connsiteY141" fmla="*/ 7087 h 10000"/>
                <a:gd name="connsiteX142" fmla="*/ 2382 w 10000"/>
                <a:gd name="connsiteY142" fmla="*/ 6861 h 10000"/>
                <a:gd name="connsiteX143" fmla="*/ 2536 w 10000"/>
                <a:gd name="connsiteY143" fmla="*/ 6489 h 10000"/>
                <a:gd name="connsiteX144" fmla="*/ 2648 w 10000"/>
                <a:gd name="connsiteY144" fmla="*/ 6439 h 10000"/>
                <a:gd name="connsiteX145" fmla="*/ 2648 w 10000"/>
                <a:gd name="connsiteY145" fmla="*/ 6379 h 10000"/>
                <a:gd name="connsiteX146" fmla="*/ 2693 w 10000"/>
                <a:gd name="connsiteY146" fmla="*/ 6379 h 10000"/>
                <a:gd name="connsiteX147" fmla="*/ 2682 w 10000"/>
                <a:gd name="connsiteY147" fmla="*/ 6230 h 10000"/>
                <a:gd name="connsiteX148" fmla="*/ 2820 w 10000"/>
                <a:gd name="connsiteY148" fmla="*/ 6285 h 10000"/>
                <a:gd name="connsiteX149" fmla="*/ 2839 w 10000"/>
                <a:gd name="connsiteY149" fmla="*/ 6159 h 10000"/>
                <a:gd name="connsiteX150" fmla="*/ 2921 w 10000"/>
                <a:gd name="connsiteY150" fmla="*/ 6230 h 10000"/>
                <a:gd name="connsiteX151" fmla="*/ 2981 w 10000"/>
                <a:gd name="connsiteY151" fmla="*/ 6126 h 10000"/>
                <a:gd name="connsiteX152" fmla="*/ 3078 w 10000"/>
                <a:gd name="connsiteY152" fmla="*/ 6154 h 10000"/>
                <a:gd name="connsiteX153" fmla="*/ 3164 w 10000"/>
                <a:gd name="connsiteY153" fmla="*/ 6055 h 10000"/>
                <a:gd name="connsiteX154" fmla="*/ 3328 w 10000"/>
                <a:gd name="connsiteY154" fmla="*/ 6192 h 10000"/>
                <a:gd name="connsiteX155" fmla="*/ 3411 w 10000"/>
                <a:gd name="connsiteY155" fmla="*/ 6197 h 10000"/>
                <a:gd name="connsiteX156" fmla="*/ 3437 w 10000"/>
                <a:gd name="connsiteY156" fmla="*/ 6307 h 10000"/>
                <a:gd name="connsiteX157" fmla="*/ 3591 w 10000"/>
                <a:gd name="connsiteY157" fmla="*/ 6236 h 10000"/>
                <a:gd name="connsiteX158" fmla="*/ 3576 w 10000"/>
                <a:gd name="connsiteY158" fmla="*/ 6357 h 10000"/>
                <a:gd name="connsiteX159" fmla="*/ 3632 w 10000"/>
                <a:gd name="connsiteY159" fmla="*/ 6341 h 10000"/>
                <a:gd name="connsiteX160" fmla="*/ 3699 w 10000"/>
                <a:gd name="connsiteY160" fmla="*/ 6428 h 10000"/>
                <a:gd name="connsiteX161" fmla="*/ 3703 w 10000"/>
                <a:gd name="connsiteY161" fmla="*/ 6301 h 10000"/>
                <a:gd name="connsiteX162" fmla="*/ 3882 w 10000"/>
                <a:gd name="connsiteY162" fmla="*/ 6341 h 10000"/>
                <a:gd name="connsiteX163" fmla="*/ 3946 w 10000"/>
                <a:gd name="connsiteY163" fmla="*/ 6511 h 10000"/>
                <a:gd name="connsiteX164" fmla="*/ 4047 w 10000"/>
                <a:gd name="connsiteY164" fmla="*/ 6494 h 10000"/>
                <a:gd name="connsiteX165" fmla="*/ 4091 w 10000"/>
                <a:gd name="connsiteY165" fmla="*/ 6417 h 10000"/>
                <a:gd name="connsiteX166" fmla="*/ 4192 w 10000"/>
                <a:gd name="connsiteY166" fmla="*/ 6735 h 10000"/>
                <a:gd name="connsiteX167" fmla="*/ 4155 w 10000"/>
                <a:gd name="connsiteY167" fmla="*/ 6987 h 10000"/>
                <a:gd name="connsiteX168" fmla="*/ 4207 w 10000"/>
                <a:gd name="connsiteY168" fmla="*/ 7114 h 10000"/>
                <a:gd name="connsiteX169" fmla="*/ 4278 w 10000"/>
                <a:gd name="connsiteY169" fmla="*/ 7119 h 10000"/>
                <a:gd name="connsiteX170" fmla="*/ 4387 w 10000"/>
                <a:gd name="connsiteY170" fmla="*/ 7256 h 10000"/>
                <a:gd name="connsiteX171" fmla="*/ 4431 w 10000"/>
                <a:gd name="connsiteY171" fmla="*/ 7152 h 10000"/>
                <a:gd name="connsiteX172" fmla="*/ 4480 w 10000"/>
                <a:gd name="connsiteY172" fmla="*/ 7322 h 10000"/>
                <a:gd name="connsiteX173" fmla="*/ 4541 w 10000"/>
                <a:gd name="connsiteY173" fmla="*/ 7662 h 10000"/>
                <a:gd name="connsiteX174" fmla="*/ 4720 w 10000"/>
                <a:gd name="connsiteY174" fmla="*/ 7739 h 10000"/>
                <a:gd name="connsiteX175" fmla="*/ 4761 w 10000"/>
                <a:gd name="connsiteY175" fmla="*/ 8183 h 10000"/>
                <a:gd name="connsiteX176" fmla="*/ 4914 w 10000"/>
                <a:gd name="connsiteY176" fmla="*/ 8276 h 10000"/>
                <a:gd name="connsiteX177" fmla="*/ 4757 w 10000"/>
                <a:gd name="connsiteY177" fmla="*/ 8370 h 10000"/>
                <a:gd name="connsiteX178" fmla="*/ 4705 w 10000"/>
                <a:gd name="connsiteY178" fmla="*/ 8260 h 10000"/>
                <a:gd name="connsiteX179" fmla="*/ 4645 w 10000"/>
                <a:gd name="connsiteY179" fmla="*/ 8403 h 10000"/>
                <a:gd name="connsiteX180" fmla="*/ 4491 w 10000"/>
                <a:gd name="connsiteY180" fmla="*/ 8287 h 10000"/>
                <a:gd name="connsiteX181" fmla="*/ 4405 w 10000"/>
                <a:gd name="connsiteY181" fmla="*/ 8452 h 10000"/>
                <a:gd name="connsiteX182" fmla="*/ 4226 w 10000"/>
                <a:gd name="connsiteY182" fmla="*/ 8331 h 10000"/>
                <a:gd name="connsiteX183" fmla="*/ 4312 w 10000"/>
                <a:gd name="connsiteY183" fmla="*/ 8699 h 10000"/>
                <a:gd name="connsiteX184" fmla="*/ 4304 w 10000"/>
                <a:gd name="connsiteY184" fmla="*/ 8967 h 10000"/>
                <a:gd name="connsiteX185" fmla="*/ 4189 w 10000"/>
                <a:gd name="connsiteY185" fmla="*/ 9088 h 10000"/>
                <a:gd name="connsiteX186" fmla="*/ 4226 w 10000"/>
                <a:gd name="connsiteY186" fmla="*/ 9193 h 10000"/>
                <a:gd name="connsiteX187" fmla="*/ 4065 w 10000"/>
                <a:gd name="connsiteY187" fmla="*/ 9412 h 10000"/>
                <a:gd name="connsiteX188" fmla="*/ 4129 w 10000"/>
                <a:gd name="connsiteY188" fmla="*/ 9647 h 10000"/>
                <a:gd name="connsiteX189" fmla="*/ 3972 w 10000"/>
                <a:gd name="connsiteY189" fmla="*/ 9681 h 10000"/>
                <a:gd name="connsiteX190" fmla="*/ 3931 w 10000"/>
                <a:gd name="connsiteY190" fmla="*/ 9741 h 10000"/>
                <a:gd name="connsiteX191" fmla="*/ 3998 w 10000"/>
                <a:gd name="connsiteY191" fmla="*/ 9785 h 10000"/>
                <a:gd name="connsiteX192" fmla="*/ 4118 w 10000"/>
                <a:gd name="connsiteY192" fmla="*/ 9944 h 10000"/>
                <a:gd name="connsiteX193" fmla="*/ 4312 w 10000"/>
                <a:gd name="connsiteY193" fmla="*/ 9999 h 10000"/>
                <a:gd name="connsiteX194" fmla="*/ 4319 w 10000"/>
                <a:gd name="connsiteY194" fmla="*/ 9851 h 10000"/>
                <a:gd name="connsiteX195" fmla="*/ 4387 w 10000"/>
                <a:gd name="connsiteY195" fmla="*/ 9856 h 10000"/>
                <a:gd name="connsiteX196" fmla="*/ 4675 w 10000"/>
                <a:gd name="connsiteY196" fmla="*/ 9603 h 10000"/>
                <a:gd name="connsiteX197" fmla="*/ 4866 w 10000"/>
                <a:gd name="connsiteY197" fmla="*/ 9845 h 10000"/>
                <a:gd name="connsiteX198" fmla="*/ 4866 w 10000"/>
                <a:gd name="connsiteY198" fmla="*/ 9862 h 10000"/>
                <a:gd name="connsiteX199" fmla="*/ 4896 w 10000"/>
                <a:gd name="connsiteY199" fmla="*/ 9703 h 10000"/>
                <a:gd name="connsiteX200" fmla="*/ 4843 w 10000"/>
                <a:gd name="connsiteY200" fmla="*/ 9570 h 10000"/>
                <a:gd name="connsiteX201" fmla="*/ 4776 w 10000"/>
                <a:gd name="connsiteY201" fmla="*/ 9549 h 10000"/>
                <a:gd name="connsiteX202" fmla="*/ 4821 w 10000"/>
                <a:gd name="connsiteY202" fmla="*/ 9466 h 10000"/>
                <a:gd name="connsiteX203" fmla="*/ 4806 w 10000"/>
                <a:gd name="connsiteY203" fmla="*/ 9444 h 10000"/>
                <a:gd name="connsiteX204" fmla="*/ 4750 w 10000"/>
                <a:gd name="connsiteY204" fmla="*/ 9439 h 10000"/>
                <a:gd name="connsiteX205" fmla="*/ 4720 w 10000"/>
                <a:gd name="connsiteY205" fmla="*/ 9121 h 10000"/>
                <a:gd name="connsiteX206" fmla="*/ 4761 w 10000"/>
                <a:gd name="connsiteY206" fmla="*/ 9105 h 10000"/>
                <a:gd name="connsiteX207" fmla="*/ 4783 w 10000"/>
                <a:gd name="connsiteY207" fmla="*/ 9253 h 10000"/>
                <a:gd name="connsiteX208" fmla="*/ 4836 w 10000"/>
                <a:gd name="connsiteY208" fmla="*/ 9384 h 10000"/>
                <a:gd name="connsiteX209" fmla="*/ 4881 w 10000"/>
                <a:gd name="connsiteY209" fmla="*/ 9302 h 10000"/>
                <a:gd name="connsiteX210" fmla="*/ 4869 w 10000"/>
                <a:gd name="connsiteY210" fmla="*/ 9220 h 10000"/>
                <a:gd name="connsiteX211" fmla="*/ 4940 w 10000"/>
                <a:gd name="connsiteY211" fmla="*/ 9203 h 10000"/>
                <a:gd name="connsiteX212" fmla="*/ 4903 w 10000"/>
                <a:gd name="connsiteY212" fmla="*/ 9034 h 10000"/>
                <a:gd name="connsiteX213" fmla="*/ 5000 w 10000"/>
                <a:gd name="connsiteY213" fmla="*/ 9061 h 10000"/>
                <a:gd name="connsiteX214" fmla="*/ 5004 w 10000"/>
                <a:gd name="connsiteY214" fmla="*/ 8972 h 10000"/>
                <a:gd name="connsiteX215" fmla="*/ 5041 w 10000"/>
                <a:gd name="connsiteY215" fmla="*/ 9039 h 10000"/>
                <a:gd name="connsiteX216" fmla="*/ 5206 w 10000"/>
                <a:gd name="connsiteY216" fmla="*/ 8781 h 10000"/>
                <a:gd name="connsiteX217" fmla="*/ 5112 w 10000"/>
                <a:gd name="connsiteY217" fmla="*/ 8584 h 10000"/>
                <a:gd name="connsiteX218" fmla="*/ 4937 w 10000"/>
                <a:gd name="connsiteY218" fmla="*/ 8425 h 10000"/>
                <a:gd name="connsiteX219" fmla="*/ 5037 w 10000"/>
                <a:gd name="connsiteY219" fmla="*/ 8370 h 10000"/>
                <a:gd name="connsiteX220" fmla="*/ 5183 w 10000"/>
                <a:gd name="connsiteY220" fmla="*/ 8633 h 10000"/>
                <a:gd name="connsiteX221" fmla="*/ 5292 w 10000"/>
                <a:gd name="connsiteY221" fmla="*/ 8199 h 10000"/>
                <a:gd name="connsiteX222" fmla="*/ 5299 w 10000"/>
                <a:gd name="connsiteY222" fmla="*/ 8030 h 10000"/>
                <a:gd name="connsiteX223" fmla="*/ 5482 w 10000"/>
                <a:gd name="connsiteY223" fmla="*/ 7942 h 10000"/>
                <a:gd name="connsiteX224" fmla="*/ 5550 w 10000"/>
                <a:gd name="connsiteY224" fmla="*/ 7607 h 10000"/>
                <a:gd name="connsiteX225" fmla="*/ 5561 w 10000"/>
                <a:gd name="connsiteY225" fmla="*/ 7734 h 10000"/>
                <a:gd name="connsiteX226" fmla="*/ 5677 w 10000"/>
                <a:gd name="connsiteY226" fmla="*/ 7596 h 10000"/>
                <a:gd name="connsiteX227" fmla="*/ 5759 w 10000"/>
                <a:gd name="connsiteY227" fmla="*/ 7579 h 10000"/>
                <a:gd name="connsiteX228" fmla="*/ 5842 w 10000"/>
                <a:gd name="connsiteY228" fmla="*/ 7207 h 10000"/>
                <a:gd name="connsiteX229" fmla="*/ 5916 w 10000"/>
                <a:gd name="connsiteY229" fmla="*/ 7486 h 10000"/>
                <a:gd name="connsiteX230" fmla="*/ 6137 w 10000"/>
                <a:gd name="connsiteY230" fmla="*/ 7563 h 10000"/>
                <a:gd name="connsiteX231" fmla="*/ 5969 w 10000"/>
                <a:gd name="connsiteY231" fmla="*/ 7618 h 10000"/>
                <a:gd name="connsiteX232" fmla="*/ 5954 w 10000"/>
                <a:gd name="connsiteY232" fmla="*/ 7679 h 10000"/>
                <a:gd name="connsiteX233" fmla="*/ 5786 w 10000"/>
                <a:gd name="connsiteY233" fmla="*/ 7690 h 10000"/>
                <a:gd name="connsiteX234" fmla="*/ 5700 w 10000"/>
                <a:gd name="connsiteY234" fmla="*/ 7723 h 10000"/>
                <a:gd name="connsiteX235" fmla="*/ 5767 w 10000"/>
                <a:gd name="connsiteY235" fmla="*/ 7772 h 10000"/>
                <a:gd name="connsiteX236" fmla="*/ 5827 w 10000"/>
                <a:gd name="connsiteY236" fmla="*/ 7756 h 10000"/>
                <a:gd name="connsiteX237" fmla="*/ 5991 w 10000"/>
                <a:gd name="connsiteY237" fmla="*/ 7789 h 10000"/>
                <a:gd name="connsiteX238" fmla="*/ 5804 w 10000"/>
                <a:gd name="connsiteY238" fmla="*/ 7964 h 10000"/>
                <a:gd name="connsiteX239" fmla="*/ 5872 w 10000"/>
                <a:gd name="connsiteY239" fmla="*/ 8008 h 10000"/>
                <a:gd name="connsiteX240" fmla="*/ 6043 w 10000"/>
                <a:gd name="connsiteY240" fmla="*/ 7958 h 10000"/>
                <a:gd name="connsiteX241" fmla="*/ 6275 w 10000"/>
                <a:gd name="connsiteY241" fmla="*/ 8101 h 10000"/>
                <a:gd name="connsiteX242" fmla="*/ 6575 w 10000"/>
                <a:gd name="connsiteY242" fmla="*/ 7909 h 10000"/>
                <a:gd name="connsiteX243" fmla="*/ 6870 w 10000"/>
                <a:gd name="connsiteY243" fmla="*/ 7887 h 10000"/>
                <a:gd name="connsiteX244" fmla="*/ 6915 w 10000"/>
                <a:gd name="connsiteY244" fmla="*/ 7745 h 10000"/>
                <a:gd name="connsiteX245" fmla="*/ 6993 w 10000"/>
                <a:gd name="connsiteY245" fmla="*/ 7958 h 10000"/>
                <a:gd name="connsiteX246" fmla="*/ 7075 w 10000"/>
                <a:gd name="connsiteY246" fmla="*/ 7986 h 10000"/>
                <a:gd name="connsiteX247" fmla="*/ 7045 w 10000"/>
                <a:gd name="connsiteY247" fmla="*/ 8134 h 10000"/>
                <a:gd name="connsiteX248" fmla="*/ 6788 w 10000"/>
                <a:gd name="connsiteY248" fmla="*/ 8281 h 10000"/>
                <a:gd name="connsiteX249" fmla="*/ 6769 w 10000"/>
                <a:gd name="connsiteY249" fmla="*/ 8386 h 10000"/>
                <a:gd name="connsiteX250" fmla="*/ 6627 w 10000"/>
                <a:gd name="connsiteY250" fmla="*/ 8523 h 10000"/>
                <a:gd name="connsiteX251" fmla="*/ 6623 w 10000"/>
                <a:gd name="connsiteY251" fmla="*/ 8649 h 10000"/>
                <a:gd name="connsiteX252" fmla="*/ 6537 w 10000"/>
                <a:gd name="connsiteY252" fmla="*/ 8704 h 10000"/>
                <a:gd name="connsiteX253" fmla="*/ 6428 w 10000"/>
                <a:gd name="connsiteY253" fmla="*/ 8989 h 10000"/>
                <a:gd name="connsiteX254" fmla="*/ 6582 w 10000"/>
                <a:gd name="connsiteY254" fmla="*/ 9001 h 10000"/>
                <a:gd name="connsiteX255" fmla="*/ 6672 w 10000"/>
                <a:gd name="connsiteY255" fmla="*/ 8879 h 10000"/>
                <a:gd name="connsiteX256" fmla="*/ 6769 w 10000"/>
                <a:gd name="connsiteY256" fmla="*/ 8912 h 10000"/>
                <a:gd name="connsiteX257" fmla="*/ 6814 w 10000"/>
                <a:gd name="connsiteY257" fmla="*/ 8786 h 10000"/>
                <a:gd name="connsiteX258" fmla="*/ 6877 w 10000"/>
                <a:gd name="connsiteY258" fmla="*/ 9001 h 10000"/>
                <a:gd name="connsiteX259" fmla="*/ 7060 w 10000"/>
                <a:gd name="connsiteY259" fmla="*/ 8994 h 10000"/>
                <a:gd name="connsiteX260" fmla="*/ 7217 w 10000"/>
                <a:gd name="connsiteY260" fmla="*/ 9362 h 10000"/>
                <a:gd name="connsiteX261" fmla="*/ 7232 w 10000"/>
                <a:gd name="connsiteY261" fmla="*/ 9675 h 10000"/>
                <a:gd name="connsiteX262" fmla="*/ 7176 w 10000"/>
                <a:gd name="connsiteY262" fmla="*/ 9692 h 10000"/>
                <a:gd name="connsiteX263" fmla="*/ 7187 w 10000"/>
                <a:gd name="connsiteY263" fmla="*/ 9780 h 10000"/>
                <a:gd name="connsiteX264" fmla="*/ 7423 w 10000"/>
                <a:gd name="connsiteY264" fmla="*/ 9900 h 10000"/>
                <a:gd name="connsiteX265" fmla="*/ 7741 w 10000"/>
                <a:gd name="connsiteY265" fmla="*/ 9565 h 10000"/>
                <a:gd name="connsiteX266" fmla="*/ 7879 w 10000"/>
                <a:gd name="connsiteY266" fmla="*/ 9176 h 10000"/>
                <a:gd name="connsiteX267" fmla="*/ 8107 w 10000"/>
                <a:gd name="connsiteY267" fmla="*/ 9023 h 10000"/>
                <a:gd name="connsiteX268" fmla="*/ 8182 w 10000"/>
                <a:gd name="connsiteY268" fmla="*/ 8841 h 10000"/>
                <a:gd name="connsiteX269" fmla="*/ 8268 w 10000"/>
                <a:gd name="connsiteY269" fmla="*/ 8786 h 10000"/>
                <a:gd name="connsiteX270" fmla="*/ 8320 w 10000"/>
                <a:gd name="connsiteY270" fmla="*/ 8512 h 10000"/>
                <a:gd name="connsiteX271" fmla="*/ 8542 w 10000"/>
                <a:gd name="connsiteY271" fmla="*/ 8617 h 10000"/>
                <a:gd name="connsiteX272" fmla="*/ 8672 w 10000"/>
                <a:gd name="connsiteY272" fmla="*/ 8474 h 10000"/>
                <a:gd name="connsiteX273" fmla="*/ 8855 w 10000"/>
                <a:gd name="connsiteY273" fmla="*/ 8343 h 10000"/>
                <a:gd name="connsiteX274" fmla="*/ 8781 w 10000"/>
                <a:gd name="connsiteY274" fmla="*/ 8128 h 10000"/>
                <a:gd name="connsiteX275" fmla="*/ 7708 w 10000"/>
                <a:gd name="connsiteY275" fmla="*/ 7991 h 10000"/>
                <a:gd name="connsiteX276" fmla="*/ 7682 w 10000"/>
                <a:gd name="connsiteY276" fmla="*/ 7904 h 10000"/>
                <a:gd name="connsiteX277" fmla="*/ 7607 w 10000"/>
                <a:gd name="connsiteY277" fmla="*/ 8002 h 10000"/>
                <a:gd name="connsiteX278" fmla="*/ 7715 w 10000"/>
                <a:gd name="connsiteY278" fmla="*/ 7761 h 10000"/>
                <a:gd name="connsiteX279" fmla="*/ 7674 w 10000"/>
                <a:gd name="connsiteY279" fmla="*/ 7717 h 10000"/>
                <a:gd name="connsiteX280" fmla="*/ 7554 w 10000"/>
                <a:gd name="connsiteY280" fmla="*/ 7915 h 10000"/>
                <a:gd name="connsiteX281" fmla="*/ 7618 w 10000"/>
                <a:gd name="connsiteY281" fmla="*/ 7712 h 10000"/>
                <a:gd name="connsiteX282" fmla="*/ 7532 w 10000"/>
                <a:gd name="connsiteY282" fmla="*/ 7767 h 10000"/>
                <a:gd name="connsiteX283" fmla="*/ 7419 w 10000"/>
                <a:gd name="connsiteY283" fmla="*/ 7717 h 10000"/>
                <a:gd name="connsiteX284" fmla="*/ 7333 w 10000"/>
                <a:gd name="connsiteY284" fmla="*/ 7794 h 10000"/>
                <a:gd name="connsiteX285" fmla="*/ 7240 w 10000"/>
                <a:gd name="connsiteY285" fmla="*/ 7728 h 10000"/>
                <a:gd name="connsiteX286" fmla="*/ 7087 w 10000"/>
                <a:gd name="connsiteY286" fmla="*/ 7717 h 10000"/>
                <a:gd name="connsiteX287" fmla="*/ 7090 w 10000"/>
                <a:gd name="connsiteY287" fmla="*/ 7547 h 10000"/>
                <a:gd name="connsiteX288" fmla="*/ 7229 w 10000"/>
                <a:gd name="connsiteY288" fmla="*/ 7662 h 10000"/>
                <a:gd name="connsiteX289" fmla="*/ 7273 w 10000"/>
                <a:gd name="connsiteY289" fmla="*/ 7541 h 10000"/>
                <a:gd name="connsiteX290" fmla="*/ 7236 w 10000"/>
                <a:gd name="connsiteY290" fmla="*/ 7410 h 10000"/>
                <a:gd name="connsiteX291" fmla="*/ 7341 w 10000"/>
                <a:gd name="connsiteY291" fmla="*/ 7547 h 10000"/>
                <a:gd name="connsiteX292" fmla="*/ 7483 w 10000"/>
                <a:gd name="connsiteY292" fmla="*/ 7536 h 10000"/>
                <a:gd name="connsiteX293" fmla="*/ 7506 w 10000"/>
                <a:gd name="connsiteY293" fmla="*/ 7685 h 10000"/>
                <a:gd name="connsiteX294" fmla="*/ 7547 w 10000"/>
                <a:gd name="connsiteY294" fmla="*/ 7685 h 10000"/>
                <a:gd name="connsiteX295" fmla="*/ 7558 w 10000"/>
                <a:gd name="connsiteY295" fmla="*/ 7415 h 10000"/>
                <a:gd name="connsiteX296" fmla="*/ 7607 w 10000"/>
                <a:gd name="connsiteY296" fmla="*/ 7585 h 10000"/>
                <a:gd name="connsiteX297" fmla="*/ 7693 w 10000"/>
                <a:gd name="connsiteY297" fmla="*/ 7590 h 10000"/>
                <a:gd name="connsiteX298" fmla="*/ 7629 w 10000"/>
                <a:gd name="connsiteY298" fmla="*/ 7333 h 10000"/>
                <a:gd name="connsiteX299" fmla="*/ 7786 w 10000"/>
                <a:gd name="connsiteY299" fmla="*/ 7240 h 10000"/>
                <a:gd name="connsiteX300" fmla="*/ 7779 w 10000"/>
                <a:gd name="connsiteY300" fmla="*/ 6987 h 10000"/>
                <a:gd name="connsiteX301" fmla="*/ 7887 w 10000"/>
                <a:gd name="connsiteY301" fmla="*/ 7081 h 10000"/>
                <a:gd name="connsiteX302" fmla="*/ 7906 w 10000"/>
                <a:gd name="connsiteY302" fmla="*/ 7015 h 10000"/>
                <a:gd name="connsiteX303" fmla="*/ 7775 w 10000"/>
                <a:gd name="connsiteY303" fmla="*/ 6735 h 10000"/>
                <a:gd name="connsiteX304" fmla="*/ 7950 w 10000"/>
                <a:gd name="connsiteY304" fmla="*/ 6894 h 10000"/>
                <a:gd name="connsiteX305" fmla="*/ 8171 w 10000"/>
                <a:gd name="connsiteY305" fmla="*/ 6511 h 10000"/>
                <a:gd name="connsiteX306" fmla="*/ 8384 w 10000"/>
                <a:gd name="connsiteY306" fmla="*/ 6483 h 10000"/>
                <a:gd name="connsiteX307" fmla="*/ 8429 w 10000"/>
                <a:gd name="connsiteY30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7569 w 10000"/>
                <a:gd name="connsiteY37" fmla="*/ 1873 h 10000"/>
                <a:gd name="connsiteX38" fmla="*/ 7165 w 10000"/>
                <a:gd name="connsiteY38" fmla="*/ 1996 h 10000"/>
                <a:gd name="connsiteX39" fmla="*/ 6892 w 10000"/>
                <a:gd name="connsiteY39" fmla="*/ 1827 h 10000"/>
                <a:gd name="connsiteX40" fmla="*/ 6922 w 10000"/>
                <a:gd name="connsiteY40" fmla="*/ 1728 h 10000"/>
                <a:gd name="connsiteX41" fmla="*/ 6765 w 10000"/>
                <a:gd name="connsiteY41" fmla="*/ 1398 h 10000"/>
                <a:gd name="connsiteX42" fmla="*/ 6799 w 10000"/>
                <a:gd name="connsiteY42" fmla="*/ 1256 h 10000"/>
                <a:gd name="connsiteX43" fmla="*/ 6728 w 10000"/>
                <a:gd name="connsiteY43" fmla="*/ 1229 h 10000"/>
                <a:gd name="connsiteX44" fmla="*/ 6657 w 10000"/>
                <a:gd name="connsiteY44" fmla="*/ 1311 h 10000"/>
                <a:gd name="connsiteX45" fmla="*/ 6593 w 10000"/>
                <a:gd name="connsiteY45" fmla="*/ 1114 h 10000"/>
                <a:gd name="connsiteX46" fmla="*/ 6391 w 10000"/>
                <a:gd name="connsiteY46" fmla="*/ 1311 h 10000"/>
                <a:gd name="connsiteX47" fmla="*/ 6309 w 10000"/>
                <a:gd name="connsiteY47" fmla="*/ 1223 h 10000"/>
                <a:gd name="connsiteX48" fmla="*/ 6126 w 10000"/>
                <a:gd name="connsiteY48" fmla="*/ 1273 h 10000"/>
                <a:gd name="connsiteX49" fmla="*/ 6144 w 10000"/>
                <a:gd name="connsiteY49" fmla="*/ 1125 h 10000"/>
                <a:gd name="connsiteX50" fmla="*/ 6073 w 10000"/>
                <a:gd name="connsiteY50" fmla="*/ 1119 h 10000"/>
                <a:gd name="connsiteX51" fmla="*/ 6040 w 10000"/>
                <a:gd name="connsiteY51" fmla="*/ 910 h 10000"/>
                <a:gd name="connsiteX52" fmla="*/ 5942 w 10000"/>
                <a:gd name="connsiteY52" fmla="*/ 795 h 10000"/>
                <a:gd name="connsiteX53" fmla="*/ 6144 w 10000"/>
                <a:gd name="connsiteY53" fmla="*/ 620 h 10000"/>
                <a:gd name="connsiteX54" fmla="*/ 5901 w 10000"/>
                <a:gd name="connsiteY54" fmla="*/ 395 h 10000"/>
                <a:gd name="connsiteX55" fmla="*/ 5853 w 10000"/>
                <a:gd name="connsiteY55" fmla="*/ 142 h 10000"/>
                <a:gd name="connsiteX56" fmla="*/ 5741 w 10000"/>
                <a:gd name="connsiteY56" fmla="*/ 110 h 10000"/>
                <a:gd name="connsiteX57" fmla="*/ 5647 w 10000"/>
                <a:gd name="connsiteY57" fmla="*/ 0 h 10000"/>
                <a:gd name="connsiteX58" fmla="*/ 5547 w 10000"/>
                <a:gd name="connsiteY58" fmla="*/ 120 h 10000"/>
                <a:gd name="connsiteX59" fmla="*/ 5377 w 10000"/>
                <a:gd name="connsiteY59" fmla="*/ 110 h 10000"/>
                <a:gd name="connsiteX60" fmla="*/ 5232 w 10000"/>
                <a:gd name="connsiteY60" fmla="*/ 351 h 10000"/>
                <a:gd name="connsiteX61" fmla="*/ 4952 w 10000"/>
                <a:gd name="connsiteY61" fmla="*/ 329 h 10000"/>
                <a:gd name="connsiteX62" fmla="*/ 4884 w 10000"/>
                <a:gd name="connsiteY62" fmla="*/ 680 h 10000"/>
                <a:gd name="connsiteX63" fmla="*/ 4701 w 10000"/>
                <a:gd name="connsiteY63" fmla="*/ 707 h 10000"/>
                <a:gd name="connsiteX64" fmla="*/ 4795 w 10000"/>
                <a:gd name="connsiteY64" fmla="*/ 844 h 10000"/>
                <a:gd name="connsiteX65" fmla="*/ 4739 w 10000"/>
                <a:gd name="connsiteY65" fmla="*/ 899 h 10000"/>
                <a:gd name="connsiteX66" fmla="*/ 4612 w 10000"/>
                <a:gd name="connsiteY66" fmla="*/ 894 h 10000"/>
                <a:gd name="connsiteX67" fmla="*/ 4439 w 10000"/>
                <a:gd name="connsiteY67" fmla="*/ 1026 h 10000"/>
                <a:gd name="connsiteX68" fmla="*/ 4252 w 10000"/>
                <a:gd name="connsiteY68" fmla="*/ 1668 h 10000"/>
                <a:gd name="connsiteX69" fmla="*/ 4308 w 10000"/>
                <a:gd name="connsiteY69" fmla="*/ 2090 h 10000"/>
                <a:gd name="connsiteX70" fmla="*/ 4121 w 10000"/>
                <a:gd name="connsiteY70" fmla="*/ 1865 h 10000"/>
                <a:gd name="connsiteX71" fmla="*/ 3849 w 10000"/>
                <a:gd name="connsiteY71" fmla="*/ 1991 h 10000"/>
                <a:gd name="connsiteX72" fmla="*/ 3822 w 10000"/>
                <a:gd name="connsiteY72" fmla="*/ 1931 h 10000"/>
                <a:gd name="connsiteX73" fmla="*/ 3695 w 10000"/>
                <a:gd name="connsiteY73" fmla="*/ 2002 h 10000"/>
                <a:gd name="connsiteX74" fmla="*/ 3621 w 10000"/>
                <a:gd name="connsiteY74" fmla="*/ 2144 h 10000"/>
                <a:gd name="connsiteX75" fmla="*/ 3561 w 10000"/>
                <a:gd name="connsiteY75" fmla="*/ 1909 h 10000"/>
                <a:gd name="connsiteX76" fmla="*/ 3478 w 10000"/>
                <a:gd name="connsiteY76" fmla="*/ 1843 h 10000"/>
                <a:gd name="connsiteX77" fmla="*/ 3444 w 10000"/>
                <a:gd name="connsiteY77" fmla="*/ 1964 h 10000"/>
                <a:gd name="connsiteX78" fmla="*/ 3332 w 10000"/>
                <a:gd name="connsiteY78" fmla="*/ 1996 h 10000"/>
                <a:gd name="connsiteX79" fmla="*/ 3272 w 10000"/>
                <a:gd name="connsiteY79" fmla="*/ 2161 h 10000"/>
                <a:gd name="connsiteX80" fmla="*/ 3235 w 10000"/>
                <a:gd name="connsiteY80" fmla="*/ 2013 h 10000"/>
                <a:gd name="connsiteX81" fmla="*/ 3123 w 10000"/>
                <a:gd name="connsiteY81" fmla="*/ 2024 h 10000"/>
                <a:gd name="connsiteX82" fmla="*/ 3078 w 10000"/>
                <a:gd name="connsiteY82" fmla="*/ 2128 h 10000"/>
                <a:gd name="connsiteX83" fmla="*/ 3011 w 10000"/>
                <a:gd name="connsiteY83" fmla="*/ 1975 h 10000"/>
                <a:gd name="connsiteX84" fmla="*/ 2895 w 10000"/>
                <a:gd name="connsiteY84" fmla="*/ 2117 h 10000"/>
                <a:gd name="connsiteX85" fmla="*/ 2783 w 10000"/>
                <a:gd name="connsiteY85" fmla="*/ 2106 h 10000"/>
                <a:gd name="connsiteX86" fmla="*/ 2779 w 10000"/>
                <a:gd name="connsiteY86" fmla="*/ 2276 h 10000"/>
                <a:gd name="connsiteX87" fmla="*/ 2727 w 10000"/>
                <a:gd name="connsiteY87" fmla="*/ 2144 h 10000"/>
                <a:gd name="connsiteX88" fmla="*/ 2559 w 10000"/>
                <a:gd name="connsiteY88" fmla="*/ 2155 h 10000"/>
                <a:gd name="connsiteX89" fmla="*/ 2438 w 10000"/>
                <a:gd name="connsiteY89" fmla="*/ 1980 h 10000"/>
                <a:gd name="connsiteX90" fmla="*/ 2293 w 10000"/>
                <a:gd name="connsiteY90" fmla="*/ 2073 h 10000"/>
                <a:gd name="connsiteX91" fmla="*/ 2143 w 10000"/>
                <a:gd name="connsiteY91" fmla="*/ 1958 h 10000"/>
                <a:gd name="connsiteX92" fmla="*/ 2057 w 10000"/>
                <a:gd name="connsiteY92" fmla="*/ 2035 h 10000"/>
                <a:gd name="connsiteX93" fmla="*/ 1975 w 10000"/>
                <a:gd name="connsiteY93" fmla="*/ 1947 h 10000"/>
                <a:gd name="connsiteX94" fmla="*/ 1852 w 10000"/>
                <a:gd name="connsiteY94" fmla="*/ 1936 h 10000"/>
                <a:gd name="connsiteX95" fmla="*/ 1669 w 10000"/>
                <a:gd name="connsiteY95" fmla="*/ 1925 h 10000"/>
                <a:gd name="connsiteX96" fmla="*/ 1444 w 10000"/>
                <a:gd name="connsiteY96" fmla="*/ 1991 h 10000"/>
                <a:gd name="connsiteX97" fmla="*/ 1205 w 10000"/>
                <a:gd name="connsiteY97" fmla="*/ 2062 h 10000"/>
                <a:gd name="connsiteX98" fmla="*/ 921 w 10000"/>
                <a:gd name="connsiteY98" fmla="*/ 2166 h 10000"/>
                <a:gd name="connsiteX99" fmla="*/ 797 w 10000"/>
                <a:gd name="connsiteY99" fmla="*/ 2496 h 10000"/>
                <a:gd name="connsiteX100" fmla="*/ 603 w 10000"/>
                <a:gd name="connsiteY100" fmla="*/ 2501 h 10000"/>
                <a:gd name="connsiteX101" fmla="*/ 540 w 10000"/>
                <a:gd name="connsiteY101" fmla="*/ 2687 h 10000"/>
                <a:gd name="connsiteX102" fmla="*/ 558 w 10000"/>
                <a:gd name="connsiteY102" fmla="*/ 2764 h 10000"/>
                <a:gd name="connsiteX103" fmla="*/ 577 w 10000"/>
                <a:gd name="connsiteY103" fmla="*/ 2868 h 10000"/>
                <a:gd name="connsiteX104" fmla="*/ 577 w 10000"/>
                <a:gd name="connsiteY104" fmla="*/ 2868 h 10000"/>
                <a:gd name="connsiteX105" fmla="*/ 577 w 10000"/>
                <a:gd name="connsiteY105" fmla="*/ 2896 h 10000"/>
                <a:gd name="connsiteX106" fmla="*/ 682 w 10000"/>
                <a:gd name="connsiteY106" fmla="*/ 3116 h 10000"/>
                <a:gd name="connsiteX107" fmla="*/ 786 w 10000"/>
                <a:gd name="connsiteY107" fmla="*/ 3351 h 10000"/>
                <a:gd name="connsiteX108" fmla="*/ 921 w 10000"/>
                <a:gd name="connsiteY108" fmla="*/ 3488 h 10000"/>
                <a:gd name="connsiteX109" fmla="*/ 876 w 10000"/>
                <a:gd name="connsiteY109" fmla="*/ 3548 h 10000"/>
                <a:gd name="connsiteX110" fmla="*/ 805 w 10000"/>
                <a:gd name="connsiteY110" fmla="*/ 3603 h 10000"/>
                <a:gd name="connsiteX111" fmla="*/ 887 w 10000"/>
                <a:gd name="connsiteY111" fmla="*/ 3697 h 10000"/>
                <a:gd name="connsiteX112" fmla="*/ 876 w 10000"/>
                <a:gd name="connsiteY112" fmla="*/ 4053 h 10000"/>
                <a:gd name="connsiteX113" fmla="*/ 693 w 10000"/>
                <a:gd name="connsiteY113" fmla="*/ 4124 h 10000"/>
                <a:gd name="connsiteX114" fmla="*/ 498 w 10000"/>
                <a:gd name="connsiteY114" fmla="*/ 4531 h 10000"/>
                <a:gd name="connsiteX115" fmla="*/ 371 w 10000"/>
                <a:gd name="connsiteY115" fmla="*/ 4936 h 10000"/>
                <a:gd name="connsiteX116" fmla="*/ 195 w 10000"/>
                <a:gd name="connsiteY116" fmla="*/ 5260 h 10000"/>
                <a:gd name="connsiteX117" fmla="*/ 270 w 10000"/>
                <a:gd name="connsiteY117" fmla="*/ 5517 h 10000"/>
                <a:gd name="connsiteX118" fmla="*/ 277 w 10000"/>
                <a:gd name="connsiteY118" fmla="*/ 5732 h 10000"/>
                <a:gd name="connsiteX119" fmla="*/ 400 w 10000"/>
                <a:gd name="connsiteY119" fmla="*/ 5841 h 10000"/>
                <a:gd name="connsiteX120" fmla="*/ 382 w 10000"/>
                <a:gd name="connsiteY120" fmla="*/ 5945 h 10000"/>
                <a:gd name="connsiteX121" fmla="*/ 202 w 10000"/>
                <a:gd name="connsiteY121" fmla="*/ 5852 h 10000"/>
                <a:gd name="connsiteX122" fmla="*/ 124 w 10000"/>
                <a:gd name="connsiteY122" fmla="*/ 6099 h 10000"/>
                <a:gd name="connsiteX123" fmla="*/ 105 w 10000"/>
                <a:gd name="connsiteY123" fmla="*/ 6346 h 10000"/>
                <a:gd name="connsiteX124" fmla="*/ 1 w 10000"/>
                <a:gd name="connsiteY124" fmla="*/ 6571 h 10000"/>
                <a:gd name="connsiteX125" fmla="*/ 19 w 10000"/>
                <a:gd name="connsiteY125" fmla="*/ 6779 h 10000"/>
                <a:gd name="connsiteX126" fmla="*/ 90 w 10000"/>
                <a:gd name="connsiteY126" fmla="*/ 6828 h 10000"/>
                <a:gd name="connsiteX127" fmla="*/ 154 w 10000"/>
                <a:gd name="connsiteY127" fmla="*/ 6960 h 10000"/>
                <a:gd name="connsiteX128" fmla="*/ 240 w 10000"/>
                <a:gd name="connsiteY128" fmla="*/ 6943 h 10000"/>
                <a:gd name="connsiteX129" fmla="*/ 292 w 10000"/>
                <a:gd name="connsiteY129" fmla="*/ 7076 h 10000"/>
                <a:gd name="connsiteX130" fmla="*/ 445 w 10000"/>
                <a:gd name="connsiteY130" fmla="*/ 7103 h 10000"/>
                <a:gd name="connsiteX131" fmla="*/ 453 w 10000"/>
                <a:gd name="connsiteY131" fmla="*/ 7251 h 10000"/>
                <a:gd name="connsiteX132" fmla="*/ 494 w 10000"/>
                <a:gd name="connsiteY132" fmla="*/ 7278 h 10000"/>
                <a:gd name="connsiteX133" fmla="*/ 525 w 10000"/>
                <a:gd name="connsiteY133" fmla="*/ 7174 h 10000"/>
                <a:gd name="connsiteX134" fmla="*/ 581 w 10000"/>
                <a:gd name="connsiteY134" fmla="*/ 7196 h 10000"/>
                <a:gd name="connsiteX135" fmla="*/ 644 w 10000"/>
                <a:gd name="connsiteY135" fmla="*/ 6992 h 10000"/>
                <a:gd name="connsiteX136" fmla="*/ 820 w 10000"/>
                <a:gd name="connsiteY136" fmla="*/ 7174 h 10000"/>
                <a:gd name="connsiteX137" fmla="*/ 1283 w 10000"/>
                <a:gd name="connsiteY137" fmla="*/ 7163 h 10000"/>
                <a:gd name="connsiteX138" fmla="*/ 1466 w 10000"/>
                <a:gd name="connsiteY138" fmla="*/ 7092 h 10000"/>
                <a:gd name="connsiteX139" fmla="*/ 1766 w 10000"/>
                <a:gd name="connsiteY139" fmla="*/ 7344 h 10000"/>
                <a:gd name="connsiteX140" fmla="*/ 1956 w 10000"/>
                <a:gd name="connsiteY140" fmla="*/ 7087 h 10000"/>
                <a:gd name="connsiteX141" fmla="*/ 2382 w 10000"/>
                <a:gd name="connsiteY141" fmla="*/ 6861 h 10000"/>
                <a:gd name="connsiteX142" fmla="*/ 2536 w 10000"/>
                <a:gd name="connsiteY142" fmla="*/ 6489 h 10000"/>
                <a:gd name="connsiteX143" fmla="*/ 2648 w 10000"/>
                <a:gd name="connsiteY143" fmla="*/ 6439 h 10000"/>
                <a:gd name="connsiteX144" fmla="*/ 2648 w 10000"/>
                <a:gd name="connsiteY144" fmla="*/ 6379 h 10000"/>
                <a:gd name="connsiteX145" fmla="*/ 2693 w 10000"/>
                <a:gd name="connsiteY145" fmla="*/ 6379 h 10000"/>
                <a:gd name="connsiteX146" fmla="*/ 2682 w 10000"/>
                <a:gd name="connsiteY146" fmla="*/ 6230 h 10000"/>
                <a:gd name="connsiteX147" fmla="*/ 2820 w 10000"/>
                <a:gd name="connsiteY147" fmla="*/ 6285 h 10000"/>
                <a:gd name="connsiteX148" fmla="*/ 2839 w 10000"/>
                <a:gd name="connsiteY148" fmla="*/ 6159 h 10000"/>
                <a:gd name="connsiteX149" fmla="*/ 2921 w 10000"/>
                <a:gd name="connsiteY149" fmla="*/ 6230 h 10000"/>
                <a:gd name="connsiteX150" fmla="*/ 2981 w 10000"/>
                <a:gd name="connsiteY150" fmla="*/ 6126 h 10000"/>
                <a:gd name="connsiteX151" fmla="*/ 3078 w 10000"/>
                <a:gd name="connsiteY151" fmla="*/ 6154 h 10000"/>
                <a:gd name="connsiteX152" fmla="*/ 3164 w 10000"/>
                <a:gd name="connsiteY152" fmla="*/ 6055 h 10000"/>
                <a:gd name="connsiteX153" fmla="*/ 3328 w 10000"/>
                <a:gd name="connsiteY153" fmla="*/ 6192 h 10000"/>
                <a:gd name="connsiteX154" fmla="*/ 3411 w 10000"/>
                <a:gd name="connsiteY154" fmla="*/ 6197 h 10000"/>
                <a:gd name="connsiteX155" fmla="*/ 3437 w 10000"/>
                <a:gd name="connsiteY155" fmla="*/ 6307 h 10000"/>
                <a:gd name="connsiteX156" fmla="*/ 3591 w 10000"/>
                <a:gd name="connsiteY156" fmla="*/ 6236 h 10000"/>
                <a:gd name="connsiteX157" fmla="*/ 3576 w 10000"/>
                <a:gd name="connsiteY157" fmla="*/ 6357 h 10000"/>
                <a:gd name="connsiteX158" fmla="*/ 3632 w 10000"/>
                <a:gd name="connsiteY158" fmla="*/ 6341 h 10000"/>
                <a:gd name="connsiteX159" fmla="*/ 3699 w 10000"/>
                <a:gd name="connsiteY159" fmla="*/ 6428 h 10000"/>
                <a:gd name="connsiteX160" fmla="*/ 3703 w 10000"/>
                <a:gd name="connsiteY160" fmla="*/ 6301 h 10000"/>
                <a:gd name="connsiteX161" fmla="*/ 3882 w 10000"/>
                <a:gd name="connsiteY161" fmla="*/ 6341 h 10000"/>
                <a:gd name="connsiteX162" fmla="*/ 3946 w 10000"/>
                <a:gd name="connsiteY162" fmla="*/ 6511 h 10000"/>
                <a:gd name="connsiteX163" fmla="*/ 4047 w 10000"/>
                <a:gd name="connsiteY163" fmla="*/ 6494 h 10000"/>
                <a:gd name="connsiteX164" fmla="*/ 4091 w 10000"/>
                <a:gd name="connsiteY164" fmla="*/ 6417 h 10000"/>
                <a:gd name="connsiteX165" fmla="*/ 4192 w 10000"/>
                <a:gd name="connsiteY165" fmla="*/ 6735 h 10000"/>
                <a:gd name="connsiteX166" fmla="*/ 4155 w 10000"/>
                <a:gd name="connsiteY166" fmla="*/ 6987 h 10000"/>
                <a:gd name="connsiteX167" fmla="*/ 4207 w 10000"/>
                <a:gd name="connsiteY167" fmla="*/ 7114 h 10000"/>
                <a:gd name="connsiteX168" fmla="*/ 4278 w 10000"/>
                <a:gd name="connsiteY168" fmla="*/ 7119 h 10000"/>
                <a:gd name="connsiteX169" fmla="*/ 4387 w 10000"/>
                <a:gd name="connsiteY169" fmla="*/ 7256 h 10000"/>
                <a:gd name="connsiteX170" fmla="*/ 4431 w 10000"/>
                <a:gd name="connsiteY170" fmla="*/ 7152 h 10000"/>
                <a:gd name="connsiteX171" fmla="*/ 4480 w 10000"/>
                <a:gd name="connsiteY171" fmla="*/ 7322 h 10000"/>
                <a:gd name="connsiteX172" fmla="*/ 4541 w 10000"/>
                <a:gd name="connsiteY172" fmla="*/ 7662 h 10000"/>
                <a:gd name="connsiteX173" fmla="*/ 4720 w 10000"/>
                <a:gd name="connsiteY173" fmla="*/ 7739 h 10000"/>
                <a:gd name="connsiteX174" fmla="*/ 4761 w 10000"/>
                <a:gd name="connsiteY174" fmla="*/ 8183 h 10000"/>
                <a:gd name="connsiteX175" fmla="*/ 4914 w 10000"/>
                <a:gd name="connsiteY175" fmla="*/ 8276 h 10000"/>
                <a:gd name="connsiteX176" fmla="*/ 4757 w 10000"/>
                <a:gd name="connsiteY176" fmla="*/ 8370 h 10000"/>
                <a:gd name="connsiteX177" fmla="*/ 4705 w 10000"/>
                <a:gd name="connsiteY177" fmla="*/ 8260 h 10000"/>
                <a:gd name="connsiteX178" fmla="*/ 4645 w 10000"/>
                <a:gd name="connsiteY178" fmla="*/ 8403 h 10000"/>
                <a:gd name="connsiteX179" fmla="*/ 4491 w 10000"/>
                <a:gd name="connsiteY179" fmla="*/ 8287 h 10000"/>
                <a:gd name="connsiteX180" fmla="*/ 4405 w 10000"/>
                <a:gd name="connsiteY180" fmla="*/ 8452 h 10000"/>
                <a:gd name="connsiteX181" fmla="*/ 4226 w 10000"/>
                <a:gd name="connsiteY181" fmla="*/ 8331 h 10000"/>
                <a:gd name="connsiteX182" fmla="*/ 4312 w 10000"/>
                <a:gd name="connsiteY182" fmla="*/ 8699 h 10000"/>
                <a:gd name="connsiteX183" fmla="*/ 4304 w 10000"/>
                <a:gd name="connsiteY183" fmla="*/ 8967 h 10000"/>
                <a:gd name="connsiteX184" fmla="*/ 4189 w 10000"/>
                <a:gd name="connsiteY184" fmla="*/ 9088 h 10000"/>
                <a:gd name="connsiteX185" fmla="*/ 4226 w 10000"/>
                <a:gd name="connsiteY185" fmla="*/ 9193 h 10000"/>
                <a:gd name="connsiteX186" fmla="*/ 4065 w 10000"/>
                <a:gd name="connsiteY186" fmla="*/ 9412 h 10000"/>
                <a:gd name="connsiteX187" fmla="*/ 4129 w 10000"/>
                <a:gd name="connsiteY187" fmla="*/ 9647 h 10000"/>
                <a:gd name="connsiteX188" fmla="*/ 3972 w 10000"/>
                <a:gd name="connsiteY188" fmla="*/ 9681 h 10000"/>
                <a:gd name="connsiteX189" fmla="*/ 3931 w 10000"/>
                <a:gd name="connsiteY189" fmla="*/ 9741 h 10000"/>
                <a:gd name="connsiteX190" fmla="*/ 3998 w 10000"/>
                <a:gd name="connsiteY190" fmla="*/ 9785 h 10000"/>
                <a:gd name="connsiteX191" fmla="*/ 4118 w 10000"/>
                <a:gd name="connsiteY191" fmla="*/ 9944 h 10000"/>
                <a:gd name="connsiteX192" fmla="*/ 4312 w 10000"/>
                <a:gd name="connsiteY192" fmla="*/ 9999 h 10000"/>
                <a:gd name="connsiteX193" fmla="*/ 4319 w 10000"/>
                <a:gd name="connsiteY193" fmla="*/ 9851 h 10000"/>
                <a:gd name="connsiteX194" fmla="*/ 4387 w 10000"/>
                <a:gd name="connsiteY194" fmla="*/ 9856 h 10000"/>
                <a:gd name="connsiteX195" fmla="*/ 4675 w 10000"/>
                <a:gd name="connsiteY195" fmla="*/ 9603 h 10000"/>
                <a:gd name="connsiteX196" fmla="*/ 4866 w 10000"/>
                <a:gd name="connsiteY196" fmla="*/ 9845 h 10000"/>
                <a:gd name="connsiteX197" fmla="*/ 4866 w 10000"/>
                <a:gd name="connsiteY197" fmla="*/ 9862 h 10000"/>
                <a:gd name="connsiteX198" fmla="*/ 4896 w 10000"/>
                <a:gd name="connsiteY198" fmla="*/ 9703 h 10000"/>
                <a:gd name="connsiteX199" fmla="*/ 4843 w 10000"/>
                <a:gd name="connsiteY199" fmla="*/ 9570 h 10000"/>
                <a:gd name="connsiteX200" fmla="*/ 4776 w 10000"/>
                <a:gd name="connsiteY200" fmla="*/ 9549 h 10000"/>
                <a:gd name="connsiteX201" fmla="*/ 4821 w 10000"/>
                <a:gd name="connsiteY201" fmla="*/ 9466 h 10000"/>
                <a:gd name="connsiteX202" fmla="*/ 4806 w 10000"/>
                <a:gd name="connsiteY202" fmla="*/ 9444 h 10000"/>
                <a:gd name="connsiteX203" fmla="*/ 4750 w 10000"/>
                <a:gd name="connsiteY203" fmla="*/ 9439 h 10000"/>
                <a:gd name="connsiteX204" fmla="*/ 4720 w 10000"/>
                <a:gd name="connsiteY204" fmla="*/ 9121 h 10000"/>
                <a:gd name="connsiteX205" fmla="*/ 4761 w 10000"/>
                <a:gd name="connsiteY205" fmla="*/ 9105 h 10000"/>
                <a:gd name="connsiteX206" fmla="*/ 4783 w 10000"/>
                <a:gd name="connsiteY206" fmla="*/ 9253 h 10000"/>
                <a:gd name="connsiteX207" fmla="*/ 4836 w 10000"/>
                <a:gd name="connsiteY207" fmla="*/ 9384 h 10000"/>
                <a:gd name="connsiteX208" fmla="*/ 4881 w 10000"/>
                <a:gd name="connsiteY208" fmla="*/ 9302 h 10000"/>
                <a:gd name="connsiteX209" fmla="*/ 4869 w 10000"/>
                <a:gd name="connsiteY209" fmla="*/ 9220 h 10000"/>
                <a:gd name="connsiteX210" fmla="*/ 4940 w 10000"/>
                <a:gd name="connsiteY210" fmla="*/ 9203 h 10000"/>
                <a:gd name="connsiteX211" fmla="*/ 4903 w 10000"/>
                <a:gd name="connsiteY211" fmla="*/ 9034 h 10000"/>
                <a:gd name="connsiteX212" fmla="*/ 5000 w 10000"/>
                <a:gd name="connsiteY212" fmla="*/ 9061 h 10000"/>
                <a:gd name="connsiteX213" fmla="*/ 5004 w 10000"/>
                <a:gd name="connsiteY213" fmla="*/ 8972 h 10000"/>
                <a:gd name="connsiteX214" fmla="*/ 5041 w 10000"/>
                <a:gd name="connsiteY214" fmla="*/ 9039 h 10000"/>
                <a:gd name="connsiteX215" fmla="*/ 5206 w 10000"/>
                <a:gd name="connsiteY215" fmla="*/ 8781 h 10000"/>
                <a:gd name="connsiteX216" fmla="*/ 5112 w 10000"/>
                <a:gd name="connsiteY216" fmla="*/ 8584 h 10000"/>
                <a:gd name="connsiteX217" fmla="*/ 4937 w 10000"/>
                <a:gd name="connsiteY217" fmla="*/ 8425 h 10000"/>
                <a:gd name="connsiteX218" fmla="*/ 5037 w 10000"/>
                <a:gd name="connsiteY218" fmla="*/ 8370 h 10000"/>
                <a:gd name="connsiteX219" fmla="*/ 5183 w 10000"/>
                <a:gd name="connsiteY219" fmla="*/ 8633 h 10000"/>
                <a:gd name="connsiteX220" fmla="*/ 5292 w 10000"/>
                <a:gd name="connsiteY220" fmla="*/ 8199 h 10000"/>
                <a:gd name="connsiteX221" fmla="*/ 5299 w 10000"/>
                <a:gd name="connsiteY221" fmla="*/ 8030 h 10000"/>
                <a:gd name="connsiteX222" fmla="*/ 5482 w 10000"/>
                <a:gd name="connsiteY222" fmla="*/ 7942 h 10000"/>
                <a:gd name="connsiteX223" fmla="*/ 5550 w 10000"/>
                <a:gd name="connsiteY223" fmla="*/ 7607 h 10000"/>
                <a:gd name="connsiteX224" fmla="*/ 5561 w 10000"/>
                <a:gd name="connsiteY224" fmla="*/ 7734 h 10000"/>
                <a:gd name="connsiteX225" fmla="*/ 5677 w 10000"/>
                <a:gd name="connsiteY225" fmla="*/ 7596 h 10000"/>
                <a:gd name="connsiteX226" fmla="*/ 5759 w 10000"/>
                <a:gd name="connsiteY226" fmla="*/ 7579 h 10000"/>
                <a:gd name="connsiteX227" fmla="*/ 5842 w 10000"/>
                <a:gd name="connsiteY227" fmla="*/ 7207 h 10000"/>
                <a:gd name="connsiteX228" fmla="*/ 5916 w 10000"/>
                <a:gd name="connsiteY228" fmla="*/ 7486 h 10000"/>
                <a:gd name="connsiteX229" fmla="*/ 6137 w 10000"/>
                <a:gd name="connsiteY229" fmla="*/ 7563 h 10000"/>
                <a:gd name="connsiteX230" fmla="*/ 5969 w 10000"/>
                <a:gd name="connsiteY230" fmla="*/ 7618 h 10000"/>
                <a:gd name="connsiteX231" fmla="*/ 5954 w 10000"/>
                <a:gd name="connsiteY231" fmla="*/ 7679 h 10000"/>
                <a:gd name="connsiteX232" fmla="*/ 5786 w 10000"/>
                <a:gd name="connsiteY232" fmla="*/ 7690 h 10000"/>
                <a:gd name="connsiteX233" fmla="*/ 5700 w 10000"/>
                <a:gd name="connsiteY233" fmla="*/ 7723 h 10000"/>
                <a:gd name="connsiteX234" fmla="*/ 5767 w 10000"/>
                <a:gd name="connsiteY234" fmla="*/ 7772 h 10000"/>
                <a:gd name="connsiteX235" fmla="*/ 5827 w 10000"/>
                <a:gd name="connsiteY235" fmla="*/ 7756 h 10000"/>
                <a:gd name="connsiteX236" fmla="*/ 5991 w 10000"/>
                <a:gd name="connsiteY236" fmla="*/ 7789 h 10000"/>
                <a:gd name="connsiteX237" fmla="*/ 5804 w 10000"/>
                <a:gd name="connsiteY237" fmla="*/ 7964 h 10000"/>
                <a:gd name="connsiteX238" fmla="*/ 5872 w 10000"/>
                <a:gd name="connsiteY238" fmla="*/ 8008 h 10000"/>
                <a:gd name="connsiteX239" fmla="*/ 6043 w 10000"/>
                <a:gd name="connsiteY239" fmla="*/ 7958 h 10000"/>
                <a:gd name="connsiteX240" fmla="*/ 6275 w 10000"/>
                <a:gd name="connsiteY240" fmla="*/ 8101 h 10000"/>
                <a:gd name="connsiteX241" fmla="*/ 6575 w 10000"/>
                <a:gd name="connsiteY241" fmla="*/ 7909 h 10000"/>
                <a:gd name="connsiteX242" fmla="*/ 6870 w 10000"/>
                <a:gd name="connsiteY242" fmla="*/ 7887 h 10000"/>
                <a:gd name="connsiteX243" fmla="*/ 6915 w 10000"/>
                <a:gd name="connsiteY243" fmla="*/ 7745 h 10000"/>
                <a:gd name="connsiteX244" fmla="*/ 6993 w 10000"/>
                <a:gd name="connsiteY244" fmla="*/ 7958 h 10000"/>
                <a:gd name="connsiteX245" fmla="*/ 7075 w 10000"/>
                <a:gd name="connsiteY245" fmla="*/ 7986 h 10000"/>
                <a:gd name="connsiteX246" fmla="*/ 7045 w 10000"/>
                <a:gd name="connsiteY246" fmla="*/ 8134 h 10000"/>
                <a:gd name="connsiteX247" fmla="*/ 6788 w 10000"/>
                <a:gd name="connsiteY247" fmla="*/ 8281 h 10000"/>
                <a:gd name="connsiteX248" fmla="*/ 6769 w 10000"/>
                <a:gd name="connsiteY248" fmla="*/ 8386 h 10000"/>
                <a:gd name="connsiteX249" fmla="*/ 6627 w 10000"/>
                <a:gd name="connsiteY249" fmla="*/ 8523 h 10000"/>
                <a:gd name="connsiteX250" fmla="*/ 6623 w 10000"/>
                <a:gd name="connsiteY250" fmla="*/ 8649 h 10000"/>
                <a:gd name="connsiteX251" fmla="*/ 6537 w 10000"/>
                <a:gd name="connsiteY251" fmla="*/ 8704 h 10000"/>
                <a:gd name="connsiteX252" fmla="*/ 6428 w 10000"/>
                <a:gd name="connsiteY252" fmla="*/ 8989 h 10000"/>
                <a:gd name="connsiteX253" fmla="*/ 6582 w 10000"/>
                <a:gd name="connsiteY253" fmla="*/ 9001 h 10000"/>
                <a:gd name="connsiteX254" fmla="*/ 6672 w 10000"/>
                <a:gd name="connsiteY254" fmla="*/ 8879 h 10000"/>
                <a:gd name="connsiteX255" fmla="*/ 6769 w 10000"/>
                <a:gd name="connsiteY255" fmla="*/ 8912 h 10000"/>
                <a:gd name="connsiteX256" fmla="*/ 6814 w 10000"/>
                <a:gd name="connsiteY256" fmla="*/ 8786 h 10000"/>
                <a:gd name="connsiteX257" fmla="*/ 6877 w 10000"/>
                <a:gd name="connsiteY257" fmla="*/ 9001 h 10000"/>
                <a:gd name="connsiteX258" fmla="*/ 7060 w 10000"/>
                <a:gd name="connsiteY258" fmla="*/ 8994 h 10000"/>
                <a:gd name="connsiteX259" fmla="*/ 7217 w 10000"/>
                <a:gd name="connsiteY259" fmla="*/ 9362 h 10000"/>
                <a:gd name="connsiteX260" fmla="*/ 7232 w 10000"/>
                <a:gd name="connsiteY260" fmla="*/ 9675 h 10000"/>
                <a:gd name="connsiteX261" fmla="*/ 7176 w 10000"/>
                <a:gd name="connsiteY261" fmla="*/ 9692 h 10000"/>
                <a:gd name="connsiteX262" fmla="*/ 7187 w 10000"/>
                <a:gd name="connsiteY262" fmla="*/ 9780 h 10000"/>
                <a:gd name="connsiteX263" fmla="*/ 7423 w 10000"/>
                <a:gd name="connsiteY263" fmla="*/ 9900 h 10000"/>
                <a:gd name="connsiteX264" fmla="*/ 7741 w 10000"/>
                <a:gd name="connsiteY264" fmla="*/ 9565 h 10000"/>
                <a:gd name="connsiteX265" fmla="*/ 7879 w 10000"/>
                <a:gd name="connsiteY265" fmla="*/ 9176 h 10000"/>
                <a:gd name="connsiteX266" fmla="*/ 8107 w 10000"/>
                <a:gd name="connsiteY266" fmla="*/ 9023 h 10000"/>
                <a:gd name="connsiteX267" fmla="*/ 8182 w 10000"/>
                <a:gd name="connsiteY267" fmla="*/ 8841 h 10000"/>
                <a:gd name="connsiteX268" fmla="*/ 8268 w 10000"/>
                <a:gd name="connsiteY268" fmla="*/ 8786 h 10000"/>
                <a:gd name="connsiteX269" fmla="*/ 8320 w 10000"/>
                <a:gd name="connsiteY269" fmla="*/ 8512 h 10000"/>
                <a:gd name="connsiteX270" fmla="*/ 8542 w 10000"/>
                <a:gd name="connsiteY270" fmla="*/ 8617 h 10000"/>
                <a:gd name="connsiteX271" fmla="*/ 8672 w 10000"/>
                <a:gd name="connsiteY271" fmla="*/ 8474 h 10000"/>
                <a:gd name="connsiteX272" fmla="*/ 8855 w 10000"/>
                <a:gd name="connsiteY272" fmla="*/ 8343 h 10000"/>
                <a:gd name="connsiteX273" fmla="*/ 8781 w 10000"/>
                <a:gd name="connsiteY273" fmla="*/ 8128 h 10000"/>
                <a:gd name="connsiteX274" fmla="*/ 7708 w 10000"/>
                <a:gd name="connsiteY274" fmla="*/ 7991 h 10000"/>
                <a:gd name="connsiteX275" fmla="*/ 7682 w 10000"/>
                <a:gd name="connsiteY275" fmla="*/ 7904 h 10000"/>
                <a:gd name="connsiteX276" fmla="*/ 7607 w 10000"/>
                <a:gd name="connsiteY276" fmla="*/ 8002 h 10000"/>
                <a:gd name="connsiteX277" fmla="*/ 7715 w 10000"/>
                <a:gd name="connsiteY277" fmla="*/ 7761 h 10000"/>
                <a:gd name="connsiteX278" fmla="*/ 7674 w 10000"/>
                <a:gd name="connsiteY278" fmla="*/ 7717 h 10000"/>
                <a:gd name="connsiteX279" fmla="*/ 7554 w 10000"/>
                <a:gd name="connsiteY279" fmla="*/ 7915 h 10000"/>
                <a:gd name="connsiteX280" fmla="*/ 7618 w 10000"/>
                <a:gd name="connsiteY280" fmla="*/ 7712 h 10000"/>
                <a:gd name="connsiteX281" fmla="*/ 7532 w 10000"/>
                <a:gd name="connsiteY281" fmla="*/ 7767 h 10000"/>
                <a:gd name="connsiteX282" fmla="*/ 7419 w 10000"/>
                <a:gd name="connsiteY282" fmla="*/ 7717 h 10000"/>
                <a:gd name="connsiteX283" fmla="*/ 7333 w 10000"/>
                <a:gd name="connsiteY283" fmla="*/ 7794 h 10000"/>
                <a:gd name="connsiteX284" fmla="*/ 7240 w 10000"/>
                <a:gd name="connsiteY284" fmla="*/ 7728 h 10000"/>
                <a:gd name="connsiteX285" fmla="*/ 7087 w 10000"/>
                <a:gd name="connsiteY285" fmla="*/ 7717 h 10000"/>
                <a:gd name="connsiteX286" fmla="*/ 7090 w 10000"/>
                <a:gd name="connsiteY286" fmla="*/ 7547 h 10000"/>
                <a:gd name="connsiteX287" fmla="*/ 7229 w 10000"/>
                <a:gd name="connsiteY287" fmla="*/ 7662 h 10000"/>
                <a:gd name="connsiteX288" fmla="*/ 7273 w 10000"/>
                <a:gd name="connsiteY288" fmla="*/ 7541 h 10000"/>
                <a:gd name="connsiteX289" fmla="*/ 7236 w 10000"/>
                <a:gd name="connsiteY289" fmla="*/ 7410 h 10000"/>
                <a:gd name="connsiteX290" fmla="*/ 7341 w 10000"/>
                <a:gd name="connsiteY290" fmla="*/ 7547 h 10000"/>
                <a:gd name="connsiteX291" fmla="*/ 7483 w 10000"/>
                <a:gd name="connsiteY291" fmla="*/ 7536 h 10000"/>
                <a:gd name="connsiteX292" fmla="*/ 7506 w 10000"/>
                <a:gd name="connsiteY292" fmla="*/ 7685 h 10000"/>
                <a:gd name="connsiteX293" fmla="*/ 7547 w 10000"/>
                <a:gd name="connsiteY293" fmla="*/ 7685 h 10000"/>
                <a:gd name="connsiteX294" fmla="*/ 7558 w 10000"/>
                <a:gd name="connsiteY294" fmla="*/ 7415 h 10000"/>
                <a:gd name="connsiteX295" fmla="*/ 7607 w 10000"/>
                <a:gd name="connsiteY295" fmla="*/ 7585 h 10000"/>
                <a:gd name="connsiteX296" fmla="*/ 7693 w 10000"/>
                <a:gd name="connsiteY296" fmla="*/ 7590 h 10000"/>
                <a:gd name="connsiteX297" fmla="*/ 7629 w 10000"/>
                <a:gd name="connsiteY297" fmla="*/ 7333 h 10000"/>
                <a:gd name="connsiteX298" fmla="*/ 7786 w 10000"/>
                <a:gd name="connsiteY298" fmla="*/ 7240 h 10000"/>
                <a:gd name="connsiteX299" fmla="*/ 7779 w 10000"/>
                <a:gd name="connsiteY299" fmla="*/ 6987 h 10000"/>
                <a:gd name="connsiteX300" fmla="*/ 7887 w 10000"/>
                <a:gd name="connsiteY300" fmla="*/ 7081 h 10000"/>
                <a:gd name="connsiteX301" fmla="*/ 7906 w 10000"/>
                <a:gd name="connsiteY301" fmla="*/ 7015 h 10000"/>
                <a:gd name="connsiteX302" fmla="*/ 7775 w 10000"/>
                <a:gd name="connsiteY302" fmla="*/ 6735 h 10000"/>
                <a:gd name="connsiteX303" fmla="*/ 7950 w 10000"/>
                <a:gd name="connsiteY303" fmla="*/ 6894 h 10000"/>
                <a:gd name="connsiteX304" fmla="*/ 8171 w 10000"/>
                <a:gd name="connsiteY304" fmla="*/ 6511 h 10000"/>
                <a:gd name="connsiteX305" fmla="*/ 8384 w 10000"/>
                <a:gd name="connsiteY305" fmla="*/ 6483 h 10000"/>
                <a:gd name="connsiteX306" fmla="*/ 8429 w 10000"/>
                <a:gd name="connsiteY30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7569 w 10000"/>
                <a:gd name="connsiteY36" fmla="*/ 1873 h 10000"/>
                <a:gd name="connsiteX37" fmla="*/ 7165 w 10000"/>
                <a:gd name="connsiteY37" fmla="*/ 1996 h 10000"/>
                <a:gd name="connsiteX38" fmla="*/ 6892 w 10000"/>
                <a:gd name="connsiteY38" fmla="*/ 1827 h 10000"/>
                <a:gd name="connsiteX39" fmla="*/ 6922 w 10000"/>
                <a:gd name="connsiteY39" fmla="*/ 1728 h 10000"/>
                <a:gd name="connsiteX40" fmla="*/ 6765 w 10000"/>
                <a:gd name="connsiteY40" fmla="*/ 1398 h 10000"/>
                <a:gd name="connsiteX41" fmla="*/ 6799 w 10000"/>
                <a:gd name="connsiteY41" fmla="*/ 1256 h 10000"/>
                <a:gd name="connsiteX42" fmla="*/ 6728 w 10000"/>
                <a:gd name="connsiteY42" fmla="*/ 1229 h 10000"/>
                <a:gd name="connsiteX43" fmla="*/ 6657 w 10000"/>
                <a:gd name="connsiteY43" fmla="*/ 1311 h 10000"/>
                <a:gd name="connsiteX44" fmla="*/ 6593 w 10000"/>
                <a:gd name="connsiteY44" fmla="*/ 1114 h 10000"/>
                <a:gd name="connsiteX45" fmla="*/ 6391 w 10000"/>
                <a:gd name="connsiteY45" fmla="*/ 1311 h 10000"/>
                <a:gd name="connsiteX46" fmla="*/ 6309 w 10000"/>
                <a:gd name="connsiteY46" fmla="*/ 1223 h 10000"/>
                <a:gd name="connsiteX47" fmla="*/ 6126 w 10000"/>
                <a:gd name="connsiteY47" fmla="*/ 1273 h 10000"/>
                <a:gd name="connsiteX48" fmla="*/ 6144 w 10000"/>
                <a:gd name="connsiteY48" fmla="*/ 1125 h 10000"/>
                <a:gd name="connsiteX49" fmla="*/ 6073 w 10000"/>
                <a:gd name="connsiteY49" fmla="*/ 1119 h 10000"/>
                <a:gd name="connsiteX50" fmla="*/ 6040 w 10000"/>
                <a:gd name="connsiteY50" fmla="*/ 910 h 10000"/>
                <a:gd name="connsiteX51" fmla="*/ 5942 w 10000"/>
                <a:gd name="connsiteY51" fmla="*/ 795 h 10000"/>
                <a:gd name="connsiteX52" fmla="*/ 6144 w 10000"/>
                <a:gd name="connsiteY52" fmla="*/ 620 h 10000"/>
                <a:gd name="connsiteX53" fmla="*/ 5901 w 10000"/>
                <a:gd name="connsiteY53" fmla="*/ 395 h 10000"/>
                <a:gd name="connsiteX54" fmla="*/ 5853 w 10000"/>
                <a:gd name="connsiteY54" fmla="*/ 142 h 10000"/>
                <a:gd name="connsiteX55" fmla="*/ 5741 w 10000"/>
                <a:gd name="connsiteY55" fmla="*/ 110 h 10000"/>
                <a:gd name="connsiteX56" fmla="*/ 5647 w 10000"/>
                <a:gd name="connsiteY56" fmla="*/ 0 h 10000"/>
                <a:gd name="connsiteX57" fmla="*/ 5547 w 10000"/>
                <a:gd name="connsiteY57" fmla="*/ 120 h 10000"/>
                <a:gd name="connsiteX58" fmla="*/ 5377 w 10000"/>
                <a:gd name="connsiteY58" fmla="*/ 110 h 10000"/>
                <a:gd name="connsiteX59" fmla="*/ 5232 w 10000"/>
                <a:gd name="connsiteY59" fmla="*/ 351 h 10000"/>
                <a:gd name="connsiteX60" fmla="*/ 4952 w 10000"/>
                <a:gd name="connsiteY60" fmla="*/ 329 h 10000"/>
                <a:gd name="connsiteX61" fmla="*/ 4884 w 10000"/>
                <a:gd name="connsiteY61" fmla="*/ 680 h 10000"/>
                <a:gd name="connsiteX62" fmla="*/ 4701 w 10000"/>
                <a:gd name="connsiteY62" fmla="*/ 707 h 10000"/>
                <a:gd name="connsiteX63" fmla="*/ 4795 w 10000"/>
                <a:gd name="connsiteY63" fmla="*/ 844 h 10000"/>
                <a:gd name="connsiteX64" fmla="*/ 4739 w 10000"/>
                <a:gd name="connsiteY64" fmla="*/ 899 h 10000"/>
                <a:gd name="connsiteX65" fmla="*/ 4612 w 10000"/>
                <a:gd name="connsiteY65" fmla="*/ 894 h 10000"/>
                <a:gd name="connsiteX66" fmla="*/ 4439 w 10000"/>
                <a:gd name="connsiteY66" fmla="*/ 1026 h 10000"/>
                <a:gd name="connsiteX67" fmla="*/ 4252 w 10000"/>
                <a:gd name="connsiteY67" fmla="*/ 1668 h 10000"/>
                <a:gd name="connsiteX68" fmla="*/ 4308 w 10000"/>
                <a:gd name="connsiteY68" fmla="*/ 2090 h 10000"/>
                <a:gd name="connsiteX69" fmla="*/ 4121 w 10000"/>
                <a:gd name="connsiteY69" fmla="*/ 1865 h 10000"/>
                <a:gd name="connsiteX70" fmla="*/ 3849 w 10000"/>
                <a:gd name="connsiteY70" fmla="*/ 1991 h 10000"/>
                <a:gd name="connsiteX71" fmla="*/ 3822 w 10000"/>
                <a:gd name="connsiteY71" fmla="*/ 1931 h 10000"/>
                <a:gd name="connsiteX72" fmla="*/ 3695 w 10000"/>
                <a:gd name="connsiteY72" fmla="*/ 2002 h 10000"/>
                <a:gd name="connsiteX73" fmla="*/ 3621 w 10000"/>
                <a:gd name="connsiteY73" fmla="*/ 2144 h 10000"/>
                <a:gd name="connsiteX74" fmla="*/ 3561 w 10000"/>
                <a:gd name="connsiteY74" fmla="*/ 1909 h 10000"/>
                <a:gd name="connsiteX75" fmla="*/ 3478 w 10000"/>
                <a:gd name="connsiteY75" fmla="*/ 1843 h 10000"/>
                <a:gd name="connsiteX76" fmla="*/ 3444 w 10000"/>
                <a:gd name="connsiteY76" fmla="*/ 1964 h 10000"/>
                <a:gd name="connsiteX77" fmla="*/ 3332 w 10000"/>
                <a:gd name="connsiteY77" fmla="*/ 1996 h 10000"/>
                <a:gd name="connsiteX78" fmla="*/ 3272 w 10000"/>
                <a:gd name="connsiteY78" fmla="*/ 2161 h 10000"/>
                <a:gd name="connsiteX79" fmla="*/ 3235 w 10000"/>
                <a:gd name="connsiteY79" fmla="*/ 2013 h 10000"/>
                <a:gd name="connsiteX80" fmla="*/ 3123 w 10000"/>
                <a:gd name="connsiteY80" fmla="*/ 2024 h 10000"/>
                <a:gd name="connsiteX81" fmla="*/ 3078 w 10000"/>
                <a:gd name="connsiteY81" fmla="*/ 2128 h 10000"/>
                <a:gd name="connsiteX82" fmla="*/ 3011 w 10000"/>
                <a:gd name="connsiteY82" fmla="*/ 1975 h 10000"/>
                <a:gd name="connsiteX83" fmla="*/ 2895 w 10000"/>
                <a:gd name="connsiteY83" fmla="*/ 2117 h 10000"/>
                <a:gd name="connsiteX84" fmla="*/ 2783 w 10000"/>
                <a:gd name="connsiteY84" fmla="*/ 2106 h 10000"/>
                <a:gd name="connsiteX85" fmla="*/ 2779 w 10000"/>
                <a:gd name="connsiteY85" fmla="*/ 2276 h 10000"/>
                <a:gd name="connsiteX86" fmla="*/ 2727 w 10000"/>
                <a:gd name="connsiteY86" fmla="*/ 2144 h 10000"/>
                <a:gd name="connsiteX87" fmla="*/ 2559 w 10000"/>
                <a:gd name="connsiteY87" fmla="*/ 2155 h 10000"/>
                <a:gd name="connsiteX88" fmla="*/ 2438 w 10000"/>
                <a:gd name="connsiteY88" fmla="*/ 1980 h 10000"/>
                <a:gd name="connsiteX89" fmla="*/ 2293 w 10000"/>
                <a:gd name="connsiteY89" fmla="*/ 2073 h 10000"/>
                <a:gd name="connsiteX90" fmla="*/ 2143 w 10000"/>
                <a:gd name="connsiteY90" fmla="*/ 1958 h 10000"/>
                <a:gd name="connsiteX91" fmla="*/ 2057 w 10000"/>
                <a:gd name="connsiteY91" fmla="*/ 2035 h 10000"/>
                <a:gd name="connsiteX92" fmla="*/ 1975 w 10000"/>
                <a:gd name="connsiteY92" fmla="*/ 1947 h 10000"/>
                <a:gd name="connsiteX93" fmla="*/ 1852 w 10000"/>
                <a:gd name="connsiteY93" fmla="*/ 1936 h 10000"/>
                <a:gd name="connsiteX94" fmla="*/ 1669 w 10000"/>
                <a:gd name="connsiteY94" fmla="*/ 1925 h 10000"/>
                <a:gd name="connsiteX95" fmla="*/ 1444 w 10000"/>
                <a:gd name="connsiteY95" fmla="*/ 1991 h 10000"/>
                <a:gd name="connsiteX96" fmla="*/ 1205 w 10000"/>
                <a:gd name="connsiteY96" fmla="*/ 2062 h 10000"/>
                <a:gd name="connsiteX97" fmla="*/ 921 w 10000"/>
                <a:gd name="connsiteY97" fmla="*/ 2166 h 10000"/>
                <a:gd name="connsiteX98" fmla="*/ 797 w 10000"/>
                <a:gd name="connsiteY98" fmla="*/ 2496 h 10000"/>
                <a:gd name="connsiteX99" fmla="*/ 603 w 10000"/>
                <a:gd name="connsiteY99" fmla="*/ 2501 h 10000"/>
                <a:gd name="connsiteX100" fmla="*/ 540 w 10000"/>
                <a:gd name="connsiteY100" fmla="*/ 2687 h 10000"/>
                <a:gd name="connsiteX101" fmla="*/ 558 w 10000"/>
                <a:gd name="connsiteY101" fmla="*/ 2764 h 10000"/>
                <a:gd name="connsiteX102" fmla="*/ 577 w 10000"/>
                <a:gd name="connsiteY102" fmla="*/ 2868 h 10000"/>
                <a:gd name="connsiteX103" fmla="*/ 577 w 10000"/>
                <a:gd name="connsiteY103" fmla="*/ 2868 h 10000"/>
                <a:gd name="connsiteX104" fmla="*/ 577 w 10000"/>
                <a:gd name="connsiteY104" fmla="*/ 2896 h 10000"/>
                <a:gd name="connsiteX105" fmla="*/ 682 w 10000"/>
                <a:gd name="connsiteY105" fmla="*/ 3116 h 10000"/>
                <a:gd name="connsiteX106" fmla="*/ 786 w 10000"/>
                <a:gd name="connsiteY106" fmla="*/ 3351 h 10000"/>
                <a:gd name="connsiteX107" fmla="*/ 921 w 10000"/>
                <a:gd name="connsiteY107" fmla="*/ 3488 h 10000"/>
                <a:gd name="connsiteX108" fmla="*/ 876 w 10000"/>
                <a:gd name="connsiteY108" fmla="*/ 3548 h 10000"/>
                <a:gd name="connsiteX109" fmla="*/ 805 w 10000"/>
                <a:gd name="connsiteY109" fmla="*/ 3603 h 10000"/>
                <a:gd name="connsiteX110" fmla="*/ 887 w 10000"/>
                <a:gd name="connsiteY110" fmla="*/ 3697 h 10000"/>
                <a:gd name="connsiteX111" fmla="*/ 876 w 10000"/>
                <a:gd name="connsiteY111" fmla="*/ 4053 h 10000"/>
                <a:gd name="connsiteX112" fmla="*/ 693 w 10000"/>
                <a:gd name="connsiteY112" fmla="*/ 4124 h 10000"/>
                <a:gd name="connsiteX113" fmla="*/ 498 w 10000"/>
                <a:gd name="connsiteY113" fmla="*/ 4531 h 10000"/>
                <a:gd name="connsiteX114" fmla="*/ 371 w 10000"/>
                <a:gd name="connsiteY114" fmla="*/ 4936 h 10000"/>
                <a:gd name="connsiteX115" fmla="*/ 195 w 10000"/>
                <a:gd name="connsiteY115" fmla="*/ 5260 h 10000"/>
                <a:gd name="connsiteX116" fmla="*/ 270 w 10000"/>
                <a:gd name="connsiteY116" fmla="*/ 5517 h 10000"/>
                <a:gd name="connsiteX117" fmla="*/ 277 w 10000"/>
                <a:gd name="connsiteY117" fmla="*/ 5732 h 10000"/>
                <a:gd name="connsiteX118" fmla="*/ 400 w 10000"/>
                <a:gd name="connsiteY118" fmla="*/ 5841 h 10000"/>
                <a:gd name="connsiteX119" fmla="*/ 382 w 10000"/>
                <a:gd name="connsiteY119" fmla="*/ 5945 h 10000"/>
                <a:gd name="connsiteX120" fmla="*/ 202 w 10000"/>
                <a:gd name="connsiteY120" fmla="*/ 5852 h 10000"/>
                <a:gd name="connsiteX121" fmla="*/ 124 w 10000"/>
                <a:gd name="connsiteY121" fmla="*/ 6099 h 10000"/>
                <a:gd name="connsiteX122" fmla="*/ 105 w 10000"/>
                <a:gd name="connsiteY122" fmla="*/ 6346 h 10000"/>
                <a:gd name="connsiteX123" fmla="*/ 1 w 10000"/>
                <a:gd name="connsiteY123" fmla="*/ 6571 h 10000"/>
                <a:gd name="connsiteX124" fmla="*/ 19 w 10000"/>
                <a:gd name="connsiteY124" fmla="*/ 6779 h 10000"/>
                <a:gd name="connsiteX125" fmla="*/ 90 w 10000"/>
                <a:gd name="connsiteY125" fmla="*/ 6828 h 10000"/>
                <a:gd name="connsiteX126" fmla="*/ 154 w 10000"/>
                <a:gd name="connsiteY126" fmla="*/ 6960 h 10000"/>
                <a:gd name="connsiteX127" fmla="*/ 240 w 10000"/>
                <a:gd name="connsiteY127" fmla="*/ 6943 h 10000"/>
                <a:gd name="connsiteX128" fmla="*/ 292 w 10000"/>
                <a:gd name="connsiteY128" fmla="*/ 7076 h 10000"/>
                <a:gd name="connsiteX129" fmla="*/ 445 w 10000"/>
                <a:gd name="connsiteY129" fmla="*/ 7103 h 10000"/>
                <a:gd name="connsiteX130" fmla="*/ 453 w 10000"/>
                <a:gd name="connsiteY130" fmla="*/ 7251 h 10000"/>
                <a:gd name="connsiteX131" fmla="*/ 494 w 10000"/>
                <a:gd name="connsiteY131" fmla="*/ 7278 h 10000"/>
                <a:gd name="connsiteX132" fmla="*/ 525 w 10000"/>
                <a:gd name="connsiteY132" fmla="*/ 7174 h 10000"/>
                <a:gd name="connsiteX133" fmla="*/ 581 w 10000"/>
                <a:gd name="connsiteY133" fmla="*/ 7196 h 10000"/>
                <a:gd name="connsiteX134" fmla="*/ 644 w 10000"/>
                <a:gd name="connsiteY134" fmla="*/ 6992 h 10000"/>
                <a:gd name="connsiteX135" fmla="*/ 820 w 10000"/>
                <a:gd name="connsiteY135" fmla="*/ 7174 h 10000"/>
                <a:gd name="connsiteX136" fmla="*/ 1283 w 10000"/>
                <a:gd name="connsiteY136" fmla="*/ 7163 h 10000"/>
                <a:gd name="connsiteX137" fmla="*/ 1466 w 10000"/>
                <a:gd name="connsiteY137" fmla="*/ 7092 h 10000"/>
                <a:gd name="connsiteX138" fmla="*/ 1766 w 10000"/>
                <a:gd name="connsiteY138" fmla="*/ 7344 h 10000"/>
                <a:gd name="connsiteX139" fmla="*/ 1956 w 10000"/>
                <a:gd name="connsiteY139" fmla="*/ 7087 h 10000"/>
                <a:gd name="connsiteX140" fmla="*/ 2382 w 10000"/>
                <a:gd name="connsiteY140" fmla="*/ 6861 h 10000"/>
                <a:gd name="connsiteX141" fmla="*/ 2536 w 10000"/>
                <a:gd name="connsiteY141" fmla="*/ 6489 h 10000"/>
                <a:gd name="connsiteX142" fmla="*/ 2648 w 10000"/>
                <a:gd name="connsiteY142" fmla="*/ 6439 h 10000"/>
                <a:gd name="connsiteX143" fmla="*/ 2648 w 10000"/>
                <a:gd name="connsiteY143" fmla="*/ 6379 h 10000"/>
                <a:gd name="connsiteX144" fmla="*/ 2693 w 10000"/>
                <a:gd name="connsiteY144" fmla="*/ 6379 h 10000"/>
                <a:gd name="connsiteX145" fmla="*/ 2682 w 10000"/>
                <a:gd name="connsiteY145" fmla="*/ 6230 h 10000"/>
                <a:gd name="connsiteX146" fmla="*/ 2820 w 10000"/>
                <a:gd name="connsiteY146" fmla="*/ 6285 h 10000"/>
                <a:gd name="connsiteX147" fmla="*/ 2839 w 10000"/>
                <a:gd name="connsiteY147" fmla="*/ 6159 h 10000"/>
                <a:gd name="connsiteX148" fmla="*/ 2921 w 10000"/>
                <a:gd name="connsiteY148" fmla="*/ 6230 h 10000"/>
                <a:gd name="connsiteX149" fmla="*/ 2981 w 10000"/>
                <a:gd name="connsiteY149" fmla="*/ 6126 h 10000"/>
                <a:gd name="connsiteX150" fmla="*/ 3078 w 10000"/>
                <a:gd name="connsiteY150" fmla="*/ 6154 h 10000"/>
                <a:gd name="connsiteX151" fmla="*/ 3164 w 10000"/>
                <a:gd name="connsiteY151" fmla="*/ 6055 h 10000"/>
                <a:gd name="connsiteX152" fmla="*/ 3328 w 10000"/>
                <a:gd name="connsiteY152" fmla="*/ 6192 h 10000"/>
                <a:gd name="connsiteX153" fmla="*/ 3411 w 10000"/>
                <a:gd name="connsiteY153" fmla="*/ 6197 h 10000"/>
                <a:gd name="connsiteX154" fmla="*/ 3437 w 10000"/>
                <a:gd name="connsiteY154" fmla="*/ 6307 h 10000"/>
                <a:gd name="connsiteX155" fmla="*/ 3591 w 10000"/>
                <a:gd name="connsiteY155" fmla="*/ 6236 h 10000"/>
                <a:gd name="connsiteX156" fmla="*/ 3576 w 10000"/>
                <a:gd name="connsiteY156" fmla="*/ 6357 h 10000"/>
                <a:gd name="connsiteX157" fmla="*/ 3632 w 10000"/>
                <a:gd name="connsiteY157" fmla="*/ 6341 h 10000"/>
                <a:gd name="connsiteX158" fmla="*/ 3699 w 10000"/>
                <a:gd name="connsiteY158" fmla="*/ 6428 h 10000"/>
                <a:gd name="connsiteX159" fmla="*/ 3703 w 10000"/>
                <a:gd name="connsiteY159" fmla="*/ 6301 h 10000"/>
                <a:gd name="connsiteX160" fmla="*/ 3882 w 10000"/>
                <a:gd name="connsiteY160" fmla="*/ 6341 h 10000"/>
                <a:gd name="connsiteX161" fmla="*/ 3946 w 10000"/>
                <a:gd name="connsiteY161" fmla="*/ 6511 h 10000"/>
                <a:gd name="connsiteX162" fmla="*/ 4047 w 10000"/>
                <a:gd name="connsiteY162" fmla="*/ 6494 h 10000"/>
                <a:gd name="connsiteX163" fmla="*/ 4091 w 10000"/>
                <a:gd name="connsiteY163" fmla="*/ 6417 h 10000"/>
                <a:gd name="connsiteX164" fmla="*/ 4192 w 10000"/>
                <a:gd name="connsiteY164" fmla="*/ 6735 h 10000"/>
                <a:gd name="connsiteX165" fmla="*/ 4155 w 10000"/>
                <a:gd name="connsiteY165" fmla="*/ 6987 h 10000"/>
                <a:gd name="connsiteX166" fmla="*/ 4207 w 10000"/>
                <a:gd name="connsiteY166" fmla="*/ 7114 h 10000"/>
                <a:gd name="connsiteX167" fmla="*/ 4278 w 10000"/>
                <a:gd name="connsiteY167" fmla="*/ 7119 h 10000"/>
                <a:gd name="connsiteX168" fmla="*/ 4387 w 10000"/>
                <a:gd name="connsiteY168" fmla="*/ 7256 h 10000"/>
                <a:gd name="connsiteX169" fmla="*/ 4431 w 10000"/>
                <a:gd name="connsiteY169" fmla="*/ 7152 h 10000"/>
                <a:gd name="connsiteX170" fmla="*/ 4480 w 10000"/>
                <a:gd name="connsiteY170" fmla="*/ 7322 h 10000"/>
                <a:gd name="connsiteX171" fmla="*/ 4541 w 10000"/>
                <a:gd name="connsiteY171" fmla="*/ 7662 h 10000"/>
                <a:gd name="connsiteX172" fmla="*/ 4720 w 10000"/>
                <a:gd name="connsiteY172" fmla="*/ 7739 h 10000"/>
                <a:gd name="connsiteX173" fmla="*/ 4761 w 10000"/>
                <a:gd name="connsiteY173" fmla="*/ 8183 h 10000"/>
                <a:gd name="connsiteX174" fmla="*/ 4914 w 10000"/>
                <a:gd name="connsiteY174" fmla="*/ 8276 h 10000"/>
                <a:gd name="connsiteX175" fmla="*/ 4757 w 10000"/>
                <a:gd name="connsiteY175" fmla="*/ 8370 h 10000"/>
                <a:gd name="connsiteX176" fmla="*/ 4705 w 10000"/>
                <a:gd name="connsiteY176" fmla="*/ 8260 h 10000"/>
                <a:gd name="connsiteX177" fmla="*/ 4645 w 10000"/>
                <a:gd name="connsiteY177" fmla="*/ 8403 h 10000"/>
                <a:gd name="connsiteX178" fmla="*/ 4491 w 10000"/>
                <a:gd name="connsiteY178" fmla="*/ 8287 h 10000"/>
                <a:gd name="connsiteX179" fmla="*/ 4405 w 10000"/>
                <a:gd name="connsiteY179" fmla="*/ 8452 h 10000"/>
                <a:gd name="connsiteX180" fmla="*/ 4226 w 10000"/>
                <a:gd name="connsiteY180" fmla="*/ 8331 h 10000"/>
                <a:gd name="connsiteX181" fmla="*/ 4312 w 10000"/>
                <a:gd name="connsiteY181" fmla="*/ 8699 h 10000"/>
                <a:gd name="connsiteX182" fmla="*/ 4304 w 10000"/>
                <a:gd name="connsiteY182" fmla="*/ 8967 h 10000"/>
                <a:gd name="connsiteX183" fmla="*/ 4189 w 10000"/>
                <a:gd name="connsiteY183" fmla="*/ 9088 h 10000"/>
                <a:gd name="connsiteX184" fmla="*/ 4226 w 10000"/>
                <a:gd name="connsiteY184" fmla="*/ 9193 h 10000"/>
                <a:gd name="connsiteX185" fmla="*/ 4065 w 10000"/>
                <a:gd name="connsiteY185" fmla="*/ 9412 h 10000"/>
                <a:gd name="connsiteX186" fmla="*/ 4129 w 10000"/>
                <a:gd name="connsiteY186" fmla="*/ 9647 h 10000"/>
                <a:gd name="connsiteX187" fmla="*/ 3972 w 10000"/>
                <a:gd name="connsiteY187" fmla="*/ 9681 h 10000"/>
                <a:gd name="connsiteX188" fmla="*/ 3931 w 10000"/>
                <a:gd name="connsiteY188" fmla="*/ 9741 h 10000"/>
                <a:gd name="connsiteX189" fmla="*/ 3998 w 10000"/>
                <a:gd name="connsiteY189" fmla="*/ 9785 h 10000"/>
                <a:gd name="connsiteX190" fmla="*/ 4118 w 10000"/>
                <a:gd name="connsiteY190" fmla="*/ 9944 h 10000"/>
                <a:gd name="connsiteX191" fmla="*/ 4312 w 10000"/>
                <a:gd name="connsiteY191" fmla="*/ 9999 h 10000"/>
                <a:gd name="connsiteX192" fmla="*/ 4319 w 10000"/>
                <a:gd name="connsiteY192" fmla="*/ 9851 h 10000"/>
                <a:gd name="connsiteX193" fmla="*/ 4387 w 10000"/>
                <a:gd name="connsiteY193" fmla="*/ 9856 h 10000"/>
                <a:gd name="connsiteX194" fmla="*/ 4675 w 10000"/>
                <a:gd name="connsiteY194" fmla="*/ 9603 h 10000"/>
                <a:gd name="connsiteX195" fmla="*/ 4866 w 10000"/>
                <a:gd name="connsiteY195" fmla="*/ 9845 h 10000"/>
                <a:gd name="connsiteX196" fmla="*/ 4866 w 10000"/>
                <a:gd name="connsiteY196" fmla="*/ 9862 h 10000"/>
                <a:gd name="connsiteX197" fmla="*/ 4896 w 10000"/>
                <a:gd name="connsiteY197" fmla="*/ 9703 h 10000"/>
                <a:gd name="connsiteX198" fmla="*/ 4843 w 10000"/>
                <a:gd name="connsiteY198" fmla="*/ 9570 h 10000"/>
                <a:gd name="connsiteX199" fmla="*/ 4776 w 10000"/>
                <a:gd name="connsiteY199" fmla="*/ 9549 h 10000"/>
                <a:gd name="connsiteX200" fmla="*/ 4821 w 10000"/>
                <a:gd name="connsiteY200" fmla="*/ 9466 h 10000"/>
                <a:gd name="connsiteX201" fmla="*/ 4806 w 10000"/>
                <a:gd name="connsiteY201" fmla="*/ 9444 h 10000"/>
                <a:gd name="connsiteX202" fmla="*/ 4750 w 10000"/>
                <a:gd name="connsiteY202" fmla="*/ 9439 h 10000"/>
                <a:gd name="connsiteX203" fmla="*/ 4720 w 10000"/>
                <a:gd name="connsiteY203" fmla="*/ 9121 h 10000"/>
                <a:gd name="connsiteX204" fmla="*/ 4761 w 10000"/>
                <a:gd name="connsiteY204" fmla="*/ 9105 h 10000"/>
                <a:gd name="connsiteX205" fmla="*/ 4783 w 10000"/>
                <a:gd name="connsiteY205" fmla="*/ 9253 h 10000"/>
                <a:gd name="connsiteX206" fmla="*/ 4836 w 10000"/>
                <a:gd name="connsiteY206" fmla="*/ 9384 h 10000"/>
                <a:gd name="connsiteX207" fmla="*/ 4881 w 10000"/>
                <a:gd name="connsiteY207" fmla="*/ 9302 h 10000"/>
                <a:gd name="connsiteX208" fmla="*/ 4869 w 10000"/>
                <a:gd name="connsiteY208" fmla="*/ 9220 h 10000"/>
                <a:gd name="connsiteX209" fmla="*/ 4940 w 10000"/>
                <a:gd name="connsiteY209" fmla="*/ 9203 h 10000"/>
                <a:gd name="connsiteX210" fmla="*/ 4903 w 10000"/>
                <a:gd name="connsiteY210" fmla="*/ 9034 h 10000"/>
                <a:gd name="connsiteX211" fmla="*/ 5000 w 10000"/>
                <a:gd name="connsiteY211" fmla="*/ 9061 h 10000"/>
                <a:gd name="connsiteX212" fmla="*/ 5004 w 10000"/>
                <a:gd name="connsiteY212" fmla="*/ 8972 h 10000"/>
                <a:gd name="connsiteX213" fmla="*/ 5041 w 10000"/>
                <a:gd name="connsiteY213" fmla="*/ 9039 h 10000"/>
                <a:gd name="connsiteX214" fmla="*/ 5206 w 10000"/>
                <a:gd name="connsiteY214" fmla="*/ 8781 h 10000"/>
                <a:gd name="connsiteX215" fmla="*/ 5112 w 10000"/>
                <a:gd name="connsiteY215" fmla="*/ 8584 h 10000"/>
                <a:gd name="connsiteX216" fmla="*/ 4937 w 10000"/>
                <a:gd name="connsiteY216" fmla="*/ 8425 h 10000"/>
                <a:gd name="connsiteX217" fmla="*/ 5037 w 10000"/>
                <a:gd name="connsiteY217" fmla="*/ 8370 h 10000"/>
                <a:gd name="connsiteX218" fmla="*/ 5183 w 10000"/>
                <a:gd name="connsiteY218" fmla="*/ 8633 h 10000"/>
                <a:gd name="connsiteX219" fmla="*/ 5292 w 10000"/>
                <a:gd name="connsiteY219" fmla="*/ 8199 h 10000"/>
                <a:gd name="connsiteX220" fmla="*/ 5299 w 10000"/>
                <a:gd name="connsiteY220" fmla="*/ 8030 h 10000"/>
                <a:gd name="connsiteX221" fmla="*/ 5482 w 10000"/>
                <a:gd name="connsiteY221" fmla="*/ 7942 h 10000"/>
                <a:gd name="connsiteX222" fmla="*/ 5550 w 10000"/>
                <a:gd name="connsiteY222" fmla="*/ 7607 h 10000"/>
                <a:gd name="connsiteX223" fmla="*/ 5561 w 10000"/>
                <a:gd name="connsiteY223" fmla="*/ 7734 h 10000"/>
                <a:gd name="connsiteX224" fmla="*/ 5677 w 10000"/>
                <a:gd name="connsiteY224" fmla="*/ 7596 h 10000"/>
                <a:gd name="connsiteX225" fmla="*/ 5759 w 10000"/>
                <a:gd name="connsiteY225" fmla="*/ 7579 h 10000"/>
                <a:gd name="connsiteX226" fmla="*/ 5842 w 10000"/>
                <a:gd name="connsiteY226" fmla="*/ 7207 h 10000"/>
                <a:gd name="connsiteX227" fmla="*/ 5916 w 10000"/>
                <a:gd name="connsiteY227" fmla="*/ 7486 h 10000"/>
                <a:gd name="connsiteX228" fmla="*/ 6137 w 10000"/>
                <a:gd name="connsiteY228" fmla="*/ 7563 h 10000"/>
                <a:gd name="connsiteX229" fmla="*/ 5969 w 10000"/>
                <a:gd name="connsiteY229" fmla="*/ 7618 h 10000"/>
                <a:gd name="connsiteX230" fmla="*/ 5954 w 10000"/>
                <a:gd name="connsiteY230" fmla="*/ 7679 h 10000"/>
                <a:gd name="connsiteX231" fmla="*/ 5786 w 10000"/>
                <a:gd name="connsiteY231" fmla="*/ 7690 h 10000"/>
                <a:gd name="connsiteX232" fmla="*/ 5700 w 10000"/>
                <a:gd name="connsiteY232" fmla="*/ 7723 h 10000"/>
                <a:gd name="connsiteX233" fmla="*/ 5767 w 10000"/>
                <a:gd name="connsiteY233" fmla="*/ 7772 h 10000"/>
                <a:gd name="connsiteX234" fmla="*/ 5827 w 10000"/>
                <a:gd name="connsiteY234" fmla="*/ 7756 h 10000"/>
                <a:gd name="connsiteX235" fmla="*/ 5991 w 10000"/>
                <a:gd name="connsiteY235" fmla="*/ 7789 h 10000"/>
                <a:gd name="connsiteX236" fmla="*/ 5804 w 10000"/>
                <a:gd name="connsiteY236" fmla="*/ 7964 h 10000"/>
                <a:gd name="connsiteX237" fmla="*/ 5872 w 10000"/>
                <a:gd name="connsiteY237" fmla="*/ 8008 h 10000"/>
                <a:gd name="connsiteX238" fmla="*/ 6043 w 10000"/>
                <a:gd name="connsiteY238" fmla="*/ 7958 h 10000"/>
                <a:gd name="connsiteX239" fmla="*/ 6275 w 10000"/>
                <a:gd name="connsiteY239" fmla="*/ 8101 h 10000"/>
                <a:gd name="connsiteX240" fmla="*/ 6575 w 10000"/>
                <a:gd name="connsiteY240" fmla="*/ 7909 h 10000"/>
                <a:gd name="connsiteX241" fmla="*/ 6870 w 10000"/>
                <a:gd name="connsiteY241" fmla="*/ 7887 h 10000"/>
                <a:gd name="connsiteX242" fmla="*/ 6915 w 10000"/>
                <a:gd name="connsiteY242" fmla="*/ 7745 h 10000"/>
                <a:gd name="connsiteX243" fmla="*/ 6993 w 10000"/>
                <a:gd name="connsiteY243" fmla="*/ 7958 h 10000"/>
                <a:gd name="connsiteX244" fmla="*/ 7075 w 10000"/>
                <a:gd name="connsiteY244" fmla="*/ 7986 h 10000"/>
                <a:gd name="connsiteX245" fmla="*/ 7045 w 10000"/>
                <a:gd name="connsiteY245" fmla="*/ 8134 h 10000"/>
                <a:gd name="connsiteX246" fmla="*/ 6788 w 10000"/>
                <a:gd name="connsiteY246" fmla="*/ 8281 h 10000"/>
                <a:gd name="connsiteX247" fmla="*/ 6769 w 10000"/>
                <a:gd name="connsiteY247" fmla="*/ 8386 h 10000"/>
                <a:gd name="connsiteX248" fmla="*/ 6627 w 10000"/>
                <a:gd name="connsiteY248" fmla="*/ 8523 h 10000"/>
                <a:gd name="connsiteX249" fmla="*/ 6623 w 10000"/>
                <a:gd name="connsiteY249" fmla="*/ 8649 h 10000"/>
                <a:gd name="connsiteX250" fmla="*/ 6537 w 10000"/>
                <a:gd name="connsiteY250" fmla="*/ 8704 h 10000"/>
                <a:gd name="connsiteX251" fmla="*/ 6428 w 10000"/>
                <a:gd name="connsiteY251" fmla="*/ 8989 h 10000"/>
                <a:gd name="connsiteX252" fmla="*/ 6582 w 10000"/>
                <a:gd name="connsiteY252" fmla="*/ 9001 h 10000"/>
                <a:gd name="connsiteX253" fmla="*/ 6672 w 10000"/>
                <a:gd name="connsiteY253" fmla="*/ 8879 h 10000"/>
                <a:gd name="connsiteX254" fmla="*/ 6769 w 10000"/>
                <a:gd name="connsiteY254" fmla="*/ 8912 h 10000"/>
                <a:gd name="connsiteX255" fmla="*/ 6814 w 10000"/>
                <a:gd name="connsiteY255" fmla="*/ 8786 h 10000"/>
                <a:gd name="connsiteX256" fmla="*/ 6877 w 10000"/>
                <a:gd name="connsiteY256" fmla="*/ 9001 h 10000"/>
                <a:gd name="connsiteX257" fmla="*/ 7060 w 10000"/>
                <a:gd name="connsiteY257" fmla="*/ 8994 h 10000"/>
                <a:gd name="connsiteX258" fmla="*/ 7217 w 10000"/>
                <a:gd name="connsiteY258" fmla="*/ 9362 h 10000"/>
                <a:gd name="connsiteX259" fmla="*/ 7232 w 10000"/>
                <a:gd name="connsiteY259" fmla="*/ 9675 h 10000"/>
                <a:gd name="connsiteX260" fmla="*/ 7176 w 10000"/>
                <a:gd name="connsiteY260" fmla="*/ 9692 h 10000"/>
                <a:gd name="connsiteX261" fmla="*/ 7187 w 10000"/>
                <a:gd name="connsiteY261" fmla="*/ 9780 h 10000"/>
                <a:gd name="connsiteX262" fmla="*/ 7423 w 10000"/>
                <a:gd name="connsiteY262" fmla="*/ 9900 h 10000"/>
                <a:gd name="connsiteX263" fmla="*/ 7741 w 10000"/>
                <a:gd name="connsiteY263" fmla="*/ 9565 h 10000"/>
                <a:gd name="connsiteX264" fmla="*/ 7879 w 10000"/>
                <a:gd name="connsiteY264" fmla="*/ 9176 h 10000"/>
                <a:gd name="connsiteX265" fmla="*/ 8107 w 10000"/>
                <a:gd name="connsiteY265" fmla="*/ 9023 h 10000"/>
                <a:gd name="connsiteX266" fmla="*/ 8182 w 10000"/>
                <a:gd name="connsiteY266" fmla="*/ 8841 h 10000"/>
                <a:gd name="connsiteX267" fmla="*/ 8268 w 10000"/>
                <a:gd name="connsiteY267" fmla="*/ 8786 h 10000"/>
                <a:gd name="connsiteX268" fmla="*/ 8320 w 10000"/>
                <a:gd name="connsiteY268" fmla="*/ 8512 h 10000"/>
                <a:gd name="connsiteX269" fmla="*/ 8542 w 10000"/>
                <a:gd name="connsiteY269" fmla="*/ 8617 h 10000"/>
                <a:gd name="connsiteX270" fmla="*/ 8672 w 10000"/>
                <a:gd name="connsiteY270" fmla="*/ 8474 h 10000"/>
                <a:gd name="connsiteX271" fmla="*/ 8855 w 10000"/>
                <a:gd name="connsiteY271" fmla="*/ 8343 h 10000"/>
                <a:gd name="connsiteX272" fmla="*/ 8781 w 10000"/>
                <a:gd name="connsiteY272" fmla="*/ 8128 h 10000"/>
                <a:gd name="connsiteX273" fmla="*/ 7708 w 10000"/>
                <a:gd name="connsiteY273" fmla="*/ 7991 h 10000"/>
                <a:gd name="connsiteX274" fmla="*/ 7682 w 10000"/>
                <a:gd name="connsiteY274" fmla="*/ 7904 h 10000"/>
                <a:gd name="connsiteX275" fmla="*/ 7607 w 10000"/>
                <a:gd name="connsiteY275" fmla="*/ 8002 h 10000"/>
                <a:gd name="connsiteX276" fmla="*/ 7715 w 10000"/>
                <a:gd name="connsiteY276" fmla="*/ 7761 h 10000"/>
                <a:gd name="connsiteX277" fmla="*/ 7674 w 10000"/>
                <a:gd name="connsiteY277" fmla="*/ 7717 h 10000"/>
                <a:gd name="connsiteX278" fmla="*/ 7554 w 10000"/>
                <a:gd name="connsiteY278" fmla="*/ 7915 h 10000"/>
                <a:gd name="connsiteX279" fmla="*/ 7618 w 10000"/>
                <a:gd name="connsiteY279" fmla="*/ 7712 h 10000"/>
                <a:gd name="connsiteX280" fmla="*/ 7532 w 10000"/>
                <a:gd name="connsiteY280" fmla="*/ 7767 h 10000"/>
                <a:gd name="connsiteX281" fmla="*/ 7419 w 10000"/>
                <a:gd name="connsiteY281" fmla="*/ 7717 h 10000"/>
                <a:gd name="connsiteX282" fmla="*/ 7333 w 10000"/>
                <a:gd name="connsiteY282" fmla="*/ 7794 h 10000"/>
                <a:gd name="connsiteX283" fmla="*/ 7240 w 10000"/>
                <a:gd name="connsiteY283" fmla="*/ 7728 h 10000"/>
                <a:gd name="connsiteX284" fmla="*/ 7087 w 10000"/>
                <a:gd name="connsiteY284" fmla="*/ 7717 h 10000"/>
                <a:gd name="connsiteX285" fmla="*/ 7090 w 10000"/>
                <a:gd name="connsiteY285" fmla="*/ 7547 h 10000"/>
                <a:gd name="connsiteX286" fmla="*/ 7229 w 10000"/>
                <a:gd name="connsiteY286" fmla="*/ 7662 h 10000"/>
                <a:gd name="connsiteX287" fmla="*/ 7273 w 10000"/>
                <a:gd name="connsiteY287" fmla="*/ 7541 h 10000"/>
                <a:gd name="connsiteX288" fmla="*/ 7236 w 10000"/>
                <a:gd name="connsiteY288" fmla="*/ 7410 h 10000"/>
                <a:gd name="connsiteX289" fmla="*/ 7341 w 10000"/>
                <a:gd name="connsiteY289" fmla="*/ 7547 h 10000"/>
                <a:gd name="connsiteX290" fmla="*/ 7483 w 10000"/>
                <a:gd name="connsiteY290" fmla="*/ 7536 h 10000"/>
                <a:gd name="connsiteX291" fmla="*/ 7506 w 10000"/>
                <a:gd name="connsiteY291" fmla="*/ 7685 h 10000"/>
                <a:gd name="connsiteX292" fmla="*/ 7547 w 10000"/>
                <a:gd name="connsiteY292" fmla="*/ 7685 h 10000"/>
                <a:gd name="connsiteX293" fmla="*/ 7558 w 10000"/>
                <a:gd name="connsiteY293" fmla="*/ 7415 h 10000"/>
                <a:gd name="connsiteX294" fmla="*/ 7607 w 10000"/>
                <a:gd name="connsiteY294" fmla="*/ 7585 h 10000"/>
                <a:gd name="connsiteX295" fmla="*/ 7693 w 10000"/>
                <a:gd name="connsiteY295" fmla="*/ 7590 h 10000"/>
                <a:gd name="connsiteX296" fmla="*/ 7629 w 10000"/>
                <a:gd name="connsiteY296" fmla="*/ 7333 h 10000"/>
                <a:gd name="connsiteX297" fmla="*/ 7786 w 10000"/>
                <a:gd name="connsiteY297" fmla="*/ 7240 h 10000"/>
                <a:gd name="connsiteX298" fmla="*/ 7779 w 10000"/>
                <a:gd name="connsiteY298" fmla="*/ 6987 h 10000"/>
                <a:gd name="connsiteX299" fmla="*/ 7887 w 10000"/>
                <a:gd name="connsiteY299" fmla="*/ 7081 h 10000"/>
                <a:gd name="connsiteX300" fmla="*/ 7906 w 10000"/>
                <a:gd name="connsiteY300" fmla="*/ 7015 h 10000"/>
                <a:gd name="connsiteX301" fmla="*/ 7775 w 10000"/>
                <a:gd name="connsiteY301" fmla="*/ 6735 h 10000"/>
                <a:gd name="connsiteX302" fmla="*/ 7950 w 10000"/>
                <a:gd name="connsiteY302" fmla="*/ 6894 h 10000"/>
                <a:gd name="connsiteX303" fmla="*/ 8171 w 10000"/>
                <a:gd name="connsiteY303" fmla="*/ 6511 h 10000"/>
                <a:gd name="connsiteX304" fmla="*/ 8384 w 10000"/>
                <a:gd name="connsiteY304" fmla="*/ 6483 h 10000"/>
                <a:gd name="connsiteX305" fmla="*/ 8429 w 10000"/>
                <a:gd name="connsiteY30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7569 w 10000"/>
                <a:gd name="connsiteY35" fmla="*/ 1873 h 10000"/>
                <a:gd name="connsiteX36" fmla="*/ 7165 w 10000"/>
                <a:gd name="connsiteY36" fmla="*/ 1996 h 10000"/>
                <a:gd name="connsiteX37" fmla="*/ 6892 w 10000"/>
                <a:gd name="connsiteY37" fmla="*/ 1827 h 10000"/>
                <a:gd name="connsiteX38" fmla="*/ 6922 w 10000"/>
                <a:gd name="connsiteY38" fmla="*/ 1728 h 10000"/>
                <a:gd name="connsiteX39" fmla="*/ 6765 w 10000"/>
                <a:gd name="connsiteY39" fmla="*/ 1398 h 10000"/>
                <a:gd name="connsiteX40" fmla="*/ 6799 w 10000"/>
                <a:gd name="connsiteY40" fmla="*/ 1256 h 10000"/>
                <a:gd name="connsiteX41" fmla="*/ 6728 w 10000"/>
                <a:gd name="connsiteY41" fmla="*/ 1229 h 10000"/>
                <a:gd name="connsiteX42" fmla="*/ 6657 w 10000"/>
                <a:gd name="connsiteY42" fmla="*/ 1311 h 10000"/>
                <a:gd name="connsiteX43" fmla="*/ 6593 w 10000"/>
                <a:gd name="connsiteY43" fmla="*/ 1114 h 10000"/>
                <a:gd name="connsiteX44" fmla="*/ 6391 w 10000"/>
                <a:gd name="connsiteY44" fmla="*/ 1311 h 10000"/>
                <a:gd name="connsiteX45" fmla="*/ 6309 w 10000"/>
                <a:gd name="connsiteY45" fmla="*/ 1223 h 10000"/>
                <a:gd name="connsiteX46" fmla="*/ 6126 w 10000"/>
                <a:gd name="connsiteY46" fmla="*/ 1273 h 10000"/>
                <a:gd name="connsiteX47" fmla="*/ 6144 w 10000"/>
                <a:gd name="connsiteY47" fmla="*/ 1125 h 10000"/>
                <a:gd name="connsiteX48" fmla="*/ 6073 w 10000"/>
                <a:gd name="connsiteY48" fmla="*/ 1119 h 10000"/>
                <a:gd name="connsiteX49" fmla="*/ 6040 w 10000"/>
                <a:gd name="connsiteY49" fmla="*/ 910 h 10000"/>
                <a:gd name="connsiteX50" fmla="*/ 5942 w 10000"/>
                <a:gd name="connsiteY50" fmla="*/ 795 h 10000"/>
                <a:gd name="connsiteX51" fmla="*/ 6144 w 10000"/>
                <a:gd name="connsiteY51" fmla="*/ 620 h 10000"/>
                <a:gd name="connsiteX52" fmla="*/ 5901 w 10000"/>
                <a:gd name="connsiteY52" fmla="*/ 395 h 10000"/>
                <a:gd name="connsiteX53" fmla="*/ 5853 w 10000"/>
                <a:gd name="connsiteY53" fmla="*/ 142 h 10000"/>
                <a:gd name="connsiteX54" fmla="*/ 5741 w 10000"/>
                <a:gd name="connsiteY54" fmla="*/ 110 h 10000"/>
                <a:gd name="connsiteX55" fmla="*/ 5647 w 10000"/>
                <a:gd name="connsiteY55" fmla="*/ 0 h 10000"/>
                <a:gd name="connsiteX56" fmla="*/ 5547 w 10000"/>
                <a:gd name="connsiteY56" fmla="*/ 120 h 10000"/>
                <a:gd name="connsiteX57" fmla="*/ 5377 w 10000"/>
                <a:gd name="connsiteY57" fmla="*/ 110 h 10000"/>
                <a:gd name="connsiteX58" fmla="*/ 5232 w 10000"/>
                <a:gd name="connsiteY58" fmla="*/ 351 h 10000"/>
                <a:gd name="connsiteX59" fmla="*/ 4952 w 10000"/>
                <a:gd name="connsiteY59" fmla="*/ 329 h 10000"/>
                <a:gd name="connsiteX60" fmla="*/ 4884 w 10000"/>
                <a:gd name="connsiteY60" fmla="*/ 680 h 10000"/>
                <a:gd name="connsiteX61" fmla="*/ 4701 w 10000"/>
                <a:gd name="connsiteY61" fmla="*/ 707 h 10000"/>
                <a:gd name="connsiteX62" fmla="*/ 4795 w 10000"/>
                <a:gd name="connsiteY62" fmla="*/ 844 h 10000"/>
                <a:gd name="connsiteX63" fmla="*/ 4739 w 10000"/>
                <a:gd name="connsiteY63" fmla="*/ 899 h 10000"/>
                <a:gd name="connsiteX64" fmla="*/ 4612 w 10000"/>
                <a:gd name="connsiteY64" fmla="*/ 894 h 10000"/>
                <a:gd name="connsiteX65" fmla="*/ 4439 w 10000"/>
                <a:gd name="connsiteY65" fmla="*/ 1026 h 10000"/>
                <a:gd name="connsiteX66" fmla="*/ 4252 w 10000"/>
                <a:gd name="connsiteY66" fmla="*/ 1668 h 10000"/>
                <a:gd name="connsiteX67" fmla="*/ 4308 w 10000"/>
                <a:gd name="connsiteY67" fmla="*/ 2090 h 10000"/>
                <a:gd name="connsiteX68" fmla="*/ 4121 w 10000"/>
                <a:gd name="connsiteY68" fmla="*/ 1865 h 10000"/>
                <a:gd name="connsiteX69" fmla="*/ 3849 w 10000"/>
                <a:gd name="connsiteY69" fmla="*/ 1991 h 10000"/>
                <a:gd name="connsiteX70" fmla="*/ 3822 w 10000"/>
                <a:gd name="connsiteY70" fmla="*/ 1931 h 10000"/>
                <a:gd name="connsiteX71" fmla="*/ 3695 w 10000"/>
                <a:gd name="connsiteY71" fmla="*/ 2002 h 10000"/>
                <a:gd name="connsiteX72" fmla="*/ 3621 w 10000"/>
                <a:gd name="connsiteY72" fmla="*/ 2144 h 10000"/>
                <a:gd name="connsiteX73" fmla="*/ 3561 w 10000"/>
                <a:gd name="connsiteY73" fmla="*/ 1909 h 10000"/>
                <a:gd name="connsiteX74" fmla="*/ 3478 w 10000"/>
                <a:gd name="connsiteY74" fmla="*/ 1843 h 10000"/>
                <a:gd name="connsiteX75" fmla="*/ 3444 w 10000"/>
                <a:gd name="connsiteY75" fmla="*/ 1964 h 10000"/>
                <a:gd name="connsiteX76" fmla="*/ 3332 w 10000"/>
                <a:gd name="connsiteY76" fmla="*/ 1996 h 10000"/>
                <a:gd name="connsiteX77" fmla="*/ 3272 w 10000"/>
                <a:gd name="connsiteY77" fmla="*/ 2161 h 10000"/>
                <a:gd name="connsiteX78" fmla="*/ 3235 w 10000"/>
                <a:gd name="connsiteY78" fmla="*/ 2013 h 10000"/>
                <a:gd name="connsiteX79" fmla="*/ 3123 w 10000"/>
                <a:gd name="connsiteY79" fmla="*/ 2024 h 10000"/>
                <a:gd name="connsiteX80" fmla="*/ 3078 w 10000"/>
                <a:gd name="connsiteY80" fmla="*/ 2128 h 10000"/>
                <a:gd name="connsiteX81" fmla="*/ 3011 w 10000"/>
                <a:gd name="connsiteY81" fmla="*/ 1975 h 10000"/>
                <a:gd name="connsiteX82" fmla="*/ 2895 w 10000"/>
                <a:gd name="connsiteY82" fmla="*/ 2117 h 10000"/>
                <a:gd name="connsiteX83" fmla="*/ 2783 w 10000"/>
                <a:gd name="connsiteY83" fmla="*/ 2106 h 10000"/>
                <a:gd name="connsiteX84" fmla="*/ 2779 w 10000"/>
                <a:gd name="connsiteY84" fmla="*/ 2276 h 10000"/>
                <a:gd name="connsiteX85" fmla="*/ 2727 w 10000"/>
                <a:gd name="connsiteY85" fmla="*/ 2144 h 10000"/>
                <a:gd name="connsiteX86" fmla="*/ 2559 w 10000"/>
                <a:gd name="connsiteY86" fmla="*/ 2155 h 10000"/>
                <a:gd name="connsiteX87" fmla="*/ 2438 w 10000"/>
                <a:gd name="connsiteY87" fmla="*/ 1980 h 10000"/>
                <a:gd name="connsiteX88" fmla="*/ 2293 w 10000"/>
                <a:gd name="connsiteY88" fmla="*/ 2073 h 10000"/>
                <a:gd name="connsiteX89" fmla="*/ 2143 w 10000"/>
                <a:gd name="connsiteY89" fmla="*/ 1958 h 10000"/>
                <a:gd name="connsiteX90" fmla="*/ 2057 w 10000"/>
                <a:gd name="connsiteY90" fmla="*/ 2035 h 10000"/>
                <a:gd name="connsiteX91" fmla="*/ 1975 w 10000"/>
                <a:gd name="connsiteY91" fmla="*/ 1947 h 10000"/>
                <a:gd name="connsiteX92" fmla="*/ 1852 w 10000"/>
                <a:gd name="connsiteY92" fmla="*/ 1936 h 10000"/>
                <a:gd name="connsiteX93" fmla="*/ 1669 w 10000"/>
                <a:gd name="connsiteY93" fmla="*/ 1925 h 10000"/>
                <a:gd name="connsiteX94" fmla="*/ 1444 w 10000"/>
                <a:gd name="connsiteY94" fmla="*/ 1991 h 10000"/>
                <a:gd name="connsiteX95" fmla="*/ 1205 w 10000"/>
                <a:gd name="connsiteY95" fmla="*/ 2062 h 10000"/>
                <a:gd name="connsiteX96" fmla="*/ 921 w 10000"/>
                <a:gd name="connsiteY96" fmla="*/ 2166 h 10000"/>
                <a:gd name="connsiteX97" fmla="*/ 797 w 10000"/>
                <a:gd name="connsiteY97" fmla="*/ 2496 h 10000"/>
                <a:gd name="connsiteX98" fmla="*/ 603 w 10000"/>
                <a:gd name="connsiteY98" fmla="*/ 2501 h 10000"/>
                <a:gd name="connsiteX99" fmla="*/ 540 w 10000"/>
                <a:gd name="connsiteY99" fmla="*/ 2687 h 10000"/>
                <a:gd name="connsiteX100" fmla="*/ 558 w 10000"/>
                <a:gd name="connsiteY100" fmla="*/ 2764 h 10000"/>
                <a:gd name="connsiteX101" fmla="*/ 577 w 10000"/>
                <a:gd name="connsiteY101" fmla="*/ 2868 h 10000"/>
                <a:gd name="connsiteX102" fmla="*/ 577 w 10000"/>
                <a:gd name="connsiteY102" fmla="*/ 2868 h 10000"/>
                <a:gd name="connsiteX103" fmla="*/ 577 w 10000"/>
                <a:gd name="connsiteY103" fmla="*/ 2896 h 10000"/>
                <a:gd name="connsiteX104" fmla="*/ 682 w 10000"/>
                <a:gd name="connsiteY104" fmla="*/ 3116 h 10000"/>
                <a:gd name="connsiteX105" fmla="*/ 786 w 10000"/>
                <a:gd name="connsiteY105" fmla="*/ 3351 h 10000"/>
                <a:gd name="connsiteX106" fmla="*/ 921 w 10000"/>
                <a:gd name="connsiteY106" fmla="*/ 3488 h 10000"/>
                <a:gd name="connsiteX107" fmla="*/ 876 w 10000"/>
                <a:gd name="connsiteY107" fmla="*/ 3548 h 10000"/>
                <a:gd name="connsiteX108" fmla="*/ 805 w 10000"/>
                <a:gd name="connsiteY108" fmla="*/ 3603 h 10000"/>
                <a:gd name="connsiteX109" fmla="*/ 887 w 10000"/>
                <a:gd name="connsiteY109" fmla="*/ 3697 h 10000"/>
                <a:gd name="connsiteX110" fmla="*/ 876 w 10000"/>
                <a:gd name="connsiteY110" fmla="*/ 4053 h 10000"/>
                <a:gd name="connsiteX111" fmla="*/ 693 w 10000"/>
                <a:gd name="connsiteY111" fmla="*/ 4124 h 10000"/>
                <a:gd name="connsiteX112" fmla="*/ 498 w 10000"/>
                <a:gd name="connsiteY112" fmla="*/ 4531 h 10000"/>
                <a:gd name="connsiteX113" fmla="*/ 371 w 10000"/>
                <a:gd name="connsiteY113" fmla="*/ 4936 h 10000"/>
                <a:gd name="connsiteX114" fmla="*/ 195 w 10000"/>
                <a:gd name="connsiteY114" fmla="*/ 5260 h 10000"/>
                <a:gd name="connsiteX115" fmla="*/ 270 w 10000"/>
                <a:gd name="connsiteY115" fmla="*/ 5517 h 10000"/>
                <a:gd name="connsiteX116" fmla="*/ 277 w 10000"/>
                <a:gd name="connsiteY116" fmla="*/ 5732 h 10000"/>
                <a:gd name="connsiteX117" fmla="*/ 400 w 10000"/>
                <a:gd name="connsiteY117" fmla="*/ 5841 h 10000"/>
                <a:gd name="connsiteX118" fmla="*/ 382 w 10000"/>
                <a:gd name="connsiteY118" fmla="*/ 5945 h 10000"/>
                <a:gd name="connsiteX119" fmla="*/ 202 w 10000"/>
                <a:gd name="connsiteY119" fmla="*/ 5852 h 10000"/>
                <a:gd name="connsiteX120" fmla="*/ 124 w 10000"/>
                <a:gd name="connsiteY120" fmla="*/ 6099 h 10000"/>
                <a:gd name="connsiteX121" fmla="*/ 105 w 10000"/>
                <a:gd name="connsiteY121" fmla="*/ 6346 h 10000"/>
                <a:gd name="connsiteX122" fmla="*/ 1 w 10000"/>
                <a:gd name="connsiteY122" fmla="*/ 6571 h 10000"/>
                <a:gd name="connsiteX123" fmla="*/ 19 w 10000"/>
                <a:gd name="connsiteY123" fmla="*/ 6779 h 10000"/>
                <a:gd name="connsiteX124" fmla="*/ 90 w 10000"/>
                <a:gd name="connsiteY124" fmla="*/ 6828 h 10000"/>
                <a:gd name="connsiteX125" fmla="*/ 154 w 10000"/>
                <a:gd name="connsiteY125" fmla="*/ 6960 h 10000"/>
                <a:gd name="connsiteX126" fmla="*/ 240 w 10000"/>
                <a:gd name="connsiteY126" fmla="*/ 6943 h 10000"/>
                <a:gd name="connsiteX127" fmla="*/ 292 w 10000"/>
                <a:gd name="connsiteY127" fmla="*/ 7076 h 10000"/>
                <a:gd name="connsiteX128" fmla="*/ 445 w 10000"/>
                <a:gd name="connsiteY128" fmla="*/ 7103 h 10000"/>
                <a:gd name="connsiteX129" fmla="*/ 453 w 10000"/>
                <a:gd name="connsiteY129" fmla="*/ 7251 h 10000"/>
                <a:gd name="connsiteX130" fmla="*/ 494 w 10000"/>
                <a:gd name="connsiteY130" fmla="*/ 7278 h 10000"/>
                <a:gd name="connsiteX131" fmla="*/ 525 w 10000"/>
                <a:gd name="connsiteY131" fmla="*/ 7174 h 10000"/>
                <a:gd name="connsiteX132" fmla="*/ 581 w 10000"/>
                <a:gd name="connsiteY132" fmla="*/ 7196 h 10000"/>
                <a:gd name="connsiteX133" fmla="*/ 644 w 10000"/>
                <a:gd name="connsiteY133" fmla="*/ 6992 h 10000"/>
                <a:gd name="connsiteX134" fmla="*/ 820 w 10000"/>
                <a:gd name="connsiteY134" fmla="*/ 7174 h 10000"/>
                <a:gd name="connsiteX135" fmla="*/ 1283 w 10000"/>
                <a:gd name="connsiteY135" fmla="*/ 7163 h 10000"/>
                <a:gd name="connsiteX136" fmla="*/ 1466 w 10000"/>
                <a:gd name="connsiteY136" fmla="*/ 7092 h 10000"/>
                <a:gd name="connsiteX137" fmla="*/ 1766 w 10000"/>
                <a:gd name="connsiteY137" fmla="*/ 7344 h 10000"/>
                <a:gd name="connsiteX138" fmla="*/ 1956 w 10000"/>
                <a:gd name="connsiteY138" fmla="*/ 7087 h 10000"/>
                <a:gd name="connsiteX139" fmla="*/ 2382 w 10000"/>
                <a:gd name="connsiteY139" fmla="*/ 6861 h 10000"/>
                <a:gd name="connsiteX140" fmla="*/ 2536 w 10000"/>
                <a:gd name="connsiteY140" fmla="*/ 6489 h 10000"/>
                <a:gd name="connsiteX141" fmla="*/ 2648 w 10000"/>
                <a:gd name="connsiteY141" fmla="*/ 6439 h 10000"/>
                <a:gd name="connsiteX142" fmla="*/ 2648 w 10000"/>
                <a:gd name="connsiteY142" fmla="*/ 6379 h 10000"/>
                <a:gd name="connsiteX143" fmla="*/ 2693 w 10000"/>
                <a:gd name="connsiteY143" fmla="*/ 6379 h 10000"/>
                <a:gd name="connsiteX144" fmla="*/ 2682 w 10000"/>
                <a:gd name="connsiteY144" fmla="*/ 6230 h 10000"/>
                <a:gd name="connsiteX145" fmla="*/ 2820 w 10000"/>
                <a:gd name="connsiteY145" fmla="*/ 6285 h 10000"/>
                <a:gd name="connsiteX146" fmla="*/ 2839 w 10000"/>
                <a:gd name="connsiteY146" fmla="*/ 6159 h 10000"/>
                <a:gd name="connsiteX147" fmla="*/ 2921 w 10000"/>
                <a:gd name="connsiteY147" fmla="*/ 6230 h 10000"/>
                <a:gd name="connsiteX148" fmla="*/ 2981 w 10000"/>
                <a:gd name="connsiteY148" fmla="*/ 6126 h 10000"/>
                <a:gd name="connsiteX149" fmla="*/ 3078 w 10000"/>
                <a:gd name="connsiteY149" fmla="*/ 6154 h 10000"/>
                <a:gd name="connsiteX150" fmla="*/ 3164 w 10000"/>
                <a:gd name="connsiteY150" fmla="*/ 6055 h 10000"/>
                <a:gd name="connsiteX151" fmla="*/ 3328 w 10000"/>
                <a:gd name="connsiteY151" fmla="*/ 6192 h 10000"/>
                <a:gd name="connsiteX152" fmla="*/ 3411 w 10000"/>
                <a:gd name="connsiteY152" fmla="*/ 6197 h 10000"/>
                <a:gd name="connsiteX153" fmla="*/ 3437 w 10000"/>
                <a:gd name="connsiteY153" fmla="*/ 6307 h 10000"/>
                <a:gd name="connsiteX154" fmla="*/ 3591 w 10000"/>
                <a:gd name="connsiteY154" fmla="*/ 6236 h 10000"/>
                <a:gd name="connsiteX155" fmla="*/ 3576 w 10000"/>
                <a:gd name="connsiteY155" fmla="*/ 6357 h 10000"/>
                <a:gd name="connsiteX156" fmla="*/ 3632 w 10000"/>
                <a:gd name="connsiteY156" fmla="*/ 6341 h 10000"/>
                <a:gd name="connsiteX157" fmla="*/ 3699 w 10000"/>
                <a:gd name="connsiteY157" fmla="*/ 6428 h 10000"/>
                <a:gd name="connsiteX158" fmla="*/ 3703 w 10000"/>
                <a:gd name="connsiteY158" fmla="*/ 6301 h 10000"/>
                <a:gd name="connsiteX159" fmla="*/ 3882 w 10000"/>
                <a:gd name="connsiteY159" fmla="*/ 6341 h 10000"/>
                <a:gd name="connsiteX160" fmla="*/ 3946 w 10000"/>
                <a:gd name="connsiteY160" fmla="*/ 6511 h 10000"/>
                <a:gd name="connsiteX161" fmla="*/ 4047 w 10000"/>
                <a:gd name="connsiteY161" fmla="*/ 6494 h 10000"/>
                <a:gd name="connsiteX162" fmla="*/ 4091 w 10000"/>
                <a:gd name="connsiteY162" fmla="*/ 6417 h 10000"/>
                <a:gd name="connsiteX163" fmla="*/ 4192 w 10000"/>
                <a:gd name="connsiteY163" fmla="*/ 6735 h 10000"/>
                <a:gd name="connsiteX164" fmla="*/ 4155 w 10000"/>
                <a:gd name="connsiteY164" fmla="*/ 6987 h 10000"/>
                <a:gd name="connsiteX165" fmla="*/ 4207 w 10000"/>
                <a:gd name="connsiteY165" fmla="*/ 7114 h 10000"/>
                <a:gd name="connsiteX166" fmla="*/ 4278 w 10000"/>
                <a:gd name="connsiteY166" fmla="*/ 7119 h 10000"/>
                <a:gd name="connsiteX167" fmla="*/ 4387 w 10000"/>
                <a:gd name="connsiteY167" fmla="*/ 7256 h 10000"/>
                <a:gd name="connsiteX168" fmla="*/ 4431 w 10000"/>
                <a:gd name="connsiteY168" fmla="*/ 7152 h 10000"/>
                <a:gd name="connsiteX169" fmla="*/ 4480 w 10000"/>
                <a:gd name="connsiteY169" fmla="*/ 7322 h 10000"/>
                <a:gd name="connsiteX170" fmla="*/ 4541 w 10000"/>
                <a:gd name="connsiteY170" fmla="*/ 7662 h 10000"/>
                <a:gd name="connsiteX171" fmla="*/ 4720 w 10000"/>
                <a:gd name="connsiteY171" fmla="*/ 7739 h 10000"/>
                <a:gd name="connsiteX172" fmla="*/ 4761 w 10000"/>
                <a:gd name="connsiteY172" fmla="*/ 8183 h 10000"/>
                <a:gd name="connsiteX173" fmla="*/ 4914 w 10000"/>
                <a:gd name="connsiteY173" fmla="*/ 8276 h 10000"/>
                <a:gd name="connsiteX174" fmla="*/ 4757 w 10000"/>
                <a:gd name="connsiteY174" fmla="*/ 8370 h 10000"/>
                <a:gd name="connsiteX175" fmla="*/ 4705 w 10000"/>
                <a:gd name="connsiteY175" fmla="*/ 8260 h 10000"/>
                <a:gd name="connsiteX176" fmla="*/ 4645 w 10000"/>
                <a:gd name="connsiteY176" fmla="*/ 8403 h 10000"/>
                <a:gd name="connsiteX177" fmla="*/ 4491 w 10000"/>
                <a:gd name="connsiteY177" fmla="*/ 8287 h 10000"/>
                <a:gd name="connsiteX178" fmla="*/ 4405 w 10000"/>
                <a:gd name="connsiteY178" fmla="*/ 8452 h 10000"/>
                <a:gd name="connsiteX179" fmla="*/ 4226 w 10000"/>
                <a:gd name="connsiteY179" fmla="*/ 8331 h 10000"/>
                <a:gd name="connsiteX180" fmla="*/ 4312 w 10000"/>
                <a:gd name="connsiteY180" fmla="*/ 8699 h 10000"/>
                <a:gd name="connsiteX181" fmla="*/ 4304 w 10000"/>
                <a:gd name="connsiteY181" fmla="*/ 8967 h 10000"/>
                <a:gd name="connsiteX182" fmla="*/ 4189 w 10000"/>
                <a:gd name="connsiteY182" fmla="*/ 9088 h 10000"/>
                <a:gd name="connsiteX183" fmla="*/ 4226 w 10000"/>
                <a:gd name="connsiteY183" fmla="*/ 9193 h 10000"/>
                <a:gd name="connsiteX184" fmla="*/ 4065 w 10000"/>
                <a:gd name="connsiteY184" fmla="*/ 9412 h 10000"/>
                <a:gd name="connsiteX185" fmla="*/ 4129 w 10000"/>
                <a:gd name="connsiteY185" fmla="*/ 9647 h 10000"/>
                <a:gd name="connsiteX186" fmla="*/ 3972 w 10000"/>
                <a:gd name="connsiteY186" fmla="*/ 9681 h 10000"/>
                <a:gd name="connsiteX187" fmla="*/ 3931 w 10000"/>
                <a:gd name="connsiteY187" fmla="*/ 9741 h 10000"/>
                <a:gd name="connsiteX188" fmla="*/ 3998 w 10000"/>
                <a:gd name="connsiteY188" fmla="*/ 9785 h 10000"/>
                <a:gd name="connsiteX189" fmla="*/ 4118 w 10000"/>
                <a:gd name="connsiteY189" fmla="*/ 9944 h 10000"/>
                <a:gd name="connsiteX190" fmla="*/ 4312 w 10000"/>
                <a:gd name="connsiteY190" fmla="*/ 9999 h 10000"/>
                <a:gd name="connsiteX191" fmla="*/ 4319 w 10000"/>
                <a:gd name="connsiteY191" fmla="*/ 9851 h 10000"/>
                <a:gd name="connsiteX192" fmla="*/ 4387 w 10000"/>
                <a:gd name="connsiteY192" fmla="*/ 9856 h 10000"/>
                <a:gd name="connsiteX193" fmla="*/ 4675 w 10000"/>
                <a:gd name="connsiteY193" fmla="*/ 9603 h 10000"/>
                <a:gd name="connsiteX194" fmla="*/ 4866 w 10000"/>
                <a:gd name="connsiteY194" fmla="*/ 9845 h 10000"/>
                <a:gd name="connsiteX195" fmla="*/ 4866 w 10000"/>
                <a:gd name="connsiteY195" fmla="*/ 9862 h 10000"/>
                <a:gd name="connsiteX196" fmla="*/ 4896 w 10000"/>
                <a:gd name="connsiteY196" fmla="*/ 9703 h 10000"/>
                <a:gd name="connsiteX197" fmla="*/ 4843 w 10000"/>
                <a:gd name="connsiteY197" fmla="*/ 9570 h 10000"/>
                <a:gd name="connsiteX198" fmla="*/ 4776 w 10000"/>
                <a:gd name="connsiteY198" fmla="*/ 9549 h 10000"/>
                <a:gd name="connsiteX199" fmla="*/ 4821 w 10000"/>
                <a:gd name="connsiteY199" fmla="*/ 9466 h 10000"/>
                <a:gd name="connsiteX200" fmla="*/ 4806 w 10000"/>
                <a:gd name="connsiteY200" fmla="*/ 9444 h 10000"/>
                <a:gd name="connsiteX201" fmla="*/ 4750 w 10000"/>
                <a:gd name="connsiteY201" fmla="*/ 9439 h 10000"/>
                <a:gd name="connsiteX202" fmla="*/ 4720 w 10000"/>
                <a:gd name="connsiteY202" fmla="*/ 9121 h 10000"/>
                <a:gd name="connsiteX203" fmla="*/ 4761 w 10000"/>
                <a:gd name="connsiteY203" fmla="*/ 9105 h 10000"/>
                <a:gd name="connsiteX204" fmla="*/ 4783 w 10000"/>
                <a:gd name="connsiteY204" fmla="*/ 9253 h 10000"/>
                <a:gd name="connsiteX205" fmla="*/ 4836 w 10000"/>
                <a:gd name="connsiteY205" fmla="*/ 9384 h 10000"/>
                <a:gd name="connsiteX206" fmla="*/ 4881 w 10000"/>
                <a:gd name="connsiteY206" fmla="*/ 9302 h 10000"/>
                <a:gd name="connsiteX207" fmla="*/ 4869 w 10000"/>
                <a:gd name="connsiteY207" fmla="*/ 9220 h 10000"/>
                <a:gd name="connsiteX208" fmla="*/ 4940 w 10000"/>
                <a:gd name="connsiteY208" fmla="*/ 9203 h 10000"/>
                <a:gd name="connsiteX209" fmla="*/ 4903 w 10000"/>
                <a:gd name="connsiteY209" fmla="*/ 9034 h 10000"/>
                <a:gd name="connsiteX210" fmla="*/ 5000 w 10000"/>
                <a:gd name="connsiteY210" fmla="*/ 9061 h 10000"/>
                <a:gd name="connsiteX211" fmla="*/ 5004 w 10000"/>
                <a:gd name="connsiteY211" fmla="*/ 8972 h 10000"/>
                <a:gd name="connsiteX212" fmla="*/ 5041 w 10000"/>
                <a:gd name="connsiteY212" fmla="*/ 9039 h 10000"/>
                <a:gd name="connsiteX213" fmla="*/ 5206 w 10000"/>
                <a:gd name="connsiteY213" fmla="*/ 8781 h 10000"/>
                <a:gd name="connsiteX214" fmla="*/ 5112 w 10000"/>
                <a:gd name="connsiteY214" fmla="*/ 8584 h 10000"/>
                <a:gd name="connsiteX215" fmla="*/ 4937 w 10000"/>
                <a:gd name="connsiteY215" fmla="*/ 8425 h 10000"/>
                <a:gd name="connsiteX216" fmla="*/ 5037 w 10000"/>
                <a:gd name="connsiteY216" fmla="*/ 8370 h 10000"/>
                <a:gd name="connsiteX217" fmla="*/ 5183 w 10000"/>
                <a:gd name="connsiteY217" fmla="*/ 8633 h 10000"/>
                <a:gd name="connsiteX218" fmla="*/ 5292 w 10000"/>
                <a:gd name="connsiteY218" fmla="*/ 8199 h 10000"/>
                <a:gd name="connsiteX219" fmla="*/ 5299 w 10000"/>
                <a:gd name="connsiteY219" fmla="*/ 8030 h 10000"/>
                <a:gd name="connsiteX220" fmla="*/ 5482 w 10000"/>
                <a:gd name="connsiteY220" fmla="*/ 7942 h 10000"/>
                <a:gd name="connsiteX221" fmla="*/ 5550 w 10000"/>
                <a:gd name="connsiteY221" fmla="*/ 7607 h 10000"/>
                <a:gd name="connsiteX222" fmla="*/ 5561 w 10000"/>
                <a:gd name="connsiteY222" fmla="*/ 7734 h 10000"/>
                <a:gd name="connsiteX223" fmla="*/ 5677 w 10000"/>
                <a:gd name="connsiteY223" fmla="*/ 7596 h 10000"/>
                <a:gd name="connsiteX224" fmla="*/ 5759 w 10000"/>
                <a:gd name="connsiteY224" fmla="*/ 7579 h 10000"/>
                <a:gd name="connsiteX225" fmla="*/ 5842 w 10000"/>
                <a:gd name="connsiteY225" fmla="*/ 7207 h 10000"/>
                <a:gd name="connsiteX226" fmla="*/ 5916 w 10000"/>
                <a:gd name="connsiteY226" fmla="*/ 7486 h 10000"/>
                <a:gd name="connsiteX227" fmla="*/ 6137 w 10000"/>
                <a:gd name="connsiteY227" fmla="*/ 7563 h 10000"/>
                <a:gd name="connsiteX228" fmla="*/ 5969 w 10000"/>
                <a:gd name="connsiteY228" fmla="*/ 7618 h 10000"/>
                <a:gd name="connsiteX229" fmla="*/ 5954 w 10000"/>
                <a:gd name="connsiteY229" fmla="*/ 7679 h 10000"/>
                <a:gd name="connsiteX230" fmla="*/ 5786 w 10000"/>
                <a:gd name="connsiteY230" fmla="*/ 7690 h 10000"/>
                <a:gd name="connsiteX231" fmla="*/ 5700 w 10000"/>
                <a:gd name="connsiteY231" fmla="*/ 7723 h 10000"/>
                <a:gd name="connsiteX232" fmla="*/ 5767 w 10000"/>
                <a:gd name="connsiteY232" fmla="*/ 7772 h 10000"/>
                <a:gd name="connsiteX233" fmla="*/ 5827 w 10000"/>
                <a:gd name="connsiteY233" fmla="*/ 7756 h 10000"/>
                <a:gd name="connsiteX234" fmla="*/ 5991 w 10000"/>
                <a:gd name="connsiteY234" fmla="*/ 7789 h 10000"/>
                <a:gd name="connsiteX235" fmla="*/ 5804 w 10000"/>
                <a:gd name="connsiteY235" fmla="*/ 7964 h 10000"/>
                <a:gd name="connsiteX236" fmla="*/ 5872 w 10000"/>
                <a:gd name="connsiteY236" fmla="*/ 8008 h 10000"/>
                <a:gd name="connsiteX237" fmla="*/ 6043 w 10000"/>
                <a:gd name="connsiteY237" fmla="*/ 7958 h 10000"/>
                <a:gd name="connsiteX238" fmla="*/ 6275 w 10000"/>
                <a:gd name="connsiteY238" fmla="*/ 8101 h 10000"/>
                <a:gd name="connsiteX239" fmla="*/ 6575 w 10000"/>
                <a:gd name="connsiteY239" fmla="*/ 7909 h 10000"/>
                <a:gd name="connsiteX240" fmla="*/ 6870 w 10000"/>
                <a:gd name="connsiteY240" fmla="*/ 7887 h 10000"/>
                <a:gd name="connsiteX241" fmla="*/ 6915 w 10000"/>
                <a:gd name="connsiteY241" fmla="*/ 7745 h 10000"/>
                <a:gd name="connsiteX242" fmla="*/ 6993 w 10000"/>
                <a:gd name="connsiteY242" fmla="*/ 7958 h 10000"/>
                <a:gd name="connsiteX243" fmla="*/ 7075 w 10000"/>
                <a:gd name="connsiteY243" fmla="*/ 7986 h 10000"/>
                <a:gd name="connsiteX244" fmla="*/ 7045 w 10000"/>
                <a:gd name="connsiteY244" fmla="*/ 8134 h 10000"/>
                <a:gd name="connsiteX245" fmla="*/ 6788 w 10000"/>
                <a:gd name="connsiteY245" fmla="*/ 8281 h 10000"/>
                <a:gd name="connsiteX246" fmla="*/ 6769 w 10000"/>
                <a:gd name="connsiteY246" fmla="*/ 8386 h 10000"/>
                <a:gd name="connsiteX247" fmla="*/ 6627 w 10000"/>
                <a:gd name="connsiteY247" fmla="*/ 8523 h 10000"/>
                <a:gd name="connsiteX248" fmla="*/ 6623 w 10000"/>
                <a:gd name="connsiteY248" fmla="*/ 8649 h 10000"/>
                <a:gd name="connsiteX249" fmla="*/ 6537 w 10000"/>
                <a:gd name="connsiteY249" fmla="*/ 8704 h 10000"/>
                <a:gd name="connsiteX250" fmla="*/ 6428 w 10000"/>
                <a:gd name="connsiteY250" fmla="*/ 8989 h 10000"/>
                <a:gd name="connsiteX251" fmla="*/ 6582 w 10000"/>
                <a:gd name="connsiteY251" fmla="*/ 9001 h 10000"/>
                <a:gd name="connsiteX252" fmla="*/ 6672 w 10000"/>
                <a:gd name="connsiteY252" fmla="*/ 8879 h 10000"/>
                <a:gd name="connsiteX253" fmla="*/ 6769 w 10000"/>
                <a:gd name="connsiteY253" fmla="*/ 8912 h 10000"/>
                <a:gd name="connsiteX254" fmla="*/ 6814 w 10000"/>
                <a:gd name="connsiteY254" fmla="*/ 8786 h 10000"/>
                <a:gd name="connsiteX255" fmla="*/ 6877 w 10000"/>
                <a:gd name="connsiteY255" fmla="*/ 9001 h 10000"/>
                <a:gd name="connsiteX256" fmla="*/ 7060 w 10000"/>
                <a:gd name="connsiteY256" fmla="*/ 8994 h 10000"/>
                <a:gd name="connsiteX257" fmla="*/ 7217 w 10000"/>
                <a:gd name="connsiteY257" fmla="*/ 9362 h 10000"/>
                <a:gd name="connsiteX258" fmla="*/ 7232 w 10000"/>
                <a:gd name="connsiteY258" fmla="*/ 9675 h 10000"/>
                <a:gd name="connsiteX259" fmla="*/ 7176 w 10000"/>
                <a:gd name="connsiteY259" fmla="*/ 9692 h 10000"/>
                <a:gd name="connsiteX260" fmla="*/ 7187 w 10000"/>
                <a:gd name="connsiteY260" fmla="*/ 9780 h 10000"/>
                <a:gd name="connsiteX261" fmla="*/ 7423 w 10000"/>
                <a:gd name="connsiteY261" fmla="*/ 9900 h 10000"/>
                <a:gd name="connsiteX262" fmla="*/ 7741 w 10000"/>
                <a:gd name="connsiteY262" fmla="*/ 9565 h 10000"/>
                <a:gd name="connsiteX263" fmla="*/ 7879 w 10000"/>
                <a:gd name="connsiteY263" fmla="*/ 9176 h 10000"/>
                <a:gd name="connsiteX264" fmla="*/ 8107 w 10000"/>
                <a:gd name="connsiteY264" fmla="*/ 9023 h 10000"/>
                <a:gd name="connsiteX265" fmla="*/ 8182 w 10000"/>
                <a:gd name="connsiteY265" fmla="*/ 8841 h 10000"/>
                <a:gd name="connsiteX266" fmla="*/ 8268 w 10000"/>
                <a:gd name="connsiteY266" fmla="*/ 8786 h 10000"/>
                <a:gd name="connsiteX267" fmla="*/ 8320 w 10000"/>
                <a:gd name="connsiteY267" fmla="*/ 8512 h 10000"/>
                <a:gd name="connsiteX268" fmla="*/ 8542 w 10000"/>
                <a:gd name="connsiteY268" fmla="*/ 8617 h 10000"/>
                <a:gd name="connsiteX269" fmla="*/ 8672 w 10000"/>
                <a:gd name="connsiteY269" fmla="*/ 8474 h 10000"/>
                <a:gd name="connsiteX270" fmla="*/ 8855 w 10000"/>
                <a:gd name="connsiteY270" fmla="*/ 8343 h 10000"/>
                <a:gd name="connsiteX271" fmla="*/ 8781 w 10000"/>
                <a:gd name="connsiteY271" fmla="*/ 8128 h 10000"/>
                <a:gd name="connsiteX272" fmla="*/ 7708 w 10000"/>
                <a:gd name="connsiteY272" fmla="*/ 7991 h 10000"/>
                <a:gd name="connsiteX273" fmla="*/ 7682 w 10000"/>
                <a:gd name="connsiteY273" fmla="*/ 7904 h 10000"/>
                <a:gd name="connsiteX274" fmla="*/ 7607 w 10000"/>
                <a:gd name="connsiteY274" fmla="*/ 8002 h 10000"/>
                <a:gd name="connsiteX275" fmla="*/ 7715 w 10000"/>
                <a:gd name="connsiteY275" fmla="*/ 7761 h 10000"/>
                <a:gd name="connsiteX276" fmla="*/ 7674 w 10000"/>
                <a:gd name="connsiteY276" fmla="*/ 7717 h 10000"/>
                <a:gd name="connsiteX277" fmla="*/ 7554 w 10000"/>
                <a:gd name="connsiteY277" fmla="*/ 7915 h 10000"/>
                <a:gd name="connsiteX278" fmla="*/ 7618 w 10000"/>
                <a:gd name="connsiteY278" fmla="*/ 7712 h 10000"/>
                <a:gd name="connsiteX279" fmla="*/ 7532 w 10000"/>
                <a:gd name="connsiteY279" fmla="*/ 7767 h 10000"/>
                <a:gd name="connsiteX280" fmla="*/ 7419 w 10000"/>
                <a:gd name="connsiteY280" fmla="*/ 7717 h 10000"/>
                <a:gd name="connsiteX281" fmla="*/ 7333 w 10000"/>
                <a:gd name="connsiteY281" fmla="*/ 7794 h 10000"/>
                <a:gd name="connsiteX282" fmla="*/ 7240 w 10000"/>
                <a:gd name="connsiteY282" fmla="*/ 7728 h 10000"/>
                <a:gd name="connsiteX283" fmla="*/ 7087 w 10000"/>
                <a:gd name="connsiteY283" fmla="*/ 7717 h 10000"/>
                <a:gd name="connsiteX284" fmla="*/ 7090 w 10000"/>
                <a:gd name="connsiteY284" fmla="*/ 7547 h 10000"/>
                <a:gd name="connsiteX285" fmla="*/ 7229 w 10000"/>
                <a:gd name="connsiteY285" fmla="*/ 7662 h 10000"/>
                <a:gd name="connsiteX286" fmla="*/ 7273 w 10000"/>
                <a:gd name="connsiteY286" fmla="*/ 7541 h 10000"/>
                <a:gd name="connsiteX287" fmla="*/ 7236 w 10000"/>
                <a:gd name="connsiteY287" fmla="*/ 7410 h 10000"/>
                <a:gd name="connsiteX288" fmla="*/ 7341 w 10000"/>
                <a:gd name="connsiteY288" fmla="*/ 7547 h 10000"/>
                <a:gd name="connsiteX289" fmla="*/ 7483 w 10000"/>
                <a:gd name="connsiteY289" fmla="*/ 7536 h 10000"/>
                <a:gd name="connsiteX290" fmla="*/ 7506 w 10000"/>
                <a:gd name="connsiteY290" fmla="*/ 7685 h 10000"/>
                <a:gd name="connsiteX291" fmla="*/ 7547 w 10000"/>
                <a:gd name="connsiteY291" fmla="*/ 7685 h 10000"/>
                <a:gd name="connsiteX292" fmla="*/ 7558 w 10000"/>
                <a:gd name="connsiteY292" fmla="*/ 7415 h 10000"/>
                <a:gd name="connsiteX293" fmla="*/ 7607 w 10000"/>
                <a:gd name="connsiteY293" fmla="*/ 7585 h 10000"/>
                <a:gd name="connsiteX294" fmla="*/ 7693 w 10000"/>
                <a:gd name="connsiteY294" fmla="*/ 7590 h 10000"/>
                <a:gd name="connsiteX295" fmla="*/ 7629 w 10000"/>
                <a:gd name="connsiteY295" fmla="*/ 7333 h 10000"/>
                <a:gd name="connsiteX296" fmla="*/ 7786 w 10000"/>
                <a:gd name="connsiteY296" fmla="*/ 7240 h 10000"/>
                <a:gd name="connsiteX297" fmla="*/ 7779 w 10000"/>
                <a:gd name="connsiteY297" fmla="*/ 6987 h 10000"/>
                <a:gd name="connsiteX298" fmla="*/ 7887 w 10000"/>
                <a:gd name="connsiteY298" fmla="*/ 7081 h 10000"/>
                <a:gd name="connsiteX299" fmla="*/ 7906 w 10000"/>
                <a:gd name="connsiteY299" fmla="*/ 7015 h 10000"/>
                <a:gd name="connsiteX300" fmla="*/ 7775 w 10000"/>
                <a:gd name="connsiteY300" fmla="*/ 6735 h 10000"/>
                <a:gd name="connsiteX301" fmla="*/ 7950 w 10000"/>
                <a:gd name="connsiteY301" fmla="*/ 6894 h 10000"/>
                <a:gd name="connsiteX302" fmla="*/ 8171 w 10000"/>
                <a:gd name="connsiteY302" fmla="*/ 6511 h 10000"/>
                <a:gd name="connsiteX303" fmla="*/ 8384 w 10000"/>
                <a:gd name="connsiteY303" fmla="*/ 6483 h 10000"/>
                <a:gd name="connsiteX304" fmla="*/ 8429 w 10000"/>
                <a:gd name="connsiteY30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7569 w 10000"/>
                <a:gd name="connsiteY34" fmla="*/ 1873 h 10000"/>
                <a:gd name="connsiteX35" fmla="*/ 7165 w 10000"/>
                <a:gd name="connsiteY35" fmla="*/ 1996 h 10000"/>
                <a:gd name="connsiteX36" fmla="*/ 6892 w 10000"/>
                <a:gd name="connsiteY36" fmla="*/ 1827 h 10000"/>
                <a:gd name="connsiteX37" fmla="*/ 6922 w 10000"/>
                <a:gd name="connsiteY37" fmla="*/ 1728 h 10000"/>
                <a:gd name="connsiteX38" fmla="*/ 6765 w 10000"/>
                <a:gd name="connsiteY38" fmla="*/ 1398 h 10000"/>
                <a:gd name="connsiteX39" fmla="*/ 6799 w 10000"/>
                <a:gd name="connsiteY39" fmla="*/ 1256 h 10000"/>
                <a:gd name="connsiteX40" fmla="*/ 6728 w 10000"/>
                <a:gd name="connsiteY40" fmla="*/ 1229 h 10000"/>
                <a:gd name="connsiteX41" fmla="*/ 6657 w 10000"/>
                <a:gd name="connsiteY41" fmla="*/ 1311 h 10000"/>
                <a:gd name="connsiteX42" fmla="*/ 6593 w 10000"/>
                <a:gd name="connsiteY42" fmla="*/ 1114 h 10000"/>
                <a:gd name="connsiteX43" fmla="*/ 6391 w 10000"/>
                <a:gd name="connsiteY43" fmla="*/ 1311 h 10000"/>
                <a:gd name="connsiteX44" fmla="*/ 6309 w 10000"/>
                <a:gd name="connsiteY44" fmla="*/ 1223 h 10000"/>
                <a:gd name="connsiteX45" fmla="*/ 6126 w 10000"/>
                <a:gd name="connsiteY45" fmla="*/ 1273 h 10000"/>
                <a:gd name="connsiteX46" fmla="*/ 6144 w 10000"/>
                <a:gd name="connsiteY46" fmla="*/ 1125 h 10000"/>
                <a:gd name="connsiteX47" fmla="*/ 6073 w 10000"/>
                <a:gd name="connsiteY47" fmla="*/ 1119 h 10000"/>
                <a:gd name="connsiteX48" fmla="*/ 6040 w 10000"/>
                <a:gd name="connsiteY48" fmla="*/ 910 h 10000"/>
                <a:gd name="connsiteX49" fmla="*/ 5942 w 10000"/>
                <a:gd name="connsiteY49" fmla="*/ 795 h 10000"/>
                <a:gd name="connsiteX50" fmla="*/ 6144 w 10000"/>
                <a:gd name="connsiteY50" fmla="*/ 620 h 10000"/>
                <a:gd name="connsiteX51" fmla="*/ 5901 w 10000"/>
                <a:gd name="connsiteY51" fmla="*/ 395 h 10000"/>
                <a:gd name="connsiteX52" fmla="*/ 5853 w 10000"/>
                <a:gd name="connsiteY52" fmla="*/ 142 h 10000"/>
                <a:gd name="connsiteX53" fmla="*/ 5741 w 10000"/>
                <a:gd name="connsiteY53" fmla="*/ 110 h 10000"/>
                <a:gd name="connsiteX54" fmla="*/ 5647 w 10000"/>
                <a:gd name="connsiteY54" fmla="*/ 0 h 10000"/>
                <a:gd name="connsiteX55" fmla="*/ 5547 w 10000"/>
                <a:gd name="connsiteY55" fmla="*/ 120 h 10000"/>
                <a:gd name="connsiteX56" fmla="*/ 5377 w 10000"/>
                <a:gd name="connsiteY56" fmla="*/ 110 h 10000"/>
                <a:gd name="connsiteX57" fmla="*/ 5232 w 10000"/>
                <a:gd name="connsiteY57" fmla="*/ 351 h 10000"/>
                <a:gd name="connsiteX58" fmla="*/ 4952 w 10000"/>
                <a:gd name="connsiteY58" fmla="*/ 329 h 10000"/>
                <a:gd name="connsiteX59" fmla="*/ 4884 w 10000"/>
                <a:gd name="connsiteY59" fmla="*/ 680 h 10000"/>
                <a:gd name="connsiteX60" fmla="*/ 4701 w 10000"/>
                <a:gd name="connsiteY60" fmla="*/ 707 h 10000"/>
                <a:gd name="connsiteX61" fmla="*/ 4795 w 10000"/>
                <a:gd name="connsiteY61" fmla="*/ 844 h 10000"/>
                <a:gd name="connsiteX62" fmla="*/ 4739 w 10000"/>
                <a:gd name="connsiteY62" fmla="*/ 899 h 10000"/>
                <a:gd name="connsiteX63" fmla="*/ 4612 w 10000"/>
                <a:gd name="connsiteY63" fmla="*/ 894 h 10000"/>
                <a:gd name="connsiteX64" fmla="*/ 4439 w 10000"/>
                <a:gd name="connsiteY64" fmla="*/ 1026 h 10000"/>
                <a:gd name="connsiteX65" fmla="*/ 4252 w 10000"/>
                <a:gd name="connsiteY65" fmla="*/ 1668 h 10000"/>
                <a:gd name="connsiteX66" fmla="*/ 4308 w 10000"/>
                <a:gd name="connsiteY66" fmla="*/ 2090 h 10000"/>
                <a:gd name="connsiteX67" fmla="*/ 4121 w 10000"/>
                <a:gd name="connsiteY67" fmla="*/ 1865 h 10000"/>
                <a:gd name="connsiteX68" fmla="*/ 3849 w 10000"/>
                <a:gd name="connsiteY68" fmla="*/ 1991 h 10000"/>
                <a:gd name="connsiteX69" fmla="*/ 3822 w 10000"/>
                <a:gd name="connsiteY69" fmla="*/ 1931 h 10000"/>
                <a:gd name="connsiteX70" fmla="*/ 3695 w 10000"/>
                <a:gd name="connsiteY70" fmla="*/ 2002 h 10000"/>
                <a:gd name="connsiteX71" fmla="*/ 3621 w 10000"/>
                <a:gd name="connsiteY71" fmla="*/ 2144 h 10000"/>
                <a:gd name="connsiteX72" fmla="*/ 3561 w 10000"/>
                <a:gd name="connsiteY72" fmla="*/ 1909 h 10000"/>
                <a:gd name="connsiteX73" fmla="*/ 3478 w 10000"/>
                <a:gd name="connsiteY73" fmla="*/ 1843 h 10000"/>
                <a:gd name="connsiteX74" fmla="*/ 3444 w 10000"/>
                <a:gd name="connsiteY74" fmla="*/ 1964 h 10000"/>
                <a:gd name="connsiteX75" fmla="*/ 3332 w 10000"/>
                <a:gd name="connsiteY75" fmla="*/ 1996 h 10000"/>
                <a:gd name="connsiteX76" fmla="*/ 3272 w 10000"/>
                <a:gd name="connsiteY76" fmla="*/ 2161 h 10000"/>
                <a:gd name="connsiteX77" fmla="*/ 3235 w 10000"/>
                <a:gd name="connsiteY77" fmla="*/ 2013 h 10000"/>
                <a:gd name="connsiteX78" fmla="*/ 3123 w 10000"/>
                <a:gd name="connsiteY78" fmla="*/ 2024 h 10000"/>
                <a:gd name="connsiteX79" fmla="*/ 3078 w 10000"/>
                <a:gd name="connsiteY79" fmla="*/ 2128 h 10000"/>
                <a:gd name="connsiteX80" fmla="*/ 3011 w 10000"/>
                <a:gd name="connsiteY80" fmla="*/ 1975 h 10000"/>
                <a:gd name="connsiteX81" fmla="*/ 2895 w 10000"/>
                <a:gd name="connsiteY81" fmla="*/ 2117 h 10000"/>
                <a:gd name="connsiteX82" fmla="*/ 2783 w 10000"/>
                <a:gd name="connsiteY82" fmla="*/ 2106 h 10000"/>
                <a:gd name="connsiteX83" fmla="*/ 2779 w 10000"/>
                <a:gd name="connsiteY83" fmla="*/ 2276 h 10000"/>
                <a:gd name="connsiteX84" fmla="*/ 2727 w 10000"/>
                <a:gd name="connsiteY84" fmla="*/ 2144 h 10000"/>
                <a:gd name="connsiteX85" fmla="*/ 2559 w 10000"/>
                <a:gd name="connsiteY85" fmla="*/ 2155 h 10000"/>
                <a:gd name="connsiteX86" fmla="*/ 2438 w 10000"/>
                <a:gd name="connsiteY86" fmla="*/ 1980 h 10000"/>
                <a:gd name="connsiteX87" fmla="*/ 2293 w 10000"/>
                <a:gd name="connsiteY87" fmla="*/ 2073 h 10000"/>
                <a:gd name="connsiteX88" fmla="*/ 2143 w 10000"/>
                <a:gd name="connsiteY88" fmla="*/ 1958 h 10000"/>
                <a:gd name="connsiteX89" fmla="*/ 2057 w 10000"/>
                <a:gd name="connsiteY89" fmla="*/ 2035 h 10000"/>
                <a:gd name="connsiteX90" fmla="*/ 1975 w 10000"/>
                <a:gd name="connsiteY90" fmla="*/ 1947 h 10000"/>
                <a:gd name="connsiteX91" fmla="*/ 1852 w 10000"/>
                <a:gd name="connsiteY91" fmla="*/ 1936 h 10000"/>
                <a:gd name="connsiteX92" fmla="*/ 1669 w 10000"/>
                <a:gd name="connsiteY92" fmla="*/ 1925 h 10000"/>
                <a:gd name="connsiteX93" fmla="*/ 1444 w 10000"/>
                <a:gd name="connsiteY93" fmla="*/ 1991 h 10000"/>
                <a:gd name="connsiteX94" fmla="*/ 1205 w 10000"/>
                <a:gd name="connsiteY94" fmla="*/ 2062 h 10000"/>
                <a:gd name="connsiteX95" fmla="*/ 921 w 10000"/>
                <a:gd name="connsiteY95" fmla="*/ 2166 h 10000"/>
                <a:gd name="connsiteX96" fmla="*/ 797 w 10000"/>
                <a:gd name="connsiteY96" fmla="*/ 2496 h 10000"/>
                <a:gd name="connsiteX97" fmla="*/ 603 w 10000"/>
                <a:gd name="connsiteY97" fmla="*/ 2501 h 10000"/>
                <a:gd name="connsiteX98" fmla="*/ 540 w 10000"/>
                <a:gd name="connsiteY98" fmla="*/ 2687 h 10000"/>
                <a:gd name="connsiteX99" fmla="*/ 558 w 10000"/>
                <a:gd name="connsiteY99" fmla="*/ 2764 h 10000"/>
                <a:gd name="connsiteX100" fmla="*/ 577 w 10000"/>
                <a:gd name="connsiteY100" fmla="*/ 2868 h 10000"/>
                <a:gd name="connsiteX101" fmla="*/ 577 w 10000"/>
                <a:gd name="connsiteY101" fmla="*/ 2868 h 10000"/>
                <a:gd name="connsiteX102" fmla="*/ 577 w 10000"/>
                <a:gd name="connsiteY102" fmla="*/ 2896 h 10000"/>
                <a:gd name="connsiteX103" fmla="*/ 682 w 10000"/>
                <a:gd name="connsiteY103" fmla="*/ 3116 h 10000"/>
                <a:gd name="connsiteX104" fmla="*/ 786 w 10000"/>
                <a:gd name="connsiteY104" fmla="*/ 3351 h 10000"/>
                <a:gd name="connsiteX105" fmla="*/ 921 w 10000"/>
                <a:gd name="connsiteY105" fmla="*/ 3488 h 10000"/>
                <a:gd name="connsiteX106" fmla="*/ 876 w 10000"/>
                <a:gd name="connsiteY106" fmla="*/ 3548 h 10000"/>
                <a:gd name="connsiteX107" fmla="*/ 805 w 10000"/>
                <a:gd name="connsiteY107" fmla="*/ 3603 h 10000"/>
                <a:gd name="connsiteX108" fmla="*/ 887 w 10000"/>
                <a:gd name="connsiteY108" fmla="*/ 3697 h 10000"/>
                <a:gd name="connsiteX109" fmla="*/ 876 w 10000"/>
                <a:gd name="connsiteY109" fmla="*/ 4053 h 10000"/>
                <a:gd name="connsiteX110" fmla="*/ 693 w 10000"/>
                <a:gd name="connsiteY110" fmla="*/ 4124 h 10000"/>
                <a:gd name="connsiteX111" fmla="*/ 498 w 10000"/>
                <a:gd name="connsiteY111" fmla="*/ 4531 h 10000"/>
                <a:gd name="connsiteX112" fmla="*/ 371 w 10000"/>
                <a:gd name="connsiteY112" fmla="*/ 4936 h 10000"/>
                <a:gd name="connsiteX113" fmla="*/ 195 w 10000"/>
                <a:gd name="connsiteY113" fmla="*/ 5260 h 10000"/>
                <a:gd name="connsiteX114" fmla="*/ 270 w 10000"/>
                <a:gd name="connsiteY114" fmla="*/ 5517 h 10000"/>
                <a:gd name="connsiteX115" fmla="*/ 277 w 10000"/>
                <a:gd name="connsiteY115" fmla="*/ 5732 h 10000"/>
                <a:gd name="connsiteX116" fmla="*/ 400 w 10000"/>
                <a:gd name="connsiteY116" fmla="*/ 5841 h 10000"/>
                <a:gd name="connsiteX117" fmla="*/ 382 w 10000"/>
                <a:gd name="connsiteY117" fmla="*/ 5945 h 10000"/>
                <a:gd name="connsiteX118" fmla="*/ 202 w 10000"/>
                <a:gd name="connsiteY118" fmla="*/ 5852 h 10000"/>
                <a:gd name="connsiteX119" fmla="*/ 124 w 10000"/>
                <a:gd name="connsiteY119" fmla="*/ 6099 h 10000"/>
                <a:gd name="connsiteX120" fmla="*/ 105 w 10000"/>
                <a:gd name="connsiteY120" fmla="*/ 6346 h 10000"/>
                <a:gd name="connsiteX121" fmla="*/ 1 w 10000"/>
                <a:gd name="connsiteY121" fmla="*/ 6571 h 10000"/>
                <a:gd name="connsiteX122" fmla="*/ 19 w 10000"/>
                <a:gd name="connsiteY122" fmla="*/ 6779 h 10000"/>
                <a:gd name="connsiteX123" fmla="*/ 90 w 10000"/>
                <a:gd name="connsiteY123" fmla="*/ 6828 h 10000"/>
                <a:gd name="connsiteX124" fmla="*/ 154 w 10000"/>
                <a:gd name="connsiteY124" fmla="*/ 6960 h 10000"/>
                <a:gd name="connsiteX125" fmla="*/ 240 w 10000"/>
                <a:gd name="connsiteY125" fmla="*/ 6943 h 10000"/>
                <a:gd name="connsiteX126" fmla="*/ 292 w 10000"/>
                <a:gd name="connsiteY126" fmla="*/ 7076 h 10000"/>
                <a:gd name="connsiteX127" fmla="*/ 445 w 10000"/>
                <a:gd name="connsiteY127" fmla="*/ 7103 h 10000"/>
                <a:gd name="connsiteX128" fmla="*/ 453 w 10000"/>
                <a:gd name="connsiteY128" fmla="*/ 7251 h 10000"/>
                <a:gd name="connsiteX129" fmla="*/ 494 w 10000"/>
                <a:gd name="connsiteY129" fmla="*/ 7278 h 10000"/>
                <a:gd name="connsiteX130" fmla="*/ 525 w 10000"/>
                <a:gd name="connsiteY130" fmla="*/ 7174 h 10000"/>
                <a:gd name="connsiteX131" fmla="*/ 581 w 10000"/>
                <a:gd name="connsiteY131" fmla="*/ 7196 h 10000"/>
                <a:gd name="connsiteX132" fmla="*/ 644 w 10000"/>
                <a:gd name="connsiteY132" fmla="*/ 6992 h 10000"/>
                <a:gd name="connsiteX133" fmla="*/ 820 w 10000"/>
                <a:gd name="connsiteY133" fmla="*/ 7174 h 10000"/>
                <a:gd name="connsiteX134" fmla="*/ 1283 w 10000"/>
                <a:gd name="connsiteY134" fmla="*/ 7163 h 10000"/>
                <a:gd name="connsiteX135" fmla="*/ 1466 w 10000"/>
                <a:gd name="connsiteY135" fmla="*/ 7092 h 10000"/>
                <a:gd name="connsiteX136" fmla="*/ 1766 w 10000"/>
                <a:gd name="connsiteY136" fmla="*/ 7344 h 10000"/>
                <a:gd name="connsiteX137" fmla="*/ 1956 w 10000"/>
                <a:gd name="connsiteY137" fmla="*/ 7087 h 10000"/>
                <a:gd name="connsiteX138" fmla="*/ 2382 w 10000"/>
                <a:gd name="connsiteY138" fmla="*/ 6861 h 10000"/>
                <a:gd name="connsiteX139" fmla="*/ 2536 w 10000"/>
                <a:gd name="connsiteY139" fmla="*/ 6489 h 10000"/>
                <a:gd name="connsiteX140" fmla="*/ 2648 w 10000"/>
                <a:gd name="connsiteY140" fmla="*/ 6439 h 10000"/>
                <a:gd name="connsiteX141" fmla="*/ 2648 w 10000"/>
                <a:gd name="connsiteY141" fmla="*/ 6379 h 10000"/>
                <a:gd name="connsiteX142" fmla="*/ 2693 w 10000"/>
                <a:gd name="connsiteY142" fmla="*/ 6379 h 10000"/>
                <a:gd name="connsiteX143" fmla="*/ 2682 w 10000"/>
                <a:gd name="connsiteY143" fmla="*/ 6230 h 10000"/>
                <a:gd name="connsiteX144" fmla="*/ 2820 w 10000"/>
                <a:gd name="connsiteY144" fmla="*/ 6285 h 10000"/>
                <a:gd name="connsiteX145" fmla="*/ 2839 w 10000"/>
                <a:gd name="connsiteY145" fmla="*/ 6159 h 10000"/>
                <a:gd name="connsiteX146" fmla="*/ 2921 w 10000"/>
                <a:gd name="connsiteY146" fmla="*/ 6230 h 10000"/>
                <a:gd name="connsiteX147" fmla="*/ 2981 w 10000"/>
                <a:gd name="connsiteY147" fmla="*/ 6126 h 10000"/>
                <a:gd name="connsiteX148" fmla="*/ 3078 w 10000"/>
                <a:gd name="connsiteY148" fmla="*/ 6154 h 10000"/>
                <a:gd name="connsiteX149" fmla="*/ 3164 w 10000"/>
                <a:gd name="connsiteY149" fmla="*/ 6055 h 10000"/>
                <a:gd name="connsiteX150" fmla="*/ 3328 w 10000"/>
                <a:gd name="connsiteY150" fmla="*/ 6192 h 10000"/>
                <a:gd name="connsiteX151" fmla="*/ 3411 w 10000"/>
                <a:gd name="connsiteY151" fmla="*/ 6197 h 10000"/>
                <a:gd name="connsiteX152" fmla="*/ 3437 w 10000"/>
                <a:gd name="connsiteY152" fmla="*/ 6307 h 10000"/>
                <a:gd name="connsiteX153" fmla="*/ 3591 w 10000"/>
                <a:gd name="connsiteY153" fmla="*/ 6236 h 10000"/>
                <a:gd name="connsiteX154" fmla="*/ 3576 w 10000"/>
                <a:gd name="connsiteY154" fmla="*/ 6357 h 10000"/>
                <a:gd name="connsiteX155" fmla="*/ 3632 w 10000"/>
                <a:gd name="connsiteY155" fmla="*/ 6341 h 10000"/>
                <a:gd name="connsiteX156" fmla="*/ 3699 w 10000"/>
                <a:gd name="connsiteY156" fmla="*/ 6428 h 10000"/>
                <a:gd name="connsiteX157" fmla="*/ 3703 w 10000"/>
                <a:gd name="connsiteY157" fmla="*/ 6301 h 10000"/>
                <a:gd name="connsiteX158" fmla="*/ 3882 w 10000"/>
                <a:gd name="connsiteY158" fmla="*/ 6341 h 10000"/>
                <a:gd name="connsiteX159" fmla="*/ 3946 w 10000"/>
                <a:gd name="connsiteY159" fmla="*/ 6511 h 10000"/>
                <a:gd name="connsiteX160" fmla="*/ 4047 w 10000"/>
                <a:gd name="connsiteY160" fmla="*/ 6494 h 10000"/>
                <a:gd name="connsiteX161" fmla="*/ 4091 w 10000"/>
                <a:gd name="connsiteY161" fmla="*/ 6417 h 10000"/>
                <a:gd name="connsiteX162" fmla="*/ 4192 w 10000"/>
                <a:gd name="connsiteY162" fmla="*/ 6735 h 10000"/>
                <a:gd name="connsiteX163" fmla="*/ 4155 w 10000"/>
                <a:gd name="connsiteY163" fmla="*/ 6987 h 10000"/>
                <a:gd name="connsiteX164" fmla="*/ 4207 w 10000"/>
                <a:gd name="connsiteY164" fmla="*/ 7114 h 10000"/>
                <a:gd name="connsiteX165" fmla="*/ 4278 w 10000"/>
                <a:gd name="connsiteY165" fmla="*/ 7119 h 10000"/>
                <a:gd name="connsiteX166" fmla="*/ 4387 w 10000"/>
                <a:gd name="connsiteY166" fmla="*/ 7256 h 10000"/>
                <a:gd name="connsiteX167" fmla="*/ 4431 w 10000"/>
                <a:gd name="connsiteY167" fmla="*/ 7152 h 10000"/>
                <a:gd name="connsiteX168" fmla="*/ 4480 w 10000"/>
                <a:gd name="connsiteY168" fmla="*/ 7322 h 10000"/>
                <a:gd name="connsiteX169" fmla="*/ 4541 w 10000"/>
                <a:gd name="connsiteY169" fmla="*/ 7662 h 10000"/>
                <a:gd name="connsiteX170" fmla="*/ 4720 w 10000"/>
                <a:gd name="connsiteY170" fmla="*/ 7739 h 10000"/>
                <a:gd name="connsiteX171" fmla="*/ 4761 w 10000"/>
                <a:gd name="connsiteY171" fmla="*/ 8183 h 10000"/>
                <a:gd name="connsiteX172" fmla="*/ 4914 w 10000"/>
                <a:gd name="connsiteY172" fmla="*/ 8276 h 10000"/>
                <a:gd name="connsiteX173" fmla="*/ 4757 w 10000"/>
                <a:gd name="connsiteY173" fmla="*/ 8370 h 10000"/>
                <a:gd name="connsiteX174" fmla="*/ 4705 w 10000"/>
                <a:gd name="connsiteY174" fmla="*/ 8260 h 10000"/>
                <a:gd name="connsiteX175" fmla="*/ 4645 w 10000"/>
                <a:gd name="connsiteY175" fmla="*/ 8403 h 10000"/>
                <a:gd name="connsiteX176" fmla="*/ 4491 w 10000"/>
                <a:gd name="connsiteY176" fmla="*/ 8287 h 10000"/>
                <a:gd name="connsiteX177" fmla="*/ 4405 w 10000"/>
                <a:gd name="connsiteY177" fmla="*/ 8452 h 10000"/>
                <a:gd name="connsiteX178" fmla="*/ 4226 w 10000"/>
                <a:gd name="connsiteY178" fmla="*/ 8331 h 10000"/>
                <a:gd name="connsiteX179" fmla="*/ 4312 w 10000"/>
                <a:gd name="connsiteY179" fmla="*/ 8699 h 10000"/>
                <a:gd name="connsiteX180" fmla="*/ 4304 w 10000"/>
                <a:gd name="connsiteY180" fmla="*/ 8967 h 10000"/>
                <a:gd name="connsiteX181" fmla="*/ 4189 w 10000"/>
                <a:gd name="connsiteY181" fmla="*/ 9088 h 10000"/>
                <a:gd name="connsiteX182" fmla="*/ 4226 w 10000"/>
                <a:gd name="connsiteY182" fmla="*/ 9193 h 10000"/>
                <a:gd name="connsiteX183" fmla="*/ 4065 w 10000"/>
                <a:gd name="connsiteY183" fmla="*/ 9412 h 10000"/>
                <a:gd name="connsiteX184" fmla="*/ 4129 w 10000"/>
                <a:gd name="connsiteY184" fmla="*/ 9647 h 10000"/>
                <a:gd name="connsiteX185" fmla="*/ 3972 w 10000"/>
                <a:gd name="connsiteY185" fmla="*/ 9681 h 10000"/>
                <a:gd name="connsiteX186" fmla="*/ 3931 w 10000"/>
                <a:gd name="connsiteY186" fmla="*/ 9741 h 10000"/>
                <a:gd name="connsiteX187" fmla="*/ 3998 w 10000"/>
                <a:gd name="connsiteY187" fmla="*/ 9785 h 10000"/>
                <a:gd name="connsiteX188" fmla="*/ 4118 w 10000"/>
                <a:gd name="connsiteY188" fmla="*/ 9944 h 10000"/>
                <a:gd name="connsiteX189" fmla="*/ 4312 w 10000"/>
                <a:gd name="connsiteY189" fmla="*/ 9999 h 10000"/>
                <a:gd name="connsiteX190" fmla="*/ 4319 w 10000"/>
                <a:gd name="connsiteY190" fmla="*/ 9851 h 10000"/>
                <a:gd name="connsiteX191" fmla="*/ 4387 w 10000"/>
                <a:gd name="connsiteY191" fmla="*/ 9856 h 10000"/>
                <a:gd name="connsiteX192" fmla="*/ 4675 w 10000"/>
                <a:gd name="connsiteY192" fmla="*/ 9603 h 10000"/>
                <a:gd name="connsiteX193" fmla="*/ 4866 w 10000"/>
                <a:gd name="connsiteY193" fmla="*/ 9845 h 10000"/>
                <a:gd name="connsiteX194" fmla="*/ 4866 w 10000"/>
                <a:gd name="connsiteY194" fmla="*/ 9862 h 10000"/>
                <a:gd name="connsiteX195" fmla="*/ 4896 w 10000"/>
                <a:gd name="connsiteY195" fmla="*/ 9703 h 10000"/>
                <a:gd name="connsiteX196" fmla="*/ 4843 w 10000"/>
                <a:gd name="connsiteY196" fmla="*/ 9570 h 10000"/>
                <a:gd name="connsiteX197" fmla="*/ 4776 w 10000"/>
                <a:gd name="connsiteY197" fmla="*/ 9549 h 10000"/>
                <a:gd name="connsiteX198" fmla="*/ 4821 w 10000"/>
                <a:gd name="connsiteY198" fmla="*/ 9466 h 10000"/>
                <a:gd name="connsiteX199" fmla="*/ 4806 w 10000"/>
                <a:gd name="connsiteY199" fmla="*/ 9444 h 10000"/>
                <a:gd name="connsiteX200" fmla="*/ 4750 w 10000"/>
                <a:gd name="connsiteY200" fmla="*/ 9439 h 10000"/>
                <a:gd name="connsiteX201" fmla="*/ 4720 w 10000"/>
                <a:gd name="connsiteY201" fmla="*/ 9121 h 10000"/>
                <a:gd name="connsiteX202" fmla="*/ 4761 w 10000"/>
                <a:gd name="connsiteY202" fmla="*/ 9105 h 10000"/>
                <a:gd name="connsiteX203" fmla="*/ 4783 w 10000"/>
                <a:gd name="connsiteY203" fmla="*/ 9253 h 10000"/>
                <a:gd name="connsiteX204" fmla="*/ 4836 w 10000"/>
                <a:gd name="connsiteY204" fmla="*/ 9384 h 10000"/>
                <a:gd name="connsiteX205" fmla="*/ 4881 w 10000"/>
                <a:gd name="connsiteY205" fmla="*/ 9302 h 10000"/>
                <a:gd name="connsiteX206" fmla="*/ 4869 w 10000"/>
                <a:gd name="connsiteY206" fmla="*/ 9220 h 10000"/>
                <a:gd name="connsiteX207" fmla="*/ 4940 w 10000"/>
                <a:gd name="connsiteY207" fmla="*/ 9203 h 10000"/>
                <a:gd name="connsiteX208" fmla="*/ 4903 w 10000"/>
                <a:gd name="connsiteY208" fmla="*/ 9034 h 10000"/>
                <a:gd name="connsiteX209" fmla="*/ 5000 w 10000"/>
                <a:gd name="connsiteY209" fmla="*/ 9061 h 10000"/>
                <a:gd name="connsiteX210" fmla="*/ 5004 w 10000"/>
                <a:gd name="connsiteY210" fmla="*/ 8972 h 10000"/>
                <a:gd name="connsiteX211" fmla="*/ 5041 w 10000"/>
                <a:gd name="connsiteY211" fmla="*/ 9039 h 10000"/>
                <a:gd name="connsiteX212" fmla="*/ 5206 w 10000"/>
                <a:gd name="connsiteY212" fmla="*/ 8781 h 10000"/>
                <a:gd name="connsiteX213" fmla="*/ 5112 w 10000"/>
                <a:gd name="connsiteY213" fmla="*/ 8584 h 10000"/>
                <a:gd name="connsiteX214" fmla="*/ 4937 w 10000"/>
                <a:gd name="connsiteY214" fmla="*/ 8425 h 10000"/>
                <a:gd name="connsiteX215" fmla="*/ 5037 w 10000"/>
                <a:gd name="connsiteY215" fmla="*/ 8370 h 10000"/>
                <a:gd name="connsiteX216" fmla="*/ 5183 w 10000"/>
                <a:gd name="connsiteY216" fmla="*/ 8633 h 10000"/>
                <a:gd name="connsiteX217" fmla="*/ 5292 w 10000"/>
                <a:gd name="connsiteY217" fmla="*/ 8199 h 10000"/>
                <a:gd name="connsiteX218" fmla="*/ 5299 w 10000"/>
                <a:gd name="connsiteY218" fmla="*/ 8030 h 10000"/>
                <a:gd name="connsiteX219" fmla="*/ 5482 w 10000"/>
                <a:gd name="connsiteY219" fmla="*/ 7942 h 10000"/>
                <a:gd name="connsiteX220" fmla="*/ 5550 w 10000"/>
                <a:gd name="connsiteY220" fmla="*/ 7607 h 10000"/>
                <a:gd name="connsiteX221" fmla="*/ 5561 w 10000"/>
                <a:gd name="connsiteY221" fmla="*/ 7734 h 10000"/>
                <a:gd name="connsiteX222" fmla="*/ 5677 w 10000"/>
                <a:gd name="connsiteY222" fmla="*/ 7596 h 10000"/>
                <a:gd name="connsiteX223" fmla="*/ 5759 w 10000"/>
                <a:gd name="connsiteY223" fmla="*/ 7579 h 10000"/>
                <a:gd name="connsiteX224" fmla="*/ 5842 w 10000"/>
                <a:gd name="connsiteY224" fmla="*/ 7207 h 10000"/>
                <a:gd name="connsiteX225" fmla="*/ 5916 w 10000"/>
                <a:gd name="connsiteY225" fmla="*/ 7486 h 10000"/>
                <a:gd name="connsiteX226" fmla="*/ 6137 w 10000"/>
                <a:gd name="connsiteY226" fmla="*/ 7563 h 10000"/>
                <a:gd name="connsiteX227" fmla="*/ 5969 w 10000"/>
                <a:gd name="connsiteY227" fmla="*/ 7618 h 10000"/>
                <a:gd name="connsiteX228" fmla="*/ 5954 w 10000"/>
                <a:gd name="connsiteY228" fmla="*/ 7679 h 10000"/>
                <a:gd name="connsiteX229" fmla="*/ 5786 w 10000"/>
                <a:gd name="connsiteY229" fmla="*/ 7690 h 10000"/>
                <a:gd name="connsiteX230" fmla="*/ 5700 w 10000"/>
                <a:gd name="connsiteY230" fmla="*/ 7723 h 10000"/>
                <a:gd name="connsiteX231" fmla="*/ 5767 w 10000"/>
                <a:gd name="connsiteY231" fmla="*/ 7772 h 10000"/>
                <a:gd name="connsiteX232" fmla="*/ 5827 w 10000"/>
                <a:gd name="connsiteY232" fmla="*/ 7756 h 10000"/>
                <a:gd name="connsiteX233" fmla="*/ 5991 w 10000"/>
                <a:gd name="connsiteY233" fmla="*/ 7789 h 10000"/>
                <a:gd name="connsiteX234" fmla="*/ 5804 w 10000"/>
                <a:gd name="connsiteY234" fmla="*/ 7964 h 10000"/>
                <a:gd name="connsiteX235" fmla="*/ 5872 w 10000"/>
                <a:gd name="connsiteY235" fmla="*/ 8008 h 10000"/>
                <a:gd name="connsiteX236" fmla="*/ 6043 w 10000"/>
                <a:gd name="connsiteY236" fmla="*/ 7958 h 10000"/>
                <a:gd name="connsiteX237" fmla="*/ 6275 w 10000"/>
                <a:gd name="connsiteY237" fmla="*/ 8101 h 10000"/>
                <a:gd name="connsiteX238" fmla="*/ 6575 w 10000"/>
                <a:gd name="connsiteY238" fmla="*/ 7909 h 10000"/>
                <a:gd name="connsiteX239" fmla="*/ 6870 w 10000"/>
                <a:gd name="connsiteY239" fmla="*/ 7887 h 10000"/>
                <a:gd name="connsiteX240" fmla="*/ 6915 w 10000"/>
                <a:gd name="connsiteY240" fmla="*/ 7745 h 10000"/>
                <a:gd name="connsiteX241" fmla="*/ 6993 w 10000"/>
                <a:gd name="connsiteY241" fmla="*/ 7958 h 10000"/>
                <a:gd name="connsiteX242" fmla="*/ 7075 w 10000"/>
                <a:gd name="connsiteY242" fmla="*/ 7986 h 10000"/>
                <a:gd name="connsiteX243" fmla="*/ 7045 w 10000"/>
                <a:gd name="connsiteY243" fmla="*/ 8134 h 10000"/>
                <a:gd name="connsiteX244" fmla="*/ 6788 w 10000"/>
                <a:gd name="connsiteY244" fmla="*/ 8281 h 10000"/>
                <a:gd name="connsiteX245" fmla="*/ 6769 w 10000"/>
                <a:gd name="connsiteY245" fmla="*/ 8386 h 10000"/>
                <a:gd name="connsiteX246" fmla="*/ 6627 w 10000"/>
                <a:gd name="connsiteY246" fmla="*/ 8523 h 10000"/>
                <a:gd name="connsiteX247" fmla="*/ 6623 w 10000"/>
                <a:gd name="connsiteY247" fmla="*/ 8649 h 10000"/>
                <a:gd name="connsiteX248" fmla="*/ 6537 w 10000"/>
                <a:gd name="connsiteY248" fmla="*/ 8704 h 10000"/>
                <a:gd name="connsiteX249" fmla="*/ 6428 w 10000"/>
                <a:gd name="connsiteY249" fmla="*/ 8989 h 10000"/>
                <a:gd name="connsiteX250" fmla="*/ 6582 w 10000"/>
                <a:gd name="connsiteY250" fmla="*/ 9001 h 10000"/>
                <a:gd name="connsiteX251" fmla="*/ 6672 w 10000"/>
                <a:gd name="connsiteY251" fmla="*/ 8879 h 10000"/>
                <a:gd name="connsiteX252" fmla="*/ 6769 w 10000"/>
                <a:gd name="connsiteY252" fmla="*/ 8912 h 10000"/>
                <a:gd name="connsiteX253" fmla="*/ 6814 w 10000"/>
                <a:gd name="connsiteY253" fmla="*/ 8786 h 10000"/>
                <a:gd name="connsiteX254" fmla="*/ 6877 w 10000"/>
                <a:gd name="connsiteY254" fmla="*/ 9001 h 10000"/>
                <a:gd name="connsiteX255" fmla="*/ 7060 w 10000"/>
                <a:gd name="connsiteY255" fmla="*/ 8994 h 10000"/>
                <a:gd name="connsiteX256" fmla="*/ 7217 w 10000"/>
                <a:gd name="connsiteY256" fmla="*/ 9362 h 10000"/>
                <a:gd name="connsiteX257" fmla="*/ 7232 w 10000"/>
                <a:gd name="connsiteY257" fmla="*/ 9675 h 10000"/>
                <a:gd name="connsiteX258" fmla="*/ 7176 w 10000"/>
                <a:gd name="connsiteY258" fmla="*/ 9692 h 10000"/>
                <a:gd name="connsiteX259" fmla="*/ 7187 w 10000"/>
                <a:gd name="connsiteY259" fmla="*/ 9780 h 10000"/>
                <a:gd name="connsiteX260" fmla="*/ 7423 w 10000"/>
                <a:gd name="connsiteY260" fmla="*/ 9900 h 10000"/>
                <a:gd name="connsiteX261" fmla="*/ 7741 w 10000"/>
                <a:gd name="connsiteY261" fmla="*/ 9565 h 10000"/>
                <a:gd name="connsiteX262" fmla="*/ 7879 w 10000"/>
                <a:gd name="connsiteY262" fmla="*/ 9176 h 10000"/>
                <a:gd name="connsiteX263" fmla="*/ 8107 w 10000"/>
                <a:gd name="connsiteY263" fmla="*/ 9023 h 10000"/>
                <a:gd name="connsiteX264" fmla="*/ 8182 w 10000"/>
                <a:gd name="connsiteY264" fmla="*/ 8841 h 10000"/>
                <a:gd name="connsiteX265" fmla="*/ 8268 w 10000"/>
                <a:gd name="connsiteY265" fmla="*/ 8786 h 10000"/>
                <a:gd name="connsiteX266" fmla="*/ 8320 w 10000"/>
                <a:gd name="connsiteY266" fmla="*/ 8512 h 10000"/>
                <a:gd name="connsiteX267" fmla="*/ 8542 w 10000"/>
                <a:gd name="connsiteY267" fmla="*/ 8617 h 10000"/>
                <a:gd name="connsiteX268" fmla="*/ 8672 w 10000"/>
                <a:gd name="connsiteY268" fmla="*/ 8474 h 10000"/>
                <a:gd name="connsiteX269" fmla="*/ 8855 w 10000"/>
                <a:gd name="connsiteY269" fmla="*/ 8343 h 10000"/>
                <a:gd name="connsiteX270" fmla="*/ 8781 w 10000"/>
                <a:gd name="connsiteY270" fmla="*/ 8128 h 10000"/>
                <a:gd name="connsiteX271" fmla="*/ 7708 w 10000"/>
                <a:gd name="connsiteY271" fmla="*/ 7991 h 10000"/>
                <a:gd name="connsiteX272" fmla="*/ 7682 w 10000"/>
                <a:gd name="connsiteY272" fmla="*/ 7904 h 10000"/>
                <a:gd name="connsiteX273" fmla="*/ 7607 w 10000"/>
                <a:gd name="connsiteY273" fmla="*/ 8002 h 10000"/>
                <a:gd name="connsiteX274" fmla="*/ 7715 w 10000"/>
                <a:gd name="connsiteY274" fmla="*/ 7761 h 10000"/>
                <a:gd name="connsiteX275" fmla="*/ 7674 w 10000"/>
                <a:gd name="connsiteY275" fmla="*/ 7717 h 10000"/>
                <a:gd name="connsiteX276" fmla="*/ 7554 w 10000"/>
                <a:gd name="connsiteY276" fmla="*/ 7915 h 10000"/>
                <a:gd name="connsiteX277" fmla="*/ 7618 w 10000"/>
                <a:gd name="connsiteY277" fmla="*/ 7712 h 10000"/>
                <a:gd name="connsiteX278" fmla="*/ 7532 w 10000"/>
                <a:gd name="connsiteY278" fmla="*/ 7767 h 10000"/>
                <a:gd name="connsiteX279" fmla="*/ 7419 w 10000"/>
                <a:gd name="connsiteY279" fmla="*/ 7717 h 10000"/>
                <a:gd name="connsiteX280" fmla="*/ 7333 w 10000"/>
                <a:gd name="connsiteY280" fmla="*/ 7794 h 10000"/>
                <a:gd name="connsiteX281" fmla="*/ 7240 w 10000"/>
                <a:gd name="connsiteY281" fmla="*/ 7728 h 10000"/>
                <a:gd name="connsiteX282" fmla="*/ 7087 w 10000"/>
                <a:gd name="connsiteY282" fmla="*/ 7717 h 10000"/>
                <a:gd name="connsiteX283" fmla="*/ 7090 w 10000"/>
                <a:gd name="connsiteY283" fmla="*/ 7547 h 10000"/>
                <a:gd name="connsiteX284" fmla="*/ 7229 w 10000"/>
                <a:gd name="connsiteY284" fmla="*/ 7662 h 10000"/>
                <a:gd name="connsiteX285" fmla="*/ 7273 w 10000"/>
                <a:gd name="connsiteY285" fmla="*/ 7541 h 10000"/>
                <a:gd name="connsiteX286" fmla="*/ 7236 w 10000"/>
                <a:gd name="connsiteY286" fmla="*/ 7410 h 10000"/>
                <a:gd name="connsiteX287" fmla="*/ 7341 w 10000"/>
                <a:gd name="connsiteY287" fmla="*/ 7547 h 10000"/>
                <a:gd name="connsiteX288" fmla="*/ 7483 w 10000"/>
                <a:gd name="connsiteY288" fmla="*/ 7536 h 10000"/>
                <a:gd name="connsiteX289" fmla="*/ 7506 w 10000"/>
                <a:gd name="connsiteY289" fmla="*/ 7685 h 10000"/>
                <a:gd name="connsiteX290" fmla="*/ 7547 w 10000"/>
                <a:gd name="connsiteY290" fmla="*/ 7685 h 10000"/>
                <a:gd name="connsiteX291" fmla="*/ 7558 w 10000"/>
                <a:gd name="connsiteY291" fmla="*/ 7415 h 10000"/>
                <a:gd name="connsiteX292" fmla="*/ 7607 w 10000"/>
                <a:gd name="connsiteY292" fmla="*/ 7585 h 10000"/>
                <a:gd name="connsiteX293" fmla="*/ 7693 w 10000"/>
                <a:gd name="connsiteY293" fmla="*/ 7590 h 10000"/>
                <a:gd name="connsiteX294" fmla="*/ 7629 w 10000"/>
                <a:gd name="connsiteY294" fmla="*/ 7333 h 10000"/>
                <a:gd name="connsiteX295" fmla="*/ 7786 w 10000"/>
                <a:gd name="connsiteY295" fmla="*/ 7240 h 10000"/>
                <a:gd name="connsiteX296" fmla="*/ 7779 w 10000"/>
                <a:gd name="connsiteY296" fmla="*/ 6987 h 10000"/>
                <a:gd name="connsiteX297" fmla="*/ 7887 w 10000"/>
                <a:gd name="connsiteY297" fmla="*/ 7081 h 10000"/>
                <a:gd name="connsiteX298" fmla="*/ 7906 w 10000"/>
                <a:gd name="connsiteY298" fmla="*/ 7015 h 10000"/>
                <a:gd name="connsiteX299" fmla="*/ 7775 w 10000"/>
                <a:gd name="connsiteY299" fmla="*/ 6735 h 10000"/>
                <a:gd name="connsiteX300" fmla="*/ 7950 w 10000"/>
                <a:gd name="connsiteY300" fmla="*/ 6894 h 10000"/>
                <a:gd name="connsiteX301" fmla="*/ 8171 w 10000"/>
                <a:gd name="connsiteY301" fmla="*/ 6511 h 10000"/>
                <a:gd name="connsiteX302" fmla="*/ 8384 w 10000"/>
                <a:gd name="connsiteY302" fmla="*/ 6483 h 10000"/>
                <a:gd name="connsiteX303" fmla="*/ 8429 w 10000"/>
                <a:gd name="connsiteY30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7569 w 10000"/>
                <a:gd name="connsiteY33" fmla="*/ 1873 h 10000"/>
                <a:gd name="connsiteX34" fmla="*/ 7165 w 10000"/>
                <a:gd name="connsiteY34" fmla="*/ 1996 h 10000"/>
                <a:gd name="connsiteX35" fmla="*/ 6892 w 10000"/>
                <a:gd name="connsiteY35" fmla="*/ 1827 h 10000"/>
                <a:gd name="connsiteX36" fmla="*/ 6922 w 10000"/>
                <a:gd name="connsiteY36" fmla="*/ 1728 h 10000"/>
                <a:gd name="connsiteX37" fmla="*/ 6765 w 10000"/>
                <a:gd name="connsiteY37" fmla="*/ 1398 h 10000"/>
                <a:gd name="connsiteX38" fmla="*/ 6799 w 10000"/>
                <a:gd name="connsiteY38" fmla="*/ 1256 h 10000"/>
                <a:gd name="connsiteX39" fmla="*/ 6728 w 10000"/>
                <a:gd name="connsiteY39" fmla="*/ 1229 h 10000"/>
                <a:gd name="connsiteX40" fmla="*/ 6657 w 10000"/>
                <a:gd name="connsiteY40" fmla="*/ 1311 h 10000"/>
                <a:gd name="connsiteX41" fmla="*/ 6593 w 10000"/>
                <a:gd name="connsiteY41" fmla="*/ 1114 h 10000"/>
                <a:gd name="connsiteX42" fmla="*/ 6391 w 10000"/>
                <a:gd name="connsiteY42" fmla="*/ 1311 h 10000"/>
                <a:gd name="connsiteX43" fmla="*/ 6309 w 10000"/>
                <a:gd name="connsiteY43" fmla="*/ 1223 h 10000"/>
                <a:gd name="connsiteX44" fmla="*/ 6126 w 10000"/>
                <a:gd name="connsiteY44" fmla="*/ 1273 h 10000"/>
                <a:gd name="connsiteX45" fmla="*/ 6144 w 10000"/>
                <a:gd name="connsiteY45" fmla="*/ 1125 h 10000"/>
                <a:gd name="connsiteX46" fmla="*/ 6073 w 10000"/>
                <a:gd name="connsiteY46" fmla="*/ 1119 h 10000"/>
                <a:gd name="connsiteX47" fmla="*/ 6040 w 10000"/>
                <a:gd name="connsiteY47" fmla="*/ 910 h 10000"/>
                <a:gd name="connsiteX48" fmla="*/ 5942 w 10000"/>
                <a:gd name="connsiteY48" fmla="*/ 795 h 10000"/>
                <a:gd name="connsiteX49" fmla="*/ 6144 w 10000"/>
                <a:gd name="connsiteY49" fmla="*/ 620 h 10000"/>
                <a:gd name="connsiteX50" fmla="*/ 5901 w 10000"/>
                <a:gd name="connsiteY50" fmla="*/ 395 h 10000"/>
                <a:gd name="connsiteX51" fmla="*/ 5853 w 10000"/>
                <a:gd name="connsiteY51" fmla="*/ 142 h 10000"/>
                <a:gd name="connsiteX52" fmla="*/ 5741 w 10000"/>
                <a:gd name="connsiteY52" fmla="*/ 110 h 10000"/>
                <a:gd name="connsiteX53" fmla="*/ 5647 w 10000"/>
                <a:gd name="connsiteY53" fmla="*/ 0 h 10000"/>
                <a:gd name="connsiteX54" fmla="*/ 5547 w 10000"/>
                <a:gd name="connsiteY54" fmla="*/ 120 h 10000"/>
                <a:gd name="connsiteX55" fmla="*/ 5377 w 10000"/>
                <a:gd name="connsiteY55" fmla="*/ 110 h 10000"/>
                <a:gd name="connsiteX56" fmla="*/ 5232 w 10000"/>
                <a:gd name="connsiteY56" fmla="*/ 351 h 10000"/>
                <a:gd name="connsiteX57" fmla="*/ 4952 w 10000"/>
                <a:gd name="connsiteY57" fmla="*/ 329 h 10000"/>
                <a:gd name="connsiteX58" fmla="*/ 4884 w 10000"/>
                <a:gd name="connsiteY58" fmla="*/ 680 h 10000"/>
                <a:gd name="connsiteX59" fmla="*/ 4701 w 10000"/>
                <a:gd name="connsiteY59" fmla="*/ 707 h 10000"/>
                <a:gd name="connsiteX60" fmla="*/ 4795 w 10000"/>
                <a:gd name="connsiteY60" fmla="*/ 844 h 10000"/>
                <a:gd name="connsiteX61" fmla="*/ 4739 w 10000"/>
                <a:gd name="connsiteY61" fmla="*/ 899 h 10000"/>
                <a:gd name="connsiteX62" fmla="*/ 4612 w 10000"/>
                <a:gd name="connsiteY62" fmla="*/ 894 h 10000"/>
                <a:gd name="connsiteX63" fmla="*/ 4439 w 10000"/>
                <a:gd name="connsiteY63" fmla="*/ 1026 h 10000"/>
                <a:gd name="connsiteX64" fmla="*/ 4252 w 10000"/>
                <a:gd name="connsiteY64" fmla="*/ 1668 h 10000"/>
                <a:gd name="connsiteX65" fmla="*/ 4308 w 10000"/>
                <a:gd name="connsiteY65" fmla="*/ 2090 h 10000"/>
                <a:gd name="connsiteX66" fmla="*/ 4121 w 10000"/>
                <a:gd name="connsiteY66" fmla="*/ 1865 h 10000"/>
                <a:gd name="connsiteX67" fmla="*/ 3849 w 10000"/>
                <a:gd name="connsiteY67" fmla="*/ 1991 h 10000"/>
                <a:gd name="connsiteX68" fmla="*/ 3822 w 10000"/>
                <a:gd name="connsiteY68" fmla="*/ 1931 h 10000"/>
                <a:gd name="connsiteX69" fmla="*/ 3695 w 10000"/>
                <a:gd name="connsiteY69" fmla="*/ 2002 h 10000"/>
                <a:gd name="connsiteX70" fmla="*/ 3621 w 10000"/>
                <a:gd name="connsiteY70" fmla="*/ 2144 h 10000"/>
                <a:gd name="connsiteX71" fmla="*/ 3561 w 10000"/>
                <a:gd name="connsiteY71" fmla="*/ 1909 h 10000"/>
                <a:gd name="connsiteX72" fmla="*/ 3478 w 10000"/>
                <a:gd name="connsiteY72" fmla="*/ 1843 h 10000"/>
                <a:gd name="connsiteX73" fmla="*/ 3444 w 10000"/>
                <a:gd name="connsiteY73" fmla="*/ 1964 h 10000"/>
                <a:gd name="connsiteX74" fmla="*/ 3332 w 10000"/>
                <a:gd name="connsiteY74" fmla="*/ 1996 h 10000"/>
                <a:gd name="connsiteX75" fmla="*/ 3272 w 10000"/>
                <a:gd name="connsiteY75" fmla="*/ 2161 h 10000"/>
                <a:gd name="connsiteX76" fmla="*/ 3235 w 10000"/>
                <a:gd name="connsiteY76" fmla="*/ 2013 h 10000"/>
                <a:gd name="connsiteX77" fmla="*/ 3123 w 10000"/>
                <a:gd name="connsiteY77" fmla="*/ 2024 h 10000"/>
                <a:gd name="connsiteX78" fmla="*/ 3078 w 10000"/>
                <a:gd name="connsiteY78" fmla="*/ 2128 h 10000"/>
                <a:gd name="connsiteX79" fmla="*/ 3011 w 10000"/>
                <a:gd name="connsiteY79" fmla="*/ 1975 h 10000"/>
                <a:gd name="connsiteX80" fmla="*/ 2895 w 10000"/>
                <a:gd name="connsiteY80" fmla="*/ 2117 h 10000"/>
                <a:gd name="connsiteX81" fmla="*/ 2783 w 10000"/>
                <a:gd name="connsiteY81" fmla="*/ 2106 h 10000"/>
                <a:gd name="connsiteX82" fmla="*/ 2779 w 10000"/>
                <a:gd name="connsiteY82" fmla="*/ 2276 h 10000"/>
                <a:gd name="connsiteX83" fmla="*/ 2727 w 10000"/>
                <a:gd name="connsiteY83" fmla="*/ 2144 h 10000"/>
                <a:gd name="connsiteX84" fmla="*/ 2559 w 10000"/>
                <a:gd name="connsiteY84" fmla="*/ 2155 h 10000"/>
                <a:gd name="connsiteX85" fmla="*/ 2438 w 10000"/>
                <a:gd name="connsiteY85" fmla="*/ 1980 h 10000"/>
                <a:gd name="connsiteX86" fmla="*/ 2293 w 10000"/>
                <a:gd name="connsiteY86" fmla="*/ 2073 h 10000"/>
                <a:gd name="connsiteX87" fmla="*/ 2143 w 10000"/>
                <a:gd name="connsiteY87" fmla="*/ 1958 h 10000"/>
                <a:gd name="connsiteX88" fmla="*/ 2057 w 10000"/>
                <a:gd name="connsiteY88" fmla="*/ 2035 h 10000"/>
                <a:gd name="connsiteX89" fmla="*/ 1975 w 10000"/>
                <a:gd name="connsiteY89" fmla="*/ 1947 h 10000"/>
                <a:gd name="connsiteX90" fmla="*/ 1852 w 10000"/>
                <a:gd name="connsiteY90" fmla="*/ 1936 h 10000"/>
                <a:gd name="connsiteX91" fmla="*/ 1669 w 10000"/>
                <a:gd name="connsiteY91" fmla="*/ 1925 h 10000"/>
                <a:gd name="connsiteX92" fmla="*/ 1444 w 10000"/>
                <a:gd name="connsiteY92" fmla="*/ 1991 h 10000"/>
                <a:gd name="connsiteX93" fmla="*/ 1205 w 10000"/>
                <a:gd name="connsiteY93" fmla="*/ 2062 h 10000"/>
                <a:gd name="connsiteX94" fmla="*/ 921 w 10000"/>
                <a:gd name="connsiteY94" fmla="*/ 2166 h 10000"/>
                <a:gd name="connsiteX95" fmla="*/ 797 w 10000"/>
                <a:gd name="connsiteY95" fmla="*/ 2496 h 10000"/>
                <a:gd name="connsiteX96" fmla="*/ 603 w 10000"/>
                <a:gd name="connsiteY96" fmla="*/ 2501 h 10000"/>
                <a:gd name="connsiteX97" fmla="*/ 540 w 10000"/>
                <a:gd name="connsiteY97" fmla="*/ 2687 h 10000"/>
                <a:gd name="connsiteX98" fmla="*/ 558 w 10000"/>
                <a:gd name="connsiteY98" fmla="*/ 2764 h 10000"/>
                <a:gd name="connsiteX99" fmla="*/ 577 w 10000"/>
                <a:gd name="connsiteY99" fmla="*/ 2868 h 10000"/>
                <a:gd name="connsiteX100" fmla="*/ 577 w 10000"/>
                <a:gd name="connsiteY100" fmla="*/ 2868 h 10000"/>
                <a:gd name="connsiteX101" fmla="*/ 577 w 10000"/>
                <a:gd name="connsiteY101" fmla="*/ 2896 h 10000"/>
                <a:gd name="connsiteX102" fmla="*/ 682 w 10000"/>
                <a:gd name="connsiteY102" fmla="*/ 3116 h 10000"/>
                <a:gd name="connsiteX103" fmla="*/ 786 w 10000"/>
                <a:gd name="connsiteY103" fmla="*/ 3351 h 10000"/>
                <a:gd name="connsiteX104" fmla="*/ 921 w 10000"/>
                <a:gd name="connsiteY104" fmla="*/ 3488 h 10000"/>
                <a:gd name="connsiteX105" fmla="*/ 876 w 10000"/>
                <a:gd name="connsiteY105" fmla="*/ 3548 h 10000"/>
                <a:gd name="connsiteX106" fmla="*/ 805 w 10000"/>
                <a:gd name="connsiteY106" fmla="*/ 3603 h 10000"/>
                <a:gd name="connsiteX107" fmla="*/ 887 w 10000"/>
                <a:gd name="connsiteY107" fmla="*/ 3697 h 10000"/>
                <a:gd name="connsiteX108" fmla="*/ 876 w 10000"/>
                <a:gd name="connsiteY108" fmla="*/ 4053 h 10000"/>
                <a:gd name="connsiteX109" fmla="*/ 693 w 10000"/>
                <a:gd name="connsiteY109" fmla="*/ 4124 h 10000"/>
                <a:gd name="connsiteX110" fmla="*/ 498 w 10000"/>
                <a:gd name="connsiteY110" fmla="*/ 4531 h 10000"/>
                <a:gd name="connsiteX111" fmla="*/ 371 w 10000"/>
                <a:gd name="connsiteY111" fmla="*/ 4936 h 10000"/>
                <a:gd name="connsiteX112" fmla="*/ 195 w 10000"/>
                <a:gd name="connsiteY112" fmla="*/ 5260 h 10000"/>
                <a:gd name="connsiteX113" fmla="*/ 270 w 10000"/>
                <a:gd name="connsiteY113" fmla="*/ 5517 h 10000"/>
                <a:gd name="connsiteX114" fmla="*/ 277 w 10000"/>
                <a:gd name="connsiteY114" fmla="*/ 5732 h 10000"/>
                <a:gd name="connsiteX115" fmla="*/ 400 w 10000"/>
                <a:gd name="connsiteY115" fmla="*/ 5841 h 10000"/>
                <a:gd name="connsiteX116" fmla="*/ 382 w 10000"/>
                <a:gd name="connsiteY116" fmla="*/ 5945 h 10000"/>
                <a:gd name="connsiteX117" fmla="*/ 202 w 10000"/>
                <a:gd name="connsiteY117" fmla="*/ 5852 h 10000"/>
                <a:gd name="connsiteX118" fmla="*/ 124 w 10000"/>
                <a:gd name="connsiteY118" fmla="*/ 6099 h 10000"/>
                <a:gd name="connsiteX119" fmla="*/ 105 w 10000"/>
                <a:gd name="connsiteY119" fmla="*/ 6346 h 10000"/>
                <a:gd name="connsiteX120" fmla="*/ 1 w 10000"/>
                <a:gd name="connsiteY120" fmla="*/ 6571 h 10000"/>
                <a:gd name="connsiteX121" fmla="*/ 19 w 10000"/>
                <a:gd name="connsiteY121" fmla="*/ 6779 h 10000"/>
                <a:gd name="connsiteX122" fmla="*/ 90 w 10000"/>
                <a:gd name="connsiteY122" fmla="*/ 6828 h 10000"/>
                <a:gd name="connsiteX123" fmla="*/ 154 w 10000"/>
                <a:gd name="connsiteY123" fmla="*/ 6960 h 10000"/>
                <a:gd name="connsiteX124" fmla="*/ 240 w 10000"/>
                <a:gd name="connsiteY124" fmla="*/ 6943 h 10000"/>
                <a:gd name="connsiteX125" fmla="*/ 292 w 10000"/>
                <a:gd name="connsiteY125" fmla="*/ 7076 h 10000"/>
                <a:gd name="connsiteX126" fmla="*/ 445 w 10000"/>
                <a:gd name="connsiteY126" fmla="*/ 7103 h 10000"/>
                <a:gd name="connsiteX127" fmla="*/ 453 w 10000"/>
                <a:gd name="connsiteY127" fmla="*/ 7251 h 10000"/>
                <a:gd name="connsiteX128" fmla="*/ 494 w 10000"/>
                <a:gd name="connsiteY128" fmla="*/ 7278 h 10000"/>
                <a:gd name="connsiteX129" fmla="*/ 525 w 10000"/>
                <a:gd name="connsiteY129" fmla="*/ 7174 h 10000"/>
                <a:gd name="connsiteX130" fmla="*/ 581 w 10000"/>
                <a:gd name="connsiteY130" fmla="*/ 7196 h 10000"/>
                <a:gd name="connsiteX131" fmla="*/ 644 w 10000"/>
                <a:gd name="connsiteY131" fmla="*/ 6992 h 10000"/>
                <a:gd name="connsiteX132" fmla="*/ 820 w 10000"/>
                <a:gd name="connsiteY132" fmla="*/ 7174 h 10000"/>
                <a:gd name="connsiteX133" fmla="*/ 1283 w 10000"/>
                <a:gd name="connsiteY133" fmla="*/ 7163 h 10000"/>
                <a:gd name="connsiteX134" fmla="*/ 1466 w 10000"/>
                <a:gd name="connsiteY134" fmla="*/ 7092 h 10000"/>
                <a:gd name="connsiteX135" fmla="*/ 1766 w 10000"/>
                <a:gd name="connsiteY135" fmla="*/ 7344 h 10000"/>
                <a:gd name="connsiteX136" fmla="*/ 1956 w 10000"/>
                <a:gd name="connsiteY136" fmla="*/ 7087 h 10000"/>
                <a:gd name="connsiteX137" fmla="*/ 2382 w 10000"/>
                <a:gd name="connsiteY137" fmla="*/ 6861 h 10000"/>
                <a:gd name="connsiteX138" fmla="*/ 2536 w 10000"/>
                <a:gd name="connsiteY138" fmla="*/ 6489 h 10000"/>
                <a:gd name="connsiteX139" fmla="*/ 2648 w 10000"/>
                <a:gd name="connsiteY139" fmla="*/ 6439 h 10000"/>
                <a:gd name="connsiteX140" fmla="*/ 2648 w 10000"/>
                <a:gd name="connsiteY140" fmla="*/ 6379 h 10000"/>
                <a:gd name="connsiteX141" fmla="*/ 2693 w 10000"/>
                <a:gd name="connsiteY141" fmla="*/ 6379 h 10000"/>
                <a:gd name="connsiteX142" fmla="*/ 2682 w 10000"/>
                <a:gd name="connsiteY142" fmla="*/ 6230 h 10000"/>
                <a:gd name="connsiteX143" fmla="*/ 2820 w 10000"/>
                <a:gd name="connsiteY143" fmla="*/ 6285 h 10000"/>
                <a:gd name="connsiteX144" fmla="*/ 2839 w 10000"/>
                <a:gd name="connsiteY144" fmla="*/ 6159 h 10000"/>
                <a:gd name="connsiteX145" fmla="*/ 2921 w 10000"/>
                <a:gd name="connsiteY145" fmla="*/ 6230 h 10000"/>
                <a:gd name="connsiteX146" fmla="*/ 2981 w 10000"/>
                <a:gd name="connsiteY146" fmla="*/ 6126 h 10000"/>
                <a:gd name="connsiteX147" fmla="*/ 3078 w 10000"/>
                <a:gd name="connsiteY147" fmla="*/ 6154 h 10000"/>
                <a:gd name="connsiteX148" fmla="*/ 3164 w 10000"/>
                <a:gd name="connsiteY148" fmla="*/ 6055 h 10000"/>
                <a:gd name="connsiteX149" fmla="*/ 3328 w 10000"/>
                <a:gd name="connsiteY149" fmla="*/ 6192 h 10000"/>
                <a:gd name="connsiteX150" fmla="*/ 3411 w 10000"/>
                <a:gd name="connsiteY150" fmla="*/ 6197 h 10000"/>
                <a:gd name="connsiteX151" fmla="*/ 3437 w 10000"/>
                <a:gd name="connsiteY151" fmla="*/ 6307 h 10000"/>
                <a:gd name="connsiteX152" fmla="*/ 3591 w 10000"/>
                <a:gd name="connsiteY152" fmla="*/ 6236 h 10000"/>
                <a:gd name="connsiteX153" fmla="*/ 3576 w 10000"/>
                <a:gd name="connsiteY153" fmla="*/ 6357 h 10000"/>
                <a:gd name="connsiteX154" fmla="*/ 3632 w 10000"/>
                <a:gd name="connsiteY154" fmla="*/ 6341 h 10000"/>
                <a:gd name="connsiteX155" fmla="*/ 3699 w 10000"/>
                <a:gd name="connsiteY155" fmla="*/ 6428 h 10000"/>
                <a:gd name="connsiteX156" fmla="*/ 3703 w 10000"/>
                <a:gd name="connsiteY156" fmla="*/ 6301 h 10000"/>
                <a:gd name="connsiteX157" fmla="*/ 3882 w 10000"/>
                <a:gd name="connsiteY157" fmla="*/ 6341 h 10000"/>
                <a:gd name="connsiteX158" fmla="*/ 3946 w 10000"/>
                <a:gd name="connsiteY158" fmla="*/ 6511 h 10000"/>
                <a:gd name="connsiteX159" fmla="*/ 4047 w 10000"/>
                <a:gd name="connsiteY159" fmla="*/ 6494 h 10000"/>
                <a:gd name="connsiteX160" fmla="*/ 4091 w 10000"/>
                <a:gd name="connsiteY160" fmla="*/ 6417 h 10000"/>
                <a:gd name="connsiteX161" fmla="*/ 4192 w 10000"/>
                <a:gd name="connsiteY161" fmla="*/ 6735 h 10000"/>
                <a:gd name="connsiteX162" fmla="*/ 4155 w 10000"/>
                <a:gd name="connsiteY162" fmla="*/ 6987 h 10000"/>
                <a:gd name="connsiteX163" fmla="*/ 4207 w 10000"/>
                <a:gd name="connsiteY163" fmla="*/ 7114 h 10000"/>
                <a:gd name="connsiteX164" fmla="*/ 4278 w 10000"/>
                <a:gd name="connsiteY164" fmla="*/ 7119 h 10000"/>
                <a:gd name="connsiteX165" fmla="*/ 4387 w 10000"/>
                <a:gd name="connsiteY165" fmla="*/ 7256 h 10000"/>
                <a:gd name="connsiteX166" fmla="*/ 4431 w 10000"/>
                <a:gd name="connsiteY166" fmla="*/ 7152 h 10000"/>
                <a:gd name="connsiteX167" fmla="*/ 4480 w 10000"/>
                <a:gd name="connsiteY167" fmla="*/ 7322 h 10000"/>
                <a:gd name="connsiteX168" fmla="*/ 4541 w 10000"/>
                <a:gd name="connsiteY168" fmla="*/ 7662 h 10000"/>
                <a:gd name="connsiteX169" fmla="*/ 4720 w 10000"/>
                <a:gd name="connsiteY169" fmla="*/ 7739 h 10000"/>
                <a:gd name="connsiteX170" fmla="*/ 4761 w 10000"/>
                <a:gd name="connsiteY170" fmla="*/ 8183 h 10000"/>
                <a:gd name="connsiteX171" fmla="*/ 4914 w 10000"/>
                <a:gd name="connsiteY171" fmla="*/ 8276 h 10000"/>
                <a:gd name="connsiteX172" fmla="*/ 4757 w 10000"/>
                <a:gd name="connsiteY172" fmla="*/ 8370 h 10000"/>
                <a:gd name="connsiteX173" fmla="*/ 4705 w 10000"/>
                <a:gd name="connsiteY173" fmla="*/ 8260 h 10000"/>
                <a:gd name="connsiteX174" fmla="*/ 4645 w 10000"/>
                <a:gd name="connsiteY174" fmla="*/ 8403 h 10000"/>
                <a:gd name="connsiteX175" fmla="*/ 4491 w 10000"/>
                <a:gd name="connsiteY175" fmla="*/ 8287 h 10000"/>
                <a:gd name="connsiteX176" fmla="*/ 4405 w 10000"/>
                <a:gd name="connsiteY176" fmla="*/ 8452 h 10000"/>
                <a:gd name="connsiteX177" fmla="*/ 4226 w 10000"/>
                <a:gd name="connsiteY177" fmla="*/ 8331 h 10000"/>
                <a:gd name="connsiteX178" fmla="*/ 4312 w 10000"/>
                <a:gd name="connsiteY178" fmla="*/ 8699 h 10000"/>
                <a:gd name="connsiteX179" fmla="*/ 4304 w 10000"/>
                <a:gd name="connsiteY179" fmla="*/ 8967 h 10000"/>
                <a:gd name="connsiteX180" fmla="*/ 4189 w 10000"/>
                <a:gd name="connsiteY180" fmla="*/ 9088 h 10000"/>
                <a:gd name="connsiteX181" fmla="*/ 4226 w 10000"/>
                <a:gd name="connsiteY181" fmla="*/ 9193 h 10000"/>
                <a:gd name="connsiteX182" fmla="*/ 4065 w 10000"/>
                <a:gd name="connsiteY182" fmla="*/ 9412 h 10000"/>
                <a:gd name="connsiteX183" fmla="*/ 4129 w 10000"/>
                <a:gd name="connsiteY183" fmla="*/ 9647 h 10000"/>
                <a:gd name="connsiteX184" fmla="*/ 3972 w 10000"/>
                <a:gd name="connsiteY184" fmla="*/ 9681 h 10000"/>
                <a:gd name="connsiteX185" fmla="*/ 3931 w 10000"/>
                <a:gd name="connsiteY185" fmla="*/ 9741 h 10000"/>
                <a:gd name="connsiteX186" fmla="*/ 3998 w 10000"/>
                <a:gd name="connsiteY186" fmla="*/ 9785 h 10000"/>
                <a:gd name="connsiteX187" fmla="*/ 4118 w 10000"/>
                <a:gd name="connsiteY187" fmla="*/ 9944 h 10000"/>
                <a:gd name="connsiteX188" fmla="*/ 4312 w 10000"/>
                <a:gd name="connsiteY188" fmla="*/ 9999 h 10000"/>
                <a:gd name="connsiteX189" fmla="*/ 4319 w 10000"/>
                <a:gd name="connsiteY189" fmla="*/ 9851 h 10000"/>
                <a:gd name="connsiteX190" fmla="*/ 4387 w 10000"/>
                <a:gd name="connsiteY190" fmla="*/ 9856 h 10000"/>
                <a:gd name="connsiteX191" fmla="*/ 4675 w 10000"/>
                <a:gd name="connsiteY191" fmla="*/ 9603 h 10000"/>
                <a:gd name="connsiteX192" fmla="*/ 4866 w 10000"/>
                <a:gd name="connsiteY192" fmla="*/ 9845 h 10000"/>
                <a:gd name="connsiteX193" fmla="*/ 4866 w 10000"/>
                <a:gd name="connsiteY193" fmla="*/ 9862 h 10000"/>
                <a:gd name="connsiteX194" fmla="*/ 4896 w 10000"/>
                <a:gd name="connsiteY194" fmla="*/ 9703 h 10000"/>
                <a:gd name="connsiteX195" fmla="*/ 4843 w 10000"/>
                <a:gd name="connsiteY195" fmla="*/ 9570 h 10000"/>
                <a:gd name="connsiteX196" fmla="*/ 4776 w 10000"/>
                <a:gd name="connsiteY196" fmla="*/ 9549 h 10000"/>
                <a:gd name="connsiteX197" fmla="*/ 4821 w 10000"/>
                <a:gd name="connsiteY197" fmla="*/ 9466 h 10000"/>
                <a:gd name="connsiteX198" fmla="*/ 4806 w 10000"/>
                <a:gd name="connsiteY198" fmla="*/ 9444 h 10000"/>
                <a:gd name="connsiteX199" fmla="*/ 4750 w 10000"/>
                <a:gd name="connsiteY199" fmla="*/ 9439 h 10000"/>
                <a:gd name="connsiteX200" fmla="*/ 4720 w 10000"/>
                <a:gd name="connsiteY200" fmla="*/ 9121 h 10000"/>
                <a:gd name="connsiteX201" fmla="*/ 4761 w 10000"/>
                <a:gd name="connsiteY201" fmla="*/ 9105 h 10000"/>
                <a:gd name="connsiteX202" fmla="*/ 4783 w 10000"/>
                <a:gd name="connsiteY202" fmla="*/ 9253 h 10000"/>
                <a:gd name="connsiteX203" fmla="*/ 4836 w 10000"/>
                <a:gd name="connsiteY203" fmla="*/ 9384 h 10000"/>
                <a:gd name="connsiteX204" fmla="*/ 4881 w 10000"/>
                <a:gd name="connsiteY204" fmla="*/ 9302 h 10000"/>
                <a:gd name="connsiteX205" fmla="*/ 4869 w 10000"/>
                <a:gd name="connsiteY205" fmla="*/ 9220 h 10000"/>
                <a:gd name="connsiteX206" fmla="*/ 4940 w 10000"/>
                <a:gd name="connsiteY206" fmla="*/ 9203 h 10000"/>
                <a:gd name="connsiteX207" fmla="*/ 4903 w 10000"/>
                <a:gd name="connsiteY207" fmla="*/ 9034 h 10000"/>
                <a:gd name="connsiteX208" fmla="*/ 5000 w 10000"/>
                <a:gd name="connsiteY208" fmla="*/ 9061 h 10000"/>
                <a:gd name="connsiteX209" fmla="*/ 5004 w 10000"/>
                <a:gd name="connsiteY209" fmla="*/ 8972 h 10000"/>
                <a:gd name="connsiteX210" fmla="*/ 5041 w 10000"/>
                <a:gd name="connsiteY210" fmla="*/ 9039 h 10000"/>
                <a:gd name="connsiteX211" fmla="*/ 5206 w 10000"/>
                <a:gd name="connsiteY211" fmla="*/ 8781 h 10000"/>
                <a:gd name="connsiteX212" fmla="*/ 5112 w 10000"/>
                <a:gd name="connsiteY212" fmla="*/ 8584 h 10000"/>
                <a:gd name="connsiteX213" fmla="*/ 4937 w 10000"/>
                <a:gd name="connsiteY213" fmla="*/ 8425 h 10000"/>
                <a:gd name="connsiteX214" fmla="*/ 5037 w 10000"/>
                <a:gd name="connsiteY214" fmla="*/ 8370 h 10000"/>
                <a:gd name="connsiteX215" fmla="*/ 5183 w 10000"/>
                <a:gd name="connsiteY215" fmla="*/ 8633 h 10000"/>
                <a:gd name="connsiteX216" fmla="*/ 5292 w 10000"/>
                <a:gd name="connsiteY216" fmla="*/ 8199 h 10000"/>
                <a:gd name="connsiteX217" fmla="*/ 5299 w 10000"/>
                <a:gd name="connsiteY217" fmla="*/ 8030 h 10000"/>
                <a:gd name="connsiteX218" fmla="*/ 5482 w 10000"/>
                <a:gd name="connsiteY218" fmla="*/ 7942 h 10000"/>
                <a:gd name="connsiteX219" fmla="*/ 5550 w 10000"/>
                <a:gd name="connsiteY219" fmla="*/ 7607 h 10000"/>
                <a:gd name="connsiteX220" fmla="*/ 5561 w 10000"/>
                <a:gd name="connsiteY220" fmla="*/ 7734 h 10000"/>
                <a:gd name="connsiteX221" fmla="*/ 5677 w 10000"/>
                <a:gd name="connsiteY221" fmla="*/ 7596 h 10000"/>
                <a:gd name="connsiteX222" fmla="*/ 5759 w 10000"/>
                <a:gd name="connsiteY222" fmla="*/ 7579 h 10000"/>
                <a:gd name="connsiteX223" fmla="*/ 5842 w 10000"/>
                <a:gd name="connsiteY223" fmla="*/ 7207 h 10000"/>
                <a:gd name="connsiteX224" fmla="*/ 5916 w 10000"/>
                <a:gd name="connsiteY224" fmla="*/ 7486 h 10000"/>
                <a:gd name="connsiteX225" fmla="*/ 6137 w 10000"/>
                <a:gd name="connsiteY225" fmla="*/ 7563 h 10000"/>
                <a:gd name="connsiteX226" fmla="*/ 5969 w 10000"/>
                <a:gd name="connsiteY226" fmla="*/ 7618 h 10000"/>
                <a:gd name="connsiteX227" fmla="*/ 5954 w 10000"/>
                <a:gd name="connsiteY227" fmla="*/ 7679 h 10000"/>
                <a:gd name="connsiteX228" fmla="*/ 5786 w 10000"/>
                <a:gd name="connsiteY228" fmla="*/ 7690 h 10000"/>
                <a:gd name="connsiteX229" fmla="*/ 5700 w 10000"/>
                <a:gd name="connsiteY229" fmla="*/ 7723 h 10000"/>
                <a:gd name="connsiteX230" fmla="*/ 5767 w 10000"/>
                <a:gd name="connsiteY230" fmla="*/ 7772 h 10000"/>
                <a:gd name="connsiteX231" fmla="*/ 5827 w 10000"/>
                <a:gd name="connsiteY231" fmla="*/ 7756 h 10000"/>
                <a:gd name="connsiteX232" fmla="*/ 5991 w 10000"/>
                <a:gd name="connsiteY232" fmla="*/ 7789 h 10000"/>
                <a:gd name="connsiteX233" fmla="*/ 5804 w 10000"/>
                <a:gd name="connsiteY233" fmla="*/ 7964 h 10000"/>
                <a:gd name="connsiteX234" fmla="*/ 5872 w 10000"/>
                <a:gd name="connsiteY234" fmla="*/ 8008 h 10000"/>
                <a:gd name="connsiteX235" fmla="*/ 6043 w 10000"/>
                <a:gd name="connsiteY235" fmla="*/ 7958 h 10000"/>
                <a:gd name="connsiteX236" fmla="*/ 6275 w 10000"/>
                <a:gd name="connsiteY236" fmla="*/ 8101 h 10000"/>
                <a:gd name="connsiteX237" fmla="*/ 6575 w 10000"/>
                <a:gd name="connsiteY237" fmla="*/ 7909 h 10000"/>
                <a:gd name="connsiteX238" fmla="*/ 6870 w 10000"/>
                <a:gd name="connsiteY238" fmla="*/ 7887 h 10000"/>
                <a:gd name="connsiteX239" fmla="*/ 6915 w 10000"/>
                <a:gd name="connsiteY239" fmla="*/ 7745 h 10000"/>
                <a:gd name="connsiteX240" fmla="*/ 6993 w 10000"/>
                <a:gd name="connsiteY240" fmla="*/ 7958 h 10000"/>
                <a:gd name="connsiteX241" fmla="*/ 7075 w 10000"/>
                <a:gd name="connsiteY241" fmla="*/ 7986 h 10000"/>
                <a:gd name="connsiteX242" fmla="*/ 7045 w 10000"/>
                <a:gd name="connsiteY242" fmla="*/ 8134 h 10000"/>
                <a:gd name="connsiteX243" fmla="*/ 6788 w 10000"/>
                <a:gd name="connsiteY243" fmla="*/ 8281 h 10000"/>
                <a:gd name="connsiteX244" fmla="*/ 6769 w 10000"/>
                <a:gd name="connsiteY244" fmla="*/ 8386 h 10000"/>
                <a:gd name="connsiteX245" fmla="*/ 6627 w 10000"/>
                <a:gd name="connsiteY245" fmla="*/ 8523 h 10000"/>
                <a:gd name="connsiteX246" fmla="*/ 6623 w 10000"/>
                <a:gd name="connsiteY246" fmla="*/ 8649 h 10000"/>
                <a:gd name="connsiteX247" fmla="*/ 6537 w 10000"/>
                <a:gd name="connsiteY247" fmla="*/ 8704 h 10000"/>
                <a:gd name="connsiteX248" fmla="*/ 6428 w 10000"/>
                <a:gd name="connsiteY248" fmla="*/ 8989 h 10000"/>
                <a:gd name="connsiteX249" fmla="*/ 6582 w 10000"/>
                <a:gd name="connsiteY249" fmla="*/ 9001 h 10000"/>
                <a:gd name="connsiteX250" fmla="*/ 6672 w 10000"/>
                <a:gd name="connsiteY250" fmla="*/ 8879 h 10000"/>
                <a:gd name="connsiteX251" fmla="*/ 6769 w 10000"/>
                <a:gd name="connsiteY251" fmla="*/ 8912 h 10000"/>
                <a:gd name="connsiteX252" fmla="*/ 6814 w 10000"/>
                <a:gd name="connsiteY252" fmla="*/ 8786 h 10000"/>
                <a:gd name="connsiteX253" fmla="*/ 6877 w 10000"/>
                <a:gd name="connsiteY253" fmla="*/ 9001 h 10000"/>
                <a:gd name="connsiteX254" fmla="*/ 7060 w 10000"/>
                <a:gd name="connsiteY254" fmla="*/ 8994 h 10000"/>
                <a:gd name="connsiteX255" fmla="*/ 7217 w 10000"/>
                <a:gd name="connsiteY255" fmla="*/ 9362 h 10000"/>
                <a:gd name="connsiteX256" fmla="*/ 7232 w 10000"/>
                <a:gd name="connsiteY256" fmla="*/ 9675 h 10000"/>
                <a:gd name="connsiteX257" fmla="*/ 7176 w 10000"/>
                <a:gd name="connsiteY257" fmla="*/ 9692 h 10000"/>
                <a:gd name="connsiteX258" fmla="*/ 7187 w 10000"/>
                <a:gd name="connsiteY258" fmla="*/ 9780 h 10000"/>
                <a:gd name="connsiteX259" fmla="*/ 7423 w 10000"/>
                <a:gd name="connsiteY259" fmla="*/ 9900 h 10000"/>
                <a:gd name="connsiteX260" fmla="*/ 7741 w 10000"/>
                <a:gd name="connsiteY260" fmla="*/ 9565 h 10000"/>
                <a:gd name="connsiteX261" fmla="*/ 7879 w 10000"/>
                <a:gd name="connsiteY261" fmla="*/ 9176 h 10000"/>
                <a:gd name="connsiteX262" fmla="*/ 8107 w 10000"/>
                <a:gd name="connsiteY262" fmla="*/ 9023 h 10000"/>
                <a:gd name="connsiteX263" fmla="*/ 8182 w 10000"/>
                <a:gd name="connsiteY263" fmla="*/ 8841 h 10000"/>
                <a:gd name="connsiteX264" fmla="*/ 8268 w 10000"/>
                <a:gd name="connsiteY264" fmla="*/ 8786 h 10000"/>
                <a:gd name="connsiteX265" fmla="*/ 8320 w 10000"/>
                <a:gd name="connsiteY265" fmla="*/ 8512 h 10000"/>
                <a:gd name="connsiteX266" fmla="*/ 8542 w 10000"/>
                <a:gd name="connsiteY266" fmla="*/ 8617 h 10000"/>
                <a:gd name="connsiteX267" fmla="*/ 8672 w 10000"/>
                <a:gd name="connsiteY267" fmla="*/ 8474 h 10000"/>
                <a:gd name="connsiteX268" fmla="*/ 8855 w 10000"/>
                <a:gd name="connsiteY268" fmla="*/ 8343 h 10000"/>
                <a:gd name="connsiteX269" fmla="*/ 8781 w 10000"/>
                <a:gd name="connsiteY269" fmla="*/ 8128 h 10000"/>
                <a:gd name="connsiteX270" fmla="*/ 7708 w 10000"/>
                <a:gd name="connsiteY270" fmla="*/ 7991 h 10000"/>
                <a:gd name="connsiteX271" fmla="*/ 7682 w 10000"/>
                <a:gd name="connsiteY271" fmla="*/ 7904 h 10000"/>
                <a:gd name="connsiteX272" fmla="*/ 7607 w 10000"/>
                <a:gd name="connsiteY272" fmla="*/ 8002 h 10000"/>
                <a:gd name="connsiteX273" fmla="*/ 7715 w 10000"/>
                <a:gd name="connsiteY273" fmla="*/ 7761 h 10000"/>
                <a:gd name="connsiteX274" fmla="*/ 7674 w 10000"/>
                <a:gd name="connsiteY274" fmla="*/ 7717 h 10000"/>
                <a:gd name="connsiteX275" fmla="*/ 7554 w 10000"/>
                <a:gd name="connsiteY275" fmla="*/ 7915 h 10000"/>
                <a:gd name="connsiteX276" fmla="*/ 7618 w 10000"/>
                <a:gd name="connsiteY276" fmla="*/ 7712 h 10000"/>
                <a:gd name="connsiteX277" fmla="*/ 7532 w 10000"/>
                <a:gd name="connsiteY277" fmla="*/ 7767 h 10000"/>
                <a:gd name="connsiteX278" fmla="*/ 7419 w 10000"/>
                <a:gd name="connsiteY278" fmla="*/ 7717 h 10000"/>
                <a:gd name="connsiteX279" fmla="*/ 7333 w 10000"/>
                <a:gd name="connsiteY279" fmla="*/ 7794 h 10000"/>
                <a:gd name="connsiteX280" fmla="*/ 7240 w 10000"/>
                <a:gd name="connsiteY280" fmla="*/ 7728 h 10000"/>
                <a:gd name="connsiteX281" fmla="*/ 7087 w 10000"/>
                <a:gd name="connsiteY281" fmla="*/ 7717 h 10000"/>
                <a:gd name="connsiteX282" fmla="*/ 7090 w 10000"/>
                <a:gd name="connsiteY282" fmla="*/ 7547 h 10000"/>
                <a:gd name="connsiteX283" fmla="*/ 7229 w 10000"/>
                <a:gd name="connsiteY283" fmla="*/ 7662 h 10000"/>
                <a:gd name="connsiteX284" fmla="*/ 7273 w 10000"/>
                <a:gd name="connsiteY284" fmla="*/ 7541 h 10000"/>
                <a:gd name="connsiteX285" fmla="*/ 7236 w 10000"/>
                <a:gd name="connsiteY285" fmla="*/ 7410 h 10000"/>
                <a:gd name="connsiteX286" fmla="*/ 7341 w 10000"/>
                <a:gd name="connsiteY286" fmla="*/ 7547 h 10000"/>
                <a:gd name="connsiteX287" fmla="*/ 7483 w 10000"/>
                <a:gd name="connsiteY287" fmla="*/ 7536 h 10000"/>
                <a:gd name="connsiteX288" fmla="*/ 7506 w 10000"/>
                <a:gd name="connsiteY288" fmla="*/ 7685 h 10000"/>
                <a:gd name="connsiteX289" fmla="*/ 7547 w 10000"/>
                <a:gd name="connsiteY289" fmla="*/ 7685 h 10000"/>
                <a:gd name="connsiteX290" fmla="*/ 7558 w 10000"/>
                <a:gd name="connsiteY290" fmla="*/ 7415 h 10000"/>
                <a:gd name="connsiteX291" fmla="*/ 7607 w 10000"/>
                <a:gd name="connsiteY291" fmla="*/ 7585 h 10000"/>
                <a:gd name="connsiteX292" fmla="*/ 7693 w 10000"/>
                <a:gd name="connsiteY292" fmla="*/ 7590 h 10000"/>
                <a:gd name="connsiteX293" fmla="*/ 7629 w 10000"/>
                <a:gd name="connsiteY293" fmla="*/ 7333 h 10000"/>
                <a:gd name="connsiteX294" fmla="*/ 7786 w 10000"/>
                <a:gd name="connsiteY294" fmla="*/ 7240 h 10000"/>
                <a:gd name="connsiteX295" fmla="*/ 7779 w 10000"/>
                <a:gd name="connsiteY295" fmla="*/ 6987 h 10000"/>
                <a:gd name="connsiteX296" fmla="*/ 7887 w 10000"/>
                <a:gd name="connsiteY296" fmla="*/ 7081 h 10000"/>
                <a:gd name="connsiteX297" fmla="*/ 7906 w 10000"/>
                <a:gd name="connsiteY297" fmla="*/ 7015 h 10000"/>
                <a:gd name="connsiteX298" fmla="*/ 7775 w 10000"/>
                <a:gd name="connsiteY298" fmla="*/ 6735 h 10000"/>
                <a:gd name="connsiteX299" fmla="*/ 7950 w 10000"/>
                <a:gd name="connsiteY299" fmla="*/ 6894 h 10000"/>
                <a:gd name="connsiteX300" fmla="*/ 8171 w 10000"/>
                <a:gd name="connsiteY300" fmla="*/ 6511 h 10000"/>
                <a:gd name="connsiteX301" fmla="*/ 8384 w 10000"/>
                <a:gd name="connsiteY301" fmla="*/ 6483 h 10000"/>
                <a:gd name="connsiteX302" fmla="*/ 8429 w 10000"/>
                <a:gd name="connsiteY30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7569 w 10000"/>
                <a:gd name="connsiteY32" fmla="*/ 1873 h 10000"/>
                <a:gd name="connsiteX33" fmla="*/ 7165 w 10000"/>
                <a:gd name="connsiteY33" fmla="*/ 1996 h 10000"/>
                <a:gd name="connsiteX34" fmla="*/ 6892 w 10000"/>
                <a:gd name="connsiteY34" fmla="*/ 1827 h 10000"/>
                <a:gd name="connsiteX35" fmla="*/ 6922 w 10000"/>
                <a:gd name="connsiteY35" fmla="*/ 1728 h 10000"/>
                <a:gd name="connsiteX36" fmla="*/ 6765 w 10000"/>
                <a:gd name="connsiteY36" fmla="*/ 1398 h 10000"/>
                <a:gd name="connsiteX37" fmla="*/ 6799 w 10000"/>
                <a:gd name="connsiteY37" fmla="*/ 1256 h 10000"/>
                <a:gd name="connsiteX38" fmla="*/ 6728 w 10000"/>
                <a:gd name="connsiteY38" fmla="*/ 1229 h 10000"/>
                <a:gd name="connsiteX39" fmla="*/ 6657 w 10000"/>
                <a:gd name="connsiteY39" fmla="*/ 1311 h 10000"/>
                <a:gd name="connsiteX40" fmla="*/ 6593 w 10000"/>
                <a:gd name="connsiteY40" fmla="*/ 1114 h 10000"/>
                <a:gd name="connsiteX41" fmla="*/ 6391 w 10000"/>
                <a:gd name="connsiteY41" fmla="*/ 1311 h 10000"/>
                <a:gd name="connsiteX42" fmla="*/ 6309 w 10000"/>
                <a:gd name="connsiteY42" fmla="*/ 1223 h 10000"/>
                <a:gd name="connsiteX43" fmla="*/ 6126 w 10000"/>
                <a:gd name="connsiteY43" fmla="*/ 1273 h 10000"/>
                <a:gd name="connsiteX44" fmla="*/ 6144 w 10000"/>
                <a:gd name="connsiteY44" fmla="*/ 1125 h 10000"/>
                <a:gd name="connsiteX45" fmla="*/ 6073 w 10000"/>
                <a:gd name="connsiteY45" fmla="*/ 1119 h 10000"/>
                <a:gd name="connsiteX46" fmla="*/ 6040 w 10000"/>
                <a:gd name="connsiteY46" fmla="*/ 910 h 10000"/>
                <a:gd name="connsiteX47" fmla="*/ 5942 w 10000"/>
                <a:gd name="connsiteY47" fmla="*/ 795 h 10000"/>
                <a:gd name="connsiteX48" fmla="*/ 6144 w 10000"/>
                <a:gd name="connsiteY48" fmla="*/ 620 h 10000"/>
                <a:gd name="connsiteX49" fmla="*/ 5901 w 10000"/>
                <a:gd name="connsiteY49" fmla="*/ 395 h 10000"/>
                <a:gd name="connsiteX50" fmla="*/ 5853 w 10000"/>
                <a:gd name="connsiteY50" fmla="*/ 142 h 10000"/>
                <a:gd name="connsiteX51" fmla="*/ 5741 w 10000"/>
                <a:gd name="connsiteY51" fmla="*/ 110 h 10000"/>
                <a:gd name="connsiteX52" fmla="*/ 5647 w 10000"/>
                <a:gd name="connsiteY52" fmla="*/ 0 h 10000"/>
                <a:gd name="connsiteX53" fmla="*/ 5547 w 10000"/>
                <a:gd name="connsiteY53" fmla="*/ 120 h 10000"/>
                <a:gd name="connsiteX54" fmla="*/ 5377 w 10000"/>
                <a:gd name="connsiteY54" fmla="*/ 110 h 10000"/>
                <a:gd name="connsiteX55" fmla="*/ 5232 w 10000"/>
                <a:gd name="connsiteY55" fmla="*/ 351 h 10000"/>
                <a:gd name="connsiteX56" fmla="*/ 4952 w 10000"/>
                <a:gd name="connsiteY56" fmla="*/ 329 h 10000"/>
                <a:gd name="connsiteX57" fmla="*/ 4884 w 10000"/>
                <a:gd name="connsiteY57" fmla="*/ 680 h 10000"/>
                <a:gd name="connsiteX58" fmla="*/ 4701 w 10000"/>
                <a:gd name="connsiteY58" fmla="*/ 707 h 10000"/>
                <a:gd name="connsiteX59" fmla="*/ 4795 w 10000"/>
                <a:gd name="connsiteY59" fmla="*/ 844 h 10000"/>
                <a:gd name="connsiteX60" fmla="*/ 4739 w 10000"/>
                <a:gd name="connsiteY60" fmla="*/ 899 h 10000"/>
                <a:gd name="connsiteX61" fmla="*/ 4612 w 10000"/>
                <a:gd name="connsiteY61" fmla="*/ 894 h 10000"/>
                <a:gd name="connsiteX62" fmla="*/ 4439 w 10000"/>
                <a:gd name="connsiteY62" fmla="*/ 1026 h 10000"/>
                <a:gd name="connsiteX63" fmla="*/ 4252 w 10000"/>
                <a:gd name="connsiteY63" fmla="*/ 1668 h 10000"/>
                <a:gd name="connsiteX64" fmla="*/ 4308 w 10000"/>
                <a:gd name="connsiteY64" fmla="*/ 2090 h 10000"/>
                <a:gd name="connsiteX65" fmla="*/ 4121 w 10000"/>
                <a:gd name="connsiteY65" fmla="*/ 1865 h 10000"/>
                <a:gd name="connsiteX66" fmla="*/ 3849 w 10000"/>
                <a:gd name="connsiteY66" fmla="*/ 1991 h 10000"/>
                <a:gd name="connsiteX67" fmla="*/ 3822 w 10000"/>
                <a:gd name="connsiteY67" fmla="*/ 1931 h 10000"/>
                <a:gd name="connsiteX68" fmla="*/ 3695 w 10000"/>
                <a:gd name="connsiteY68" fmla="*/ 2002 h 10000"/>
                <a:gd name="connsiteX69" fmla="*/ 3621 w 10000"/>
                <a:gd name="connsiteY69" fmla="*/ 2144 h 10000"/>
                <a:gd name="connsiteX70" fmla="*/ 3561 w 10000"/>
                <a:gd name="connsiteY70" fmla="*/ 1909 h 10000"/>
                <a:gd name="connsiteX71" fmla="*/ 3478 w 10000"/>
                <a:gd name="connsiteY71" fmla="*/ 1843 h 10000"/>
                <a:gd name="connsiteX72" fmla="*/ 3444 w 10000"/>
                <a:gd name="connsiteY72" fmla="*/ 1964 h 10000"/>
                <a:gd name="connsiteX73" fmla="*/ 3332 w 10000"/>
                <a:gd name="connsiteY73" fmla="*/ 1996 h 10000"/>
                <a:gd name="connsiteX74" fmla="*/ 3272 w 10000"/>
                <a:gd name="connsiteY74" fmla="*/ 2161 h 10000"/>
                <a:gd name="connsiteX75" fmla="*/ 3235 w 10000"/>
                <a:gd name="connsiteY75" fmla="*/ 2013 h 10000"/>
                <a:gd name="connsiteX76" fmla="*/ 3123 w 10000"/>
                <a:gd name="connsiteY76" fmla="*/ 2024 h 10000"/>
                <a:gd name="connsiteX77" fmla="*/ 3078 w 10000"/>
                <a:gd name="connsiteY77" fmla="*/ 2128 h 10000"/>
                <a:gd name="connsiteX78" fmla="*/ 3011 w 10000"/>
                <a:gd name="connsiteY78" fmla="*/ 1975 h 10000"/>
                <a:gd name="connsiteX79" fmla="*/ 2895 w 10000"/>
                <a:gd name="connsiteY79" fmla="*/ 2117 h 10000"/>
                <a:gd name="connsiteX80" fmla="*/ 2783 w 10000"/>
                <a:gd name="connsiteY80" fmla="*/ 2106 h 10000"/>
                <a:gd name="connsiteX81" fmla="*/ 2779 w 10000"/>
                <a:gd name="connsiteY81" fmla="*/ 2276 h 10000"/>
                <a:gd name="connsiteX82" fmla="*/ 2727 w 10000"/>
                <a:gd name="connsiteY82" fmla="*/ 2144 h 10000"/>
                <a:gd name="connsiteX83" fmla="*/ 2559 w 10000"/>
                <a:gd name="connsiteY83" fmla="*/ 2155 h 10000"/>
                <a:gd name="connsiteX84" fmla="*/ 2438 w 10000"/>
                <a:gd name="connsiteY84" fmla="*/ 1980 h 10000"/>
                <a:gd name="connsiteX85" fmla="*/ 2293 w 10000"/>
                <a:gd name="connsiteY85" fmla="*/ 2073 h 10000"/>
                <a:gd name="connsiteX86" fmla="*/ 2143 w 10000"/>
                <a:gd name="connsiteY86" fmla="*/ 1958 h 10000"/>
                <a:gd name="connsiteX87" fmla="*/ 2057 w 10000"/>
                <a:gd name="connsiteY87" fmla="*/ 2035 h 10000"/>
                <a:gd name="connsiteX88" fmla="*/ 1975 w 10000"/>
                <a:gd name="connsiteY88" fmla="*/ 1947 h 10000"/>
                <a:gd name="connsiteX89" fmla="*/ 1852 w 10000"/>
                <a:gd name="connsiteY89" fmla="*/ 1936 h 10000"/>
                <a:gd name="connsiteX90" fmla="*/ 1669 w 10000"/>
                <a:gd name="connsiteY90" fmla="*/ 1925 h 10000"/>
                <a:gd name="connsiteX91" fmla="*/ 1444 w 10000"/>
                <a:gd name="connsiteY91" fmla="*/ 1991 h 10000"/>
                <a:gd name="connsiteX92" fmla="*/ 1205 w 10000"/>
                <a:gd name="connsiteY92" fmla="*/ 2062 h 10000"/>
                <a:gd name="connsiteX93" fmla="*/ 921 w 10000"/>
                <a:gd name="connsiteY93" fmla="*/ 2166 h 10000"/>
                <a:gd name="connsiteX94" fmla="*/ 797 w 10000"/>
                <a:gd name="connsiteY94" fmla="*/ 2496 h 10000"/>
                <a:gd name="connsiteX95" fmla="*/ 603 w 10000"/>
                <a:gd name="connsiteY95" fmla="*/ 2501 h 10000"/>
                <a:gd name="connsiteX96" fmla="*/ 540 w 10000"/>
                <a:gd name="connsiteY96" fmla="*/ 2687 h 10000"/>
                <a:gd name="connsiteX97" fmla="*/ 558 w 10000"/>
                <a:gd name="connsiteY97" fmla="*/ 2764 h 10000"/>
                <a:gd name="connsiteX98" fmla="*/ 577 w 10000"/>
                <a:gd name="connsiteY98" fmla="*/ 2868 h 10000"/>
                <a:gd name="connsiteX99" fmla="*/ 577 w 10000"/>
                <a:gd name="connsiteY99" fmla="*/ 2868 h 10000"/>
                <a:gd name="connsiteX100" fmla="*/ 577 w 10000"/>
                <a:gd name="connsiteY100" fmla="*/ 2896 h 10000"/>
                <a:gd name="connsiteX101" fmla="*/ 682 w 10000"/>
                <a:gd name="connsiteY101" fmla="*/ 3116 h 10000"/>
                <a:gd name="connsiteX102" fmla="*/ 786 w 10000"/>
                <a:gd name="connsiteY102" fmla="*/ 3351 h 10000"/>
                <a:gd name="connsiteX103" fmla="*/ 921 w 10000"/>
                <a:gd name="connsiteY103" fmla="*/ 3488 h 10000"/>
                <a:gd name="connsiteX104" fmla="*/ 876 w 10000"/>
                <a:gd name="connsiteY104" fmla="*/ 3548 h 10000"/>
                <a:gd name="connsiteX105" fmla="*/ 805 w 10000"/>
                <a:gd name="connsiteY105" fmla="*/ 3603 h 10000"/>
                <a:gd name="connsiteX106" fmla="*/ 887 w 10000"/>
                <a:gd name="connsiteY106" fmla="*/ 3697 h 10000"/>
                <a:gd name="connsiteX107" fmla="*/ 876 w 10000"/>
                <a:gd name="connsiteY107" fmla="*/ 4053 h 10000"/>
                <a:gd name="connsiteX108" fmla="*/ 693 w 10000"/>
                <a:gd name="connsiteY108" fmla="*/ 4124 h 10000"/>
                <a:gd name="connsiteX109" fmla="*/ 498 w 10000"/>
                <a:gd name="connsiteY109" fmla="*/ 4531 h 10000"/>
                <a:gd name="connsiteX110" fmla="*/ 371 w 10000"/>
                <a:gd name="connsiteY110" fmla="*/ 4936 h 10000"/>
                <a:gd name="connsiteX111" fmla="*/ 195 w 10000"/>
                <a:gd name="connsiteY111" fmla="*/ 5260 h 10000"/>
                <a:gd name="connsiteX112" fmla="*/ 270 w 10000"/>
                <a:gd name="connsiteY112" fmla="*/ 5517 h 10000"/>
                <a:gd name="connsiteX113" fmla="*/ 277 w 10000"/>
                <a:gd name="connsiteY113" fmla="*/ 5732 h 10000"/>
                <a:gd name="connsiteX114" fmla="*/ 400 w 10000"/>
                <a:gd name="connsiteY114" fmla="*/ 5841 h 10000"/>
                <a:gd name="connsiteX115" fmla="*/ 382 w 10000"/>
                <a:gd name="connsiteY115" fmla="*/ 5945 h 10000"/>
                <a:gd name="connsiteX116" fmla="*/ 202 w 10000"/>
                <a:gd name="connsiteY116" fmla="*/ 5852 h 10000"/>
                <a:gd name="connsiteX117" fmla="*/ 124 w 10000"/>
                <a:gd name="connsiteY117" fmla="*/ 6099 h 10000"/>
                <a:gd name="connsiteX118" fmla="*/ 105 w 10000"/>
                <a:gd name="connsiteY118" fmla="*/ 6346 h 10000"/>
                <a:gd name="connsiteX119" fmla="*/ 1 w 10000"/>
                <a:gd name="connsiteY119" fmla="*/ 6571 h 10000"/>
                <a:gd name="connsiteX120" fmla="*/ 19 w 10000"/>
                <a:gd name="connsiteY120" fmla="*/ 6779 h 10000"/>
                <a:gd name="connsiteX121" fmla="*/ 90 w 10000"/>
                <a:gd name="connsiteY121" fmla="*/ 6828 h 10000"/>
                <a:gd name="connsiteX122" fmla="*/ 154 w 10000"/>
                <a:gd name="connsiteY122" fmla="*/ 6960 h 10000"/>
                <a:gd name="connsiteX123" fmla="*/ 240 w 10000"/>
                <a:gd name="connsiteY123" fmla="*/ 6943 h 10000"/>
                <a:gd name="connsiteX124" fmla="*/ 292 w 10000"/>
                <a:gd name="connsiteY124" fmla="*/ 7076 h 10000"/>
                <a:gd name="connsiteX125" fmla="*/ 445 w 10000"/>
                <a:gd name="connsiteY125" fmla="*/ 7103 h 10000"/>
                <a:gd name="connsiteX126" fmla="*/ 453 w 10000"/>
                <a:gd name="connsiteY126" fmla="*/ 7251 h 10000"/>
                <a:gd name="connsiteX127" fmla="*/ 494 w 10000"/>
                <a:gd name="connsiteY127" fmla="*/ 7278 h 10000"/>
                <a:gd name="connsiteX128" fmla="*/ 525 w 10000"/>
                <a:gd name="connsiteY128" fmla="*/ 7174 h 10000"/>
                <a:gd name="connsiteX129" fmla="*/ 581 w 10000"/>
                <a:gd name="connsiteY129" fmla="*/ 7196 h 10000"/>
                <a:gd name="connsiteX130" fmla="*/ 644 w 10000"/>
                <a:gd name="connsiteY130" fmla="*/ 6992 h 10000"/>
                <a:gd name="connsiteX131" fmla="*/ 820 w 10000"/>
                <a:gd name="connsiteY131" fmla="*/ 7174 h 10000"/>
                <a:gd name="connsiteX132" fmla="*/ 1283 w 10000"/>
                <a:gd name="connsiteY132" fmla="*/ 7163 h 10000"/>
                <a:gd name="connsiteX133" fmla="*/ 1466 w 10000"/>
                <a:gd name="connsiteY133" fmla="*/ 7092 h 10000"/>
                <a:gd name="connsiteX134" fmla="*/ 1766 w 10000"/>
                <a:gd name="connsiteY134" fmla="*/ 7344 h 10000"/>
                <a:gd name="connsiteX135" fmla="*/ 1956 w 10000"/>
                <a:gd name="connsiteY135" fmla="*/ 7087 h 10000"/>
                <a:gd name="connsiteX136" fmla="*/ 2382 w 10000"/>
                <a:gd name="connsiteY136" fmla="*/ 6861 h 10000"/>
                <a:gd name="connsiteX137" fmla="*/ 2536 w 10000"/>
                <a:gd name="connsiteY137" fmla="*/ 6489 h 10000"/>
                <a:gd name="connsiteX138" fmla="*/ 2648 w 10000"/>
                <a:gd name="connsiteY138" fmla="*/ 6439 h 10000"/>
                <a:gd name="connsiteX139" fmla="*/ 2648 w 10000"/>
                <a:gd name="connsiteY139" fmla="*/ 6379 h 10000"/>
                <a:gd name="connsiteX140" fmla="*/ 2693 w 10000"/>
                <a:gd name="connsiteY140" fmla="*/ 6379 h 10000"/>
                <a:gd name="connsiteX141" fmla="*/ 2682 w 10000"/>
                <a:gd name="connsiteY141" fmla="*/ 6230 h 10000"/>
                <a:gd name="connsiteX142" fmla="*/ 2820 w 10000"/>
                <a:gd name="connsiteY142" fmla="*/ 6285 h 10000"/>
                <a:gd name="connsiteX143" fmla="*/ 2839 w 10000"/>
                <a:gd name="connsiteY143" fmla="*/ 6159 h 10000"/>
                <a:gd name="connsiteX144" fmla="*/ 2921 w 10000"/>
                <a:gd name="connsiteY144" fmla="*/ 6230 h 10000"/>
                <a:gd name="connsiteX145" fmla="*/ 2981 w 10000"/>
                <a:gd name="connsiteY145" fmla="*/ 6126 h 10000"/>
                <a:gd name="connsiteX146" fmla="*/ 3078 w 10000"/>
                <a:gd name="connsiteY146" fmla="*/ 6154 h 10000"/>
                <a:gd name="connsiteX147" fmla="*/ 3164 w 10000"/>
                <a:gd name="connsiteY147" fmla="*/ 6055 h 10000"/>
                <a:gd name="connsiteX148" fmla="*/ 3328 w 10000"/>
                <a:gd name="connsiteY148" fmla="*/ 6192 h 10000"/>
                <a:gd name="connsiteX149" fmla="*/ 3411 w 10000"/>
                <a:gd name="connsiteY149" fmla="*/ 6197 h 10000"/>
                <a:gd name="connsiteX150" fmla="*/ 3437 w 10000"/>
                <a:gd name="connsiteY150" fmla="*/ 6307 h 10000"/>
                <a:gd name="connsiteX151" fmla="*/ 3591 w 10000"/>
                <a:gd name="connsiteY151" fmla="*/ 6236 h 10000"/>
                <a:gd name="connsiteX152" fmla="*/ 3576 w 10000"/>
                <a:gd name="connsiteY152" fmla="*/ 6357 h 10000"/>
                <a:gd name="connsiteX153" fmla="*/ 3632 w 10000"/>
                <a:gd name="connsiteY153" fmla="*/ 6341 h 10000"/>
                <a:gd name="connsiteX154" fmla="*/ 3699 w 10000"/>
                <a:gd name="connsiteY154" fmla="*/ 6428 h 10000"/>
                <a:gd name="connsiteX155" fmla="*/ 3703 w 10000"/>
                <a:gd name="connsiteY155" fmla="*/ 6301 h 10000"/>
                <a:gd name="connsiteX156" fmla="*/ 3882 w 10000"/>
                <a:gd name="connsiteY156" fmla="*/ 6341 h 10000"/>
                <a:gd name="connsiteX157" fmla="*/ 3946 w 10000"/>
                <a:gd name="connsiteY157" fmla="*/ 6511 h 10000"/>
                <a:gd name="connsiteX158" fmla="*/ 4047 w 10000"/>
                <a:gd name="connsiteY158" fmla="*/ 6494 h 10000"/>
                <a:gd name="connsiteX159" fmla="*/ 4091 w 10000"/>
                <a:gd name="connsiteY159" fmla="*/ 6417 h 10000"/>
                <a:gd name="connsiteX160" fmla="*/ 4192 w 10000"/>
                <a:gd name="connsiteY160" fmla="*/ 6735 h 10000"/>
                <a:gd name="connsiteX161" fmla="*/ 4155 w 10000"/>
                <a:gd name="connsiteY161" fmla="*/ 6987 h 10000"/>
                <a:gd name="connsiteX162" fmla="*/ 4207 w 10000"/>
                <a:gd name="connsiteY162" fmla="*/ 7114 h 10000"/>
                <a:gd name="connsiteX163" fmla="*/ 4278 w 10000"/>
                <a:gd name="connsiteY163" fmla="*/ 7119 h 10000"/>
                <a:gd name="connsiteX164" fmla="*/ 4387 w 10000"/>
                <a:gd name="connsiteY164" fmla="*/ 7256 h 10000"/>
                <a:gd name="connsiteX165" fmla="*/ 4431 w 10000"/>
                <a:gd name="connsiteY165" fmla="*/ 7152 h 10000"/>
                <a:gd name="connsiteX166" fmla="*/ 4480 w 10000"/>
                <a:gd name="connsiteY166" fmla="*/ 7322 h 10000"/>
                <a:gd name="connsiteX167" fmla="*/ 4541 w 10000"/>
                <a:gd name="connsiteY167" fmla="*/ 7662 h 10000"/>
                <a:gd name="connsiteX168" fmla="*/ 4720 w 10000"/>
                <a:gd name="connsiteY168" fmla="*/ 7739 h 10000"/>
                <a:gd name="connsiteX169" fmla="*/ 4761 w 10000"/>
                <a:gd name="connsiteY169" fmla="*/ 8183 h 10000"/>
                <a:gd name="connsiteX170" fmla="*/ 4914 w 10000"/>
                <a:gd name="connsiteY170" fmla="*/ 8276 h 10000"/>
                <a:gd name="connsiteX171" fmla="*/ 4757 w 10000"/>
                <a:gd name="connsiteY171" fmla="*/ 8370 h 10000"/>
                <a:gd name="connsiteX172" fmla="*/ 4705 w 10000"/>
                <a:gd name="connsiteY172" fmla="*/ 8260 h 10000"/>
                <a:gd name="connsiteX173" fmla="*/ 4645 w 10000"/>
                <a:gd name="connsiteY173" fmla="*/ 8403 h 10000"/>
                <a:gd name="connsiteX174" fmla="*/ 4491 w 10000"/>
                <a:gd name="connsiteY174" fmla="*/ 8287 h 10000"/>
                <a:gd name="connsiteX175" fmla="*/ 4405 w 10000"/>
                <a:gd name="connsiteY175" fmla="*/ 8452 h 10000"/>
                <a:gd name="connsiteX176" fmla="*/ 4226 w 10000"/>
                <a:gd name="connsiteY176" fmla="*/ 8331 h 10000"/>
                <a:gd name="connsiteX177" fmla="*/ 4312 w 10000"/>
                <a:gd name="connsiteY177" fmla="*/ 8699 h 10000"/>
                <a:gd name="connsiteX178" fmla="*/ 4304 w 10000"/>
                <a:gd name="connsiteY178" fmla="*/ 8967 h 10000"/>
                <a:gd name="connsiteX179" fmla="*/ 4189 w 10000"/>
                <a:gd name="connsiteY179" fmla="*/ 9088 h 10000"/>
                <a:gd name="connsiteX180" fmla="*/ 4226 w 10000"/>
                <a:gd name="connsiteY180" fmla="*/ 9193 h 10000"/>
                <a:gd name="connsiteX181" fmla="*/ 4065 w 10000"/>
                <a:gd name="connsiteY181" fmla="*/ 9412 h 10000"/>
                <a:gd name="connsiteX182" fmla="*/ 4129 w 10000"/>
                <a:gd name="connsiteY182" fmla="*/ 9647 h 10000"/>
                <a:gd name="connsiteX183" fmla="*/ 3972 w 10000"/>
                <a:gd name="connsiteY183" fmla="*/ 9681 h 10000"/>
                <a:gd name="connsiteX184" fmla="*/ 3931 w 10000"/>
                <a:gd name="connsiteY184" fmla="*/ 9741 h 10000"/>
                <a:gd name="connsiteX185" fmla="*/ 3998 w 10000"/>
                <a:gd name="connsiteY185" fmla="*/ 9785 h 10000"/>
                <a:gd name="connsiteX186" fmla="*/ 4118 w 10000"/>
                <a:gd name="connsiteY186" fmla="*/ 9944 h 10000"/>
                <a:gd name="connsiteX187" fmla="*/ 4312 w 10000"/>
                <a:gd name="connsiteY187" fmla="*/ 9999 h 10000"/>
                <a:gd name="connsiteX188" fmla="*/ 4319 w 10000"/>
                <a:gd name="connsiteY188" fmla="*/ 9851 h 10000"/>
                <a:gd name="connsiteX189" fmla="*/ 4387 w 10000"/>
                <a:gd name="connsiteY189" fmla="*/ 9856 h 10000"/>
                <a:gd name="connsiteX190" fmla="*/ 4675 w 10000"/>
                <a:gd name="connsiteY190" fmla="*/ 9603 h 10000"/>
                <a:gd name="connsiteX191" fmla="*/ 4866 w 10000"/>
                <a:gd name="connsiteY191" fmla="*/ 9845 h 10000"/>
                <a:gd name="connsiteX192" fmla="*/ 4866 w 10000"/>
                <a:gd name="connsiteY192" fmla="*/ 9862 h 10000"/>
                <a:gd name="connsiteX193" fmla="*/ 4896 w 10000"/>
                <a:gd name="connsiteY193" fmla="*/ 9703 h 10000"/>
                <a:gd name="connsiteX194" fmla="*/ 4843 w 10000"/>
                <a:gd name="connsiteY194" fmla="*/ 9570 h 10000"/>
                <a:gd name="connsiteX195" fmla="*/ 4776 w 10000"/>
                <a:gd name="connsiteY195" fmla="*/ 9549 h 10000"/>
                <a:gd name="connsiteX196" fmla="*/ 4821 w 10000"/>
                <a:gd name="connsiteY196" fmla="*/ 9466 h 10000"/>
                <a:gd name="connsiteX197" fmla="*/ 4806 w 10000"/>
                <a:gd name="connsiteY197" fmla="*/ 9444 h 10000"/>
                <a:gd name="connsiteX198" fmla="*/ 4750 w 10000"/>
                <a:gd name="connsiteY198" fmla="*/ 9439 h 10000"/>
                <a:gd name="connsiteX199" fmla="*/ 4720 w 10000"/>
                <a:gd name="connsiteY199" fmla="*/ 9121 h 10000"/>
                <a:gd name="connsiteX200" fmla="*/ 4761 w 10000"/>
                <a:gd name="connsiteY200" fmla="*/ 9105 h 10000"/>
                <a:gd name="connsiteX201" fmla="*/ 4783 w 10000"/>
                <a:gd name="connsiteY201" fmla="*/ 9253 h 10000"/>
                <a:gd name="connsiteX202" fmla="*/ 4836 w 10000"/>
                <a:gd name="connsiteY202" fmla="*/ 9384 h 10000"/>
                <a:gd name="connsiteX203" fmla="*/ 4881 w 10000"/>
                <a:gd name="connsiteY203" fmla="*/ 9302 h 10000"/>
                <a:gd name="connsiteX204" fmla="*/ 4869 w 10000"/>
                <a:gd name="connsiteY204" fmla="*/ 9220 h 10000"/>
                <a:gd name="connsiteX205" fmla="*/ 4940 w 10000"/>
                <a:gd name="connsiteY205" fmla="*/ 9203 h 10000"/>
                <a:gd name="connsiteX206" fmla="*/ 4903 w 10000"/>
                <a:gd name="connsiteY206" fmla="*/ 9034 h 10000"/>
                <a:gd name="connsiteX207" fmla="*/ 5000 w 10000"/>
                <a:gd name="connsiteY207" fmla="*/ 9061 h 10000"/>
                <a:gd name="connsiteX208" fmla="*/ 5004 w 10000"/>
                <a:gd name="connsiteY208" fmla="*/ 8972 h 10000"/>
                <a:gd name="connsiteX209" fmla="*/ 5041 w 10000"/>
                <a:gd name="connsiteY209" fmla="*/ 9039 h 10000"/>
                <a:gd name="connsiteX210" fmla="*/ 5206 w 10000"/>
                <a:gd name="connsiteY210" fmla="*/ 8781 h 10000"/>
                <a:gd name="connsiteX211" fmla="*/ 5112 w 10000"/>
                <a:gd name="connsiteY211" fmla="*/ 8584 h 10000"/>
                <a:gd name="connsiteX212" fmla="*/ 4937 w 10000"/>
                <a:gd name="connsiteY212" fmla="*/ 8425 h 10000"/>
                <a:gd name="connsiteX213" fmla="*/ 5037 w 10000"/>
                <a:gd name="connsiteY213" fmla="*/ 8370 h 10000"/>
                <a:gd name="connsiteX214" fmla="*/ 5183 w 10000"/>
                <a:gd name="connsiteY214" fmla="*/ 8633 h 10000"/>
                <a:gd name="connsiteX215" fmla="*/ 5292 w 10000"/>
                <a:gd name="connsiteY215" fmla="*/ 8199 h 10000"/>
                <a:gd name="connsiteX216" fmla="*/ 5299 w 10000"/>
                <a:gd name="connsiteY216" fmla="*/ 8030 h 10000"/>
                <a:gd name="connsiteX217" fmla="*/ 5482 w 10000"/>
                <a:gd name="connsiteY217" fmla="*/ 7942 h 10000"/>
                <a:gd name="connsiteX218" fmla="*/ 5550 w 10000"/>
                <a:gd name="connsiteY218" fmla="*/ 7607 h 10000"/>
                <a:gd name="connsiteX219" fmla="*/ 5561 w 10000"/>
                <a:gd name="connsiteY219" fmla="*/ 7734 h 10000"/>
                <a:gd name="connsiteX220" fmla="*/ 5677 w 10000"/>
                <a:gd name="connsiteY220" fmla="*/ 7596 h 10000"/>
                <a:gd name="connsiteX221" fmla="*/ 5759 w 10000"/>
                <a:gd name="connsiteY221" fmla="*/ 7579 h 10000"/>
                <a:gd name="connsiteX222" fmla="*/ 5842 w 10000"/>
                <a:gd name="connsiteY222" fmla="*/ 7207 h 10000"/>
                <a:gd name="connsiteX223" fmla="*/ 5916 w 10000"/>
                <a:gd name="connsiteY223" fmla="*/ 7486 h 10000"/>
                <a:gd name="connsiteX224" fmla="*/ 6137 w 10000"/>
                <a:gd name="connsiteY224" fmla="*/ 7563 h 10000"/>
                <a:gd name="connsiteX225" fmla="*/ 5969 w 10000"/>
                <a:gd name="connsiteY225" fmla="*/ 7618 h 10000"/>
                <a:gd name="connsiteX226" fmla="*/ 5954 w 10000"/>
                <a:gd name="connsiteY226" fmla="*/ 7679 h 10000"/>
                <a:gd name="connsiteX227" fmla="*/ 5786 w 10000"/>
                <a:gd name="connsiteY227" fmla="*/ 7690 h 10000"/>
                <a:gd name="connsiteX228" fmla="*/ 5700 w 10000"/>
                <a:gd name="connsiteY228" fmla="*/ 7723 h 10000"/>
                <a:gd name="connsiteX229" fmla="*/ 5767 w 10000"/>
                <a:gd name="connsiteY229" fmla="*/ 7772 h 10000"/>
                <a:gd name="connsiteX230" fmla="*/ 5827 w 10000"/>
                <a:gd name="connsiteY230" fmla="*/ 7756 h 10000"/>
                <a:gd name="connsiteX231" fmla="*/ 5991 w 10000"/>
                <a:gd name="connsiteY231" fmla="*/ 7789 h 10000"/>
                <a:gd name="connsiteX232" fmla="*/ 5804 w 10000"/>
                <a:gd name="connsiteY232" fmla="*/ 7964 h 10000"/>
                <a:gd name="connsiteX233" fmla="*/ 5872 w 10000"/>
                <a:gd name="connsiteY233" fmla="*/ 8008 h 10000"/>
                <a:gd name="connsiteX234" fmla="*/ 6043 w 10000"/>
                <a:gd name="connsiteY234" fmla="*/ 7958 h 10000"/>
                <a:gd name="connsiteX235" fmla="*/ 6275 w 10000"/>
                <a:gd name="connsiteY235" fmla="*/ 8101 h 10000"/>
                <a:gd name="connsiteX236" fmla="*/ 6575 w 10000"/>
                <a:gd name="connsiteY236" fmla="*/ 7909 h 10000"/>
                <a:gd name="connsiteX237" fmla="*/ 6870 w 10000"/>
                <a:gd name="connsiteY237" fmla="*/ 7887 h 10000"/>
                <a:gd name="connsiteX238" fmla="*/ 6915 w 10000"/>
                <a:gd name="connsiteY238" fmla="*/ 7745 h 10000"/>
                <a:gd name="connsiteX239" fmla="*/ 6993 w 10000"/>
                <a:gd name="connsiteY239" fmla="*/ 7958 h 10000"/>
                <a:gd name="connsiteX240" fmla="*/ 7075 w 10000"/>
                <a:gd name="connsiteY240" fmla="*/ 7986 h 10000"/>
                <a:gd name="connsiteX241" fmla="*/ 7045 w 10000"/>
                <a:gd name="connsiteY241" fmla="*/ 8134 h 10000"/>
                <a:gd name="connsiteX242" fmla="*/ 6788 w 10000"/>
                <a:gd name="connsiteY242" fmla="*/ 8281 h 10000"/>
                <a:gd name="connsiteX243" fmla="*/ 6769 w 10000"/>
                <a:gd name="connsiteY243" fmla="*/ 8386 h 10000"/>
                <a:gd name="connsiteX244" fmla="*/ 6627 w 10000"/>
                <a:gd name="connsiteY244" fmla="*/ 8523 h 10000"/>
                <a:gd name="connsiteX245" fmla="*/ 6623 w 10000"/>
                <a:gd name="connsiteY245" fmla="*/ 8649 h 10000"/>
                <a:gd name="connsiteX246" fmla="*/ 6537 w 10000"/>
                <a:gd name="connsiteY246" fmla="*/ 8704 h 10000"/>
                <a:gd name="connsiteX247" fmla="*/ 6428 w 10000"/>
                <a:gd name="connsiteY247" fmla="*/ 8989 h 10000"/>
                <a:gd name="connsiteX248" fmla="*/ 6582 w 10000"/>
                <a:gd name="connsiteY248" fmla="*/ 9001 h 10000"/>
                <a:gd name="connsiteX249" fmla="*/ 6672 w 10000"/>
                <a:gd name="connsiteY249" fmla="*/ 8879 h 10000"/>
                <a:gd name="connsiteX250" fmla="*/ 6769 w 10000"/>
                <a:gd name="connsiteY250" fmla="*/ 8912 h 10000"/>
                <a:gd name="connsiteX251" fmla="*/ 6814 w 10000"/>
                <a:gd name="connsiteY251" fmla="*/ 8786 h 10000"/>
                <a:gd name="connsiteX252" fmla="*/ 6877 w 10000"/>
                <a:gd name="connsiteY252" fmla="*/ 9001 h 10000"/>
                <a:gd name="connsiteX253" fmla="*/ 7060 w 10000"/>
                <a:gd name="connsiteY253" fmla="*/ 8994 h 10000"/>
                <a:gd name="connsiteX254" fmla="*/ 7217 w 10000"/>
                <a:gd name="connsiteY254" fmla="*/ 9362 h 10000"/>
                <a:gd name="connsiteX255" fmla="*/ 7232 w 10000"/>
                <a:gd name="connsiteY255" fmla="*/ 9675 h 10000"/>
                <a:gd name="connsiteX256" fmla="*/ 7176 w 10000"/>
                <a:gd name="connsiteY256" fmla="*/ 9692 h 10000"/>
                <a:gd name="connsiteX257" fmla="*/ 7187 w 10000"/>
                <a:gd name="connsiteY257" fmla="*/ 9780 h 10000"/>
                <a:gd name="connsiteX258" fmla="*/ 7423 w 10000"/>
                <a:gd name="connsiteY258" fmla="*/ 9900 h 10000"/>
                <a:gd name="connsiteX259" fmla="*/ 7741 w 10000"/>
                <a:gd name="connsiteY259" fmla="*/ 9565 h 10000"/>
                <a:gd name="connsiteX260" fmla="*/ 7879 w 10000"/>
                <a:gd name="connsiteY260" fmla="*/ 9176 h 10000"/>
                <a:gd name="connsiteX261" fmla="*/ 8107 w 10000"/>
                <a:gd name="connsiteY261" fmla="*/ 9023 h 10000"/>
                <a:gd name="connsiteX262" fmla="*/ 8182 w 10000"/>
                <a:gd name="connsiteY262" fmla="*/ 8841 h 10000"/>
                <a:gd name="connsiteX263" fmla="*/ 8268 w 10000"/>
                <a:gd name="connsiteY263" fmla="*/ 8786 h 10000"/>
                <a:gd name="connsiteX264" fmla="*/ 8320 w 10000"/>
                <a:gd name="connsiteY264" fmla="*/ 8512 h 10000"/>
                <a:gd name="connsiteX265" fmla="*/ 8542 w 10000"/>
                <a:gd name="connsiteY265" fmla="*/ 8617 h 10000"/>
                <a:gd name="connsiteX266" fmla="*/ 8672 w 10000"/>
                <a:gd name="connsiteY266" fmla="*/ 8474 h 10000"/>
                <a:gd name="connsiteX267" fmla="*/ 8855 w 10000"/>
                <a:gd name="connsiteY267" fmla="*/ 8343 h 10000"/>
                <a:gd name="connsiteX268" fmla="*/ 8781 w 10000"/>
                <a:gd name="connsiteY268" fmla="*/ 8128 h 10000"/>
                <a:gd name="connsiteX269" fmla="*/ 7708 w 10000"/>
                <a:gd name="connsiteY269" fmla="*/ 7991 h 10000"/>
                <a:gd name="connsiteX270" fmla="*/ 7682 w 10000"/>
                <a:gd name="connsiteY270" fmla="*/ 7904 h 10000"/>
                <a:gd name="connsiteX271" fmla="*/ 7607 w 10000"/>
                <a:gd name="connsiteY271" fmla="*/ 8002 h 10000"/>
                <a:gd name="connsiteX272" fmla="*/ 7715 w 10000"/>
                <a:gd name="connsiteY272" fmla="*/ 7761 h 10000"/>
                <a:gd name="connsiteX273" fmla="*/ 7674 w 10000"/>
                <a:gd name="connsiteY273" fmla="*/ 7717 h 10000"/>
                <a:gd name="connsiteX274" fmla="*/ 7554 w 10000"/>
                <a:gd name="connsiteY274" fmla="*/ 7915 h 10000"/>
                <a:gd name="connsiteX275" fmla="*/ 7618 w 10000"/>
                <a:gd name="connsiteY275" fmla="*/ 7712 h 10000"/>
                <a:gd name="connsiteX276" fmla="*/ 7532 w 10000"/>
                <a:gd name="connsiteY276" fmla="*/ 7767 h 10000"/>
                <a:gd name="connsiteX277" fmla="*/ 7419 w 10000"/>
                <a:gd name="connsiteY277" fmla="*/ 7717 h 10000"/>
                <a:gd name="connsiteX278" fmla="*/ 7333 w 10000"/>
                <a:gd name="connsiteY278" fmla="*/ 7794 h 10000"/>
                <a:gd name="connsiteX279" fmla="*/ 7240 w 10000"/>
                <a:gd name="connsiteY279" fmla="*/ 7728 h 10000"/>
                <a:gd name="connsiteX280" fmla="*/ 7087 w 10000"/>
                <a:gd name="connsiteY280" fmla="*/ 7717 h 10000"/>
                <a:gd name="connsiteX281" fmla="*/ 7090 w 10000"/>
                <a:gd name="connsiteY281" fmla="*/ 7547 h 10000"/>
                <a:gd name="connsiteX282" fmla="*/ 7229 w 10000"/>
                <a:gd name="connsiteY282" fmla="*/ 7662 h 10000"/>
                <a:gd name="connsiteX283" fmla="*/ 7273 w 10000"/>
                <a:gd name="connsiteY283" fmla="*/ 7541 h 10000"/>
                <a:gd name="connsiteX284" fmla="*/ 7236 w 10000"/>
                <a:gd name="connsiteY284" fmla="*/ 7410 h 10000"/>
                <a:gd name="connsiteX285" fmla="*/ 7341 w 10000"/>
                <a:gd name="connsiteY285" fmla="*/ 7547 h 10000"/>
                <a:gd name="connsiteX286" fmla="*/ 7483 w 10000"/>
                <a:gd name="connsiteY286" fmla="*/ 7536 h 10000"/>
                <a:gd name="connsiteX287" fmla="*/ 7506 w 10000"/>
                <a:gd name="connsiteY287" fmla="*/ 7685 h 10000"/>
                <a:gd name="connsiteX288" fmla="*/ 7547 w 10000"/>
                <a:gd name="connsiteY288" fmla="*/ 7685 h 10000"/>
                <a:gd name="connsiteX289" fmla="*/ 7558 w 10000"/>
                <a:gd name="connsiteY289" fmla="*/ 7415 h 10000"/>
                <a:gd name="connsiteX290" fmla="*/ 7607 w 10000"/>
                <a:gd name="connsiteY290" fmla="*/ 7585 h 10000"/>
                <a:gd name="connsiteX291" fmla="*/ 7693 w 10000"/>
                <a:gd name="connsiteY291" fmla="*/ 7590 h 10000"/>
                <a:gd name="connsiteX292" fmla="*/ 7629 w 10000"/>
                <a:gd name="connsiteY292" fmla="*/ 7333 h 10000"/>
                <a:gd name="connsiteX293" fmla="*/ 7786 w 10000"/>
                <a:gd name="connsiteY293" fmla="*/ 7240 h 10000"/>
                <a:gd name="connsiteX294" fmla="*/ 7779 w 10000"/>
                <a:gd name="connsiteY294" fmla="*/ 6987 h 10000"/>
                <a:gd name="connsiteX295" fmla="*/ 7887 w 10000"/>
                <a:gd name="connsiteY295" fmla="*/ 7081 h 10000"/>
                <a:gd name="connsiteX296" fmla="*/ 7906 w 10000"/>
                <a:gd name="connsiteY296" fmla="*/ 7015 h 10000"/>
                <a:gd name="connsiteX297" fmla="*/ 7775 w 10000"/>
                <a:gd name="connsiteY297" fmla="*/ 6735 h 10000"/>
                <a:gd name="connsiteX298" fmla="*/ 7950 w 10000"/>
                <a:gd name="connsiteY298" fmla="*/ 6894 h 10000"/>
                <a:gd name="connsiteX299" fmla="*/ 8171 w 10000"/>
                <a:gd name="connsiteY299" fmla="*/ 6511 h 10000"/>
                <a:gd name="connsiteX300" fmla="*/ 8384 w 10000"/>
                <a:gd name="connsiteY300" fmla="*/ 6483 h 10000"/>
                <a:gd name="connsiteX301" fmla="*/ 8429 w 10000"/>
                <a:gd name="connsiteY30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7569 w 10000"/>
                <a:gd name="connsiteY31" fmla="*/ 1873 h 10000"/>
                <a:gd name="connsiteX32" fmla="*/ 7165 w 10000"/>
                <a:gd name="connsiteY32" fmla="*/ 1996 h 10000"/>
                <a:gd name="connsiteX33" fmla="*/ 6892 w 10000"/>
                <a:gd name="connsiteY33" fmla="*/ 1827 h 10000"/>
                <a:gd name="connsiteX34" fmla="*/ 6922 w 10000"/>
                <a:gd name="connsiteY34" fmla="*/ 1728 h 10000"/>
                <a:gd name="connsiteX35" fmla="*/ 6765 w 10000"/>
                <a:gd name="connsiteY35" fmla="*/ 1398 h 10000"/>
                <a:gd name="connsiteX36" fmla="*/ 6799 w 10000"/>
                <a:gd name="connsiteY36" fmla="*/ 1256 h 10000"/>
                <a:gd name="connsiteX37" fmla="*/ 6728 w 10000"/>
                <a:gd name="connsiteY37" fmla="*/ 1229 h 10000"/>
                <a:gd name="connsiteX38" fmla="*/ 6657 w 10000"/>
                <a:gd name="connsiteY38" fmla="*/ 1311 h 10000"/>
                <a:gd name="connsiteX39" fmla="*/ 6593 w 10000"/>
                <a:gd name="connsiteY39" fmla="*/ 1114 h 10000"/>
                <a:gd name="connsiteX40" fmla="*/ 6391 w 10000"/>
                <a:gd name="connsiteY40" fmla="*/ 1311 h 10000"/>
                <a:gd name="connsiteX41" fmla="*/ 6309 w 10000"/>
                <a:gd name="connsiteY41" fmla="*/ 1223 h 10000"/>
                <a:gd name="connsiteX42" fmla="*/ 6126 w 10000"/>
                <a:gd name="connsiteY42" fmla="*/ 1273 h 10000"/>
                <a:gd name="connsiteX43" fmla="*/ 6144 w 10000"/>
                <a:gd name="connsiteY43" fmla="*/ 1125 h 10000"/>
                <a:gd name="connsiteX44" fmla="*/ 6073 w 10000"/>
                <a:gd name="connsiteY44" fmla="*/ 1119 h 10000"/>
                <a:gd name="connsiteX45" fmla="*/ 6040 w 10000"/>
                <a:gd name="connsiteY45" fmla="*/ 910 h 10000"/>
                <a:gd name="connsiteX46" fmla="*/ 5942 w 10000"/>
                <a:gd name="connsiteY46" fmla="*/ 795 h 10000"/>
                <a:gd name="connsiteX47" fmla="*/ 6144 w 10000"/>
                <a:gd name="connsiteY47" fmla="*/ 620 h 10000"/>
                <a:gd name="connsiteX48" fmla="*/ 5901 w 10000"/>
                <a:gd name="connsiteY48" fmla="*/ 395 h 10000"/>
                <a:gd name="connsiteX49" fmla="*/ 5853 w 10000"/>
                <a:gd name="connsiteY49" fmla="*/ 142 h 10000"/>
                <a:gd name="connsiteX50" fmla="*/ 5741 w 10000"/>
                <a:gd name="connsiteY50" fmla="*/ 110 h 10000"/>
                <a:gd name="connsiteX51" fmla="*/ 5647 w 10000"/>
                <a:gd name="connsiteY51" fmla="*/ 0 h 10000"/>
                <a:gd name="connsiteX52" fmla="*/ 5547 w 10000"/>
                <a:gd name="connsiteY52" fmla="*/ 120 h 10000"/>
                <a:gd name="connsiteX53" fmla="*/ 5377 w 10000"/>
                <a:gd name="connsiteY53" fmla="*/ 110 h 10000"/>
                <a:gd name="connsiteX54" fmla="*/ 5232 w 10000"/>
                <a:gd name="connsiteY54" fmla="*/ 351 h 10000"/>
                <a:gd name="connsiteX55" fmla="*/ 4952 w 10000"/>
                <a:gd name="connsiteY55" fmla="*/ 329 h 10000"/>
                <a:gd name="connsiteX56" fmla="*/ 4884 w 10000"/>
                <a:gd name="connsiteY56" fmla="*/ 680 h 10000"/>
                <a:gd name="connsiteX57" fmla="*/ 4701 w 10000"/>
                <a:gd name="connsiteY57" fmla="*/ 707 h 10000"/>
                <a:gd name="connsiteX58" fmla="*/ 4795 w 10000"/>
                <a:gd name="connsiteY58" fmla="*/ 844 h 10000"/>
                <a:gd name="connsiteX59" fmla="*/ 4739 w 10000"/>
                <a:gd name="connsiteY59" fmla="*/ 899 h 10000"/>
                <a:gd name="connsiteX60" fmla="*/ 4612 w 10000"/>
                <a:gd name="connsiteY60" fmla="*/ 894 h 10000"/>
                <a:gd name="connsiteX61" fmla="*/ 4439 w 10000"/>
                <a:gd name="connsiteY61" fmla="*/ 1026 h 10000"/>
                <a:gd name="connsiteX62" fmla="*/ 4252 w 10000"/>
                <a:gd name="connsiteY62" fmla="*/ 1668 h 10000"/>
                <a:gd name="connsiteX63" fmla="*/ 4308 w 10000"/>
                <a:gd name="connsiteY63" fmla="*/ 2090 h 10000"/>
                <a:gd name="connsiteX64" fmla="*/ 4121 w 10000"/>
                <a:gd name="connsiteY64" fmla="*/ 1865 h 10000"/>
                <a:gd name="connsiteX65" fmla="*/ 3849 w 10000"/>
                <a:gd name="connsiteY65" fmla="*/ 1991 h 10000"/>
                <a:gd name="connsiteX66" fmla="*/ 3822 w 10000"/>
                <a:gd name="connsiteY66" fmla="*/ 1931 h 10000"/>
                <a:gd name="connsiteX67" fmla="*/ 3695 w 10000"/>
                <a:gd name="connsiteY67" fmla="*/ 2002 h 10000"/>
                <a:gd name="connsiteX68" fmla="*/ 3621 w 10000"/>
                <a:gd name="connsiteY68" fmla="*/ 2144 h 10000"/>
                <a:gd name="connsiteX69" fmla="*/ 3561 w 10000"/>
                <a:gd name="connsiteY69" fmla="*/ 1909 h 10000"/>
                <a:gd name="connsiteX70" fmla="*/ 3478 w 10000"/>
                <a:gd name="connsiteY70" fmla="*/ 1843 h 10000"/>
                <a:gd name="connsiteX71" fmla="*/ 3444 w 10000"/>
                <a:gd name="connsiteY71" fmla="*/ 1964 h 10000"/>
                <a:gd name="connsiteX72" fmla="*/ 3332 w 10000"/>
                <a:gd name="connsiteY72" fmla="*/ 1996 h 10000"/>
                <a:gd name="connsiteX73" fmla="*/ 3272 w 10000"/>
                <a:gd name="connsiteY73" fmla="*/ 2161 h 10000"/>
                <a:gd name="connsiteX74" fmla="*/ 3235 w 10000"/>
                <a:gd name="connsiteY74" fmla="*/ 2013 h 10000"/>
                <a:gd name="connsiteX75" fmla="*/ 3123 w 10000"/>
                <a:gd name="connsiteY75" fmla="*/ 2024 h 10000"/>
                <a:gd name="connsiteX76" fmla="*/ 3078 w 10000"/>
                <a:gd name="connsiteY76" fmla="*/ 2128 h 10000"/>
                <a:gd name="connsiteX77" fmla="*/ 3011 w 10000"/>
                <a:gd name="connsiteY77" fmla="*/ 1975 h 10000"/>
                <a:gd name="connsiteX78" fmla="*/ 2895 w 10000"/>
                <a:gd name="connsiteY78" fmla="*/ 2117 h 10000"/>
                <a:gd name="connsiteX79" fmla="*/ 2783 w 10000"/>
                <a:gd name="connsiteY79" fmla="*/ 2106 h 10000"/>
                <a:gd name="connsiteX80" fmla="*/ 2779 w 10000"/>
                <a:gd name="connsiteY80" fmla="*/ 2276 h 10000"/>
                <a:gd name="connsiteX81" fmla="*/ 2727 w 10000"/>
                <a:gd name="connsiteY81" fmla="*/ 2144 h 10000"/>
                <a:gd name="connsiteX82" fmla="*/ 2559 w 10000"/>
                <a:gd name="connsiteY82" fmla="*/ 2155 h 10000"/>
                <a:gd name="connsiteX83" fmla="*/ 2438 w 10000"/>
                <a:gd name="connsiteY83" fmla="*/ 1980 h 10000"/>
                <a:gd name="connsiteX84" fmla="*/ 2293 w 10000"/>
                <a:gd name="connsiteY84" fmla="*/ 2073 h 10000"/>
                <a:gd name="connsiteX85" fmla="*/ 2143 w 10000"/>
                <a:gd name="connsiteY85" fmla="*/ 1958 h 10000"/>
                <a:gd name="connsiteX86" fmla="*/ 2057 w 10000"/>
                <a:gd name="connsiteY86" fmla="*/ 2035 h 10000"/>
                <a:gd name="connsiteX87" fmla="*/ 1975 w 10000"/>
                <a:gd name="connsiteY87" fmla="*/ 1947 h 10000"/>
                <a:gd name="connsiteX88" fmla="*/ 1852 w 10000"/>
                <a:gd name="connsiteY88" fmla="*/ 1936 h 10000"/>
                <a:gd name="connsiteX89" fmla="*/ 1669 w 10000"/>
                <a:gd name="connsiteY89" fmla="*/ 1925 h 10000"/>
                <a:gd name="connsiteX90" fmla="*/ 1444 w 10000"/>
                <a:gd name="connsiteY90" fmla="*/ 1991 h 10000"/>
                <a:gd name="connsiteX91" fmla="*/ 1205 w 10000"/>
                <a:gd name="connsiteY91" fmla="*/ 2062 h 10000"/>
                <a:gd name="connsiteX92" fmla="*/ 921 w 10000"/>
                <a:gd name="connsiteY92" fmla="*/ 2166 h 10000"/>
                <a:gd name="connsiteX93" fmla="*/ 797 w 10000"/>
                <a:gd name="connsiteY93" fmla="*/ 2496 h 10000"/>
                <a:gd name="connsiteX94" fmla="*/ 603 w 10000"/>
                <a:gd name="connsiteY94" fmla="*/ 2501 h 10000"/>
                <a:gd name="connsiteX95" fmla="*/ 540 w 10000"/>
                <a:gd name="connsiteY95" fmla="*/ 2687 h 10000"/>
                <a:gd name="connsiteX96" fmla="*/ 558 w 10000"/>
                <a:gd name="connsiteY96" fmla="*/ 2764 h 10000"/>
                <a:gd name="connsiteX97" fmla="*/ 577 w 10000"/>
                <a:gd name="connsiteY97" fmla="*/ 2868 h 10000"/>
                <a:gd name="connsiteX98" fmla="*/ 577 w 10000"/>
                <a:gd name="connsiteY98" fmla="*/ 2868 h 10000"/>
                <a:gd name="connsiteX99" fmla="*/ 577 w 10000"/>
                <a:gd name="connsiteY99" fmla="*/ 2896 h 10000"/>
                <a:gd name="connsiteX100" fmla="*/ 682 w 10000"/>
                <a:gd name="connsiteY100" fmla="*/ 3116 h 10000"/>
                <a:gd name="connsiteX101" fmla="*/ 786 w 10000"/>
                <a:gd name="connsiteY101" fmla="*/ 3351 h 10000"/>
                <a:gd name="connsiteX102" fmla="*/ 921 w 10000"/>
                <a:gd name="connsiteY102" fmla="*/ 3488 h 10000"/>
                <a:gd name="connsiteX103" fmla="*/ 876 w 10000"/>
                <a:gd name="connsiteY103" fmla="*/ 3548 h 10000"/>
                <a:gd name="connsiteX104" fmla="*/ 805 w 10000"/>
                <a:gd name="connsiteY104" fmla="*/ 3603 h 10000"/>
                <a:gd name="connsiteX105" fmla="*/ 887 w 10000"/>
                <a:gd name="connsiteY105" fmla="*/ 3697 h 10000"/>
                <a:gd name="connsiteX106" fmla="*/ 876 w 10000"/>
                <a:gd name="connsiteY106" fmla="*/ 4053 h 10000"/>
                <a:gd name="connsiteX107" fmla="*/ 693 w 10000"/>
                <a:gd name="connsiteY107" fmla="*/ 4124 h 10000"/>
                <a:gd name="connsiteX108" fmla="*/ 498 w 10000"/>
                <a:gd name="connsiteY108" fmla="*/ 4531 h 10000"/>
                <a:gd name="connsiteX109" fmla="*/ 371 w 10000"/>
                <a:gd name="connsiteY109" fmla="*/ 4936 h 10000"/>
                <a:gd name="connsiteX110" fmla="*/ 195 w 10000"/>
                <a:gd name="connsiteY110" fmla="*/ 5260 h 10000"/>
                <a:gd name="connsiteX111" fmla="*/ 270 w 10000"/>
                <a:gd name="connsiteY111" fmla="*/ 5517 h 10000"/>
                <a:gd name="connsiteX112" fmla="*/ 277 w 10000"/>
                <a:gd name="connsiteY112" fmla="*/ 5732 h 10000"/>
                <a:gd name="connsiteX113" fmla="*/ 400 w 10000"/>
                <a:gd name="connsiteY113" fmla="*/ 5841 h 10000"/>
                <a:gd name="connsiteX114" fmla="*/ 382 w 10000"/>
                <a:gd name="connsiteY114" fmla="*/ 5945 h 10000"/>
                <a:gd name="connsiteX115" fmla="*/ 202 w 10000"/>
                <a:gd name="connsiteY115" fmla="*/ 5852 h 10000"/>
                <a:gd name="connsiteX116" fmla="*/ 124 w 10000"/>
                <a:gd name="connsiteY116" fmla="*/ 6099 h 10000"/>
                <a:gd name="connsiteX117" fmla="*/ 105 w 10000"/>
                <a:gd name="connsiteY117" fmla="*/ 6346 h 10000"/>
                <a:gd name="connsiteX118" fmla="*/ 1 w 10000"/>
                <a:gd name="connsiteY118" fmla="*/ 6571 h 10000"/>
                <a:gd name="connsiteX119" fmla="*/ 19 w 10000"/>
                <a:gd name="connsiteY119" fmla="*/ 6779 h 10000"/>
                <a:gd name="connsiteX120" fmla="*/ 90 w 10000"/>
                <a:gd name="connsiteY120" fmla="*/ 6828 h 10000"/>
                <a:gd name="connsiteX121" fmla="*/ 154 w 10000"/>
                <a:gd name="connsiteY121" fmla="*/ 6960 h 10000"/>
                <a:gd name="connsiteX122" fmla="*/ 240 w 10000"/>
                <a:gd name="connsiteY122" fmla="*/ 6943 h 10000"/>
                <a:gd name="connsiteX123" fmla="*/ 292 w 10000"/>
                <a:gd name="connsiteY123" fmla="*/ 7076 h 10000"/>
                <a:gd name="connsiteX124" fmla="*/ 445 w 10000"/>
                <a:gd name="connsiteY124" fmla="*/ 7103 h 10000"/>
                <a:gd name="connsiteX125" fmla="*/ 453 w 10000"/>
                <a:gd name="connsiteY125" fmla="*/ 7251 h 10000"/>
                <a:gd name="connsiteX126" fmla="*/ 494 w 10000"/>
                <a:gd name="connsiteY126" fmla="*/ 7278 h 10000"/>
                <a:gd name="connsiteX127" fmla="*/ 525 w 10000"/>
                <a:gd name="connsiteY127" fmla="*/ 7174 h 10000"/>
                <a:gd name="connsiteX128" fmla="*/ 581 w 10000"/>
                <a:gd name="connsiteY128" fmla="*/ 7196 h 10000"/>
                <a:gd name="connsiteX129" fmla="*/ 644 w 10000"/>
                <a:gd name="connsiteY129" fmla="*/ 6992 h 10000"/>
                <a:gd name="connsiteX130" fmla="*/ 820 w 10000"/>
                <a:gd name="connsiteY130" fmla="*/ 7174 h 10000"/>
                <a:gd name="connsiteX131" fmla="*/ 1283 w 10000"/>
                <a:gd name="connsiteY131" fmla="*/ 7163 h 10000"/>
                <a:gd name="connsiteX132" fmla="*/ 1466 w 10000"/>
                <a:gd name="connsiteY132" fmla="*/ 7092 h 10000"/>
                <a:gd name="connsiteX133" fmla="*/ 1766 w 10000"/>
                <a:gd name="connsiteY133" fmla="*/ 7344 h 10000"/>
                <a:gd name="connsiteX134" fmla="*/ 1956 w 10000"/>
                <a:gd name="connsiteY134" fmla="*/ 7087 h 10000"/>
                <a:gd name="connsiteX135" fmla="*/ 2382 w 10000"/>
                <a:gd name="connsiteY135" fmla="*/ 6861 h 10000"/>
                <a:gd name="connsiteX136" fmla="*/ 2536 w 10000"/>
                <a:gd name="connsiteY136" fmla="*/ 6489 h 10000"/>
                <a:gd name="connsiteX137" fmla="*/ 2648 w 10000"/>
                <a:gd name="connsiteY137" fmla="*/ 6439 h 10000"/>
                <a:gd name="connsiteX138" fmla="*/ 2648 w 10000"/>
                <a:gd name="connsiteY138" fmla="*/ 6379 h 10000"/>
                <a:gd name="connsiteX139" fmla="*/ 2693 w 10000"/>
                <a:gd name="connsiteY139" fmla="*/ 6379 h 10000"/>
                <a:gd name="connsiteX140" fmla="*/ 2682 w 10000"/>
                <a:gd name="connsiteY140" fmla="*/ 6230 h 10000"/>
                <a:gd name="connsiteX141" fmla="*/ 2820 w 10000"/>
                <a:gd name="connsiteY141" fmla="*/ 6285 h 10000"/>
                <a:gd name="connsiteX142" fmla="*/ 2839 w 10000"/>
                <a:gd name="connsiteY142" fmla="*/ 6159 h 10000"/>
                <a:gd name="connsiteX143" fmla="*/ 2921 w 10000"/>
                <a:gd name="connsiteY143" fmla="*/ 6230 h 10000"/>
                <a:gd name="connsiteX144" fmla="*/ 2981 w 10000"/>
                <a:gd name="connsiteY144" fmla="*/ 6126 h 10000"/>
                <a:gd name="connsiteX145" fmla="*/ 3078 w 10000"/>
                <a:gd name="connsiteY145" fmla="*/ 6154 h 10000"/>
                <a:gd name="connsiteX146" fmla="*/ 3164 w 10000"/>
                <a:gd name="connsiteY146" fmla="*/ 6055 h 10000"/>
                <a:gd name="connsiteX147" fmla="*/ 3328 w 10000"/>
                <a:gd name="connsiteY147" fmla="*/ 6192 h 10000"/>
                <a:gd name="connsiteX148" fmla="*/ 3411 w 10000"/>
                <a:gd name="connsiteY148" fmla="*/ 6197 h 10000"/>
                <a:gd name="connsiteX149" fmla="*/ 3437 w 10000"/>
                <a:gd name="connsiteY149" fmla="*/ 6307 h 10000"/>
                <a:gd name="connsiteX150" fmla="*/ 3591 w 10000"/>
                <a:gd name="connsiteY150" fmla="*/ 6236 h 10000"/>
                <a:gd name="connsiteX151" fmla="*/ 3576 w 10000"/>
                <a:gd name="connsiteY151" fmla="*/ 6357 h 10000"/>
                <a:gd name="connsiteX152" fmla="*/ 3632 w 10000"/>
                <a:gd name="connsiteY152" fmla="*/ 6341 h 10000"/>
                <a:gd name="connsiteX153" fmla="*/ 3699 w 10000"/>
                <a:gd name="connsiteY153" fmla="*/ 6428 h 10000"/>
                <a:gd name="connsiteX154" fmla="*/ 3703 w 10000"/>
                <a:gd name="connsiteY154" fmla="*/ 6301 h 10000"/>
                <a:gd name="connsiteX155" fmla="*/ 3882 w 10000"/>
                <a:gd name="connsiteY155" fmla="*/ 6341 h 10000"/>
                <a:gd name="connsiteX156" fmla="*/ 3946 w 10000"/>
                <a:gd name="connsiteY156" fmla="*/ 6511 h 10000"/>
                <a:gd name="connsiteX157" fmla="*/ 4047 w 10000"/>
                <a:gd name="connsiteY157" fmla="*/ 6494 h 10000"/>
                <a:gd name="connsiteX158" fmla="*/ 4091 w 10000"/>
                <a:gd name="connsiteY158" fmla="*/ 6417 h 10000"/>
                <a:gd name="connsiteX159" fmla="*/ 4192 w 10000"/>
                <a:gd name="connsiteY159" fmla="*/ 6735 h 10000"/>
                <a:gd name="connsiteX160" fmla="*/ 4155 w 10000"/>
                <a:gd name="connsiteY160" fmla="*/ 6987 h 10000"/>
                <a:gd name="connsiteX161" fmla="*/ 4207 w 10000"/>
                <a:gd name="connsiteY161" fmla="*/ 7114 h 10000"/>
                <a:gd name="connsiteX162" fmla="*/ 4278 w 10000"/>
                <a:gd name="connsiteY162" fmla="*/ 7119 h 10000"/>
                <a:gd name="connsiteX163" fmla="*/ 4387 w 10000"/>
                <a:gd name="connsiteY163" fmla="*/ 7256 h 10000"/>
                <a:gd name="connsiteX164" fmla="*/ 4431 w 10000"/>
                <a:gd name="connsiteY164" fmla="*/ 7152 h 10000"/>
                <a:gd name="connsiteX165" fmla="*/ 4480 w 10000"/>
                <a:gd name="connsiteY165" fmla="*/ 7322 h 10000"/>
                <a:gd name="connsiteX166" fmla="*/ 4541 w 10000"/>
                <a:gd name="connsiteY166" fmla="*/ 7662 h 10000"/>
                <a:gd name="connsiteX167" fmla="*/ 4720 w 10000"/>
                <a:gd name="connsiteY167" fmla="*/ 7739 h 10000"/>
                <a:gd name="connsiteX168" fmla="*/ 4761 w 10000"/>
                <a:gd name="connsiteY168" fmla="*/ 8183 h 10000"/>
                <a:gd name="connsiteX169" fmla="*/ 4914 w 10000"/>
                <a:gd name="connsiteY169" fmla="*/ 8276 h 10000"/>
                <a:gd name="connsiteX170" fmla="*/ 4757 w 10000"/>
                <a:gd name="connsiteY170" fmla="*/ 8370 h 10000"/>
                <a:gd name="connsiteX171" fmla="*/ 4705 w 10000"/>
                <a:gd name="connsiteY171" fmla="*/ 8260 h 10000"/>
                <a:gd name="connsiteX172" fmla="*/ 4645 w 10000"/>
                <a:gd name="connsiteY172" fmla="*/ 8403 h 10000"/>
                <a:gd name="connsiteX173" fmla="*/ 4491 w 10000"/>
                <a:gd name="connsiteY173" fmla="*/ 8287 h 10000"/>
                <a:gd name="connsiteX174" fmla="*/ 4405 w 10000"/>
                <a:gd name="connsiteY174" fmla="*/ 8452 h 10000"/>
                <a:gd name="connsiteX175" fmla="*/ 4226 w 10000"/>
                <a:gd name="connsiteY175" fmla="*/ 8331 h 10000"/>
                <a:gd name="connsiteX176" fmla="*/ 4312 w 10000"/>
                <a:gd name="connsiteY176" fmla="*/ 8699 h 10000"/>
                <a:gd name="connsiteX177" fmla="*/ 4304 w 10000"/>
                <a:gd name="connsiteY177" fmla="*/ 8967 h 10000"/>
                <a:gd name="connsiteX178" fmla="*/ 4189 w 10000"/>
                <a:gd name="connsiteY178" fmla="*/ 9088 h 10000"/>
                <a:gd name="connsiteX179" fmla="*/ 4226 w 10000"/>
                <a:gd name="connsiteY179" fmla="*/ 9193 h 10000"/>
                <a:gd name="connsiteX180" fmla="*/ 4065 w 10000"/>
                <a:gd name="connsiteY180" fmla="*/ 9412 h 10000"/>
                <a:gd name="connsiteX181" fmla="*/ 4129 w 10000"/>
                <a:gd name="connsiteY181" fmla="*/ 9647 h 10000"/>
                <a:gd name="connsiteX182" fmla="*/ 3972 w 10000"/>
                <a:gd name="connsiteY182" fmla="*/ 9681 h 10000"/>
                <a:gd name="connsiteX183" fmla="*/ 3931 w 10000"/>
                <a:gd name="connsiteY183" fmla="*/ 9741 h 10000"/>
                <a:gd name="connsiteX184" fmla="*/ 3998 w 10000"/>
                <a:gd name="connsiteY184" fmla="*/ 9785 h 10000"/>
                <a:gd name="connsiteX185" fmla="*/ 4118 w 10000"/>
                <a:gd name="connsiteY185" fmla="*/ 9944 h 10000"/>
                <a:gd name="connsiteX186" fmla="*/ 4312 w 10000"/>
                <a:gd name="connsiteY186" fmla="*/ 9999 h 10000"/>
                <a:gd name="connsiteX187" fmla="*/ 4319 w 10000"/>
                <a:gd name="connsiteY187" fmla="*/ 9851 h 10000"/>
                <a:gd name="connsiteX188" fmla="*/ 4387 w 10000"/>
                <a:gd name="connsiteY188" fmla="*/ 9856 h 10000"/>
                <a:gd name="connsiteX189" fmla="*/ 4675 w 10000"/>
                <a:gd name="connsiteY189" fmla="*/ 9603 h 10000"/>
                <a:gd name="connsiteX190" fmla="*/ 4866 w 10000"/>
                <a:gd name="connsiteY190" fmla="*/ 9845 h 10000"/>
                <a:gd name="connsiteX191" fmla="*/ 4866 w 10000"/>
                <a:gd name="connsiteY191" fmla="*/ 9862 h 10000"/>
                <a:gd name="connsiteX192" fmla="*/ 4896 w 10000"/>
                <a:gd name="connsiteY192" fmla="*/ 9703 h 10000"/>
                <a:gd name="connsiteX193" fmla="*/ 4843 w 10000"/>
                <a:gd name="connsiteY193" fmla="*/ 9570 h 10000"/>
                <a:gd name="connsiteX194" fmla="*/ 4776 w 10000"/>
                <a:gd name="connsiteY194" fmla="*/ 9549 h 10000"/>
                <a:gd name="connsiteX195" fmla="*/ 4821 w 10000"/>
                <a:gd name="connsiteY195" fmla="*/ 9466 h 10000"/>
                <a:gd name="connsiteX196" fmla="*/ 4806 w 10000"/>
                <a:gd name="connsiteY196" fmla="*/ 9444 h 10000"/>
                <a:gd name="connsiteX197" fmla="*/ 4750 w 10000"/>
                <a:gd name="connsiteY197" fmla="*/ 9439 h 10000"/>
                <a:gd name="connsiteX198" fmla="*/ 4720 w 10000"/>
                <a:gd name="connsiteY198" fmla="*/ 9121 h 10000"/>
                <a:gd name="connsiteX199" fmla="*/ 4761 w 10000"/>
                <a:gd name="connsiteY199" fmla="*/ 9105 h 10000"/>
                <a:gd name="connsiteX200" fmla="*/ 4783 w 10000"/>
                <a:gd name="connsiteY200" fmla="*/ 9253 h 10000"/>
                <a:gd name="connsiteX201" fmla="*/ 4836 w 10000"/>
                <a:gd name="connsiteY201" fmla="*/ 9384 h 10000"/>
                <a:gd name="connsiteX202" fmla="*/ 4881 w 10000"/>
                <a:gd name="connsiteY202" fmla="*/ 9302 h 10000"/>
                <a:gd name="connsiteX203" fmla="*/ 4869 w 10000"/>
                <a:gd name="connsiteY203" fmla="*/ 9220 h 10000"/>
                <a:gd name="connsiteX204" fmla="*/ 4940 w 10000"/>
                <a:gd name="connsiteY204" fmla="*/ 9203 h 10000"/>
                <a:gd name="connsiteX205" fmla="*/ 4903 w 10000"/>
                <a:gd name="connsiteY205" fmla="*/ 9034 h 10000"/>
                <a:gd name="connsiteX206" fmla="*/ 5000 w 10000"/>
                <a:gd name="connsiteY206" fmla="*/ 9061 h 10000"/>
                <a:gd name="connsiteX207" fmla="*/ 5004 w 10000"/>
                <a:gd name="connsiteY207" fmla="*/ 8972 h 10000"/>
                <a:gd name="connsiteX208" fmla="*/ 5041 w 10000"/>
                <a:gd name="connsiteY208" fmla="*/ 9039 h 10000"/>
                <a:gd name="connsiteX209" fmla="*/ 5206 w 10000"/>
                <a:gd name="connsiteY209" fmla="*/ 8781 h 10000"/>
                <a:gd name="connsiteX210" fmla="*/ 5112 w 10000"/>
                <a:gd name="connsiteY210" fmla="*/ 8584 h 10000"/>
                <a:gd name="connsiteX211" fmla="*/ 4937 w 10000"/>
                <a:gd name="connsiteY211" fmla="*/ 8425 h 10000"/>
                <a:gd name="connsiteX212" fmla="*/ 5037 w 10000"/>
                <a:gd name="connsiteY212" fmla="*/ 8370 h 10000"/>
                <a:gd name="connsiteX213" fmla="*/ 5183 w 10000"/>
                <a:gd name="connsiteY213" fmla="*/ 8633 h 10000"/>
                <a:gd name="connsiteX214" fmla="*/ 5292 w 10000"/>
                <a:gd name="connsiteY214" fmla="*/ 8199 h 10000"/>
                <a:gd name="connsiteX215" fmla="*/ 5299 w 10000"/>
                <a:gd name="connsiteY215" fmla="*/ 8030 h 10000"/>
                <a:gd name="connsiteX216" fmla="*/ 5482 w 10000"/>
                <a:gd name="connsiteY216" fmla="*/ 7942 h 10000"/>
                <a:gd name="connsiteX217" fmla="*/ 5550 w 10000"/>
                <a:gd name="connsiteY217" fmla="*/ 7607 h 10000"/>
                <a:gd name="connsiteX218" fmla="*/ 5561 w 10000"/>
                <a:gd name="connsiteY218" fmla="*/ 7734 h 10000"/>
                <a:gd name="connsiteX219" fmla="*/ 5677 w 10000"/>
                <a:gd name="connsiteY219" fmla="*/ 7596 h 10000"/>
                <a:gd name="connsiteX220" fmla="*/ 5759 w 10000"/>
                <a:gd name="connsiteY220" fmla="*/ 7579 h 10000"/>
                <a:gd name="connsiteX221" fmla="*/ 5842 w 10000"/>
                <a:gd name="connsiteY221" fmla="*/ 7207 h 10000"/>
                <a:gd name="connsiteX222" fmla="*/ 5916 w 10000"/>
                <a:gd name="connsiteY222" fmla="*/ 7486 h 10000"/>
                <a:gd name="connsiteX223" fmla="*/ 6137 w 10000"/>
                <a:gd name="connsiteY223" fmla="*/ 7563 h 10000"/>
                <a:gd name="connsiteX224" fmla="*/ 5969 w 10000"/>
                <a:gd name="connsiteY224" fmla="*/ 7618 h 10000"/>
                <a:gd name="connsiteX225" fmla="*/ 5954 w 10000"/>
                <a:gd name="connsiteY225" fmla="*/ 7679 h 10000"/>
                <a:gd name="connsiteX226" fmla="*/ 5786 w 10000"/>
                <a:gd name="connsiteY226" fmla="*/ 7690 h 10000"/>
                <a:gd name="connsiteX227" fmla="*/ 5700 w 10000"/>
                <a:gd name="connsiteY227" fmla="*/ 7723 h 10000"/>
                <a:gd name="connsiteX228" fmla="*/ 5767 w 10000"/>
                <a:gd name="connsiteY228" fmla="*/ 7772 h 10000"/>
                <a:gd name="connsiteX229" fmla="*/ 5827 w 10000"/>
                <a:gd name="connsiteY229" fmla="*/ 7756 h 10000"/>
                <a:gd name="connsiteX230" fmla="*/ 5991 w 10000"/>
                <a:gd name="connsiteY230" fmla="*/ 7789 h 10000"/>
                <a:gd name="connsiteX231" fmla="*/ 5804 w 10000"/>
                <a:gd name="connsiteY231" fmla="*/ 7964 h 10000"/>
                <a:gd name="connsiteX232" fmla="*/ 5872 w 10000"/>
                <a:gd name="connsiteY232" fmla="*/ 8008 h 10000"/>
                <a:gd name="connsiteX233" fmla="*/ 6043 w 10000"/>
                <a:gd name="connsiteY233" fmla="*/ 7958 h 10000"/>
                <a:gd name="connsiteX234" fmla="*/ 6275 w 10000"/>
                <a:gd name="connsiteY234" fmla="*/ 8101 h 10000"/>
                <a:gd name="connsiteX235" fmla="*/ 6575 w 10000"/>
                <a:gd name="connsiteY235" fmla="*/ 7909 h 10000"/>
                <a:gd name="connsiteX236" fmla="*/ 6870 w 10000"/>
                <a:gd name="connsiteY236" fmla="*/ 7887 h 10000"/>
                <a:gd name="connsiteX237" fmla="*/ 6915 w 10000"/>
                <a:gd name="connsiteY237" fmla="*/ 7745 h 10000"/>
                <a:gd name="connsiteX238" fmla="*/ 6993 w 10000"/>
                <a:gd name="connsiteY238" fmla="*/ 7958 h 10000"/>
                <a:gd name="connsiteX239" fmla="*/ 7075 w 10000"/>
                <a:gd name="connsiteY239" fmla="*/ 7986 h 10000"/>
                <a:gd name="connsiteX240" fmla="*/ 7045 w 10000"/>
                <a:gd name="connsiteY240" fmla="*/ 8134 h 10000"/>
                <a:gd name="connsiteX241" fmla="*/ 6788 w 10000"/>
                <a:gd name="connsiteY241" fmla="*/ 8281 h 10000"/>
                <a:gd name="connsiteX242" fmla="*/ 6769 w 10000"/>
                <a:gd name="connsiteY242" fmla="*/ 8386 h 10000"/>
                <a:gd name="connsiteX243" fmla="*/ 6627 w 10000"/>
                <a:gd name="connsiteY243" fmla="*/ 8523 h 10000"/>
                <a:gd name="connsiteX244" fmla="*/ 6623 w 10000"/>
                <a:gd name="connsiteY244" fmla="*/ 8649 h 10000"/>
                <a:gd name="connsiteX245" fmla="*/ 6537 w 10000"/>
                <a:gd name="connsiteY245" fmla="*/ 8704 h 10000"/>
                <a:gd name="connsiteX246" fmla="*/ 6428 w 10000"/>
                <a:gd name="connsiteY246" fmla="*/ 8989 h 10000"/>
                <a:gd name="connsiteX247" fmla="*/ 6582 w 10000"/>
                <a:gd name="connsiteY247" fmla="*/ 9001 h 10000"/>
                <a:gd name="connsiteX248" fmla="*/ 6672 w 10000"/>
                <a:gd name="connsiteY248" fmla="*/ 8879 h 10000"/>
                <a:gd name="connsiteX249" fmla="*/ 6769 w 10000"/>
                <a:gd name="connsiteY249" fmla="*/ 8912 h 10000"/>
                <a:gd name="connsiteX250" fmla="*/ 6814 w 10000"/>
                <a:gd name="connsiteY250" fmla="*/ 8786 h 10000"/>
                <a:gd name="connsiteX251" fmla="*/ 6877 w 10000"/>
                <a:gd name="connsiteY251" fmla="*/ 9001 h 10000"/>
                <a:gd name="connsiteX252" fmla="*/ 7060 w 10000"/>
                <a:gd name="connsiteY252" fmla="*/ 8994 h 10000"/>
                <a:gd name="connsiteX253" fmla="*/ 7217 w 10000"/>
                <a:gd name="connsiteY253" fmla="*/ 9362 h 10000"/>
                <a:gd name="connsiteX254" fmla="*/ 7232 w 10000"/>
                <a:gd name="connsiteY254" fmla="*/ 9675 h 10000"/>
                <a:gd name="connsiteX255" fmla="*/ 7176 w 10000"/>
                <a:gd name="connsiteY255" fmla="*/ 9692 h 10000"/>
                <a:gd name="connsiteX256" fmla="*/ 7187 w 10000"/>
                <a:gd name="connsiteY256" fmla="*/ 9780 h 10000"/>
                <a:gd name="connsiteX257" fmla="*/ 7423 w 10000"/>
                <a:gd name="connsiteY257" fmla="*/ 9900 h 10000"/>
                <a:gd name="connsiteX258" fmla="*/ 7741 w 10000"/>
                <a:gd name="connsiteY258" fmla="*/ 9565 h 10000"/>
                <a:gd name="connsiteX259" fmla="*/ 7879 w 10000"/>
                <a:gd name="connsiteY259" fmla="*/ 9176 h 10000"/>
                <a:gd name="connsiteX260" fmla="*/ 8107 w 10000"/>
                <a:gd name="connsiteY260" fmla="*/ 9023 h 10000"/>
                <a:gd name="connsiteX261" fmla="*/ 8182 w 10000"/>
                <a:gd name="connsiteY261" fmla="*/ 8841 h 10000"/>
                <a:gd name="connsiteX262" fmla="*/ 8268 w 10000"/>
                <a:gd name="connsiteY262" fmla="*/ 8786 h 10000"/>
                <a:gd name="connsiteX263" fmla="*/ 8320 w 10000"/>
                <a:gd name="connsiteY263" fmla="*/ 8512 h 10000"/>
                <a:gd name="connsiteX264" fmla="*/ 8542 w 10000"/>
                <a:gd name="connsiteY264" fmla="*/ 8617 h 10000"/>
                <a:gd name="connsiteX265" fmla="*/ 8672 w 10000"/>
                <a:gd name="connsiteY265" fmla="*/ 8474 h 10000"/>
                <a:gd name="connsiteX266" fmla="*/ 8855 w 10000"/>
                <a:gd name="connsiteY266" fmla="*/ 8343 h 10000"/>
                <a:gd name="connsiteX267" fmla="*/ 8781 w 10000"/>
                <a:gd name="connsiteY267" fmla="*/ 8128 h 10000"/>
                <a:gd name="connsiteX268" fmla="*/ 7708 w 10000"/>
                <a:gd name="connsiteY268" fmla="*/ 7991 h 10000"/>
                <a:gd name="connsiteX269" fmla="*/ 7682 w 10000"/>
                <a:gd name="connsiteY269" fmla="*/ 7904 h 10000"/>
                <a:gd name="connsiteX270" fmla="*/ 7607 w 10000"/>
                <a:gd name="connsiteY270" fmla="*/ 8002 h 10000"/>
                <a:gd name="connsiteX271" fmla="*/ 7715 w 10000"/>
                <a:gd name="connsiteY271" fmla="*/ 7761 h 10000"/>
                <a:gd name="connsiteX272" fmla="*/ 7674 w 10000"/>
                <a:gd name="connsiteY272" fmla="*/ 7717 h 10000"/>
                <a:gd name="connsiteX273" fmla="*/ 7554 w 10000"/>
                <a:gd name="connsiteY273" fmla="*/ 7915 h 10000"/>
                <a:gd name="connsiteX274" fmla="*/ 7618 w 10000"/>
                <a:gd name="connsiteY274" fmla="*/ 7712 h 10000"/>
                <a:gd name="connsiteX275" fmla="*/ 7532 w 10000"/>
                <a:gd name="connsiteY275" fmla="*/ 7767 h 10000"/>
                <a:gd name="connsiteX276" fmla="*/ 7419 w 10000"/>
                <a:gd name="connsiteY276" fmla="*/ 7717 h 10000"/>
                <a:gd name="connsiteX277" fmla="*/ 7333 w 10000"/>
                <a:gd name="connsiteY277" fmla="*/ 7794 h 10000"/>
                <a:gd name="connsiteX278" fmla="*/ 7240 w 10000"/>
                <a:gd name="connsiteY278" fmla="*/ 7728 h 10000"/>
                <a:gd name="connsiteX279" fmla="*/ 7087 w 10000"/>
                <a:gd name="connsiteY279" fmla="*/ 7717 h 10000"/>
                <a:gd name="connsiteX280" fmla="*/ 7090 w 10000"/>
                <a:gd name="connsiteY280" fmla="*/ 7547 h 10000"/>
                <a:gd name="connsiteX281" fmla="*/ 7229 w 10000"/>
                <a:gd name="connsiteY281" fmla="*/ 7662 h 10000"/>
                <a:gd name="connsiteX282" fmla="*/ 7273 w 10000"/>
                <a:gd name="connsiteY282" fmla="*/ 7541 h 10000"/>
                <a:gd name="connsiteX283" fmla="*/ 7236 w 10000"/>
                <a:gd name="connsiteY283" fmla="*/ 7410 h 10000"/>
                <a:gd name="connsiteX284" fmla="*/ 7341 w 10000"/>
                <a:gd name="connsiteY284" fmla="*/ 7547 h 10000"/>
                <a:gd name="connsiteX285" fmla="*/ 7483 w 10000"/>
                <a:gd name="connsiteY285" fmla="*/ 7536 h 10000"/>
                <a:gd name="connsiteX286" fmla="*/ 7506 w 10000"/>
                <a:gd name="connsiteY286" fmla="*/ 7685 h 10000"/>
                <a:gd name="connsiteX287" fmla="*/ 7547 w 10000"/>
                <a:gd name="connsiteY287" fmla="*/ 7685 h 10000"/>
                <a:gd name="connsiteX288" fmla="*/ 7558 w 10000"/>
                <a:gd name="connsiteY288" fmla="*/ 7415 h 10000"/>
                <a:gd name="connsiteX289" fmla="*/ 7607 w 10000"/>
                <a:gd name="connsiteY289" fmla="*/ 7585 h 10000"/>
                <a:gd name="connsiteX290" fmla="*/ 7693 w 10000"/>
                <a:gd name="connsiteY290" fmla="*/ 7590 h 10000"/>
                <a:gd name="connsiteX291" fmla="*/ 7629 w 10000"/>
                <a:gd name="connsiteY291" fmla="*/ 7333 h 10000"/>
                <a:gd name="connsiteX292" fmla="*/ 7786 w 10000"/>
                <a:gd name="connsiteY292" fmla="*/ 7240 h 10000"/>
                <a:gd name="connsiteX293" fmla="*/ 7779 w 10000"/>
                <a:gd name="connsiteY293" fmla="*/ 6987 h 10000"/>
                <a:gd name="connsiteX294" fmla="*/ 7887 w 10000"/>
                <a:gd name="connsiteY294" fmla="*/ 7081 h 10000"/>
                <a:gd name="connsiteX295" fmla="*/ 7906 w 10000"/>
                <a:gd name="connsiteY295" fmla="*/ 7015 h 10000"/>
                <a:gd name="connsiteX296" fmla="*/ 7775 w 10000"/>
                <a:gd name="connsiteY296" fmla="*/ 6735 h 10000"/>
                <a:gd name="connsiteX297" fmla="*/ 7950 w 10000"/>
                <a:gd name="connsiteY297" fmla="*/ 6894 h 10000"/>
                <a:gd name="connsiteX298" fmla="*/ 8171 w 10000"/>
                <a:gd name="connsiteY298" fmla="*/ 6511 h 10000"/>
                <a:gd name="connsiteX299" fmla="*/ 8384 w 10000"/>
                <a:gd name="connsiteY299" fmla="*/ 6483 h 10000"/>
                <a:gd name="connsiteX300" fmla="*/ 8429 w 10000"/>
                <a:gd name="connsiteY30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7569 w 10000"/>
                <a:gd name="connsiteY30" fmla="*/ 1873 h 10000"/>
                <a:gd name="connsiteX31" fmla="*/ 7165 w 10000"/>
                <a:gd name="connsiteY31" fmla="*/ 1996 h 10000"/>
                <a:gd name="connsiteX32" fmla="*/ 6892 w 10000"/>
                <a:gd name="connsiteY32" fmla="*/ 1827 h 10000"/>
                <a:gd name="connsiteX33" fmla="*/ 6922 w 10000"/>
                <a:gd name="connsiteY33" fmla="*/ 1728 h 10000"/>
                <a:gd name="connsiteX34" fmla="*/ 6765 w 10000"/>
                <a:gd name="connsiteY34" fmla="*/ 1398 h 10000"/>
                <a:gd name="connsiteX35" fmla="*/ 6799 w 10000"/>
                <a:gd name="connsiteY35" fmla="*/ 1256 h 10000"/>
                <a:gd name="connsiteX36" fmla="*/ 6728 w 10000"/>
                <a:gd name="connsiteY36" fmla="*/ 1229 h 10000"/>
                <a:gd name="connsiteX37" fmla="*/ 6657 w 10000"/>
                <a:gd name="connsiteY37" fmla="*/ 1311 h 10000"/>
                <a:gd name="connsiteX38" fmla="*/ 6593 w 10000"/>
                <a:gd name="connsiteY38" fmla="*/ 1114 h 10000"/>
                <a:gd name="connsiteX39" fmla="*/ 6391 w 10000"/>
                <a:gd name="connsiteY39" fmla="*/ 1311 h 10000"/>
                <a:gd name="connsiteX40" fmla="*/ 6309 w 10000"/>
                <a:gd name="connsiteY40" fmla="*/ 1223 h 10000"/>
                <a:gd name="connsiteX41" fmla="*/ 6126 w 10000"/>
                <a:gd name="connsiteY41" fmla="*/ 1273 h 10000"/>
                <a:gd name="connsiteX42" fmla="*/ 6144 w 10000"/>
                <a:gd name="connsiteY42" fmla="*/ 1125 h 10000"/>
                <a:gd name="connsiteX43" fmla="*/ 6073 w 10000"/>
                <a:gd name="connsiteY43" fmla="*/ 1119 h 10000"/>
                <a:gd name="connsiteX44" fmla="*/ 6040 w 10000"/>
                <a:gd name="connsiteY44" fmla="*/ 910 h 10000"/>
                <a:gd name="connsiteX45" fmla="*/ 5942 w 10000"/>
                <a:gd name="connsiteY45" fmla="*/ 795 h 10000"/>
                <a:gd name="connsiteX46" fmla="*/ 6144 w 10000"/>
                <a:gd name="connsiteY46" fmla="*/ 620 h 10000"/>
                <a:gd name="connsiteX47" fmla="*/ 5901 w 10000"/>
                <a:gd name="connsiteY47" fmla="*/ 395 h 10000"/>
                <a:gd name="connsiteX48" fmla="*/ 5853 w 10000"/>
                <a:gd name="connsiteY48" fmla="*/ 142 h 10000"/>
                <a:gd name="connsiteX49" fmla="*/ 5741 w 10000"/>
                <a:gd name="connsiteY49" fmla="*/ 110 h 10000"/>
                <a:gd name="connsiteX50" fmla="*/ 5647 w 10000"/>
                <a:gd name="connsiteY50" fmla="*/ 0 h 10000"/>
                <a:gd name="connsiteX51" fmla="*/ 5547 w 10000"/>
                <a:gd name="connsiteY51" fmla="*/ 120 h 10000"/>
                <a:gd name="connsiteX52" fmla="*/ 5377 w 10000"/>
                <a:gd name="connsiteY52" fmla="*/ 110 h 10000"/>
                <a:gd name="connsiteX53" fmla="*/ 5232 w 10000"/>
                <a:gd name="connsiteY53" fmla="*/ 351 h 10000"/>
                <a:gd name="connsiteX54" fmla="*/ 4952 w 10000"/>
                <a:gd name="connsiteY54" fmla="*/ 329 h 10000"/>
                <a:gd name="connsiteX55" fmla="*/ 4884 w 10000"/>
                <a:gd name="connsiteY55" fmla="*/ 680 h 10000"/>
                <a:gd name="connsiteX56" fmla="*/ 4701 w 10000"/>
                <a:gd name="connsiteY56" fmla="*/ 707 h 10000"/>
                <a:gd name="connsiteX57" fmla="*/ 4795 w 10000"/>
                <a:gd name="connsiteY57" fmla="*/ 844 h 10000"/>
                <a:gd name="connsiteX58" fmla="*/ 4739 w 10000"/>
                <a:gd name="connsiteY58" fmla="*/ 899 h 10000"/>
                <a:gd name="connsiteX59" fmla="*/ 4612 w 10000"/>
                <a:gd name="connsiteY59" fmla="*/ 894 h 10000"/>
                <a:gd name="connsiteX60" fmla="*/ 4439 w 10000"/>
                <a:gd name="connsiteY60" fmla="*/ 1026 h 10000"/>
                <a:gd name="connsiteX61" fmla="*/ 4252 w 10000"/>
                <a:gd name="connsiteY61" fmla="*/ 1668 h 10000"/>
                <a:gd name="connsiteX62" fmla="*/ 4308 w 10000"/>
                <a:gd name="connsiteY62" fmla="*/ 2090 h 10000"/>
                <a:gd name="connsiteX63" fmla="*/ 4121 w 10000"/>
                <a:gd name="connsiteY63" fmla="*/ 1865 h 10000"/>
                <a:gd name="connsiteX64" fmla="*/ 3849 w 10000"/>
                <a:gd name="connsiteY64" fmla="*/ 1991 h 10000"/>
                <a:gd name="connsiteX65" fmla="*/ 3822 w 10000"/>
                <a:gd name="connsiteY65" fmla="*/ 1931 h 10000"/>
                <a:gd name="connsiteX66" fmla="*/ 3695 w 10000"/>
                <a:gd name="connsiteY66" fmla="*/ 2002 h 10000"/>
                <a:gd name="connsiteX67" fmla="*/ 3621 w 10000"/>
                <a:gd name="connsiteY67" fmla="*/ 2144 h 10000"/>
                <a:gd name="connsiteX68" fmla="*/ 3561 w 10000"/>
                <a:gd name="connsiteY68" fmla="*/ 1909 h 10000"/>
                <a:gd name="connsiteX69" fmla="*/ 3478 w 10000"/>
                <a:gd name="connsiteY69" fmla="*/ 1843 h 10000"/>
                <a:gd name="connsiteX70" fmla="*/ 3444 w 10000"/>
                <a:gd name="connsiteY70" fmla="*/ 1964 h 10000"/>
                <a:gd name="connsiteX71" fmla="*/ 3332 w 10000"/>
                <a:gd name="connsiteY71" fmla="*/ 1996 h 10000"/>
                <a:gd name="connsiteX72" fmla="*/ 3272 w 10000"/>
                <a:gd name="connsiteY72" fmla="*/ 2161 h 10000"/>
                <a:gd name="connsiteX73" fmla="*/ 3235 w 10000"/>
                <a:gd name="connsiteY73" fmla="*/ 2013 h 10000"/>
                <a:gd name="connsiteX74" fmla="*/ 3123 w 10000"/>
                <a:gd name="connsiteY74" fmla="*/ 2024 h 10000"/>
                <a:gd name="connsiteX75" fmla="*/ 3078 w 10000"/>
                <a:gd name="connsiteY75" fmla="*/ 2128 h 10000"/>
                <a:gd name="connsiteX76" fmla="*/ 3011 w 10000"/>
                <a:gd name="connsiteY76" fmla="*/ 1975 h 10000"/>
                <a:gd name="connsiteX77" fmla="*/ 2895 w 10000"/>
                <a:gd name="connsiteY77" fmla="*/ 2117 h 10000"/>
                <a:gd name="connsiteX78" fmla="*/ 2783 w 10000"/>
                <a:gd name="connsiteY78" fmla="*/ 2106 h 10000"/>
                <a:gd name="connsiteX79" fmla="*/ 2779 w 10000"/>
                <a:gd name="connsiteY79" fmla="*/ 2276 h 10000"/>
                <a:gd name="connsiteX80" fmla="*/ 2727 w 10000"/>
                <a:gd name="connsiteY80" fmla="*/ 2144 h 10000"/>
                <a:gd name="connsiteX81" fmla="*/ 2559 w 10000"/>
                <a:gd name="connsiteY81" fmla="*/ 2155 h 10000"/>
                <a:gd name="connsiteX82" fmla="*/ 2438 w 10000"/>
                <a:gd name="connsiteY82" fmla="*/ 1980 h 10000"/>
                <a:gd name="connsiteX83" fmla="*/ 2293 w 10000"/>
                <a:gd name="connsiteY83" fmla="*/ 2073 h 10000"/>
                <a:gd name="connsiteX84" fmla="*/ 2143 w 10000"/>
                <a:gd name="connsiteY84" fmla="*/ 1958 h 10000"/>
                <a:gd name="connsiteX85" fmla="*/ 2057 w 10000"/>
                <a:gd name="connsiteY85" fmla="*/ 2035 h 10000"/>
                <a:gd name="connsiteX86" fmla="*/ 1975 w 10000"/>
                <a:gd name="connsiteY86" fmla="*/ 1947 h 10000"/>
                <a:gd name="connsiteX87" fmla="*/ 1852 w 10000"/>
                <a:gd name="connsiteY87" fmla="*/ 1936 h 10000"/>
                <a:gd name="connsiteX88" fmla="*/ 1669 w 10000"/>
                <a:gd name="connsiteY88" fmla="*/ 1925 h 10000"/>
                <a:gd name="connsiteX89" fmla="*/ 1444 w 10000"/>
                <a:gd name="connsiteY89" fmla="*/ 1991 h 10000"/>
                <a:gd name="connsiteX90" fmla="*/ 1205 w 10000"/>
                <a:gd name="connsiteY90" fmla="*/ 2062 h 10000"/>
                <a:gd name="connsiteX91" fmla="*/ 921 w 10000"/>
                <a:gd name="connsiteY91" fmla="*/ 2166 h 10000"/>
                <a:gd name="connsiteX92" fmla="*/ 797 w 10000"/>
                <a:gd name="connsiteY92" fmla="*/ 2496 h 10000"/>
                <a:gd name="connsiteX93" fmla="*/ 603 w 10000"/>
                <a:gd name="connsiteY93" fmla="*/ 2501 h 10000"/>
                <a:gd name="connsiteX94" fmla="*/ 540 w 10000"/>
                <a:gd name="connsiteY94" fmla="*/ 2687 h 10000"/>
                <a:gd name="connsiteX95" fmla="*/ 558 w 10000"/>
                <a:gd name="connsiteY95" fmla="*/ 2764 h 10000"/>
                <a:gd name="connsiteX96" fmla="*/ 577 w 10000"/>
                <a:gd name="connsiteY96" fmla="*/ 2868 h 10000"/>
                <a:gd name="connsiteX97" fmla="*/ 577 w 10000"/>
                <a:gd name="connsiteY97" fmla="*/ 2868 h 10000"/>
                <a:gd name="connsiteX98" fmla="*/ 577 w 10000"/>
                <a:gd name="connsiteY98" fmla="*/ 2896 h 10000"/>
                <a:gd name="connsiteX99" fmla="*/ 682 w 10000"/>
                <a:gd name="connsiteY99" fmla="*/ 3116 h 10000"/>
                <a:gd name="connsiteX100" fmla="*/ 786 w 10000"/>
                <a:gd name="connsiteY100" fmla="*/ 3351 h 10000"/>
                <a:gd name="connsiteX101" fmla="*/ 921 w 10000"/>
                <a:gd name="connsiteY101" fmla="*/ 3488 h 10000"/>
                <a:gd name="connsiteX102" fmla="*/ 876 w 10000"/>
                <a:gd name="connsiteY102" fmla="*/ 3548 h 10000"/>
                <a:gd name="connsiteX103" fmla="*/ 805 w 10000"/>
                <a:gd name="connsiteY103" fmla="*/ 3603 h 10000"/>
                <a:gd name="connsiteX104" fmla="*/ 887 w 10000"/>
                <a:gd name="connsiteY104" fmla="*/ 3697 h 10000"/>
                <a:gd name="connsiteX105" fmla="*/ 876 w 10000"/>
                <a:gd name="connsiteY105" fmla="*/ 4053 h 10000"/>
                <a:gd name="connsiteX106" fmla="*/ 693 w 10000"/>
                <a:gd name="connsiteY106" fmla="*/ 4124 h 10000"/>
                <a:gd name="connsiteX107" fmla="*/ 498 w 10000"/>
                <a:gd name="connsiteY107" fmla="*/ 4531 h 10000"/>
                <a:gd name="connsiteX108" fmla="*/ 371 w 10000"/>
                <a:gd name="connsiteY108" fmla="*/ 4936 h 10000"/>
                <a:gd name="connsiteX109" fmla="*/ 195 w 10000"/>
                <a:gd name="connsiteY109" fmla="*/ 5260 h 10000"/>
                <a:gd name="connsiteX110" fmla="*/ 270 w 10000"/>
                <a:gd name="connsiteY110" fmla="*/ 5517 h 10000"/>
                <a:gd name="connsiteX111" fmla="*/ 277 w 10000"/>
                <a:gd name="connsiteY111" fmla="*/ 5732 h 10000"/>
                <a:gd name="connsiteX112" fmla="*/ 400 w 10000"/>
                <a:gd name="connsiteY112" fmla="*/ 5841 h 10000"/>
                <a:gd name="connsiteX113" fmla="*/ 382 w 10000"/>
                <a:gd name="connsiteY113" fmla="*/ 5945 h 10000"/>
                <a:gd name="connsiteX114" fmla="*/ 202 w 10000"/>
                <a:gd name="connsiteY114" fmla="*/ 5852 h 10000"/>
                <a:gd name="connsiteX115" fmla="*/ 124 w 10000"/>
                <a:gd name="connsiteY115" fmla="*/ 6099 h 10000"/>
                <a:gd name="connsiteX116" fmla="*/ 105 w 10000"/>
                <a:gd name="connsiteY116" fmla="*/ 6346 h 10000"/>
                <a:gd name="connsiteX117" fmla="*/ 1 w 10000"/>
                <a:gd name="connsiteY117" fmla="*/ 6571 h 10000"/>
                <a:gd name="connsiteX118" fmla="*/ 19 w 10000"/>
                <a:gd name="connsiteY118" fmla="*/ 6779 h 10000"/>
                <a:gd name="connsiteX119" fmla="*/ 90 w 10000"/>
                <a:gd name="connsiteY119" fmla="*/ 6828 h 10000"/>
                <a:gd name="connsiteX120" fmla="*/ 154 w 10000"/>
                <a:gd name="connsiteY120" fmla="*/ 6960 h 10000"/>
                <a:gd name="connsiteX121" fmla="*/ 240 w 10000"/>
                <a:gd name="connsiteY121" fmla="*/ 6943 h 10000"/>
                <a:gd name="connsiteX122" fmla="*/ 292 w 10000"/>
                <a:gd name="connsiteY122" fmla="*/ 7076 h 10000"/>
                <a:gd name="connsiteX123" fmla="*/ 445 w 10000"/>
                <a:gd name="connsiteY123" fmla="*/ 7103 h 10000"/>
                <a:gd name="connsiteX124" fmla="*/ 453 w 10000"/>
                <a:gd name="connsiteY124" fmla="*/ 7251 h 10000"/>
                <a:gd name="connsiteX125" fmla="*/ 494 w 10000"/>
                <a:gd name="connsiteY125" fmla="*/ 7278 h 10000"/>
                <a:gd name="connsiteX126" fmla="*/ 525 w 10000"/>
                <a:gd name="connsiteY126" fmla="*/ 7174 h 10000"/>
                <a:gd name="connsiteX127" fmla="*/ 581 w 10000"/>
                <a:gd name="connsiteY127" fmla="*/ 7196 h 10000"/>
                <a:gd name="connsiteX128" fmla="*/ 644 w 10000"/>
                <a:gd name="connsiteY128" fmla="*/ 6992 h 10000"/>
                <a:gd name="connsiteX129" fmla="*/ 820 w 10000"/>
                <a:gd name="connsiteY129" fmla="*/ 7174 h 10000"/>
                <a:gd name="connsiteX130" fmla="*/ 1283 w 10000"/>
                <a:gd name="connsiteY130" fmla="*/ 7163 h 10000"/>
                <a:gd name="connsiteX131" fmla="*/ 1466 w 10000"/>
                <a:gd name="connsiteY131" fmla="*/ 7092 h 10000"/>
                <a:gd name="connsiteX132" fmla="*/ 1766 w 10000"/>
                <a:gd name="connsiteY132" fmla="*/ 7344 h 10000"/>
                <a:gd name="connsiteX133" fmla="*/ 1956 w 10000"/>
                <a:gd name="connsiteY133" fmla="*/ 7087 h 10000"/>
                <a:gd name="connsiteX134" fmla="*/ 2382 w 10000"/>
                <a:gd name="connsiteY134" fmla="*/ 6861 h 10000"/>
                <a:gd name="connsiteX135" fmla="*/ 2536 w 10000"/>
                <a:gd name="connsiteY135" fmla="*/ 6489 h 10000"/>
                <a:gd name="connsiteX136" fmla="*/ 2648 w 10000"/>
                <a:gd name="connsiteY136" fmla="*/ 6439 h 10000"/>
                <a:gd name="connsiteX137" fmla="*/ 2648 w 10000"/>
                <a:gd name="connsiteY137" fmla="*/ 6379 h 10000"/>
                <a:gd name="connsiteX138" fmla="*/ 2693 w 10000"/>
                <a:gd name="connsiteY138" fmla="*/ 6379 h 10000"/>
                <a:gd name="connsiteX139" fmla="*/ 2682 w 10000"/>
                <a:gd name="connsiteY139" fmla="*/ 6230 h 10000"/>
                <a:gd name="connsiteX140" fmla="*/ 2820 w 10000"/>
                <a:gd name="connsiteY140" fmla="*/ 6285 h 10000"/>
                <a:gd name="connsiteX141" fmla="*/ 2839 w 10000"/>
                <a:gd name="connsiteY141" fmla="*/ 6159 h 10000"/>
                <a:gd name="connsiteX142" fmla="*/ 2921 w 10000"/>
                <a:gd name="connsiteY142" fmla="*/ 6230 h 10000"/>
                <a:gd name="connsiteX143" fmla="*/ 2981 w 10000"/>
                <a:gd name="connsiteY143" fmla="*/ 6126 h 10000"/>
                <a:gd name="connsiteX144" fmla="*/ 3078 w 10000"/>
                <a:gd name="connsiteY144" fmla="*/ 6154 h 10000"/>
                <a:gd name="connsiteX145" fmla="*/ 3164 w 10000"/>
                <a:gd name="connsiteY145" fmla="*/ 6055 h 10000"/>
                <a:gd name="connsiteX146" fmla="*/ 3328 w 10000"/>
                <a:gd name="connsiteY146" fmla="*/ 6192 h 10000"/>
                <a:gd name="connsiteX147" fmla="*/ 3411 w 10000"/>
                <a:gd name="connsiteY147" fmla="*/ 6197 h 10000"/>
                <a:gd name="connsiteX148" fmla="*/ 3437 w 10000"/>
                <a:gd name="connsiteY148" fmla="*/ 6307 h 10000"/>
                <a:gd name="connsiteX149" fmla="*/ 3591 w 10000"/>
                <a:gd name="connsiteY149" fmla="*/ 6236 h 10000"/>
                <a:gd name="connsiteX150" fmla="*/ 3576 w 10000"/>
                <a:gd name="connsiteY150" fmla="*/ 6357 h 10000"/>
                <a:gd name="connsiteX151" fmla="*/ 3632 w 10000"/>
                <a:gd name="connsiteY151" fmla="*/ 6341 h 10000"/>
                <a:gd name="connsiteX152" fmla="*/ 3699 w 10000"/>
                <a:gd name="connsiteY152" fmla="*/ 6428 h 10000"/>
                <a:gd name="connsiteX153" fmla="*/ 3703 w 10000"/>
                <a:gd name="connsiteY153" fmla="*/ 6301 h 10000"/>
                <a:gd name="connsiteX154" fmla="*/ 3882 w 10000"/>
                <a:gd name="connsiteY154" fmla="*/ 6341 h 10000"/>
                <a:gd name="connsiteX155" fmla="*/ 3946 w 10000"/>
                <a:gd name="connsiteY155" fmla="*/ 6511 h 10000"/>
                <a:gd name="connsiteX156" fmla="*/ 4047 w 10000"/>
                <a:gd name="connsiteY156" fmla="*/ 6494 h 10000"/>
                <a:gd name="connsiteX157" fmla="*/ 4091 w 10000"/>
                <a:gd name="connsiteY157" fmla="*/ 6417 h 10000"/>
                <a:gd name="connsiteX158" fmla="*/ 4192 w 10000"/>
                <a:gd name="connsiteY158" fmla="*/ 6735 h 10000"/>
                <a:gd name="connsiteX159" fmla="*/ 4155 w 10000"/>
                <a:gd name="connsiteY159" fmla="*/ 6987 h 10000"/>
                <a:gd name="connsiteX160" fmla="*/ 4207 w 10000"/>
                <a:gd name="connsiteY160" fmla="*/ 7114 h 10000"/>
                <a:gd name="connsiteX161" fmla="*/ 4278 w 10000"/>
                <a:gd name="connsiteY161" fmla="*/ 7119 h 10000"/>
                <a:gd name="connsiteX162" fmla="*/ 4387 w 10000"/>
                <a:gd name="connsiteY162" fmla="*/ 7256 h 10000"/>
                <a:gd name="connsiteX163" fmla="*/ 4431 w 10000"/>
                <a:gd name="connsiteY163" fmla="*/ 7152 h 10000"/>
                <a:gd name="connsiteX164" fmla="*/ 4480 w 10000"/>
                <a:gd name="connsiteY164" fmla="*/ 7322 h 10000"/>
                <a:gd name="connsiteX165" fmla="*/ 4541 w 10000"/>
                <a:gd name="connsiteY165" fmla="*/ 7662 h 10000"/>
                <a:gd name="connsiteX166" fmla="*/ 4720 w 10000"/>
                <a:gd name="connsiteY166" fmla="*/ 7739 h 10000"/>
                <a:gd name="connsiteX167" fmla="*/ 4761 w 10000"/>
                <a:gd name="connsiteY167" fmla="*/ 8183 h 10000"/>
                <a:gd name="connsiteX168" fmla="*/ 4914 w 10000"/>
                <a:gd name="connsiteY168" fmla="*/ 8276 h 10000"/>
                <a:gd name="connsiteX169" fmla="*/ 4757 w 10000"/>
                <a:gd name="connsiteY169" fmla="*/ 8370 h 10000"/>
                <a:gd name="connsiteX170" fmla="*/ 4705 w 10000"/>
                <a:gd name="connsiteY170" fmla="*/ 8260 h 10000"/>
                <a:gd name="connsiteX171" fmla="*/ 4645 w 10000"/>
                <a:gd name="connsiteY171" fmla="*/ 8403 h 10000"/>
                <a:gd name="connsiteX172" fmla="*/ 4491 w 10000"/>
                <a:gd name="connsiteY172" fmla="*/ 8287 h 10000"/>
                <a:gd name="connsiteX173" fmla="*/ 4405 w 10000"/>
                <a:gd name="connsiteY173" fmla="*/ 8452 h 10000"/>
                <a:gd name="connsiteX174" fmla="*/ 4226 w 10000"/>
                <a:gd name="connsiteY174" fmla="*/ 8331 h 10000"/>
                <a:gd name="connsiteX175" fmla="*/ 4312 w 10000"/>
                <a:gd name="connsiteY175" fmla="*/ 8699 h 10000"/>
                <a:gd name="connsiteX176" fmla="*/ 4304 w 10000"/>
                <a:gd name="connsiteY176" fmla="*/ 8967 h 10000"/>
                <a:gd name="connsiteX177" fmla="*/ 4189 w 10000"/>
                <a:gd name="connsiteY177" fmla="*/ 9088 h 10000"/>
                <a:gd name="connsiteX178" fmla="*/ 4226 w 10000"/>
                <a:gd name="connsiteY178" fmla="*/ 9193 h 10000"/>
                <a:gd name="connsiteX179" fmla="*/ 4065 w 10000"/>
                <a:gd name="connsiteY179" fmla="*/ 9412 h 10000"/>
                <a:gd name="connsiteX180" fmla="*/ 4129 w 10000"/>
                <a:gd name="connsiteY180" fmla="*/ 9647 h 10000"/>
                <a:gd name="connsiteX181" fmla="*/ 3972 w 10000"/>
                <a:gd name="connsiteY181" fmla="*/ 9681 h 10000"/>
                <a:gd name="connsiteX182" fmla="*/ 3931 w 10000"/>
                <a:gd name="connsiteY182" fmla="*/ 9741 h 10000"/>
                <a:gd name="connsiteX183" fmla="*/ 3998 w 10000"/>
                <a:gd name="connsiteY183" fmla="*/ 9785 h 10000"/>
                <a:gd name="connsiteX184" fmla="*/ 4118 w 10000"/>
                <a:gd name="connsiteY184" fmla="*/ 9944 h 10000"/>
                <a:gd name="connsiteX185" fmla="*/ 4312 w 10000"/>
                <a:gd name="connsiteY185" fmla="*/ 9999 h 10000"/>
                <a:gd name="connsiteX186" fmla="*/ 4319 w 10000"/>
                <a:gd name="connsiteY186" fmla="*/ 9851 h 10000"/>
                <a:gd name="connsiteX187" fmla="*/ 4387 w 10000"/>
                <a:gd name="connsiteY187" fmla="*/ 9856 h 10000"/>
                <a:gd name="connsiteX188" fmla="*/ 4675 w 10000"/>
                <a:gd name="connsiteY188" fmla="*/ 9603 h 10000"/>
                <a:gd name="connsiteX189" fmla="*/ 4866 w 10000"/>
                <a:gd name="connsiteY189" fmla="*/ 9845 h 10000"/>
                <a:gd name="connsiteX190" fmla="*/ 4866 w 10000"/>
                <a:gd name="connsiteY190" fmla="*/ 9862 h 10000"/>
                <a:gd name="connsiteX191" fmla="*/ 4896 w 10000"/>
                <a:gd name="connsiteY191" fmla="*/ 9703 h 10000"/>
                <a:gd name="connsiteX192" fmla="*/ 4843 w 10000"/>
                <a:gd name="connsiteY192" fmla="*/ 9570 h 10000"/>
                <a:gd name="connsiteX193" fmla="*/ 4776 w 10000"/>
                <a:gd name="connsiteY193" fmla="*/ 9549 h 10000"/>
                <a:gd name="connsiteX194" fmla="*/ 4821 w 10000"/>
                <a:gd name="connsiteY194" fmla="*/ 9466 h 10000"/>
                <a:gd name="connsiteX195" fmla="*/ 4806 w 10000"/>
                <a:gd name="connsiteY195" fmla="*/ 9444 h 10000"/>
                <a:gd name="connsiteX196" fmla="*/ 4750 w 10000"/>
                <a:gd name="connsiteY196" fmla="*/ 9439 h 10000"/>
                <a:gd name="connsiteX197" fmla="*/ 4720 w 10000"/>
                <a:gd name="connsiteY197" fmla="*/ 9121 h 10000"/>
                <a:gd name="connsiteX198" fmla="*/ 4761 w 10000"/>
                <a:gd name="connsiteY198" fmla="*/ 9105 h 10000"/>
                <a:gd name="connsiteX199" fmla="*/ 4783 w 10000"/>
                <a:gd name="connsiteY199" fmla="*/ 9253 h 10000"/>
                <a:gd name="connsiteX200" fmla="*/ 4836 w 10000"/>
                <a:gd name="connsiteY200" fmla="*/ 9384 h 10000"/>
                <a:gd name="connsiteX201" fmla="*/ 4881 w 10000"/>
                <a:gd name="connsiteY201" fmla="*/ 9302 h 10000"/>
                <a:gd name="connsiteX202" fmla="*/ 4869 w 10000"/>
                <a:gd name="connsiteY202" fmla="*/ 9220 h 10000"/>
                <a:gd name="connsiteX203" fmla="*/ 4940 w 10000"/>
                <a:gd name="connsiteY203" fmla="*/ 9203 h 10000"/>
                <a:gd name="connsiteX204" fmla="*/ 4903 w 10000"/>
                <a:gd name="connsiteY204" fmla="*/ 9034 h 10000"/>
                <a:gd name="connsiteX205" fmla="*/ 5000 w 10000"/>
                <a:gd name="connsiteY205" fmla="*/ 9061 h 10000"/>
                <a:gd name="connsiteX206" fmla="*/ 5004 w 10000"/>
                <a:gd name="connsiteY206" fmla="*/ 8972 h 10000"/>
                <a:gd name="connsiteX207" fmla="*/ 5041 w 10000"/>
                <a:gd name="connsiteY207" fmla="*/ 9039 h 10000"/>
                <a:gd name="connsiteX208" fmla="*/ 5206 w 10000"/>
                <a:gd name="connsiteY208" fmla="*/ 8781 h 10000"/>
                <a:gd name="connsiteX209" fmla="*/ 5112 w 10000"/>
                <a:gd name="connsiteY209" fmla="*/ 8584 h 10000"/>
                <a:gd name="connsiteX210" fmla="*/ 4937 w 10000"/>
                <a:gd name="connsiteY210" fmla="*/ 8425 h 10000"/>
                <a:gd name="connsiteX211" fmla="*/ 5037 w 10000"/>
                <a:gd name="connsiteY211" fmla="*/ 8370 h 10000"/>
                <a:gd name="connsiteX212" fmla="*/ 5183 w 10000"/>
                <a:gd name="connsiteY212" fmla="*/ 8633 h 10000"/>
                <a:gd name="connsiteX213" fmla="*/ 5292 w 10000"/>
                <a:gd name="connsiteY213" fmla="*/ 8199 h 10000"/>
                <a:gd name="connsiteX214" fmla="*/ 5299 w 10000"/>
                <a:gd name="connsiteY214" fmla="*/ 8030 h 10000"/>
                <a:gd name="connsiteX215" fmla="*/ 5482 w 10000"/>
                <a:gd name="connsiteY215" fmla="*/ 7942 h 10000"/>
                <a:gd name="connsiteX216" fmla="*/ 5550 w 10000"/>
                <a:gd name="connsiteY216" fmla="*/ 7607 h 10000"/>
                <a:gd name="connsiteX217" fmla="*/ 5561 w 10000"/>
                <a:gd name="connsiteY217" fmla="*/ 7734 h 10000"/>
                <a:gd name="connsiteX218" fmla="*/ 5677 w 10000"/>
                <a:gd name="connsiteY218" fmla="*/ 7596 h 10000"/>
                <a:gd name="connsiteX219" fmla="*/ 5759 w 10000"/>
                <a:gd name="connsiteY219" fmla="*/ 7579 h 10000"/>
                <a:gd name="connsiteX220" fmla="*/ 5842 w 10000"/>
                <a:gd name="connsiteY220" fmla="*/ 7207 h 10000"/>
                <a:gd name="connsiteX221" fmla="*/ 5916 w 10000"/>
                <a:gd name="connsiteY221" fmla="*/ 7486 h 10000"/>
                <a:gd name="connsiteX222" fmla="*/ 6137 w 10000"/>
                <a:gd name="connsiteY222" fmla="*/ 7563 h 10000"/>
                <a:gd name="connsiteX223" fmla="*/ 5969 w 10000"/>
                <a:gd name="connsiteY223" fmla="*/ 7618 h 10000"/>
                <a:gd name="connsiteX224" fmla="*/ 5954 w 10000"/>
                <a:gd name="connsiteY224" fmla="*/ 7679 h 10000"/>
                <a:gd name="connsiteX225" fmla="*/ 5786 w 10000"/>
                <a:gd name="connsiteY225" fmla="*/ 7690 h 10000"/>
                <a:gd name="connsiteX226" fmla="*/ 5700 w 10000"/>
                <a:gd name="connsiteY226" fmla="*/ 7723 h 10000"/>
                <a:gd name="connsiteX227" fmla="*/ 5767 w 10000"/>
                <a:gd name="connsiteY227" fmla="*/ 7772 h 10000"/>
                <a:gd name="connsiteX228" fmla="*/ 5827 w 10000"/>
                <a:gd name="connsiteY228" fmla="*/ 7756 h 10000"/>
                <a:gd name="connsiteX229" fmla="*/ 5991 w 10000"/>
                <a:gd name="connsiteY229" fmla="*/ 7789 h 10000"/>
                <a:gd name="connsiteX230" fmla="*/ 5804 w 10000"/>
                <a:gd name="connsiteY230" fmla="*/ 7964 h 10000"/>
                <a:gd name="connsiteX231" fmla="*/ 5872 w 10000"/>
                <a:gd name="connsiteY231" fmla="*/ 8008 h 10000"/>
                <a:gd name="connsiteX232" fmla="*/ 6043 w 10000"/>
                <a:gd name="connsiteY232" fmla="*/ 7958 h 10000"/>
                <a:gd name="connsiteX233" fmla="*/ 6275 w 10000"/>
                <a:gd name="connsiteY233" fmla="*/ 8101 h 10000"/>
                <a:gd name="connsiteX234" fmla="*/ 6575 w 10000"/>
                <a:gd name="connsiteY234" fmla="*/ 7909 h 10000"/>
                <a:gd name="connsiteX235" fmla="*/ 6870 w 10000"/>
                <a:gd name="connsiteY235" fmla="*/ 7887 h 10000"/>
                <a:gd name="connsiteX236" fmla="*/ 6915 w 10000"/>
                <a:gd name="connsiteY236" fmla="*/ 7745 h 10000"/>
                <a:gd name="connsiteX237" fmla="*/ 6993 w 10000"/>
                <a:gd name="connsiteY237" fmla="*/ 7958 h 10000"/>
                <a:gd name="connsiteX238" fmla="*/ 7075 w 10000"/>
                <a:gd name="connsiteY238" fmla="*/ 7986 h 10000"/>
                <a:gd name="connsiteX239" fmla="*/ 7045 w 10000"/>
                <a:gd name="connsiteY239" fmla="*/ 8134 h 10000"/>
                <a:gd name="connsiteX240" fmla="*/ 6788 w 10000"/>
                <a:gd name="connsiteY240" fmla="*/ 8281 h 10000"/>
                <a:gd name="connsiteX241" fmla="*/ 6769 w 10000"/>
                <a:gd name="connsiteY241" fmla="*/ 8386 h 10000"/>
                <a:gd name="connsiteX242" fmla="*/ 6627 w 10000"/>
                <a:gd name="connsiteY242" fmla="*/ 8523 h 10000"/>
                <a:gd name="connsiteX243" fmla="*/ 6623 w 10000"/>
                <a:gd name="connsiteY243" fmla="*/ 8649 h 10000"/>
                <a:gd name="connsiteX244" fmla="*/ 6537 w 10000"/>
                <a:gd name="connsiteY244" fmla="*/ 8704 h 10000"/>
                <a:gd name="connsiteX245" fmla="*/ 6428 w 10000"/>
                <a:gd name="connsiteY245" fmla="*/ 8989 h 10000"/>
                <a:gd name="connsiteX246" fmla="*/ 6582 w 10000"/>
                <a:gd name="connsiteY246" fmla="*/ 9001 h 10000"/>
                <a:gd name="connsiteX247" fmla="*/ 6672 w 10000"/>
                <a:gd name="connsiteY247" fmla="*/ 8879 h 10000"/>
                <a:gd name="connsiteX248" fmla="*/ 6769 w 10000"/>
                <a:gd name="connsiteY248" fmla="*/ 8912 h 10000"/>
                <a:gd name="connsiteX249" fmla="*/ 6814 w 10000"/>
                <a:gd name="connsiteY249" fmla="*/ 8786 h 10000"/>
                <a:gd name="connsiteX250" fmla="*/ 6877 w 10000"/>
                <a:gd name="connsiteY250" fmla="*/ 9001 h 10000"/>
                <a:gd name="connsiteX251" fmla="*/ 7060 w 10000"/>
                <a:gd name="connsiteY251" fmla="*/ 8994 h 10000"/>
                <a:gd name="connsiteX252" fmla="*/ 7217 w 10000"/>
                <a:gd name="connsiteY252" fmla="*/ 9362 h 10000"/>
                <a:gd name="connsiteX253" fmla="*/ 7232 w 10000"/>
                <a:gd name="connsiteY253" fmla="*/ 9675 h 10000"/>
                <a:gd name="connsiteX254" fmla="*/ 7176 w 10000"/>
                <a:gd name="connsiteY254" fmla="*/ 9692 h 10000"/>
                <a:gd name="connsiteX255" fmla="*/ 7187 w 10000"/>
                <a:gd name="connsiteY255" fmla="*/ 9780 h 10000"/>
                <a:gd name="connsiteX256" fmla="*/ 7423 w 10000"/>
                <a:gd name="connsiteY256" fmla="*/ 9900 h 10000"/>
                <a:gd name="connsiteX257" fmla="*/ 7741 w 10000"/>
                <a:gd name="connsiteY257" fmla="*/ 9565 h 10000"/>
                <a:gd name="connsiteX258" fmla="*/ 7879 w 10000"/>
                <a:gd name="connsiteY258" fmla="*/ 9176 h 10000"/>
                <a:gd name="connsiteX259" fmla="*/ 8107 w 10000"/>
                <a:gd name="connsiteY259" fmla="*/ 9023 h 10000"/>
                <a:gd name="connsiteX260" fmla="*/ 8182 w 10000"/>
                <a:gd name="connsiteY260" fmla="*/ 8841 h 10000"/>
                <a:gd name="connsiteX261" fmla="*/ 8268 w 10000"/>
                <a:gd name="connsiteY261" fmla="*/ 8786 h 10000"/>
                <a:gd name="connsiteX262" fmla="*/ 8320 w 10000"/>
                <a:gd name="connsiteY262" fmla="*/ 8512 h 10000"/>
                <a:gd name="connsiteX263" fmla="*/ 8542 w 10000"/>
                <a:gd name="connsiteY263" fmla="*/ 8617 h 10000"/>
                <a:gd name="connsiteX264" fmla="*/ 8672 w 10000"/>
                <a:gd name="connsiteY264" fmla="*/ 8474 h 10000"/>
                <a:gd name="connsiteX265" fmla="*/ 8855 w 10000"/>
                <a:gd name="connsiteY265" fmla="*/ 8343 h 10000"/>
                <a:gd name="connsiteX266" fmla="*/ 8781 w 10000"/>
                <a:gd name="connsiteY266" fmla="*/ 8128 h 10000"/>
                <a:gd name="connsiteX267" fmla="*/ 7708 w 10000"/>
                <a:gd name="connsiteY267" fmla="*/ 7991 h 10000"/>
                <a:gd name="connsiteX268" fmla="*/ 7682 w 10000"/>
                <a:gd name="connsiteY268" fmla="*/ 7904 h 10000"/>
                <a:gd name="connsiteX269" fmla="*/ 7607 w 10000"/>
                <a:gd name="connsiteY269" fmla="*/ 8002 h 10000"/>
                <a:gd name="connsiteX270" fmla="*/ 7715 w 10000"/>
                <a:gd name="connsiteY270" fmla="*/ 7761 h 10000"/>
                <a:gd name="connsiteX271" fmla="*/ 7674 w 10000"/>
                <a:gd name="connsiteY271" fmla="*/ 7717 h 10000"/>
                <a:gd name="connsiteX272" fmla="*/ 7554 w 10000"/>
                <a:gd name="connsiteY272" fmla="*/ 7915 h 10000"/>
                <a:gd name="connsiteX273" fmla="*/ 7618 w 10000"/>
                <a:gd name="connsiteY273" fmla="*/ 7712 h 10000"/>
                <a:gd name="connsiteX274" fmla="*/ 7532 w 10000"/>
                <a:gd name="connsiteY274" fmla="*/ 7767 h 10000"/>
                <a:gd name="connsiteX275" fmla="*/ 7419 w 10000"/>
                <a:gd name="connsiteY275" fmla="*/ 7717 h 10000"/>
                <a:gd name="connsiteX276" fmla="*/ 7333 w 10000"/>
                <a:gd name="connsiteY276" fmla="*/ 7794 h 10000"/>
                <a:gd name="connsiteX277" fmla="*/ 7240 w 10000"/>
                <a:gd name="connsiteY277" fmla="*/ 7728 h 10000"/>
                <a:gd name="connsiteX278" fmla="*/ 7087 w 10000"/>
                <a:gd name="connsiteY278" fmla="*/ 7717 h 10000"/>
                <a:gd name="connsiteX279" fmla="*/ 7090 w 10000"/>
                <a:gd name="connsiteY279" fmla="*/ 7547 h 10000"/>
                <a:gd name="connsiteX280" fmla="*/ 7229 w 10000"/>
                <a:gd name="connsiteY280" fmla="*/ 7662 h 10000"/>
                <a:gd name="connsiteX281" fmla="*/ 7273 w 10000"/>
                <a:gd name="connsiteY281" fmla="*/ 7541 h 10000"/>
                <a:gd name="connsiteX282" fmla="*/ 7236 w 10000"/>
                <a:gd name="connsiteY282" fmla="*/ 7410 h 10000"/>
                <a:gd name="connsiteX283" fmla="*/ 7341 w 10000"/>
                <a:gd name="connsiteY283" fmla="*/ 7547 h 10000"/>
                <a:gd name="connsiteX284" fmla="*/ 7483 w 10000"/>
                <a:gd name="connsiteY284" fmla="*/ 7536 h 10000"/>
                <a:gd name="connsiteX285" fmla="*/ 7506 w 10000"/>
                <a:gd name="connsiteY285" fmla="*/ 7685 h 10000"/>
                <a:gd name="connsiteX286" fmla="*/ 7547 w 10000"/>
                <a:gd name="connsiteY286" fmla="*/ 7685 h 10000"/>
                <a:gd name="connsiteX287" fmla="*/ 7558 w 10000"/>
                <a:gd name="connsiteY287" fmla="*/ 7415 h 10000"/>
                <a:gd name="connsiteX288" fmla="*/ 7607 w 10000"/>
                <a:gd name="connsiteY288" fmla="*/ 7585 h 10000"/>
                <a:gd name="connsiteX289" fmla="*/ 7693 w 10000"/>
                <a:gd name="connsiteY289" fmla="*/ 7590 h 10000"/>
                <a:gd name="connsiteX290" fmla="*/ 7629 w 10000"/>
                <a:gd name="connsiteY290" fmla="*/ 7333 h 10000"/>
                <a:gd name="connsiteX291" fmla="*/ 7786 w 10000"/>
                <a:gd name="connsiteY291" fmla="*/ 7240 h 10000"/>
                <a:gd name="connsiteX292" fmla="*/ 7779 w 10000"/>
                <a:gd name="connsiteY292" fmla="*/ 6987 h 10000"/>
                <a:gd name="connsiteX293" fmla="*/ 7887 w 10000"/>
                <a:gd name="connsiteY293" fmla="*/ 7081 h 10000"/>
                <a:gd name="connsiteX294" fmla="*/ 7906 w 10000"/>
                <a:gd name="connsiteY294" fmla="*/ 7015 h 10000"/>
                <a:gd name="connsiteX295" fmla="*/ 7775 w 10000"/>
                <a:gd name="connsiteY295" fmla="*/ 6735 h 10000"/>
                <a:gd name="connsiteX296" fmla="*/ 7950 w 10000"/>
                <a:gd name="connsiteY296" fmla="*/ 6894 h 10000"/>
                <a:gd name="connsiteX297" fmla="*/ 8171 w 10000"/>
                <a:gd name="connsiteY297" fmla="*/ 6511 h 10000"/>
                <a:gd name="connsiteX298" fmla="*/ 8384 w 10000"/>
                <a:gd name="connsiteY298" fmla="*/ 6483 h 10000"/>
                <a:gd name="connsiteX299" fmla="*/ 8429 w 10000"/>
                <a:gd name="connsiteY29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7569 w 10000"/>
                <a:gd name="connsiteY29" fmla="*/ 1873 h 10000"/>
                <a:gd name="connsiteX30" fmla="*/ 7165 w 10000"/>
                <a:gd name="connsiteY30" fmla="*/ 1996 h 10000"/>
                <a:gd name="connsiteX31" fmla="*/ 6892 w 10000"/>
                <a:gd name="connsiteY31" fmla="*/ 1827 h 10000"/>
                <a:gd name="connsiteX32" fmla="*/ 6922 w 10000"/>
                <a:gd name="connsiteY32" fmla="*/ 1728 h 10000"/>
                <a:gd name="connsiteX33" fmla="*/ 6765 w 10000"/>
                <a:gd name="connsiteY33" fmla="*/ 1398 h 10000"/>
                <a:gd name="connsiteX34" fmla="*/ 6799 w 10000"/>
                <a:gd name="connsiteY34" fmla="*/ 1256 h 10000"/>
                <a:gd name="connsiteX35" fmla="*/ 6728 w 10000"/>
                <a:gd name="connsiteY35" fmla="*/ 1229 h 10000"/>
                <a:gd name="connsiteX36" fmla="*/ 6657 w 10000"/>
                <a:gd name="connsiteY36" fmla="*/ 1311 h 10000"/>
                <a:gd name="connsiteX37" fmla="*/ 6593 w 10000"/>
                <a:gd name="connsiteY37" fmla="*/ 1114 h 10000"/>
                <a:gd name="connsiteX38" fmla="*/ 6391 w 10000"/>
                <a:gd name="connsiteY38" fmla="*/ 1311 h 10000"/>
                <a:gd name="connsiteX39" fmla="*/ 6309 w 10000"/>
                <a:gd name="connsiteY39" fmla="*/ 1223 h 10000"/>
                <a:gd name="connsiteX40" fmla="*/ 6126 w 10000"/>
                <a:gd name="connsiteY40" fmla="*/ 1273 h 10000"/>
                <a:gd name="connsiteX41" fmla="*/ 6144 w 10000"/>
                <a:gd name="connsiteY41" fmla="*/ 1125 h 10000"/>
                <a:gd name="connsiteX42" fmla="*/ 6073 w 10000"/>
                <a:gd name="connsiteY42" fmla="*/ 1119 h 10000"/>
                <a:gd name="connsiteX43" fmla="*/ 6040 w 10000"/>
                <a:gd name="connsiteY43" fmla="*/ 910 h 10000"/>
                <a:gd name="connsiteX44" fmla="*/ 5942 w 10000"/>
                <a:gd name="connsiteY44" fmla="*/ 795 h 10000"/>
                <a:gd name="connsiteX45" fmla="*/ 6144 w 10000"/>
                <a:gd name="connsiteY45" fmla="*/ 620 h 10000"/>
                <a:gd name="connsiteX46" fmla="*/ 5901 w 10000"/>
                <a:gd name="connsiteY46" fmla="*/ 395 h 10000"/>
                <a:gd name="connsiteX47" fmla="*/ 5853 w 10000"/>
                <a:gd name="connsiteY47" fmla="*/ 142 h 10000"/>
                <a:gd name="connsiteX48" fmla="*/ 5741 w 10000"/>
                <a:gd name="connsiteY48" fmla="*/ 110 h 10000"/>
                <a:gd name="connsiteX49" fmla="*/ 5647 w 10000"/>
                <a:gd name="connsiteY49" fmla="*/ 0 h 10000"/>
                <a:gd name="connsiteX50" fmla="*/ 5547 w 10000"/>
                <a:gd name="connsiteY50" fmla="*/ 120 h 10000"/>
                <a:gd name="connsiteX51" fmla="*/ 5377 w 10000"/>
                <a:gd name="connsiteY51" fmla="*/ 110 h 10000"/>
                <a:gd name="connsiteX52" fmla="*/ 5232 w 10000"/>
                <a:gd name="connsiteY52" fmla="*/ 351 h 10000"/>
                <a:gd name="connsiteX53" fmla="*/ 4952 w 10000"/>
                <a:gd name="connsiteY53" fmla="*/ 329 h 10000"/>
                <a:gd name="connsiteX54" fmla="*/ 4884 w 10000"/>
                <a:gd name="connsiteY54" fmla="*/ 680 h 10000"/>
                <a:gd name="connsiteX55" fmla="*/ 4701 w 10000"/>
                <a:gd name="connsiteY55" fmla="*/ 707 h 10000"/>
                <a:gd name="connsiteX56" fmla="*/ 4795 w 10000"/>
                <a:gd name="connsiteY56" fmla="*/ 844 h 10000"/>
                <a:gd name="connsiteX57" fmla="*/ 4739 w 10000"/>
                <a:gd name="connsiteY57" fmla="*/ 899 h 10000"/>
                <a:gd name="connsiteX58" fmla="*/ 4612 w 10000"/>
                <a:gd name="connsiteY58" fmla="*/ 894 h 10000"/>
                <a:gd name="connsiteX59" fmla="*/ 4439 w 10000"/>
                <a:gd name="connsiteY59" fmla="*/ 1026 h 10000"/>
                <a:gd name="connsiteX60" fmla="*/ 4252 w 10000"/>
                <a:gd name="connsiteY60" fmla="*/ 1668 h 10000"/>
                <a:gd name="connsiteX61" fmla="*/ 4308 w 10000"/>
                <a:gd name="connsiteY61" fmla="*/ 2090 h 10000"/>
                <a:gd name="connsiteX62" fmla="*/ 4121 w 10000"/>
                <a:gd name="connsiteY62" fmla="*/ 1865 h 10000"/>
                <a:gd name="connsiteX63" fmla="*/ 3849 w 10000"/>
                <a:gd name="connsiteY63" fmla="*/ 1991 h 10000"/>
                <a:gd name="connsiteX64" fmla="*/ 3822 w 10000"/>
                <a:gd name="connsiteY64" fmla="*/ 1931 h 10000"/>
                <a:gd name="connsiteX65" fmla="*/ 3695 w 10000"/>
                <a:gd name="connsiteY65" fmla="*/ 2002 h 10000"/>
                <a:gd name="connsiteX66" fmla="*/ 3621 w 10000"/>
                <a:gd name="connsiteY66" fmla="*/ 2144 h 10000"/>
                <a:gd name="connsiteX67" fmla="*/ 3561 w 10000"/>
                <a:gd name="connsiteY67" fmla="*/ 1909 h 10000"/>
                <a:gd name="connsiteX68" fmla="*/ 3478 w 10000"/>
                <a:gd name="connsiteY68" fmla="*/ 1843 h 10000"/>
                <a:gd name="connsiteX69" fmla="*/ 3444 w 10000"/>
                <a:gd name="connsiteY69" fmla="*/ 1964 h 10000"/>
                <a:gd name="connsiteX70" fmla="*/ 3332 w 10000"/>
                <a:gd name="connsiteY70" fmla="*/ 1996 h 10000"/>
                <a:gd name="connsiteX71" fmla="*/ 3272 w 10000"/>
                <a:gd name="connsiteY71" fmla="*/ 2161 h 10000"/>
                <a:gd name="connsiteX72" fmla="*/ 3235 w 10000"/>
                <a:gd name="connsiteY72" fmla="*/ 2013 h 10000"/>
                <a:gd name="connsiteX73" fmla="*/ 3123 w 10000"/>
                <a:gd name="connsiteY73" fmla="*/ 2024 h 10000"/>
                <a:gd name="connsiteX74" fmla="*/ 3078 w 10000"/>
                <a:gd name="connsiteY74" fmla="*/ 2128 h 10000"/>
                <a:gd name="connsiteX75" fmla="*/ 3011 w 10000"/>
                <a:gd name="connsiteY75" fmla="*/ 1975 h 10000"/>
                <a:gd name="connsiteX76" fmla="*/ 2895 w 10000"/>
                <a:gd name="connsiteY76" fmla="*/ 2117 h 10000"/>
                <a:gd name="connsiteX77" fmla="*/ 2783 w 10000"/>
                <a:gd name="connsiteY77" fmla="*/ 2106 h 10000"/>
                <a:gd name="connsiteX78" fmla="*/ 2779 w 10000"/>
                <a:gd name="connsiteY78" fmla="*/ 2276 h 10000"/>
                <a:gd name="connsiteX79" fmla="*/ 2727 w 10000"/>
                <a:gd name="connsiteY79" fmla="*/ 2144 h 10000"/>
                <a:gd name="connsiteX80" fmla="*/ 2559 w 10000"/>
                <a:gd name="connsiteY80" fmla="*/ 2155 h 10000"/>
                <a:gd name="connsiteX81" fmla="*/ 2438 w 10000"/>
                <a:gd name="connsiteY81" fmla="*/ 1980 h 10000"/>
                <a:gd name="connsiteX82" fmla="*/ 2293 w 10000"/>
                <a:gd name="connsiteY82" fmla="*/ 2073 h 10000"/>
                <a:gd name="connsiteX83" fmla="*/ 2143 w 10000"/>
                <a:gd name="connsiteY83" fmla="*/ 1958 h 10000"/>
                <a:gd name="connsiteX84" fmla="*/ 2057 w 10000"/>
                <a:gd name="connsiteY84" fmla="*/ 2035 h 10000"/>
                <a:gd name="connsiteX85" fmla="*/ 1975 w 10000"/>
                <a:gd name="connsiteY85" fmla="*/ 1947 h 10000"/>
                <a:gd name="connsiteX86" fmla="*/ 1852 w 10000"/>
                <a:gd name="connsiteY86" fmla="*/ 1936 h 10000"/>
                <a:gd name="connsiteX87" fmla="*/ 1669 w 10000"/>
                <a:gd name="connsiteY87" fmla="*/ 1925 h 10000"/>
                <a:gd name="connsiteX88" fmla="*/ 1444 w 10000"/>
                <a:gd name="connsiteY88" fmla="*/ 1991 h 10000"/>
                <a:gd name="connsiteX89" fmla="*/ 1205 w 10000"/>
                <a:gd name="connsiteY89" fmla="*/ 2062 h 10000"/>
                <a:gd name="connsiteX90" fmla="*/ 921 w 10000"/>
                <a:gd name="connsiteY90" fmla="*/ 2166 h 10000"/>
                <a:gd name="connsiteX91" fmla="*/ 797 w 10000"/>
                <a:gd name="connsiteY91" fmla="*/ 2496 h 10000"/>
                <a:gd name="connsiteX92" fmla="*/ 603 w 10000"/>
                <a:gd name="connsiteY92" fmla="*/ 2501 h 10000"/>
                <a:gd name="connsiteX93" fmla="*/ 540 w 10000"/>
                <a:gd name="connsiteY93" fmla="*/ 2687 h 10000"/>
                <a:gd name="connsiteX94" fmla="*/ 558 w 10000"/>
                <a:gd name="connsiteY94" fmla="*/ 2764 h 10000"/>
                <a:gd name="connsiteX95" fmla="*/ 577 w 10000"/>
                <a:gd name="connsiteY95" fmla="*/ 2868 h 10000"/>
                <a:gd name="connsiteX96" fmla="*/ 577 w 10000"/>
                <a:gd name="connsiteY96" fmla="*/ 2868 h 10000"/>
                <a:gd name="connsiteX97" fmla="*/ 577 w 10000"/>
                <a:gd name="connsiteY97" fmla="*/ 2896 h 10000"/>
                <a:gd name="connsiteX98" fmla="*/ 682 w 10000"/>
                <a:gd name="connsiteY98" fmla="*/ 3116 h 10000"/>
                <a:gd name="connsiteX99" fmla="*/ 786 w 10000"/>
                <a:gd name="connsiteY99" fmla="*/ 3351 h 10000"/>
                <a:gd name="connsiteX100" fmla="*/ 921 w 10000"/>
                <a:gd name="connsiteY100" fmla="*/ 3488 h 10000"/>
                <a:gd name="connsiteX101" fmla="*/ 876 w 10000"/>
                <a:gd name="connsiteY101" fmla="*/ 3548 h 10000"/>
                <a:gd name="connsiteX102" fmla="*/ 805 w 10000"/>
                <a:gd name="connsiteY102" fmla="*/ 3603 h 10000"/>
                <a:gd name="connsiteX103" fmla="*/ 887 w 10000"/>
                <a:gd name="connsiteY103" fmla="*/ 3697 h 10000"/>
                <a:gd name="connsiteX104" fmla="*/ 876 w 10000"/>
                <a:gd name="connsiteY104" fmla="*/ 4053 h 10000"/>
                <a:gd name="connsiteX105" fmla="*/ 693 w 10000"/>
                <a:gd name="connsiteY105" fmla="*/ 4124 h 10000"/>
                <a:gd name="connsiteX106" fmla="*/ 498 w 10000"/>
                <a:gd name="connsiteY106" fmla="*/ 4531 h 10000"/>
                <a:gd name="connsiteX107" fmla="*/ 371 w 10000"/>
                <a:gd name="connsiteY107" fmla="*/ 4936 h 10000"/>
                <a:gd name="connsiteX108" fmla="*/ 195 w 10000"/>
                <a:gd name="connsiteY108" fmla="*/ 5260 h 10000"/>
                <a:gd name="connsiteX109" fmla="*/ 270 w 10000"/>
                <a:gd name="connsiteY109" fmla="*/ 5517 h 10000"/>
                <a:gd name="connsiteX110" fmla="*/ 277 w 10000"/>
                <a:gd name="connsiteY110" fmla="*/ 5732 h 10000"/>
                <a:gd name="connsiteX111" fmla="*/ 400 w 10000"/>
                <a:gd name="connsiteY111" fmla="*/ 5841 h 10000"/>
                <a:gd name="connsiteX112" fmla="*/ 382 w 10000"/>
                <a:gd name="connsiteY112" fmla="*/ 5945 h 10000"/>
                <a:gd name="connsiteX113" fmla="*/ 202 w 10000"/>
                <a:gd name="connsiteY113" fmla="*/ 5852 h 10000"/>
                <a:gd name="connsiteX114" fmla="*/ 124 w 10000"/>
                <a:gd name="connsiteY114" fmla="*/ 6099 h 10000"/>
                <a:gd name="connsiteX115" fmla="*/ 105 w 10000"/>
                <a:gd name="connsiteY115" fmla="*/ 6346 h 10000"/>
                <a:gd name="connsiteX116" fmla="*/ 1 w 10000"/>
                <a:gd name="connsiteY116" fmla="*/ 6571 h 10000"/>
                <a:gd name="connsiteX117" fmla="*/ 19 w 10000"/>
                <a:gd name="connsiteY117" fmla="*/ 6779 h 10000"/>
                <a:gd name="connsiteX118" fmla="*/ 90 w 10000"/>
                <a:gd name="connsiteY118" fmla="*/ 6828 h 10000"/>
                <a:gd name="connsiteX119" fmla="*/ 154 w 10000"/>
                <a:gd name="connsiteY119" fmla="*/ 6960 h 10000"/>
                <a:gd name="connsiteX120" fmla="*/ 240 w 10000"/>
                <a:gd name="connsiteY120" fmla="*/ 6943 h 10000"/>
                <a:gd name="connsiteX121" fmla="*/ 292 w 10000"/>
                <a:gd name="connsiteY121" fmla="*/ 7076 h 10000"/>
                <a:gd name="connsiteX122" fmla="*/ 445 w 10000"/>
                <a:gd name="connsiteY122" fmla="*/ 7103 h 10000"/>
                <a:gd name="connsiteX123" fmla="*/ 453 w 10000"/>
                <a:gd name="connsiteY123" fmla="*/ 7251 h 10000"/>
                <a:gd name="connsiteX124" fmla="*/ 494 w 10000"/>
                <a:gd name="connsiteY124" fmla="*/ 7278 h 10000"/>
                <a:gd name="connsiteX125" fmla="*/ 525 w 10000"/>
                <a:gd name="connsiteY125" fmla="*/ 7174 h 10000"/>
                <a:gd name="connsiteX126" fmla="*/ 581 w 10000"/>
                <a:gd name="connsiteY126" fmla="*/ 7196 h 10000"/>
                <a:gd name="connsiteX127" fmla="*/ 644 w 10000"/>
                <a:gd name="connsiteY127" fmla="*/ 6992 h 10000"/>
                <a:gd name="connsiteX128" fmla="*/ 820 w 10000"/>
                <a:gd name="connsiteY128" fmla="*/ 7174 h 10000"/>
                <a:gd name="connsiteX129" fmla="*/ 1283 w 10000"/>
                <a:gd name="connsiteY129" fmla="*/ 7163 h 10000"/>
                <a:gd name="connsiteX130" fmla="*/ 1466 w 10000"/>
                <a:gd name="connsiteY130" fmla="*/ 7092 h 10000"/>
                <a:gd name="connsiteX131" fmla="*/ 1766 w 10000"/>
                <a:gd name="connsiteY131" fmla="*/ 7344 h 10000"/>
                <a:gd name="connsiteX132" fmla="*/ 1956 w 10000"/>
                <a:gd name="connsiteY132" fmla="*/ 7087 h 10000"/>
                <a:gd name="connsiteX133" fmla="*/ 2382 w 10000"/>
                <a:gd name="connsiteY133" fmla="*/ 6861 h 10000"/>
                <a:gd name="connsiteX134" fmla="*/ 2536 w 10000"/>
                <a:gd name="connsiteY134" fmla="*/ 6489 h 10000"/>
                <a:gd name="connsiteX135" fmla="*/ 2648 w 10000"/>
                <a:gd name="connsiteY135" fmla="*/ 6439 h 10000"/>
                <a:gd name="connsiteX136" fmla="*/ 2648 w 10000"/>
                <a:gd name="connsiteY136" fmla="*/ 6379 h 10000"/>
                <a:gd name="connsiteX137" fmla="*/ 2693 w 10000"/>
                <a:gd name="connsiteY137" fmla="*/ 6379 h 10000"/>
                <a:gd name="connsiteX138" fmla="*/ 2682 w 10000"/>
                <a:gd name="connsiteY138" fmla="*/ 6230 h 10000"/>
                <a:gd name="connsiteX139" fmla="*/ 2820 w 10000"/>
                <a:gd name="connsiteY139" fmla="*/ 6285 h 10000"/>
                <a:gd name="connsiteX140" fmla="*/ 2839 w 10000"/>
                <a:gd name="connsiteY140" fmla="*/ 6159 h 10000"/>
                <a:gd name="connsiteX141" fmla="*/ 2921 w 10000"/>
                <a:gd name="connsiteY141" fmla="*/ 6230 h 10000"/>
                <a:gd name="connsiteX142" fmla="*/ 2981 w 10000"/>
                <a:gd name="connsiteY142" fmla="*/ 6126 h 10000"/>
                <a:gd name="connsiteX143" fmla="*/ 3078 w 10000"/>
                <a:gd name="connsiteY143" fmla="*/ 6154 h 10000"/>
                <a:gd name="connsiteX144" fmla="*/ 3164 w 10000"/>
                <a:gd name="connsiteY144" fmla="*/ 6055 h 10000"/>
                <a:gd name="connsiteX145" fmla="*/ 3328 w 10000"/>
                <a:gd name="connsiteY145" fmla="*/ 6192 h 10000"/>
                <a:gd name="connsiteX146" fmla="*/ 3411 w 10000"/>
                <a:gd name="connsiteY146" fmla="*/ 6197 h 10000"/>
                <a:gd name="connsiteX147" fmla="*/ 3437 w 10000"/>
                <a:gd name="connsiteY147" fmla="*/ 6307 h 10000"/>
                <a:gd name="connsiteX148" fmla="*/ 3591 w 10000"/>
                <a:gd name="connsiteY148" fmla="*/ 6236 h 10000"/>
                <a:gd name="connsiteX149" fmla="*/ 3576 w 10000"/>
                <a:gd name="connsiteY149" fmla="*/ 6357 h 10000"/>
                <a:gd name="connsiteX150" fmla="*/ 3632 w 10000"/>
                <a:gd name="connsiteY150" fmla="*/ 6341 h 10000"/>
                <a:gd name="connsiteX151" fmla="*/ 3699 w 10000"/>
                <a:gd name="connsiteY151" fmla="*/ 6428 h 10000"/>
                <a:gd name="connsiteX152" fmla="*/ 3703 w 10000"/>
                <a:gd name="connsiteY152" fmla="*/ 6301 h 10000"/>
                <a:gd name="connsiteX153" fmla="*/ 3882 w 10000"/>
                <a:gd name="connsiteY153" fmla="*/ 6341 h 10000"/>
                <a:gd name="connsiteX154" fmla="*/ 3946 w 10000"/>
                <a:gd name="connsiteY154" fmla="*/ 6511 h 10000"/>
                <a:gd name="connsiteX155" fmla="*/ 4047 w 10000"/>
                <a:gd name="connsiteY155" fmla="*/ 6494 h 10000"/>
                <a:gd name="connsiteX156" fmla="*/ 4091 w 10000"/>
                <a:gd name="connsiteY156" fmla="*/ 6417 h 10000"/>
                <a:gd name="connsiteX157" fmla="*/ 4192 w 10000"/>
                <a:gd name="connsiteY157" fmla="*/ 6735 h 10000"/>
                <a:gd name="connsiteX158" fmla="*/ 4155 w 10000"/>
                <a:gd name="connsiteY158" fmla="*/ 6987 h 10000"/>
                <a:gd name="connsiteX159" fmla="*/ 4207 w 10000"/>
                <a:gd name="connsiteY159" fmla="*/ 7114 h 10000"/>
                <a:gd name="connsiteX160" fmla="*/ 4278 w 10000"/>
                <a:gd name="connsiteY160" fmla="*/ 7119 h 10000"/>
                <a:gd name="connsiteX161" fmla="*/ 4387 w 10000"/>
                <a:gd name="connsiteY161" fmla="*/ 7256 h 10000"/>
                <a:gd name="connsiteX162" fmla="*/ 4431 w 10000"/>
                <a:gd name="connsiteY162" fmla="*/ 7152 h 10000"/>
                <a:gd name="connsiteX163" fmla="*/ 4480 w 10000"/>
                <a:gd name="connsiteY163" fmla="*/ 7322 h 10000"/>
                <a:gd name="connsiteX164" fmla="*/ 4541 w 10000"/>
                <a:gd name="connsiteY164" fmla="*/ 7662 h 10000"/>
                <a:gd name="connsiteX165" fmla="*/ 4720 w 10000"/>
                <a:gd name="connsiteY165" fmla="*/ 7739 h 10000"/>
                <a:gd name="connsiteX166" fmla="*/ 4761 w 10000"/>
                <a:gd name="connsiteY166" fmla="*/ 8183 h 10000"/>
                <a:gd name="connsiteX167" fmla="*/ 4914 w 10000"/>
                <a:gd name="connsiteY167" fmla="*/ 8276 h 10000"/>
                <a:gd name="connsiteX168" fmla="*/ 4757 w 10000"/>
                <a:gd name="connsiteY168" fmla="*/ 8370 h 10000"/>
                <a:gd name="connsiteX169" fmla="*/ 4705 w 10000"/>
                <a:gd name="connsiteY169" fmla="*/ 8260 h 10000"/>
                <a:gd name="connsiteX170" fmla="*/ 4645 w 10000"/>
                <a:gd name="connsiteY170" fmla="*/ 8403 h 10000"/>
                <a:gd name="connsiteX171" fmla="*/ 4491 w 10000"/>
                <a:gd name="connsiteY171" fmla="*/ 8287 h 10000"/>
                <a:gd name="connsiteX172" fmla="*/ 4405 w 10000"/>
                <a:gd name="connsiteY172" fmla="*/ 8452 h 10000"/>
                <a:gd name="connsiteX173" fmla="*/ 4226 w 10000"/>
                <a:gd name="connsiteY173" fmla="*/ 8331 h 10000"/>
                <a:gd name="connsiteX174" fmla="*/ 4312 w 10000"/>
                <a:gd name="connsiteY174" fmla="*/ 8699 h 10000"/>
                <a:gd name="connsiteX175" fmla="*/ 4304 w 10000"/>
                <a:gd name="connsiteY175" fmla="*/ 8967 h 10000"/>
                <a:gd name="connsiteX176" fmla="*/ 4189 w 10000"/>
                <a:gd name="connsiteY176" fmla="*/ 9088 h 10000"/>
                <a:gd name="connsiteX177" fmla="*/ 4226 w 10000"/>
                <a:gd name="connsiteY177" fmla="*/ 9193 h 10000"/>
                <a:gd name="connsiteX178" fmla="*/ 4065 w 10000"/>
                <a:gd name="connsiteY178" fmla="*/ 9412 h 10000"/>
                <a:gd name="connsiteX179" fmla="*/ 4129 w 10000"/>
                <a:gd name="connsiteY179" fmla="*/ 9647 h 10000"/>
                <a:gd name="connsiteX180" fmla="*/ 3972 w 10000"/>
                <a:gd name="connsiteY180" fmla="*/ 9681 h 10000"/>
                <a:gd name="connsiteX181" fmla="*/ 3931 w 10000"/>
                <a:gd name="connsiteY181" fmla="*/ 9741 h 10000"/>
                <a:gd name="connsiteX182" fmla="*/ 3998 w 10000"/>
                <a:gd name="connsiteY182" fmla="*/ 9785 h 10000"/>
                <a:gd name="connsiteX183" fmla="*/ 4118 w 10000"/>
                <a:gd name="connsiteY183" fmla="*/ 9944 h 10000"/>
                <a:gd name="connsiteX184" fmla="*/ 4312 w 10000"/>
                <a:gd name="connsiteY184" fmla="*/ 9999 h 10000"/>
                <a:gd name="connsiteX185" fmla="*/ 4319 w 10000"/>
                <a:gd name="connsiteY185" fmla="*/ 9851 h 10000"/>
                <a:gd name="connsiteX186" fmla="*/ 4387 w 10000"/>
                <a:gd name="connsiteY186" fmla="*/ 9856 h 10000"/>
                <a:gd name="connsiteX187" fmla="*/ 4675 w 10000"/>
                <a:gd name="connsiteY187" fmla="*/ 9603 h 10000"/>
                <a:gd name="connsiteX188" fmla="*/ 4866 w 10000"/>
                <a:gd name="connsiteY188" fmla="*/ 9845 h 10000"/>
                <a:gd name="connsiteX189" fmla="*/ 4866 w 10000"/>
                <a:gd name="connsiteY189" fmla="*/ 9862 h 10000"/>
                <a:gd name="connsiteX190" fmla="*/ 4896 w 10000"/>
                <a:gd name="connsiteY190" fmla="*/ 9703 h 10000"/>
                <a:gd name="connsiteX191" fmla="*/ 4843 w 10000"/>
                <a:gd name="connsiteY191" fmla="*/ 9570 h 10000"/>
                <a:gd name="connsiteX192" fmla="*/ 4776 w 10000"/>
                <a:gd name="connsiteY192" fmla="*/ 9549 h 10000"/>
                <a:gd name="connsiteX193" fmla="*/ 4821 w 10000"/>
                <a:gd name="connsiteY193" fmla="*/ 9466 h 10000"/>
                <a:gd name="connsiteX194" fmla="*/ 4806 w 10000"/>
                <a:gd name="connsiteY194" fmla="*/ 9444 h 10000"/>
                <a:gd name="connsiteX195" fmla="*/ 4750 w 10000"/>
                <a:gd name="connsiteY195" fmla="*/ 9439 h 10000"/>
                <a:gd name="connsiteX196" fmla="*/ 4720 w 10000"/>
                <a:gd name="connsiteY196" fmla="*/ 9121 h 10000"/>
                <a:gd name="connsiteX197" fmla="*/ 4761 w 10000"/>
                <a:gd name="connsiteY197" fmla="*/ 9105 h 10000"/>
                <a:gd name="connsiteX198" fmla="*/ 4783 w 10000"/>
                <a:gd name="connsiteY198" fmla="*/ 9253 h 10000"/>
                <a:gd name="connsiteX199" fmla="*/ 4836 w 10000"/>
                <a:gd name="connsiteY199" fmla="*/ 9384 h 10000"/>
                <a:gd name="connsiteX200" fmla="*/ 4881 w 10000"/>
                <a:gd name="connsiteY200" fmla="*/ 9302 h 10000"/>
                <a:gd name="connsiteX201" fmla="*/ 4869 w 10000"/>
                <a:gd name="connsiteY201" fmla="*/ 9220 h 10000"/>
                <a:gd name="connsiteX202" fmla="*/ 4940 w 10000"/>
                <a:gd name="connsiteY202" fmla="*/ 9203 h 10000"/>
                <a:gd name="connsiteX203" fmla="*/ 4903 w 10000"/>
                <a:gd name="connsiteY203" fmla="*/ 9034 h 10000"/>
                <a:gd name="connsiteX204" fmla="*/ 5000 w 10000"/>
                <a:gd name="connsiteY204" fmla="*/ 9061 h 10000"/>
                <a:gd name="connsiteX205" fmla="*/ 5004 w 10000"/>
                <a:gd name="connsiteY205" fmla="*/ 8972 h 10000"/>
                <a:gd name="connsiteX206" fmla="*/ 5041 w 10000"/>
                <a:gd name="connsiteY206" fmla="*/ 9039 h 10000"/>
                <a:gd name="connsiteX207" fmla="*/ 5206 w 10000"/>
                <a:gd name="connsiteY207" fmla="*/ 8781 h 10000"/>
                <a:gd name="connsiteX208" fmla="*/ 5112 w 10000"/>
                <a:gd name="connsiteY208" fmla="*/ 8584 h 10000"/>
                <a:gd name="connsiteX209" fmla="*/ 4937 w 10000"/>
                <a:gd name="connsiteY209" fmla="*/ 8425 h 10000"/>
                <a:gd name="connsiteX210" fmla="*/ 5037 w 10000"/>
                <a:gd name="connsiteY210" fmla="*/ 8370 h 10000"/>
                <a:gd name="connsiteX211" fmla="*/ 5183 w 10000"/>
                <a:gd name="connsiteY211" fmla="*/ 8633 h 10000"/>
                <a:gd name="connsiteX212" fmla="*/ 5292 w 10000"/>
                <a:gd name="connsiteY212" fmla="*/ 8199 h 10000"/>
                <a:gd name="connsiteX213" fmla="*/ 5299 w 10000"/>
                <a:gd name="connsiteY213" fmla="*/ 8030 h 10000"/>
                <a:gd name="connsiteX214" fmla="*/ 5482 w 10000"/>
                <a:gd name="connsiteY214" fmla="*/ 7942 h 10000"/>
                <a:gd name="connsiteX215" fmla="*/ 5550 w 10000"/>
                <a:gd name="connsiteY215" fmla="*/ 7607 h 10000"/>
                <a:gd name="connsiteX216" fmla="*/ 5561 w 10000"/>
                <a:gd name="connsiteY216" fmla="*/ 7734 h 10000"/>
                <a:gd name="connsiteX217" fmla="*/ 5677 w 10000"/>
                <a:gd name="connsiteY217" fmla="*/ 7596 h 10000"/>
                <a:gd name="connsiteX218" fmla="*/ 5759 w 10000"/>
                <a:gd name="connsiteY218" fmla="*/ 7579 h 10000"/>
                <a:gd name="connsiteX219" fmla="*/ 5842 w 10000"/>
                <a:gd name="connsiteY219" fmla="*/ 7207 h 10000"/>
                <a:gd name="connsiteX220" fmla="*/ 5916 w 10000"/>
                <a:gd name="connsiteY220" fmla="*/ 7486 h 10000"/>
                <a:gd name="connsiteX221" fmla="*/ 6137 w 10000"/>
                <a:gd name="connsiteY221" fmla="*/ 7563 h 10000"/>
                <a:gd name="connsiteX222" fmla="*/ 5969 w 10000"/>
                <a:gd name="connsiteY222" fmla="*/ 7618 h 10000"/>
                <a:gd name="connsiteX223" fmla="*/ 5954 w 10000"/>
                <a:gd name="connsiteY223" fmla="*/ 7679 h 10000"/>
                <a:gd name="connsiteX224" fmla="*/ 5786 w 10000"/>
                <a:gd name="connsiteY224" fmla="*/ 7690 h 10000"/>
                <a:gd name="connsiteX225" fmla="*/ 5700 w 10000"/>
                <a:gd name="connsiteY225" fmla="*/ 7723 h 10000"/>
                <a:gd name="connsiteX226" fmla="*/ 5767 w 10000"/>
                <a:gd name="connsiteY226" fmla="*/ 7772 h 10000"/>
                <a:gd name="connsiteX227" fmla="*/ 5827 w 10000"/>
                <a:gd name="connsiteY227" fmla="*/ 7756 h 10000"/>
                <a:gd name="connsiteX228" fmla="*/ 5991 w 10000"/>
                <a:gd name="connsiteY228" fmla="*/ 7789 h 10000"/>
                <a:gd name="connsiteX229" fmla="*/ 5804 w 10000"/>
                <a:gd name="connsiteY229" fmla="*/ 7964 h 10000"/>
                <a:gd name="connsiteX230" fmla="*/ 5872 w 10000"/>
                <a:gd name="connsiteY230" fmla="*/ 8008 h 10000"/>
                <a:gd name="connsiteX231" fmla="*/ 6043 w 10000"/>
                <a:gd name="connsiteY231" fmla="*/ 7958 h 10000"/>
                <a:gd name="connsiteX232" fmla="*/ 6275 w 10000"/>
                <a:gd name="connsiteY232" fmla="*/ 8101 h 10000"/>
                <a:gd name="connsiteX233" fmla="*/ 6575 w 10000"/>
                <a:gd name="connsiteY233" fmla="*/ 7909 h 10000"/>
                <a:gd name="connsiteX234" fmla="*/ 6870 w 10000"/>
                <a:gd name="connsiteY234" fmla="*/ 7887 h 10000"/>
                <a:gd name="connsiteX235" fmla="*/ 6915 w 10000"/>
                <a:gd name="connsiteY235" fmla="*/ 7745 h 10000"/>
                <a:gd name="connsiteX236" fmla="*/ 6993 w 10000"/>
                <a:gd name="connsiteY236" fmla="*/ 7958 h 10000"/>
                <a:gd name="connsiteX237" fmla="*/ 7075 w 10000"/>
                <a:gd name="connsiteY237" fmla="*/ 7986 h 10000"/>
                <a:gd name="connsiteX238" fmla="*/ 7045 w 10000"/>
                <a:gd name="connsiteY238" fmla="*/ 8134 h 10000"/>
                <a:gd name="connsiteX239" fmla="*/ 6788 w 10000"/>
                <a:gd name="connsiteY239" fmla="*/ 8281 h 10000"/>
                <a:gd name="connsiteX240" fmla="*/ 6769 w 10000"/>
                <a:gd name="connsiteY240" fmla="*/ 8386 h 10000"/>
                <a:gd name="connsiteX241" fmla="*/ 6627 w 10000"/>
                <a:gd name="connsiteY241" fmla="*/ 8523 h 10000"/>
                <a:gd name="connsiteX242" fmla="*/ 6623 w 10000"/>
                <a:gd name="connsiteY242" fmla="*/ 8649 h 10000"/>
                <a:gd name="connsiteX243" fmla="*/ 6537 w 10000"/>
                <a:gd name="connsiteY243" fmla="*/ 8704 h 10000"/>
                <a:gd name="connsiteX244" fmla="*/ 6428 w 10000"/>
                <a:gd name="connsiteY244" fmla="*/ 8989 h 10000"/>
                <a:gd name="connsiteX245" fmla="*/ 6582 w 10000"/>
                <a:gd name="connsiteY245" fmla="*/ 9001 h 10000"/>
                <a:gd name="connsiteX246" fmla="*/ 6672 w 10000"/>
                <a:gd name="connsiteY246" fmla="*/ 8879 h 10000"/>
                <a:gd name="connsiteX247" fmla="*/ 6769 w 10000"/>
                <a:gd name="connsiteY247" fmla="*/ 8912 h 10000"/>
                <a:gd name="connsiteX248" fmla="*/ 6814 w 10000"/>
                <a:gd name="connsiteY248" fmla="*/ 8786 h 10000"/>
                <a:gd name="connsiteX249" fmla="*/ 6877 w 10000"/>
                <a:gd name="connsiteY249" fmla="*/ 9001 h 10000"/>
                <a:gd name="connsiteX250" fmla="*/ 7060 w 10000"/>
                <a:gd name="connsiteY250" fmla="*/ 8994 h 10000"/>
                <a:gd name="connsiteX251" fmla="*/ 7217 w 10000"/>
                <a:gd name="connsiteY251" fmla="*/ 9362 h 10000"/>
                <a:gd name="connsiteX252" fmla="*/ 7232 w 10000"/>
                <a:gd name="connsiteY252" fmla="*/ 9675 h 10000"/>
                <a:gd name="connsiteX253" fmla="*/ 7176 w 10000"/>
                <a:gd name="connsiteY253" fmla="*/ 9692 h 10000"/>
                <a:gd name="connsiteX254" fmla="*/ 7187 w 10000"/>
                <a:gd name="connsiteY254" fmla="*/ 9780 h 10000"/>
                <a:gd name="connsiteX255" fmla="*/ 7423 w 10000"/>
                <a:gd name="connsiteY255" fmla="*/ 9900 h 10000"/>
                <a:gd name="connsiteX256" fmla="*/ 7741 w 10000"/>
                <a:gd name="connsiteY256" fmla="*/ 9565 h 10000"/>
                <a:gd name="connsiteX257" fmla="*/ 7879 w 10000"/>
                <a:gd name="connsiteY257" fmla="*/ 9176 h 10000"/>
                <a:gd name="connsiteX258" fmla="*/ 8107 w 10000"/>
                <a:gd name="connsiteY258" fmla="*/ 9023 h 10000"/>
                <a:gd name="connsiteX259" fmla="*/ 8182 w 10000"/>
                <a:gd name="connsiteY259" fmla="*/ 8841 h 10000"/>
                <a:gd name="connsiteX260" fmla="*/ 8268 w 10000"/>
                <a:gd name="connsiteY260" fmla="*/ 8786 h 10000"/>
                <a:gd name="connsiteX261" fmla="*/ 8320 w 10000"/>
                <a:gd name="connsiteY261" fmla="*/ 8512 h 10000"/>
                <a:gd name="connsiteX262" fmla="*/ 8542 w 10000"/>
                <a:gd name="connsiteY262" fmla="*/ 8617 h 10000"/>
                <a:gd name="connsiteX263" fmla="*/ 8672 w 10000"/>
                <a:gd name="connsiteY263" fmla="*/ 8474 h 10000"/>
                <a:gd name="connsiteX264" fmla="*/ 8855 w 10000"/>
                <a:gd name="connsiteY264" fmla="*/ 8343 h 10000"/>
                <a:gd name="connsiteX265" fmla="*/ 8781 w 10000"/>
                <a:gd name="connsiteY265" fmla="*/ 8128 h 10000"/>
                <a:gd name="connsiteX266" fmla="*/ 7708 w 10000"/>
                <a:gd name="connsiteY266" fmla="*/ 7991 h 10000"/>
                <a:gd name="connsiteX267" fmla="*/ 7682 w 10000"/>
                <a:gd name="connsiteY267" fmla="*/ 7904 h 10000"/>
                <a:gd name="connsiteX268" fmla="*/ 7607 w 10000"/>
                <a:gd name="connsiteY268" fmla="*/ 8002 h 10000"/>
                <a:gd name="connsiteX269" fmla="*/ 7715 w 10000"/>
                <a:gd name="connsiteY269" fmla="*/ 7761 h 10000"/>
                <a:gd name="connsiteX270" fmla="*/ 7674 w 10000"/>
                <a:gd name="connsiteY270" fmla="*/ 7717 h 10000"/>
                <a:gd name="connsiteX271" fmla="*/ 7554 w 10000"/>
                <a:gd name="connsiteY271" fmla="*/ 7915 h 10000"/>
                <a:gd name="connsiteX272" fmla="*/ 7618 w 10000"/>
                <a:gd name="connsiteY272" fmla="*/ 7712 h 10000"/>
                <a:gd name="connsiteX273" fmla="*/ 7532 w 10000"/>
                <a:gd name="connsiteY273" fmla="*/ 7767 h 10000"/>
                <a:gd name="connsiteX274" fmla="*/ 7419 w 10000"/>
                <a:gd name="connsiteY274" fmla="*/ 7717 h 10000"/>
                <a:gd name="connsiteX275" fmla="*/ 7333 w 10000"/>
                <a:gd name="connsiteY275" fmla="*/ 7794 h 10000"/>
                <a:gd name="connsiteX276" fmla="*/ 7240 w 10000"/>
                <a:gd name="connsiteY276" fmla="*/ 7728 h 10000"/>
                <a:gd name="connsiteX277" fmla="*/ 7087 w 10000"/>
                <a:gd name="connsiteY277" fmla="*/ 7717 h 10000"/>
                <a:gd name="connsiteX278" fmla="*/ 7090 w 10000"/>
                <a:gd name="connsiteY278" fmla="*/ 7547 h 10000"/>
                <a:gd name="connsiteX279" fmla="*/ 7229 w 10000"/>
                <a:gd name="connsiteY279" fmla="*/ 7662 h 10000"/>
                <a:gd name="connsiteX280" fmla="*/ 7273 w 10000"/>
                <a:gd name="connsiteY280" fmla="*/ 7541 h 10000"/>
                <a:gd name="connsiteX281" fmla="*/ 7236 w 10000"/>
                <a:gd name="connsiteY281" fmla="*/ 7410 h 10000"/>
                <a:gd name="connsiteX282" fmla="*/ 7341 w 10000"/>
                <a:gd name="connsiteY282" fmla="*/ 7547 h 10000"/>
                <a:gd name="connsiteX283" fmla="*/ 7483 w 10000"/>
                <a:gd name="connsiteY283" fmla="*/ 7536 h 10000"/>
                <a:gd name="connsiteX284" fmla="*/ 7506 w 10000"/>
                <a:gd name="connsiteY284" fmla="*/ 7685 h 10000"/>
                <a:gd name="connsiteX285" fmla="*/ 7547 w 10000"/>
                <a:gd name="connsiteY285" fmla="*/ 7685 h 10000"/>
                <a:gd name="connsiteX286" fmla="*/ 7558 w 10000"/>
                <a:gd name="connsiteY286" fmla="*/ 7415 h 10000"/>
                <a:gd name="connsiteX287" fmla="*/ 7607 w 10000"/>
                <a:gd name="connsiteY287" fmla="*/ 7585 h 10000"/>
                <a:gd name="connsiteX288" fmla="*/ 7693 w 10000"/>
                <a:gd name="connsiteY288" fmla="*/ 7590 h 10000"/>
                <a:gd name="connsiteX289" fmla="*/ 7629 w 10000"/>
                <a:gd name="connsiteY289" fmla="*/ 7333 h 10000"/>
                <a:gd name="connsiteX290" fmla="*/ 7786 w 10000"/>
                <a:gd name="connsiteY290" fmla="*/ 7240 h 10000"/>
                <a:gd name="connsiteX291" fmla="*/ 7779 w 10000"/>
                <a:gd name="connsiteY291" fmla="*/ 6987 h 10000"/>
                <a:gd name="connsiteX292" fmla="*/ 7887 w 10000"/>
                <a:gd name="connsiteY292" fmla="*/ 7081 h 10000"/>
                <a:gd name="connsiteX293" fmla="*/ 7906 w 10000"/>
                <a:gd name="connsiteY293" fmla="*/ 7015 h 10000"/>
                <a:gd name="connsiteX294" fmla="*/ 7775 w 10000"/>
                <a:gd name="connsiteY294" fmla="*/ 6735 h 10000"/>
                <a:gd name="connsiteX295" fmla="*/ 7950 w 10000"/>
                <a:gd name="connsiteY295" fmla="*/ 6894 h 10000"/>
                <a:gd name="connsiteX296" fmla="*/ 8171 w 10000"/>
                <a:gd name="connsiteY296" fmla="*/ 6511 h 10000"/>
                <a:gd name="connsiteX297" fmla="*/ 8384 w 10000"/>
                <a:gd name="connsiteY297" fmla="*/ 6483 h 10000"/>
                <a:gd name="connsiteX298" fmla="*/ 8429 w 10000"/>
                <a:gd name="connsiteY29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143 w 10000"/>
                <a:gd name="connsiteY25" fmla="*/ 1838 h 10000"/>
                <a:gd name="connsiteX26" fmla="*/ 9091 w 10000"/>
                <a:gd name="connsiteY26" fmla="*/ 1712 h 10000"/>
                <a:gd name="connsiteX27" fmla="*/ 9020 w 10000"/>
                <a:gd name="connsiteY27" fmla="*/ 1728 h 10000"/>
                <a:gd name="connsiteX28" fmla="*/ 7569 w 10000"/>
                <a:gd name="connsiteY28" fmla="*/ 1873 h 10000"/>
                <a:gd name="connsiteX29" fmla="*/ 7165 w 10000"/>
                <a:gd name="connsiteY29" fmla="*/ 1996 h 10000"/>
                <a:gd name="connsiteX30" fmla="*/ 6892 w 10000"/>
                <a:gd name="connsiteY30" fmla="*/ 1827 h 10000"/>
                <a:gd name="connsiteX31" fmla="*/ 6922 w 10000"/>
                <a:gd name="connsiteY31" fmla="*/ 1728 h 10000"/>
                <a:gd name="connsiteX32" fmla="*/ 6765 w 10000"/>
                <a:gd name="connsiteY32" fmla="*/ 1398 h 10000"/>
                <a:gd name="connsiteX33" fmla="*/ 6799 w 10000"/>
                <a:gd name="connsiteY33" fmla="*/ 1256 h 10000"/>
                <a:gd name="connsiteX34" fmla="*/ 6728 w 10000"/>
                <a:gd name="connsiteY34" fmla="*/ 1229 h 10000"/>
                <a:gd name="connsiteX35" fmla="*/ 6657 w 10000"/>
                <a:gd name="connsiteY35" fmla="*/ 1311 h 10000"/>
                <a:gd name="connsiteX36" fmla="*/ 6593 w 10000"/>
                <a:gd name="connsiteY36" fmla="*/ 1114 h 10000"/>
                <a:gd name="connsiteX37" fmla="*/ 6391 w 10000"/>
                <a:gd name="connsiteY37" fmla="*/ 1311 h 10000"/>
                <a:gd name="connsiteX38" fmla="*/ 6309 w 10000"/>
                <a:gd name="connsiteY38" fmla="*/ 1223 h 10000"/>
                <a:gd name="connsiteX39" fmla="*/ 6126 w 10000"/>
                <a:gd name="connsiteY39" fmla="*/ 1273 h 10000"/>
                <a:gd name="connsiteX40" fmla="*/ 6144 w 10000"/>
                <a:gd name="connsiteY40" fmla="*/ 1125 h 10000"/>
                <a:gd name="connsiteX41" fmla="*/ 6073 w 10000"/>
                <a:gd name="connsiteY41" fmla="*/ 1119 h 10000"/>
                <a:gd name="connsiteX42" fmla="*/ 6040 w 10000"/>
                <a:gd name="connsiteY42" fmla="*/ 910 h 10000"/>
                <a:gd name="connsiteX43" fmla="*/ 5942 w 10000"/>
                <a:gd name="connsiteY43" fmla="*/ 795 h 10000"/>
                <a:gd name="connsiteX44" fmla="*/ 6144 w 10000"/>
                <a:gd name="connsiteY44" fmla="*/ 620 h 10000"/>
                <a:gd name="connsiteX45" fmla="*/ 5901 w 10000"/>
                <a:gd name="connsiteY45" fmla="*/ 395 h 10000"/>
                <a:gd name="connsiteX46" fmla="*/ 5853 w 10000"/>
                <a:gd name="connsiteY46" fmla="*/ 142 h 10000"/>
                <a:gd name="connsiteX47" fmla="*/ 5741 w 10000"/>
                <a:gd name="connsiteY47" fmla="*/ 110 h 10000"/>
                <a:gd name="connsiteX48" fmla="*/ 5647 w 10000"/>
                <a:gd name="connsiteY48" fmla="*/ 0 h 10000"/>
                <a:gd name="connsiteX49" fmla="*/ 5547 w 10000"/>
                <a:gd name="connsiteY49" fmla="*/ 120 h 10000"/>
                <a:gd name="connsiteX50" fmla="*/ 5377 w 10000"/>
                <a:gd name="connsiteY50" fmla="*/ 110 h 10000"/>
                <a:gd name="connsiteX51" fmla="*/ 5232 w 10000"/>
                <a:gd name="connsiteY51" fmla="*/ 351 h 10000"/>
                <a:gd name="connsiteX52" fmla="*/ 4952 w 10000"/>
                <a:gd name="connsiteY52" fmla="*/ 329 h 10000"/>
                <a:gd name="connsiteX53" fmla="*/ 4884 w 10000"/>
                <a:gd name="connsiteY53" fmla="*/ 680 h 10000"/>
                <a:gd name="connsiteX54" fmla="*/ 4701 w 10000"/>
                <a:gd name="connsiteY54" fmla="*/ 707 h 10000"/>
                <a:gd name="connsiteX55" fmla="*/ 4795 w 10000"/>
                <a:gd name="connsiteY55" fmla="*/ 844 h 10000"/>
                <a:gd name="connsiteX56" fmla="*/ 4739 w 10000"/>
                <a:gd name="connsiteY56" fmla="*/ 899 h 10000"/>
                <a:gd name="connsiteX57" fmla="*/ 4612 w 10000"/>
                <a:gd name="connsiteY57" fmla="*/ 894 h 10000"/>
                <a:gd name="connsiteX58" fmla="*/ 4439 w 10000"/>
                <a:gd name="connsiteY58" fmla="*/ 1026 h 10000"/>
                <a:gd name="connsiteX59" fmla="*/ 4252 w 10000"/>
                <a:gd name="connsiteY59" fmla="*/ 1668 h 10000"/>
                <a:gd name="connsiteX60" fmla="*/ 4308 w 10000"/>
                <a:gd name="connsiteY60" fmla="*/ 2090 h 10000"/>
                <a:gd name="connsiteX61" fmla="*/ 4121 w 10000"/>
                <a:gd name="connsiteY61" fmla="*/ 1865 h 10000"/>
                <a:gd name="connsiteX62" fmla="*/ 3849 w 10000"/>
                <a:gd name="connsiteY62" fmla="*/ 1991 h 10000"/>
                <a:gd name="connsiteX63" fmla="*/ 3822 w 10000"/>
                <a:gd name="connsiteY63" fmla="*/ 1931 h 10000"/>
                <a:gd name="connsiteX64" fmla="*/ 3695 w 10000"/>
                <a:gd name="connsiteY64" fmla="*/ 2002 h 10000"/>
                <a:gd name="connsiteX65" fmla="*/ 3621 w 10000"/>
                <a:gd name="connsiteY65" fmla="*/ 2144 h 10000"/>
                <a:gd name="connsiteX66" fmla="*/ 3561 w 10000"/>
                <a:gd name="connsiteY66" fmla="*/ 1909 h 10000"/>
                <a:gd name="connsiteX67" fmla="*/ 3478 w 10000"/>
                <a:gd name="connsiteY67" fmla="*/ 1843 h 10000"/>
                <a:gd name="connsiteX68" fmla="*/ 3444 w 10000"/>
                <a:gd name="connsiteY68" fmla="*/ 1964 h 10000"/>
                <a:gd name="connsiteX69" fmla="*/ 3332 w 10000"/>
                <a:gd name="connsiteY69" fmla="*/ 1996 h 10000"/>
                <a:gd name="connsiteX70" fmla="*/ 3272 w 10000"/>
                <a:gd name="connsiteY70" fmla="*/ 2161 h 10000"/>
                <a:gd name="connsiteX71" fmla="*/ 3235 w 10000"/>
                <a:gd name="connsiteY71" fmla="*/ 2013 h 10000"/>
                <a:gd name="connsiteX72" fmla="*/ 3123 w 10000"/>
                <a:gd name="connsiteY72" fmla="*/ 2024 h 10000"/>
                <a:gd name="connsiteX73" fmla="*/ 3078 w 10000"/>
                <a:gd name="connsiteY73" fmla="*/ 2128 h 10000"/>
                <a:gd name="connsiteX74" fmla="*/ 3011 w 10000"/>
                <a:gd name="connsiteY74" fmla="*/ 1975 h 10000"/>
                <a:gd name="connsiteX75" fmla="*/ 2895 w 10000"/>
                <a:gd name="connsiteY75" fmla="*/ 2117 h 10000"/>
                <a:gd name="connsiteX76" fmla="*/ 2783 w 10000"/>
                <a:gd name="connsiteY76" fmla="*/ 2106 h 10000"/>
                <a:gd name="connsiteX77" fmla="*/ 2779 w 10000"/>
                <a:gd name="connsiteY77" fmla="*/ 2276 h 10000"/>
                <a:gd name="connsiteX78" fmla="*/ 2727 w 10000"/>
                <a:gd name="connsiteY78" fmla="*/ 2144 h 10000"/>
                <a:gd name="connsiteX79" fmla="*/ 2559 w 10000"/>
                <a:gd name="connsiteY79" fmla="*/ 2155 h 10000"/>
                <a:gd name="connsiteX80" fmla="*/ 2438 w 10000"/>
                <a:gd name="connsiteY80" fmla="*/ 1980 h 10000"/>
                <a:gd name="connsiteX81" fmla="*/ 2293 w 10000"/>
                <a:gd name="connsiteY81" fmla="*/ 2073 h 10000"/>
                <a:gd name="connsiteX82" fmla="*/ 2143 w 10000"/>
                <a:gd name="connsiteY82" fmla="*/ 1958 h 10000"/>
                <a:gd name="connsiteX83" fmla="*/ 2057 w 10000"/>
                <a:gd name="connsiteY83" fmla="*/ 2035 h 10000"/>
                <a:gd name="connsiteX84" fmla="*/ 1975 w 10000"/>
                <a:gd name="connsiteY84" fmla="*/ 1947 h 10000"/>
                <a:gd name="connsiteX85" fmla="*/ 1852 w 10000"/>
                <a:gd name="connsiteY85" fmla="*/ 1936 h 10000"/>
                <a:gd name="connsiteX86" fmla="*/ 1669 w 10000"/>
                <a:gd name="connsiteY86" fmla="*/ 1925 h 10000"/>
                <a:gd name="connsiteX87" fmla="*/ 1444 w 10000"/>
                <a:gd name="connsiteY87" fmla="*/ 1991 h 10000"/>
                <a:gd name="connsiteX88" fmla="*/ 1205 w 10000"/>
                <a:gd name="connsiteY88" fmla="*/ 2062 h 10000"/>
                <a:gd name="connsiteX89" fmla="*/ 921 w 10000"/>
                <a:gd name="connsiteY89" fmla="*/ 2166 h 10000"/>
                <a:gd name="connsiteX90" fmla="*/ 797 w 10000"/>
                <a:gd name="connsiteY90" fmla="*/ 2496 h 10000"/>
                <a:gd name="connsiteX91" fmla="*/ 603 w 10000"/>
                <a:gd name="connsiteY91" fmla="*/ 2501 h 10000"/>
                <a:gd name="connsiteX92" fmla="*/ 540 w 10000"/>
                <a:gd name="connsiteY92" fmla="*/ 2687 h 10000"/>
                <a:gd name="connsiteX93" fmla="*/ 558 w 10000"/>
                <a:gd name="connsiteY93" fmla="*/ 2764 h 10000"/>
                <a:gd name="connsiteX94" fmla="*/ 577 w 10000"/>
                <a:gd name="connsiteY94" fmla="*/ 2868 h 10000"/>
                <a:gd name="connsiteX95" fmla="*/ 577 w 10000"/>
                <a:gd name="connsiteY95" fmla="*/ 2868 h 10000"/>
                <a:gd name="connsiteX96" fmla="*/ 577 w 10000"/>
                <a:gd name="connsiteY96" fmla="*/ 2896 h 10000"/>
                <a:gd name="connsiteX97" fmla="*/ 682 w 10000"/>
                <a:gd name="connsiteY97" fmla="*/ 3116 h 10000"/>
                <a:gd name="connsiteX98" fmla="*/ 786 w 10000"/>
                <a:gd name="connsiteY98" fmla="*/ 3351 h 10000"/>
                <a:gd name="connsiteX99" fmla="*/ 921 w 10000"/>
                <a:gd name="connsiteY99" fmla="*/ 3488 h 10000"/>
                <a:gd name="connsiteX100" fmla="*/ 876 w 10000"/>
                <a:gd name="connsiteY100" fmla="*/ 3548 h 10000"/>
                <a:gd name="connsiteX101" fmla="*/ 805 w 10000"/>
                <a:gd name="connsiteY101" fmla="*/ 3603 h 10000"/>
                <a:gd name="connsiteX102" fmla="*/ 887 w 10000"/>
                <a:gd name="connsiteY102" fmla="*/ 3697 h 10000"/>
                <a:gd name="connsiteX103" fmla="*/ 876 w 10000"/>
                <a:gd name="connsiteY103" fmla="*/ 4053 h 10000"/>
                <a:gd name="connsiteX104" fmla="*/ 693 w 10000"/>
                <a:gd name="connsiteY104" fmla="*/ 4124 h 10000"/>
                <a:gd name="connsiteX105" fmla="*/ 498 w 10000"/>
                <a:gd name="connsiteY105" fmla="*/ 4531 h 10000"/>
                <a:gd name="connsiteX106" fmla="*/ 371 w 10000"/>
                <a:gd name="connsiteY106" fmla="*/ 4936 h 10000"/>
                <a:gd name="connsiteX107" fmla="*/ 195 w 10000"/>
                <a:gd name="connsiteY107" fmla="*/ 5260 h 10000"/>
                <a:gd name="connsiteX108" fmla="*/ 270 w 10000"/>
                <a:gd name="connsiteY108" fmla="*/ 5517 h 10000"/>
                <a:gd name="connsiteX109" fmla="*/ 277 w 10000"/>
                <a:gd name="connsiteY109" fmla="*/ 5732 h 10000"/>
                <a:gd name="connsiteX110" fmla="*/ 400 w 10000"/>
                <a:gd name="connsiteY110" fmla="*/ 5841 h 10000"/>
                <a:gd name="connsiteX111" fmla="*/ 382 w 10000"/>
                <a:gd name="connsiteY111" fmla="*/ 5945 h 10000"/>
                <a:gd name="connsiteX112" fmla="*/ 202 w 10000"/>
                <a:gd name="connsiteY112" fmla="*/ 5852 h 10000"/>
                <a:gd name="connsiteX113" fmla="*/ 124 w 10000"/>
                <a:gd name="connsiteY113" fmla="*/ 6099 h 10000"/>
                <a:gd name="connsiteX114" fmla="*/ 105 w 10000"/>
                <a:gd name="connsiteY114" fmla="*/ 6346 h 10000"/>
                <a:gd name="connsiteX115" fmla="*/ 1 w 10000"/>
                <a:gd name="connsiteY115" fmla="*/ 6571 h 10000"/>
                <a:gd name="connsiteX116" fmla="*/ 19 w 10000"/>
                <a:gd name="connsiteY116" fmla="*/ 6779 h 10000"/>
                <a:gd name="connsiteX117" fmla="*/ 90 w 10000"/>
                <a:gd name="connsiteY117" fmla="*/ 6828 h 10000"/>
                <a:gd name="connsiteX118" fmla="*/ 154 w 10000"/>
                <a:gd name="connsiteY118" fmla="*/ 6960 h 10000"/>
                <a:gd name="connsiteX119" fmla="*/ 240 w 10000"/>
                <a:gd name="connsiteY119" fmla="*/ 6943 h 10000"/>
                <a:gd name="connsiteX120" fmla="*/ 292 w 10000"/>
                <a:gd name="connsiteY120" fmla="*/ 7076 h 10000"/>
                <a:gd name="connsiteX121" fmla="*/ 445 w 10000"/>
                <a:gd name="connsiteY121" fmla="*/ 7103 h 10000"/>
                <a:gd name="connsiteX122" fmla="*/ 453 w 10000"/>
                <a:gd name="connsiteY122" fmla="*/ 7251 h 10000"/>
                <a:gd name="connsiteX123" fmla="*/ 494 w 10000"/>
                <a:gd name="connsiteY123" fmla="*/ 7278 h 10000"/>
                <a:gd name="connsiteX124" fmla="*/ 525 w 10000"/>
                <a:gd name="connsiteY124" fmla="*/ 7174 h 10000"/>
                <a:gd name="connsiteX125" fmla="*/ 581 w 10000"/>
                <a:gd name="connsiteY125" fmla="*/ 7196 h 10000"/>
                <a:gd name="connsiteX126" fmla="*/ 644 w 10000"/>
                <a:gd name="connsiteY126" fmla="*/ 6992 h 10000"/>
                <a:gd name="connsiteX127" fmla="*/ 820 w 10000"/>
                <a:gd name="connsiteY127" fmla="*/ 7174 h 10000"/>
                <a:gd name="connsiteX128" fmla="*/ 1283 w 10000"/>
                <a:gd name="connsiteY128" fmla="*/ 7163 h 10000"/>
                <a:gd name="connsiteX129" fmla="*/ 1466 w 10000"/>
                <a:gd name="connsiteY129" fmla="*/ 7092 h 10000"/>
                <a:gd name="connsiteX130" fmla="*/ 1766 w 10000"/>
                <a:gd name="connsiteY130" fmla="*/ 7344 h 10000"/>
                <a:gd name="connsiteX131" fmla="*/ 1956 w 10000"/>
                <a:gd name="connsiteY131" fmla="*/ 7087 h 10000"/>
                <a:gd name="connsiteX132" fmla="*/ 2382 w 10000"/>
                <a:gd name="connsiteY132" fmla="*/ 6861 h 10000"/>
                <a:gd name="connsiteX133" fmla="*/ 2536 w 10000"/>
                <a:gd name="connsiteY133" fmla="*/ 6489 h 10000"/>
                <a:gd name="connsiteX134" fmla="*/ 2648 w 10000"/>
                <a:gd name="connsiteY134" fmla="*/ 6439 h 10000"/>
                <a:gd name="connsiteX135" fmla="*/ 2648 w 10000"/>
                <a:gd name="connsiteY135" fmla="*/ 6379 h 10000"/>
                <a:gd name="connsiteX136" fmla="*/ 2693 w 10000"/>
                <a:gd name="connsiteY136" fmla="*/ 6379 h 10000"/>
                <a:gd name="connsiteX137" fmla="*/ 2682 w 10000"/>
                <a:gd name="connsiteY137" fmla="*/ 6230 h 10000"/>
                <a:gd name="connsiteX138" fmla="*/ 2820 w 10000"/>
                <a:gd name="connsiteY138" fmla="*/ 6285 h 10000"/>
                <a:gd name="connsiteX139" fmla="*/ 2839 w 10000"/>
                <a:gd name="connsiteY139" fmla="*/ 6159 h 10000"/>
                <a:gd name="connsiteX140" fmla="*/ 2921 w 10000"/>
                <a:gd name="connsiteY140" fmla="*/ 6230 h 10000"/>
                <a:gd name="connsiteX141" fmla="*/ 2981 w 10000"/>
                <a:gd name="connsiteY141" fmla="*/ 6126 h 10000"/>
                <a:gd name="connsiteX142" fmla="*/ 3078 w 10000"/>
                <a:gd name="connsiteY142" fmla="*/ 6154 h 10000"/>
                <a:gd name="connsiteX143" fmla="*/ 3164 w 10000"/>
                <a:gd name="connsiteY143" fmla="*/ 6055 h 10000"/>
                <a:gd name="connsiteX144" fmla="*/ 3328 w 10000"/>
                <a:gd name="connsiteY144" fmla="*/ 6192 h 10000"/>
                <a:gd name="connsiteX145" fmla="*/ 3411 w 10000"/>
                <a:gd name="connsiteY145" fmla="*/ 6197 h 10000"/>
                <a:gd name="connsiteX146" fmla="*/ 3437 w 10000"/>
                <a:gd name="connsiteY146" fmla="*/ 6307 h 10000"/>
                <a:gd name="connsiteX147" fmla="*/ 3591 w 10000"/>
                <a:gd name="connsiteY147" fmla="*/ 6236 h 10000"/>
                <a:gd name="connsiteX148" fmla="*/ 3576 w 10000"/>
                <a:gd name="connsiteY148" fmla="*/ 6357 h 10000"/>
                <a:gd name="connsiteX149" fmla="*/ 3632 w 10000"/>
                <a:gd name="connsiteY149" fmla="*/ 6341 h 10000"/>
                <a:gd name="connsiteX150" fmla="*/ 3699 w 10000"/>
                <a:gd name="connsiteY150" fmla="*/ 6428 h 10000"/>
                <a:gd name="connsiteX151" fmla="*/ 3703 w 10000"/>
                <a:gd name="connsiteY151" fmla="*/ 6301 h 10000"/>
                <a:gd name="connsiteX152" fmla="*/ 3882 w 10000"/>
                <a:gd name="connsiteY152" fmla="*/ 6341 h 10000"/>
                <a:gd name="connsiteX153" fmla="*/ 3946 w 10000"/>
                <a:gd name="connsiteY153" fmla="*/ 6511 h 10000"/>
                <a:gd name="connsiteX154" fmla="*/ 4047 w 10000"/>
                <a:gd name="connsiteY154" fmla="*/ 6494 h 10000"/>
                <a:gd name="connsiteX155" fmla="*/ 4091 w 10000"/>
                <a:gd name="connsiteY155" fmla="*/ 6417 h 10000"/>
                <a:gd name="connsiteX156" fmla="*/ 4192 w 10000"/>
                <a:gd name="connsiteY156" fmla="*/ 6735 h 10000"/>
                <a:gd name="connsiteX157" fmla="*/ 4155 w 10000"/>
                <a:gd name="connsiteY157" fmla="*/ 6987 h 10000"/>
                <a:gd name="connsiteX158" fmla="*/ 4207 w 10000"/>
                <a:gd name="connsiteY158" fmla="*/ 7114 h 10000"/>
                <a:gd name="connsiteX159" fmla="*/ 4278 w 10000"/>
                <a:gd name="connsiteY159" fmla="*/ 7119 h 10000"/>
                <a:gd name="connsiteX160" fmla="*/ 4387 w 10000"/>
                <a:gd name="connsiteY160" fmla="*/ 7256 h 10000"/>
                <a:gd name="connsiteX161" fmla="*/ 4431 w 10000"/>
                <a:gd name="connsiteY161" fmla="*/ 7152 h 10000"/>
                <a:gd name="connsiteX162" fmla="*/ 4480 w 10000"/>
                <a:gd name="connsiteY162" fmla="*/ 7322 h 10000"/>
                <a:gd name="connsiteX163" fmla="*/ 4541 w 10000"/>
                <a:gd name="connsiteY163" fmla="*/ 7662 h 10000"/>
                <a:gd name="connsiteX164" fmla="*/ 4720 w 10000"/>
                <a:gd name="connsiteY164" fmla="*/ 7739 h 10000"/>
                <a:gd name="connsiteX165" fmla="*/ 4761 w 10000"/>
                <a:gd name="connsiteY165" fmla="*/ 8183 h 10000"/>
                <a:gd name="connsiteX166" fmla="*/ 4914 w 10000"/>
                <a:gd name="connsiteY166" fmla="*/ 8276 h 10000"/>
                <a:gd name="connsiteX167" fmla="*/ 4757 w 10000"/>
                <a:gd name="connsiteY167" fmla="*/ 8370 h 10000"/>
                <a:gd name="connsiteX168" fmla="*/ 4705 w 10000"/>
                <a:gd name="connsiteY168" fmla="*/ 8260 h 10000"/>
                <a:gd name="connsiteX169" fmla="*/ 4645 w 10000"/>
                <a:gd name="connsiteY169" fmla="*/ 8403 h 10000"/>
                <a:gd name="connsiteX170" fmla="*/ 4491 w 10000"/>
                <a:gd name="connsiteY170" fmla="*/ 8287 h 10000"/>
                <a:gd name="connsiteX171" fmla="*/ 4405 w 10000"/>
                <a:gd name="connsiteY171" fmla="*/ 8452 h 10000"/>
                <a:gd name="connsiteX172" fmla="*/ 4226 w 10000"/>
                <a:gd name="connsiteY172" fmla="*/ 8331 h 10000"/>
                <a:gd name="connsiteX173" fmla="*/ 4312 w 10000"/>
                <a:gd name="connsiteY173" fmla="*/ 8699 h 10000"/>
                <a:gd name="connsiteX174" fmla="*/ 4304 w 10000"/>
                <a:gd name="connsiteY174" fmla="*/ 8967 h 10000"/>
                <a:gd name="connsiteX175" fmla="*/ 4189 w 10000"/>
                <a:gd name="connsiteY175" fmla="*/ 9088 h 10000"/>
                <a:gd name="connsiteX176" fmla="*/ 4226 w 10000"/>
                <a:gd name="connsiteY176" fmla="*/ 9193 h 10000"/>
                <a:gd name="connsiteX177" fmla="*/ 4065 w 10000"/>
                <a:gd name="connsiteY177" fmla="*/ 9412 h 10000"/>
                <a:gd name="connsiteX178" fmla="*/ 4129 w 10000"/>
                <a:gd name="connsiteY178" fmla="*/ 9647 h 10000"/>
                <a:gd name="connsiteX179" fmla="*/ 3972 w 10000"/>
                <a:gd name="connsiteY179" fmla="*/ 9681 h 10000"/>
                <a:gd name="connsiteX180" fmla="*/ 3931 w 10000"/>
                <a:gd name="connsiteY180" fmla="*/ 9741 h 10000"/>
                <a:gd name="connsiteX181" fmla="*/ 3998 w 10000"/>
                <a:gd name="connsiteY181" fmla="*/ 9785 h 10000"/>
                <a:gd name="connsiteX182" fmla="*/ 4118 w 10000"/>
                <a:gd name="connsiteY182" fmla="*/ 9944 h 10000"/>
                <a:gd name="connsiteX183" fmla="*/ 4312 w 10000"/>
                <a:gd name="connsiteY183" fmla="*/ 9999 h 10000"/>
                <a:gd name="connsiteX184" fmla="*/ 4319 w 10000"/>
                <a:gd name="connsiteY184" fmla="*/ 9851 h 10000"/>
                <a:gd name="connsiteX185" fmla="*/ 4387 w 10000"/>
                <a:gd name="connsiteY185" fmla="*/ 9856 h 10000"/>
                <a:gd name="connsiteX186" fmla="*/ 4675 w 10000"/>
                <a:gd name="connsiteY186" fmla="*/ 9603 h 10000"/>
                <a:gd name="connsiteX187" fmla="*/ 4866 w 10000"/>
                <a:gd name="connsiteY187" fmla="*/ 9845 h 10000"/>
                <a:gd name="connsiteX188" fmla="*/ 4866 w 10000"/>
                <a:gd name="connsiteY188" fmla="*/ 9862 h 10000"/>
                <a:gd name="connsiteX189" fmla="*/ 4896 w 10000"/>
                <a:gd name="connsiteY189" fmla="*/ 9703 h 10000"/>
                <a:gd name="connsiteX190" fmla="*/ 4843 w 10000"/>
                <a:gd name="connsiteY190" fmla="*/ 9570 h 10000"/>
                <a:gd name="connsiteX191" fmla="*/ 4776 w 10000"/>
                <a:gd name="connsiteY191" fmla="*/ 9549 h 10000"/>
                <a:gd name="connsiteX192" fmla="*/ 4821 w 10000"/>
                <a:gd name="connsiteY192" fmla="*/ 9466 h 10000"/>
                <a:gd name="connsiteX193" fmla="*/ 4806 w 10000"/>
                <a:gd name="connsiteY193" fmla="*/ 9444 h 10000"/>
                <a:gd name="connsiteX194" fmla="*/ 4750 w 10000"/>
                <a:gd name="connsiteY194" fmla="*/ 9439 h 10000"/>
                <a:gd name="connsiteX195" fmla="*/ 4720 w 10000"/>
                <a:gd name="connsiteY195" fmla="*/ 9121 h 10000"/>
                <a:gd name="connsiteX196" fmla="*/ 4761 w 10000"/>
                <a:gd name="connsiteY196" fmla="*/ 9105 h 10000"/>
                <a:gd name="connsiteX197" fmla="*/ 4783 w 10000"/>
                <a:gd name="connsiteY197" fmla="*/ 9253 h 10000"/>
                <a:gd name="connsiteX198" fmla="*/ 4836 w 10000"/>
                <a:gd name="connsiteY198" fmla="*/ 9384 h 10000"/>
                <a:gd name="connsiteX199" fmla="*/ 4881 w 10000"/>
                <a:gd name="connsiteY199" fmla="*/ 9302 h 10000"/>
                <a:gd name="connsiteX200" fmla="*/ 4869 w 10000"/>
                <a:gd name="connsiteY200" fmla="*/ 9220 h 10000"/>
                <a:gd name="connsiteX201" fmla="*/ 4940 w 10000"/>
                <a:gd name="connsiteY201" fmla="*/ 9203 h 10000"/>
                <a:gd name="connsiteX202" fmla="*/ 4903 w 10000"/>
                <a:gd name="connsiteY202" fmla="*/ 9034 h 10000"/>
                <a:gd name="connsiteX203" fmla="*/ 5000 w 10000"/>
                <a:gd name="connsiteY203" fmla="*/ 9061 h 10000"/>
                <a:gd name="connsiteX204" fmla="*/ 5004 w 10000"/>
                <a:gd name="connsiteY204" fmla="*/ 8972 h 10000"/>
                <a:gd name="connsiteX205" fmla="*/ 5041 w 10000"/>
                <a:gd name="connsiteY205" fmla="*/ 9039 h 10000"/>
                <a:gd name="connsiteX206" fmla="*/ 5206 w 10000"/>
                <a:gd name="connsiteY206" fmla="*/ 8781 h 10000"/>
                <a:gd name="connsiteX207" fmla="*/ 5112 w 10000"/>
                <a:gd name="connsiteY207" fmla="*/ 8584 h 10000"/>
                <a:gd name="connsiteX208" fmla="*/ 4937 w 10000"/>
                <a:gd name="connsiteY208" fmla="*/ 8425 h 10000"/>
                <a:gd name="connsiteX209" fmla="*/ 5037 w 10000"/>
                <a:gd name="connsiteY209" fmla="*/ 8370 h 10000"/>
                <a:gd name="connsiteX210" fmla="*/ 5183 w 10000"/>
                <a:gd name="connsiteY210" fmla="*/ 8633 h 10000"/>
                <a:gd name="connsiteX211" fmla="*/ 5292 w 10000"/>
                <a:gd name="connsiteY211" fmla="*/ 8199 h 10000"/>
                <a:gd name="connsiteX212" fmla="*/ 5299 w 10000"/>
                <a:gd name="connsiteY212" fmla="*/ 8030 h 10000"/>
                <a:gd name="connsiteX213" fmla="*/ 5482 w 10000"/>
                <a:gd name="connsiteY213" fmla="*/ 7942 h 10000"/>
                <a:gd name="connsiteX214" fmla="*/ 5550 w 10000"/>
                <a:gd name="connsiteY214" fmla="*/ 7607 h 10000"/>
                <a:gd name="connsiteX215" fmla="*/ 5561 w 10000"/>
                <a:gd name="connsiteY215" fmla="*/ 7734 h 10000"/>
                <a:gd name="connsiteX216" fmla="*/ 5677 w 10000"/>
                <a:gd name="connsiteY216" fmla="*/ 7596 h 10000"/>
                <a:gd name="connsiteX217" fmla="*/ 5759 w 10000"/>
                <a:gd name="connsiteY217" fmla="*/ 7579 h 10000"/>
                <a:gd name="connsiteX218" fmla="*/ 5842 w 10000"/>
                <a:gd name="connsiteY218" fmla="*/ 7207 h 10000"/>
                <a:gd name="connsiteX219" fmla="*/ 5916 w 10000"/>
                <a:gd name="connsiteY219" fmla="*/ 7486 h 10000"/>
                <a:gd name="connsiteX220" fmla="*/ 6137 w 10000"/>
                <a:gd name="connsiteY220" fmla="*/ 7563 h 10000"/>
                <a:gd name="connsiteX221" fmla="*/ 5969 w 10000"/>
                <a:gd name="connsiteY221" fmla="*/ 7618 h 10000"/>
                <a:gd name="connsiteX222" fmla="*/ 5954 w 10000"/>
                <a:gd name="connsiteY222" fmla="*/ 7679 h 10000"/>
                <a:gd name="connsiteX223" fmla="*/ 5786 w 10000"/>
                <a:gd name="connsiteY223" fmla="*/ 7690 h 10000"/>
                <a:gd name="connsiteX224" fmla="*/ 5700 w 10000"/>
                <a:gd name="connsiteY224" fmla="*/ 7723 h 10000"/>
                <a:gd name="connsiteX225" fmla="*/ 5767 w 10000"/>
                <a:gd name="connsiteY225" fmla="*/ 7772 h 10000"/>
                <a:gd name="connsiteX226" fmla="*/ 5827 w 10000"/>
                <a:gd name="connsiteY226" fmla="*/ 7756 h 10000"/>
                <a:gd name="connsiteX227" fmla="*/ 5991 w 10000"/>
                <a:gd name="connsiteY227" fmla="*/ 7789 h 10000"/>
                <a:gd name="connsiteX228" fmla="*/ 5804 w 10000"/>
                <a:gd name="connsiteY228" fmla="*/ 7964 h 10000"/>
                <a:gd name="connsiteX229" fmla="*/ 5872 w 10000"/>
                <a:gd name="connsiteY229" fmla="*/ 8008 h 10000"/>
                <a:gd name="connsiteX230" fmla="*/ 6043 w 10000"/>
                <a:gd name="connsiteY230" fmla="*/ 7958 h 10000"/>
                <a:gd name="connsiteX231" fmla="*/ 6275 w 10000"/>
                <a:gd name="connsiteY231" fmla="*/ 8101 h 10000"/>
                <a:gd name="connsiteX232" fmla="*/ 6575 w 10000"/>
                <a:gd name="connsiteY232" fmla="*/ 7909 h 10000"/>
                <a:gd name="connsiteX233" fmla="*/ 6870 w 10000"/>
                <a:gd name="connsiteY233" fmla="*/ 7887 h 10000"/>
                <a:gd name="connsiteX234" fmla="*/ 6915 w 10000"/>
                <a:gd name="connsiteY234" fmla="*/ 7745 h 10000"/>
                <a:gd name="connsiteX235" fmla="*/ 6993 w 10000"/>
                <a:gd name="connsiteY235" fmla="*/ 7958 h 10000"/>
                <a:gd name="connsiteX236" fmla="*/ 7075 w 10000"/>
                <a:gd name="connsiteY236" fmla="*/ 7986 h 10000"/>
                <a:gd name="connsiteX237" fmla="*/ 7045 w 10000"/>
                <a:gd name="connsiteY237" fmla="*/ 8134 h 10000"/>
                <a:gd name="connsiteX238" fmla="*/ 6788 w 10000"/>
                <a:gd name="connsiteY238" fmla="*/ 8281 h 10000"/>
                <a:gd name="connsiteX239" fmla="*/ 6769 w 10000"/>
                <a:gd name="connsiteY239" fmla="*/ 8386 h 10000"/>
                <a:gd name="connsiteX240" fmla="*/ 6627 w 10000"/>
                <a:gd name="connsiteY240" fmla="*/ 8523 h 10000"/>
                <a:gd name="connsiteX241" fmla="*/ 6623 w 10000"/>
                <a:gd name="connsiteY241" fmla="*/ 8649 h 10000"/>
                <a:gd name="connsiteX242" fmla="*/ 6537 w 10000"/>
                <a:gd name="connsiteY242" fmla="*/ 8704 h 10000"/>
                <a:gd name="connsiteX243" fmla="*/ 6428 w 10000"/>
                <a:gd name="connsiteY243" fmla="*/ 8989 h 10000"/>
                <a:gd name="connsiteX244" fmla="*/ 6582 w 10000"/>
                <a:gd name="connsiteY244" fmla="*/ 9001 h 10000"/>
                <a:gd name="connsiteX245" fmla="*/ 6672 w 10000"/>
                <a:gd name="connsiteY245" fmla="*/ 8879 h 10000"/>
                <a:gd name="connsiteX246" fmla="*/ 6769 w 10000"/>
                <a:gd name="connsiteY246" fmla="*/ 8912 h 10000"/>
                <a:gd name="connsiteX247" fmla="*/ 6814 w 10000"/>
                <a:gd name="connsiteY247" fmla="*/ 8786 h 10000"/>
                <a:gd name="connsiteX248" fmla="*/ 6877 w 10000"/>
                <a:gd name="connsiteY248" fmla="*/ 9001 h 10000"/>
                <a:gd name="connsiteX249" fmla="*/ 7060 w 10000"/>
                <a:gd name="connsiteY249" fmla="*/ 8994 h 10000"/>
                <a:gd name="connsiteX250" fmla="*/ 7217 w 10000"/>
                <a:gd name="connsiteY250" fmla="*/ 9362 h 10000"/>
                <a:gd name="connsiteX251" fmla="*/ 7232 w 10000"/>
                <a:gd name="connsiteY251" fmla="*/ 9675 h 10000"/>
                <a:gd name="connsiteX252" fmla="*/ 7176 w 10000"/>
                <a:gd name="connsiteY252" fmla="*/ 9692 h 10000"/>
                <a:gd name="connsiteX253" fmla="*/ 7187 w 10000"/>
                <a:gd name="connsiteY253" fmla="*/ 9780 h 10000"/>
                <a:gd name="connsiteX254" fmla="*/ 7423 w 10000"/>
                <a:gd name="connsiteY254" fmla="*/ 9900 h 10000"/>
                <a:gd name="connsiteX255" fmla="*/ 7741 w 10000"/>
                <a:gd name="connsiteY255" fmla="*/ 9565 h 10000"/>
                <a:gd name="connsiteX256" fmla="*/ 7879 w 10000"/>
                <a:gd name="connsiteY256" fmla="*/ 9176 h 10000"/>
                <a:gd name="connsiteX257" fmla="*/ 8107 w 10000"/>
                <a:gd name="connsiteY257" fmla="*/ 9023 h 10000"/>
                <a:gd name="connsiteX258" fmla="*/ 8182 w 10000"/>
                <a:gd name="connsiteY258" fmla="*/ 8841 h 10000"/>
                <a:gd name="connsiteX259" fmla="*/ 8268 w 10000"/>
                <a:gd name="connsiteY259" fmla="*/ 8786 h 10000"/>
                <a:gd name="connsiteX260" fmla="*/ 8320 w 10000"/>
                <a:gd name="connsiteY260" fmla="*/ 8512 h 10000"/>
                <a:gd name="connsiteX261" fmla="*/ 8542 w 10000"/>
                <a:gd name="connsiteY261" fmla="*/ 8617 h 10000"/>
                <a:gd name="connsiteX262" fmla="*/ 8672 w 10000"/>
                <a:gd name="connsiteY262" fmla="*/ 8474 h 10000"/>
                <a:gd name="connsiteX263" fmla="*/ 8855 w 10000"/>
                <a:gd name="connsiteY263" fmla="*/ 8343 h 10000"/>
                <a:gd name="connsiteX264" fmla="*/ 8781 w 10000"/>
                <a:gd name="connsiteY264" fmla="*/ 8128 h 10000"/>
                <a:gd name="connsiteX265" fmla="*/ 7708 w 10000"/>
                <a:gd name="connsiteY265" fmla="*/ 7991 h 10000"/>
                <a:gd name="connsiteX266" fmla="*/ 7682 w 10000"/>
                <a:gd name="connsiteY266" fmla="*/ 7904 h 10000"/>
                <a:gd name="connsiteX267" fmla="*/ 7607 w 10000"/>
                <a:gd name="connsiteY267" fmla="*/ 8002 h 10000"/>
                <a:gd name="connsiteX268" fmla="*/ 7715 w 10000"/>
                <a:gd name="connsiteY268" fmla="*/ 7761 h 10000"/>
                <a:gd name="connsiteX269" fmla="*/ 7674 w 10000"/>
                <a:gd name="connsiteY269" fmla="*/ 7717 h 10000"/>
                <a:gd name="connsiteX270" fmla="*/ 7554 w 10000"/>
                <a:gd name="connsiteY270" fmla="*/ 7915 h 10000"/>
                <a:gd name="connsiteX271" fmla="*/ 7618 w 10000"/>
                <a:gd name="connsiteY271" fmla="*/ 7712 h 10000"/>
                <a:gd name="connsiteX272" fmla="*/ 7532 w 10000"/>
                <a:gd name="connsiteY272" fmla="*/ 7767 h 10000"/>
                <a:gd name="connsiteX273" fmla="*/ 7419 w 10000"/>
                <a:gd name="connsiteY273" fmla="*/ 7717 h 10000"/>
                <a:gd name="connsiteX274" fmla="*/ 7333 w 10000"/>
                <a:gd name="connsiteY274" fmla="*/ 7794 h 10000"/>
                <a:gd name="connsiteX275" fmla="*/ 7240 w 10000"/>
                <a:gd name="connsiteY275" fmla="*/ 7728 h 10000"/>
                <a:gd name="connsiteX276" fmla="*/ 7087 w 10000"/>
                <a:gd name="connsiteY276" fmla="*/ 7717 h 10000"/>
                <a:gd name="connsiteX277" fmla="*/ 7090 w 10000"/>
                <a:gd name="connsiteY277" fmla="*/ 7547 h 10000"/>
                <a:gd name="connsiteX278" fmla="*/ 7229 w 10000"/>
                <a:gd name="connsiteY278" fmla="*/ 7662 h 10000"/>
                <a:gd name="connsiteX279" fmla="*/ 7273 w 10000"/>
                <a:gd name="connsiteY279" fmla="*/ 7541 h 10000"/>
                <a:gd name="connsiteX280" fmla="*/ 7236 w 10000"/>
                <a:gd name="connsiteY280" fmla="*/ 7410 h 10000"/>
                <a:gd name="connsiteX281" fmla="*/ 7341 w 10000"/>
                <a:gd name="connsiteY281" fmla="*/ 7547 h 10000"/>
                <a:gd name="connsiteX282" fmla="*/ 7483 w 10000"/>
                <a:gd name="connsiteY282" fmla="*/ 7536 h 10000"/>
                <a:gd name="connsiteX283" fmla="*/ 7506 w 10000"/>
                <a:gd name="connsiteY283" fmla="*/ 7685 h 10000"/>
                <a:gd name="connsiteX284" fmla="*/ 7547 w 10000"/>
                <a:gd name="connsiteY284" fmla="*/ 7685 h 10000"/>
                <a:gd name="connsiteX285" fmla="*/ 7558 w 10000"/>
                <a:gd name="connsiteY285" fmla="*/ 7415 h 10000"/>
                <a:gd name="connsiteX286" fmla="*/ 7607 w 10000"/>
                <a:gd name="connsiteY286" fmla="*/ 7585 h 10000"/>
                <a:gd name="connsiteX287" fmla="*/ 7693 w 10000"/>
                <a:gd name="connsiteY287" fmla="*/ 7590 h 10000"/>
                <a:gd name="connsiteX288" fmla="*/ 7629 w 10000"/>
                <a:gd name="connsiteY288" fmla="*/ 7333 h 10000"/>
                <a:gd name="connsiteX289" fmla="*/ 7786 w 10000"/>
                <a:gd name="connsiteY289" fmla="*/ 7240 h 10000"/>
                <a:gd name="connsiteX290" fmla="*/ 7779 w 10000"/>
                <a:gd name="connsiteY290" fmla="*/ 6987 h 10000"/>
                <a:gd name="connsiteX291" fmla="*/ 7887 w 10000"/>
                <a:gd name="connsiteY291" fmla="*/ 7081 h 10000"/>
                <a:gd name="connsiteX292" fmla="*/ 7906 w 10000"/>
                <a:gd name="connsiteY292" fmla="*/ 7015 h 10000"/>
                <a:gd name="connsiteX293" fmla="*/ 7775 w 10000"/>
                <a:gd name="connsiteY293" fmla="*/ 6735 h 10000"/>
                <a:gd name="connsiteX294" fmla="*/ 7950 w 10000"/>
                <a:gd name="connsiteY294" fmla="*/ 6894 h 10000"/>
                <a:gd name="connsiteX295" fmla="*/ 8171 w 10000"/>
                <a:gd name="connsiteY295" fmla="*/ 6511 h 10000"/>
                <a:gd name="connsiteX296" fmla="*/ 8384 w 10000"/>
                <a:gd name="connsiteY296" fmla="*/ 6483 h 10000"/>
                <a:gd name="connsiteX297" fmla="*/ 8429 w 10000"/>
                <a:gd name="connsiteY29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143 w 10000"/>
                <a:gd name="connsiteY24" fmla="*/ 1838 h 10000"/>
                <a:gd name="connsiteX25" fmla="*/ 9091 w 10000"/>
                <a:gd name="connsiteY25" fmla="*/ 1712 h 10000"/>
                <a:gd name="connsiteX26" fmla="*/ 9020 w 10000"/>
                <a:gd name="connsiteY26" fmla="*/ 1728 h 10000"/>
                <a:gd name="connsiteX27" fmla="*/ 7569 w 10000"/>
                <a:gd name="connsiteY27" fmla="*/ 1873 h 10000"/>
                <a:gd name="connsiteX28" fmla="*/ 7165 w 10000"/>
                <a:gd name="connsiteY28" fmla="*/ 1996 h 10000"/>
                <a:gd name="connsiteX29" fmla="*/ 6892 w 10000"/>
                <a:gd name="connsiteY29" fmla="*/ 1827 h 10000"/>
                <a:gd name="connsiteX30" fmla="*/ 6922 w 10000"/>
                <a:gd name="connsiteY30" fmla="*/ 1728 h 10000"/>
                <a:gd name="connsiteX31" fmla="*/ 6765 w 10000"/>
                <a:gd name="connsiteY31" fmla="*/ 1398 h 10000"/>
                <a:gd name="connsiteX32" fmla="*/ 6799 w 10000"/>
                <a:gd name="connsiteY32" fmla="*/ 1256 h 10000"/>
                <a:gd name="connsiteX33" fmla="*/ 6728 w 10000"/>
                <a:gd name="connsiteY33" fmla="*/ 1229 h 10000"/>
                <a:gd name="connsiteX34" fmla="*/ 6657 w 10000"/>
                <a:gd name="connsiteY34" fmla="*/ 1311 h 10000"/>
                <a:gd name="connsiteX35" fmla="*/ 6593 w 10000"/>
                <a:gd name="connsiteY35" fmla="*/ 1114 h 10000"/>
                <a:gd name="connsiteX36" fmla="*/ 6391 w 10000"/>
                <a:gd name="connsiteY36" fmla="*/ 1311 h 10000"/>
                <a:gd name="connsiteX37" fmla="*/ 6309 w 10000"/>
                <a:gd name="connsiteY37" fmla="*/ 1223 h 10000"/>
                <a:gd name="connsiteX38" fmla="*/ 6126 w 10000"/>
                <a:gd name="connsiteY38" fmla="*/ 1273 h 10000"/>
                <a:gd name="connsiteX39" fmla="*/ 6144 w 10000"/>
                <a:gd name="connsiteY39" fmla="*/ 1125 h 10000"/>
                <a:gd name="connsiteX40" fmla="*/ 6073 w 10000"/>
                <a:gd name="connsiteY40" fmla="*/ 1119 h 10000"/>
                <a:gd name="connsiteX41" fmla="*/ 6040 w 10000"/>
                <a:gd name="connsiteY41" fmla="*/ 910 h 10000"/>
                <a:gd name="connsiteX42" fmla="*/ 5942 w 10000"/>
                <a:gd name="connsiteY42" fmla="*/ 795 h 10000"/>
                <a:gd name="connsiteX43" fmla="*/ 6144 w 10000"/>
                <a:gd name="connsiteY43" fmla="*/ 620 h 10000"/>
                <a:gd name="connsiteX44" fmla="*/ 5901 w 10000"/>
                <a:gd name="connsiteY44" fmla="*/ 395 h 10000"/>
                <a:gd name="connsiteX45" fmla="*/ 5853 w 10000"/>
                <a:gd name="connsiteY45" fmla="*/ 142 h 10000"/>
                <a:gd name="connsiteX46" fmla="*/ 5741 w 10000"/>
                <a:gd name="connsiteY46" fmla="*/ 110 h 10000"/>
                <a:gd name="connsiteX47" fmla="*/ 5647 w 10000"/>
                <a:gd name="connsiteY47" fmla="*/ 0 h 10000"/>
                <a:gd name="connsiteX48" fmla="*/ 5547 w 10000"/>
                <a:gd name="connsiteY48" fmla="*/ 120 h 10000"/>
                <a:gd name="connsiteX49" fmla="*/ 5377 w 10000"/>
                <a:gd name="connsiteY49" fmla="*/ 110 h 10000"/>
                <a:gd name="connsiteX50" fmla="*/ 5232 w 10000"/>
                <a:gd name="connsiteY50" fmla="*/ 351 h 10000"/>
                <a:gd name="connsiteX51" fmla="*/ 4952 w 10000"/>
                <a:gd name="connsiteY51" fmla="*/ 329 h 10000"/>
                <a:gd name="connsiteX52" fmla="*/ 4884 w 10000"/>
                <a:gd name="connsiteY52" fmla="*/ 680 h 10000"/>
                <a:gd name="connsiteX53" fmla="*/ 4701 w 10000"/>
                <a:gd name="connsiteY53" fmla="*/ 707 h 10000"/>
                <a:gd name="connsiteX54" fmla="*/ 4795 w 10000"/>
                <a:gd name="connsiteY54" fmla="*/ 844 h 10000"/>
                <a:gd name="connsiteX55" fmla="*/ 4739 w 10000"/>
                <a:gd name="connsiteY55" fmla="*/ 899 h 10000"/>
                <a:gd name="connsiteX56" fmla="*/ 4612 w 10000"/>
                <a:gd name="connsiteY56" fmla="*/ 894 h 10000"/>
                <a:gd name="connsiteX57" fmla="*/ 4439 w 10000"/>
                <a:gd name="connsiteY57" fmla="*/ 1026 h 10000"/>
                <a:gd name="connsiteX58" fmla="*/ 4252 w 10000"/>
                <a:gd name="connsiteY58" fmla="*/ 1668 h 10000"/>
                <a:gd name="connsiteX59" fmla="*/ 4308 w 10000"/>
                <a:gd name="connsiteY59" fmla="*/ 2090 h 10000"/>
                <a:gd name="connsiteX60" fmla="*/ 4121 w 10000"/>
                <a:gd name="connsiteY60" fmla="*/ 1865 h 10000"/>
                <a:gd name="connsiteX61" fmla="*/ 3849 w 10000"/>
                <a:gd name="connsiteY61" fmla="*/ 1991 h 10000"/>
                <a:gd name="connsiteX62" fmla="*/ 3822 w 10000"/>
                <a:gd name="connsiteY62" fmla="*/ 1931 h 10000"/>
                <a:gd name="connsiteX63" fmla="*/ 3695 w 10000"/>
                <a:gd name="connsiteY63" fmla="*/ 2002 h 10000"/>
                <a:gd name="connsiteX64" fmla="*/ 3621 w 10000"/>
                <a:gd name="connsiteY64" fmla="*/ 2144 h 10000"/>
                <a:gd name="connsiteX65" fmla="*/ 3561 w 10000"/>
                <a:gd name="connsiteY65" fmla="*/ 1909 h 10000"/>
                <a:gd name="connsiteX66" fmla="*/ 3478 w 10000"/>
                <a:gd name="connsiteY66" fmla="*/ 1843 h 10000"/>
                <a:gd name="connsiteX67" fmla="*/ 3444 w 10000"/>
                <a:gd name="connsiteY67" fmla="*/ 1964 h 10000"/>
                <a:gd name="connsiteX68" fmla="*/ 3332 w 10000"/>
                <a:gd name="connsiteY68" fmla="*/ 1996 h 10000"/>
                <a:gd name="connsiteX69" fmla="*/ 3272 w 10000"/>
                <a:gd name="connsiteY69" fmla="*/ 2161 h 10000"/>
                <a:gd name="connsiteX70" fmla="*/ 3235 w 10000"/>
                <a:gd name="connsiteY70" fmla="*/ 2013 h 10000"/>
                <a:gd name="connsiteX71" fmla="*/ 3123 w 10000"/>
                <a:gd name="connsiteY71" fmla="*/ 2024 h 10000"/>
                <a:gd name="connsiteX72" fmla="*/ 3078 w 10000"/>
                <a:gd name="connsiteY72" fmla="*/ 2128 h 10000"/>
                <a:gd name="connsiteX73" fmla="*/ 3011 w 10000"/>
                <a:gd name="connsiteY73" fmla="*/ 1975 h 10000"/>
                <a:gd name="connsiteX74" fmla="*/ 2895 w 10000"/>
                <a:gd name="connsiteY74" fmla="*/ 2117 h 10000"/>
                <a:gd name="connsiteX75" fmla="*/ 2783 w 10000"/>
                <a:gd name="connsiteY75" fmla="*/ 2106 h 10000"/>
                <a:gd name="connsiteX76" fmla="*/ 2779 w 10000"/>
                <a:gd name="connsiteY76" fmla="*/ 2276 h 10000"/>
                <a:gd name="connsiteX77" fmla="*/ 2727 w 10000"/>
                <a:gd name="connsiteY77" fmla="*/ 2144 h 10000"/>
                <a:gd name="connsiteX78" fmla="*/ 2559 w 10000"/>
                <a:gd name="connsiteY78" fmla="*/ 2155 h 10000"/>
                <a:gd name="connsiteX79" fmla="*/ 2438 w 10000"/>
                <a:gd name="connsiteY79" fmla="*/ 1980 h 10000"/>
                <a:gd name="connsiteX80" fmla="*/ 2293 w 10000"/>
                <a:gd name="connsiteY80" fmla="*/ 2073 h 10000"/>
                <a:gd name="connsiteX81" fmla="*/ 2143 w 10000"/>
                <a:gd name="connsiteY81" fmla="*/ 1958 h 10000"/>
                <a:gd name="connsiteX82" fmla="*/ 2057 w 10000"/>
                <a:gd name="connsiteY82" fmla="*/ 2035 h 10000"/>
                <a:gd name="connsiteX83" fmla="*/ 1975 w 10000"/>
                <a:gd name="connsiteY83" fmla="*/ 1947 h 10000"/>
                <a:gd name="connsiteX84" fmla="*/ 1852 w 10000"/>
                <a:gd name="connsiteY84" fmla="*/ 1936 h 10000"/>
                <a:gd name="connsiteX85" fmla="*/ 1669 w 10000"/>
                <a:gd name="connsiteY85" fmla="*/ 1925 h 10000"/>
                <a:gd name="connsiteX86" fmla="*/ 1444 w 10000"/>
                <a:gd name="connsiteY86" fmla="*/ 1991 h 10000"/>
                <a:gd name="connsiteX87" fmla="*/ 1205 w 10000"/>
                <a:gd name="connsiteY87" fmla="*/ 2062 h 10000"/>
                <a:gd name="connsiteX88" fmla="*/ 921 w 10000"/>
                <a:gd name="connsiteY88" fmla="*/ 2166 h 10000"/>
                <a:gd name="connsiteX89" fmla="*/ 797 w 10000"/>
                <a:gd name="connsiteY89" fmla="*/ 2496 h 10000"/>
                <a:gd name="connsiteX90" fmla="*/ 603 w 10000"/>
                <a:gd name="connsiteY90" fmla="*/ 2501 h 10000"/>
                <a:gd name="connsiteX91" fmla="*/ 540 w 10000"/>
                <a:gd name="connsiteY91" fmla="*/ 2687 h 10000"/>
                <a:gd name="connsiteX92" fmla="*/ 558 w 10000"/>
                <a:gd name="connsiteY92" fmla="*/ 2764 h 10000"/>
                <a:gd name="connsiteX93" fmla="*/ 577 w 10000"/>
                <a:gd name="connsiteY93" fmla="*/ 2868 h 10000"/>
                <a:gd name="connsiteX94" fmla="*/ 577 w 10000"/>
                <a:gd name="connsiteY94" fmla="*/ 2868 h 10000"/>
                <a:gd name="connsiteX95" fmla="*/ 577 w 10000"/>
                <a:gd name="connsiteY95" fmla="*/ 2896 h 10000"/>
                <a:gd name="connsiteX96" fmla="*/ 682 w 10000"/>
                <a:gd name="connsiteY96" fmla="*/ 3116 h 10000"/>
                <a:gd name="connsiteX97" fmla="*/ 786 w 10000"/>
                <a:gd name="connsiteY97" fmla="*/ 3351 h 10000"/>
                <a:gd name="connsiteX98" fmla="*/ 921 w 10000"/>
                <a:gd name="connsiteY98" fmla="*/ 3488 h 10000"/>
                <a:gd name="connsiteX99" fmla="*/ 876 w 10000"/>
                <a:gd name="connsiteY99" fmla="*/ 3548 h 10000"/>
                <a:gd name="connsiteX100" fmla="*/ 805 w 10000"/>
                <a:gd name="connsiteY100" fmla="*/ 3603 h 10000"/>
                <a:gd name="connsiteX101" fmla="*/ 887 w 10000"/>
                <a:gd name="connsiteY101" fmla="*/ 3697 h 10000"/>
                <a:gd name="connsiteX102" fmla="*/ 876 w 10000"/>
                <a:gd name="connsiteY102" fmla="*/ 4053 h 10000"/>
                <a:gd name="connsiteX103" fmla="*/ 693 w 10000"/>
                <a:gd name="connsiteY103" fmla="*/ 4124 h 10000"/>
                <a:gd name="connsiteX104" fmla="*/ 498 w 10000"/>
                <a:gd name="connsiteY104" fmla="*/ 4531 h 10000"/>
                <a:gd name="connsiteX105" fmla="*/ 371 w 10000"/>
                <a:gd name="connsiteY105" fmla="*/ 4936 h 10000"/>
                <a:gd name="connsiteX106" fmla="*/ 195 w 10000"/>
                <a:gd name="connsiteY106" fmla="*/ 5260 h 10000"/>
                <a:gd name="connsiteX107" fmla="*/ 270 w 10000"/>
                <a:gd name="connsiteY107" fmla="*/ 5517 h 10000"/>
                <a:gd name="connsiteX108" fmla="*/ 277 w 10000"/>
                <a:gd name="connsiteY108" fmla="*/ 5732 h 10000"/>
                <a:gd name="connsiteX109" fmla="*/ 400 w 10000"/>
                <a:gd name="connsiteY109" fmla="*/ 5841 h 10000"/>
                <a:gd name="connsiteX110" fmla="*/ 382 w 10000"/>
                <a:gd name="connsiteY110" fmla="*/ 5945 h 10000"/>
                <a:gd name="connsiteX111" fmla="*/ 202 w 10000"/>
                <a:gd name="connsiteY111" fmla="*/ 5852 h 10000"/>
                <a:gd name="connsiteX112" fmla="*/ 124 w 10000"/>
                <a:gd name="connsiteY112" fmla="*/ 6099 h 10000"/>
                <a:gd name="connsiteX113" fmla="*/ 105 w 10000"/>
                <a:gd name="connsiteY113" fmla="*/ 6346 h 10000"/>
                <a:gd name="connsiteX114" fmla="*/ 1 w 10000"/>
                <a:gd name="connsiteY114" fmla="*/ 6571 h 10000"/>
                <a:gd name="connsiteX115" fmla="*/ 19 w 10000"/>
                <a:gd name="connsiteY115" fmla="*/ 6779 h 10000"/>
                <a:gd name="connsiteX116" fmla="*/ 90 w 10000"/>
                <a:gd name="connsiteY116" fmla="*/ 6828 h 10000"/>
                <a:gd name="connsiteX117" fmla="*/ 154 w 10000"/>
                <a:gd name="connsiteY117" fmla="*/ 6960 h 10000"/>
                <a:gd name="connsiteX118" fmla="*/ 240 w 10000"/>
                <a:gd name="connsiteY118" fmla="*/ 6943 h 10000"/>
                <a:gd name="connsiteX119" fmla="*/ 292 w 10000"/>
                <a:gd name="connsiteY119" fmla="*/ 7076 h 10000"/>
                <a:gd name="connsiteX120" fmla="*/ 445 w 10000"/>
                <a:gd name="connsiteY120" fmla="*/ 7103 h 10000"/>
                <a:gd name="connsiteX121" fmla="*/ 453 w 10000"/>
                <a:gd name="connsiteY121" fmla="*/ 7251 h 10000"/>
                <a:gd name="connsiteX122" fmla="*/ 494 w 10000"/>
                <a:gd name="connsiteY122" fmla="*/ 7278 h 10000"/>
                <a:gd name="connsiteX123" fmla="*/ 525 w 10000"/>
                <a:gd name="connsiteY123" fmla="*/ 7174 h 10000"/>
                <a:gd name="connsiteX124" fmla="*/ 581 w 10000"/>
                <a:gd name="connsiteY124" fmla="*/ 7196 h 10000"/>
                <a:gd name="connsiteX125" fmla="*/ 644 w 10000"/>
                <a:gd name="connsiteY125" fmla="*/ 6992 h 10000"/>
                <a:gd name="connsiteX126" fmla="*/ 820 w 10000"/>
                <a:gd name="connsiteY126" fmla="*/ 7174 h 10000"/>
                <a:gd name="connsiteX127" fmla="*/ 1283 w 10000"/>
                <a:gd name="connsiteY127" fmla="*/ 7163 h 10000"/>
                <a:gd name="connsiteX128" fmla="*/ 1466 w 10000"/>
                <a:gd name="connsiteY128" fmla="*/ 7092 h 10000"/>
                <a:gd name="connsiteX129" fmla="*/ 1766 w 10000"/>
                <a:gd name="connsiteY129" fmla="*/ 7344 h 10000"/>
                <a:gd name="connsiteX130" fmla="*/ 1956 w 10000"/>
                <a:gd name="connsiteY130" fmla="*/ 7087 h 10000"/>
                <a:gd name="connsiteX131" fmla="*/ 2382 w 10000"/>
                <a:gd name="connsiteY131" fmla="*/ 6861 h 10000"/>
                <a:gd name="connsiteX132" fmla="*/ 2536 w 10000"/>
                <a:gd name="connsiteY132" fmla="*/ 6489 h 10000"/>
                <a:gd name="connsiteX133" fmla="*/ 2648 w 10000"/>
                <a:gd name="connsiteY133" fmla="*/ 6439 h 10000"/>
                <a:gd name="connsiteX134" fmla="*/ 2648 w 10000"/>
                <a:gd name="connsiteY134" fmla="*/ 6379 h 10000"/>
                <a:gd name="connsiteX135" fmla="*/ 2693 w 10000"/>
                <a:gd name="connsiteY135" fmla="*/ 6379 h 10000"/>
                <a:gd name="connsiteX136" fmla="*/ 2682 w 10000"/>
                <a:gd name="connsiteY136" fmla="*/ 6230 h 10000"/>
                <a:gd name="connsiteX137" fmla="*/ 2820 w 10000"/>
                <a:gd name="connsiteY137" fmla="*/ 6285 h 10000"/>
                <a:gd name="connsiteX138" fmla="*/ 2839 w 10000"/>
                <a:gd name="connsiteY138" fmla="*/ 6159 h 10000"/>
                <a:gd name="connsiteX139" fmla="*/ 2921 w 10000"/>
                <a:gd name="connsiteY139" fmla="*/ 6230 h 10000"/>
                <a:gd name="connsiteX140" fmla="*/ 2981 w 10000"/>
                <a:gd name="connsiteY140" fmla="*/ 6126 h 10000"/>
                <a:gd name="connsiteX141" fmla="*/ 3078 w 10000"/>
                <a:gd name="connsiteY141" fmla="*/ 6154 h 10000"/>
                <a:gd name="connsiteX142" fmla="*/ 3164 w 10000"/>
                <a:gd name="connsiteY142" fmla="*/ 6055 h 10000"/>
                <a:gd name="connsiteX143" fmla="*/ 3328 w 10000"/>
                <a:gd name="connsiteY143" fmla="*/ 6192 h 10000"/>
                <a:gd name="connsiteX144" fmla="*/ 3411 w 10000"/>
                <a:gd name="connsiteY144" fmla="*/ 6197 h 10000"/>
                <a:gd name="connsiteX145" fmla="*/ 3437 w 10000"/>
                <a:gd name="connsiteY145" fmla="*/ 6307 h 10000"/>
                <a:gd name="connsiteX146" fmla="*/ 3591 w 10000"/>
                <a:gd name="connsiteY146" fmla="*/ 6236 h 10000"/>
                <a:gd name="connsiteX147" fmla="*/ 3576 w 10000"/>
                <a:gd name="connsiteY147" fmla="*/ 6357 h 10000"/>
                <a:gd name="connsiteX148" fmla="*/ 3632 w 10000"/>
                <a:gd name="connsiteY148" fmla="*/ 6341 h 10000"/>
                <a:gd name="connsiteX149" fmla="*/ 3699 w 10000"/>
                <a:gd name="connsiteY149" fmla="*/ 6428 h 10000"/>
                <a:gd name="connsiteX150" fmla="*/ 3703 w 10000"/>
                <a:gd name="connsiteY150" fmla="*/ 6301 h 10000"/>
                <a:gd name="connsiteX151" fmla="*/ 3882 w 10000"/>
                <a:gd name="connsiteY151" fmla="*/ 6341 h 10000"/>
                <a:gd name="connsiteX152" fmla="*/ 3946 w 10000"/>
                <a:gd name="connsiteY152" fmla="*/ 6511 h 10000"/>
                <a:gd name="connsiteX153" fmla="*/ 4047 w 10000"/>
                <a:gd name="connsiteY153" fmla="*/ 6494 h 10000"/>
                <a:gd name="connsiteX154" fmla="*/ 4091 w 10000"/>
                <a:gd name="connsiteY154" fmla="*/ 6417 h 10000"/>
                <a:gd name="connsiteX155" fmla="*/ 4192 w 10000"/>
                <a:gd name="connsiteY155" fmla="*/ 6735 h 10000"/>
                <a:gd name="connsiteX156" fmla="*/ 4155 w 10000"/>
                <a:gd name="connsiteY156" fmla="*/ 6987 h 10000"/>
                <a:gd name="connsiteX157" fmla="*/ 4207 w 10000"/>
                <a:gd name="connsiteY157" fmla="*/ 7114 h 10000"/>
                <a:gd name="connsiteX158" fmla="*/ 4278 w 10000"/>
                <a:gd name="connsiteY158" fmla="*/ 7119 h 10000"/>
                <a:gd name="connsiteX159" fmla="*/ 4387 w 10000"/>
                <a:gd name="connsiteY159" fmla="*/ 7256 h 10000"/>
                <a:gd name="connsiteX160" fmla="*/ 4431 w 10000"/>
                <a:gd name="connsiteY160" fmla="*/ 7152 h 10000"/>
                <a:gd name="connsiteX161" fmla="*/ 4480 w 10000"/>
                <a:gd name="connsiteY161" fmla="*/ 7322 h 10000"/>
                <a:gd name="connsiteX162" fmla="*/ 4541 w 10000"/>
                <a:gd name="connsiteY162" fmla="*/ 7662 h 10000"/>
                <a:gd name="connsiteX163" fmla="*/ 4720 w 10000"/>
                <a:gd name="connsiteY163" fmla="*/ 7739 h 10000"/>
                <a:gd name="connsiteX164" fmla="*/ 4761 w 10000"/>
                <a:gd name="connsiteY164" fmla="*/ 8183 h 10000"/>
                <a:gd name="connsiteX165" fmla="*/ 4914 w 10000"/>
                <a:gd name="connsiteY165" fmla="*/ 8276 h 10000"/>
                <a:gd name="connsiteX166" fmla="*/ 4757 w 10000"/>
                <a:gd name="connsiteY166" fmla="*/ 8370 h 10000"/>
                <a:gd name="connsiteX167" fmla="*/ 4705 w 10000"/>
                <a:gd name="connsiteY167" fmla="*/ 8260 h 10000"/>
                <a:gd name="connsiteX168" fmla="*/ 4645 w 10000"/>
                <a:gd name="connsiteY168" fmla="*/ 8403 h 10000"/>
                <a:gd name="connsiteX169" fmla="*/ 4491 w 10000"/>
                <a:gd name="connsiteY169" fmla="*/ 8287 h 10000"/>
                <a:gd name="connsiteX170" fmla="*/ 4405 w 10000"/>
                <a:gd name="connsiteY170" fmla="*/ 8452 h 10000"/>
                <a:gd name="connsiteX171" fmla="*/ 4226 w 10000"/>
                <a:gd name="connsiteY171" fmla="*/ 8331 h 10000"/>
                <a:gd name="connsiteX172" fmla="*/ 4312 w 10000"/>
                <a:gd name="connsiteY172" fmla="*/ 8699 h 10000"/>
                <a:gd name="connsiteX173" fmla="*/ 4304 w 10000"/>
                <a:gd name="connsiteY173" fmla="*/ 8967 h 10000"/>
                <a:gd name="connsiteX174" fmla="*/ 4189 w 10000"/>
                <a:gd name="connsiteY174" fmla="*/ 9088 h 10000"/>
                <a:gd name="connsiteX175" fmla="*/ 4226 w 10000"/>
                <a:gd name="connsiteY175" fmla="*/ 9193 h 10000"/>
                <a:gd name="connsiteX176" fmla="*/ 4065 w 10000"/>
                <a:gd name="connsiteY176" fmla="*/ 9412 h 10000"/>
                <a:gd name="connsiteX177" fmla="*/ 4129 w 10000"/>
                <a:gd name="connsiteY177" fmla="*/ 9647 h 10000"/>
                <a:gd name="connsiteX178" fmla="*/ 3972 w 10000"/>
                <a:gd name="connsiteY178" fmla="*/ 9681 h 10000"/>
                <a:gd name="connsiteX179" fmla="*/ 3931 w 10000"/>
                <a:gd name="connsiteY179" fmla="*/ 9741 h 10000"/>
                <a:gd name="connsiteX180" fmla="*/ 3998 w 10000"/>
                <a:gd name="connsiteY180" fmla="*/ 9785 h 10000"/>
                <a:gd name="connsiteX181" fmla="*/ 4118 w 10000"/>
                <a:gd name="connsiteY181" fmla="*/ 9944 h 10000"/>
                <a:gd name="connsiteX182" fmla="*/ 4312 w 10000"/>
                <a:gd name="connsiteY182" fmla="*/ 9999 h 10000"/>
                <a:gd name="connsiteX183" fmla="*/ 4319 w 10000"/>
                <a:gd name="connsiteY183" fmla="*/ 9851 h 10000"/>
                <a:gd name="connsiteX184" fmla="*/ 4387 w 10000"/>
                <a:gd name="connsiteY184" fmla="*/ 9856 h 10000"/>
                <a:gd name="connsiteX185" fmla="*/ 4675 w 10000"/>
                <a:gd name="connsiteY185" fmla="*/ 9603 h 10000"/>
                <a:gd name="connsiteX186" fmla="*/ 4866 w 10000"/>
                <a:gd name="connsiteY186" fmla="*/ 9845 h 10000"/>
                <a:gd name="connsiteX187" fmla="*/ 4866 w 10000"/>
                <a:gd name="connsiteY187" fmla="*/ 9862 h 10000"/>
                <a:gd name="connsiteX188" fmla="*/ 4896 w 10000"/>
                <a:gd name="connsiteY188" fmla="*/ 9703 h 10000"/>
                <a:gd name="connsiteX189" fmla="*/ 4843 w 10000"/>
                <a:gd name="connsiteY189" fmla="*/ 9570 h 10000"/>
                <a:gd name="connsiteX190" fmla="*/ 4776 w 10000"/>
                <a:gd name="connsiteY190" fmla="*/ 9549 h 10000"/>
                <a:gd name="connsiteX191" fmla="*/ 4821 w 10000"/>
                <a:gd name="connsiteY191" fmla="*/ 9466 h 10000"/>
                <a:gd name="connsiteX192" fmla="*/ 4806 w 10000"/>
                <a:gd name="connsiteY192" fmla="*/ 9444 h 10000"/>
                <a:gd name="connsiteX193" fmla="*/ 4750 w 10000"/>
                <a:gd name="connsiteY193" fmla="*/ 9439 h 10000"/>
                <a:gd name="connsiteX194" fmla="*/ 4720 w 10000"/>
                <a:gd name="connsiteY194" fmla="*/ 9121 h 10000"/>
                <a:gd name="connsiteX195" fmla="*/ 4761 w 10000"/>
                <a:gd name="connsiteY195" fmla="*/ 9105 h 10000"/>
                <a:gd name="connsiteX196" fmla="*/ 4783 w 10000"/>
                <a:gd name="connsiteY196" fmla="*/ 9253 h 10000"/>
                <a:gd name="connsiteX197" fmla="*/ 4836 w 10000"/>
                <a:gd name="connsiteY197" fmla="*/ 9384 h 10000"/>
                <a:gd name="connsiteX198" fmla="*/ 4881 w 10000"/>
                <a:gd name="connsiteY198" fmla="*/ 9302 h 10000"/>
                <a:gd name="connsiteX199" fmla="*/ 4869 w 10000"/>
                <a:gd name="connsiteY199" fmla="*/ 9220 h 10000"/>
                <a:gd name="connsiteX200" fmla="*/ 4940 w 10000"/>
                <a:gd name="connsiteY200" fmla="*/ 9203 h 10000"/>
                <a:gd name="connsiteX201" fmla="*/ 4903 w 10000"/>
                <a:gd name="connsiteY201" fmla="*/ 9034 h 10000"/>
                <a:gd name="connsiteX202" fmla="*/ 5000 w 10000"/>
                <a:gd name="connsiteY202" fmla="*/ 9061 h 10000"/>
                <a:gd name="connsiteX203" fmla="*/ 5004 w 10000"/>
                <a:gd name="connsiteY203" fmla="*/ 8972 h 10000"/>
                <a:gd name="connsiteX204" fmla="*/ 5041 w 10000"/>
                <a:gd name="connsiteY204" fmla="*/ 9039 h 10000"/>
                <a:gd name="connsiteX205" fmla="*/ 5206 w 10000"/>
                <a:gd name="connsiteY205" fmla="*/ 8781 h 10000"/>
                <a:gd name="connsiteX206" fmla="*/ 5112 w 10000"/>
                <a:gd name="connsiteY206" fmla="*/ 8584 h 10000"/>
                <a:gd name="connsiteX207" fmla="*/ 4937 w 10000"/>
                <a:gd name="connsiteY207" fmla="*/ 8425 h 10000"/>
                <a:gd name="connsiteX208" fmla="*/ 5037 w 10000"/>
                <a:gd name="connsiteY208" fmla="*/ 8370 h 10000"/>
                <a:gd name="connsiteX209" fmla="*/ 5183 w 10000"/>
                <a:gd name="connsiteY209" fmla="*/ 8633 h 10000"/>
                <a:gd name="connsiteX210" fmla="*/ 5292 w 10000"/>
                <a:gd name="connsiteY210" fmla="*/ 8199 h 10000"/>
                <a:gd name="connsiteX211" fmla="*/ 5299 w 10000"/>
                <a:gd name="connsiteY211" fmla="*/ 8030 h 10000"/>
                <a:gd name="connsiteX212" fmla="*/ 5482 w 10000"/>
                <a:gd name="connsiteY212" fmla="*/ 7942 h 10000"/>
                <a:gd name="connsiteX213" fmla="*/ 5550 w 10000"/>
                <a:gd name="connsiteY213" fmla="*/ 7607 h 10000"/>
                <a:gd name="connsiteX214" fmla="*/ 5561 w 10000"/>
                <a:gd name="connsiteY214" fmla="*/ 7734 h 10000"/>
                <a:gd name="connsiteX215" fmla="*/ 5677 w 10000"/>
                <a:gd name="connsiteY215" fmla="*/ 7596 h 10000"/>
                <a:gd name="connsiteX216" fmla="*/ 5759 w 10000"/>
                <a:gd name="connsiteY216" fmla="*/ 7579 h 10000"/>
                <a:gd name="connsiteX217" fmla="*/ 5842 w 10000"/>
                <a:gd name="connsiteY217" fmla="*/ 7207 h 10000"/>
                <a:gd name="connsiteX218" fmla="*/ 5916 w 10000"/>
                <a:gd name="connsiteY218" fmla="*/ 7486 h 10000"/>
                <a:gd name="connsiteX219" fmla="*/ 6137 w 10000"/>
                <a:gd name="connsiteY219" fmla="*/ 7563 h 10000"/>
                <a:gd name="connsiteX220" fmla="*/ 5969 w 10000"/>
                <a:gd name="connsiteY220" fmla="*/ 7618 h 10000"/>
                <a:gd name="connsiteX221" fmla="*/ 5954 w 10000"/>
                <a:gd name="connsiteY221" fmla="*/ 7679 h 10000"/>
                <a:gd name="connsiteX222" fmla="*/ 5786 w 10000"/>
                <a:gd name="connsiteY222" fmla="*/ 7690 h 10000"/>
                <a:gd name="connsiteX223" fmla="*/ 5700 w 10000"/>
                <a:gd name="connsiteY223" fmla="*/ 7723 h 10000"/>
                <a:gd name="connsiteX224" fmla="*/ 5767 w 10000"/>
                <a:gd name="connsiteY224" fmla="*/ 7772 h 10000"/>
                <a:gd name="connsiteX225" fmla="*/ 5827 w 10000"/>
                <a:gd name="connsiteY225" fmla="*/ 7756 h 10000"/>
                <a:gd name="connsiteX226" fmla="*/ 5991 w 10000"/>
                <a:gd name="connsiteY226" fmla="*/ 7789 h 10000"/>
                <a:gd name="connsiteX227" fmla="*/ 5804 w 10000"/>
                <a:gd name="connsiteY227" fmla="*/ 7964 h 10000"/>
                <a:gd name="connsiteX228" fmla="*/ 5872 w 10000"/>
                <a:gd name="connsiteY228" fmla="*/ 8008 h 10000"/>
                <a:gd name="connsiteX229" fmla="*/ 6043 w 10000"/>
                <a:gd name="connsiteY229" fmla="*/ 7958 h 10000"/>
                <a:gd name="connsiteX230" fmla="*/ 6275 w 10000"/>
                <a:gd name="connsiteY230" fmla="*/ 8101 h 10000"/>
                <a:gd name="connsiteX231" fmla="*/ 6575 w 10000"/>
                <a:gd name="connsiteY231" fmla="*/ 7909 h 10000"/>
                <a:gd name="connsiteX232" fmla="*/ 6870 w 10000"/>
                <a:gd name="connsiteY232" fmla="*/ 7887 h 10000"/>
                <a:gd name="connsiteX233" fmla="*/ 6915 w 10000"/>
                <a:gd name="connsiteY233" fmla="*/ 7745 h 10000"/>
                <a:gd name="connsiteX234" fmla="*/ 6993 w 10000"/>
                <a:gd name="connsiteY234" fmla="*/ 7958 h 10000"/>
                <a:gd name="connsiteX235" fmla="*/ 7075 w 10000"/>
                <a:gd name="connsiteY235" fmla="*/ 7986 h 10000"/>
                <a:gd name="connsiteX236" fmla="*/ 7045 w 10000"/>
                <a:gd name="connsiteY236" fmla="*/ 8134 h 10000"/>
                <a:gd name="connsiteX237" fmla="*/ 6788 w 10000"/>
                <a:gd name="connsiteY237" fmla="*/ 8281 h 10000"/>
                <a:gd name="connsiteX238" fmla="*/ 6769 w 10000"/>
                <a:gd name="connsiteY238" fmla="*/ 8386 h 10000"/>
                <a:gd name="connsiteX239" fmla="*/ 6627 w 10000"/>
                <a:gd name="connsiteY239" fmla="*/ 8523 h 10000"/>
                <a:gd name="connsiteX240" fmla="*/ 6623 w 10000"/>
                <a:gd name="connsiteY240" fmla="*/ 8649 h 10000"/>
                <a:gd name="connsiteX241" fmla="*/ 6537 w 10000"/>
                <a:gd name="connsiteY241" fmla="*/ 8704 h 10000"/>
                <a:gd name="connsiteX242" fmla="*/ 6428 w 10000"/>
                <a:gd name="connsiteY242" fmla="*/ 8989 h 10000"/>
                <a:gd name="connsiteX243" fmla="*/ 6582 w 10000"/>
                <a:gd name="connsiteY243" fmla="*/ 9001 h 10000"/>
                <a:gd name="connsiteX244" fmla="*/ 6672 w 10000"/>
                <a:gd name="connsiteY244" fmla="*/ 8879 h 10000"/>
                <a:gd name="connsiteX245" fmla="*/ 6769 w 10000"/>
                <a:gd name="connsiteY245" fmla="*/ 8912 h 10000"/>
                <a:gd name="connsiteX246" fmla="*/ 6814 w 10000"/>
                <a:gd name="connsiteY246" fmla="*/ 8786 h 10000"/>
                <a:gd name="connsiteX247" fmla="*/ 6877 w 10000"/>
                <a:gd name="connsiteY247" fmla="*/ 9001 h 10000"/>
                <a:gd name="connsiteX248" fmla="*/ 7060 w 10000"/>
                <a:gd name="connsiteY248" fmla="*/ 8994 h 10000"/>
                <a:gd name="connsiteX249" fmla="*/ 7217 w 10000"/>
                <a:gd name="connsiteY249" fmla="*/ 9362 h 10000"/>
                <a:gd name="connsiteX250" fmla="*/ 7232 w 10000"/>
                <a:gd name="connsiteY250" fmla="*/ 9675 h 10000"/>
                <a:gd name="connsiteX251" fmla="*/ 7176 w 10000"/>
                <a:gd name="connsiteY251" fmla="*/ 9692 h 10000"/>
                <a:gd name="connsiteX252" fmla="*/ 7187 w 10000"/>
                <a:gd name="connsiteY252" fmla="*/ 9780 h 10000"/>
                <a:gd name="connsiteX253" fmla="*/ 7423 w 10000"/>
                <a:gd name="connsiteY253" fmla="*/ 9900 h 10000"/>
                <a:gd name="connsiteX254" fmla="*/ 7741 w 10000"/>
                <a:gd name="connsiteY254" fmla="*/ 9565 h 10000"/>
                <a:gd name="connsiteX255" fmla="*/ 7879 w 10000"/>
                <a:gd name="connsiteY255" fmla="*/ 9176 h 10000"/>
                <a:gd name="connsiteX256" fmla="*/ 8107 w 10000"/>
                <a:gd name="connsiteY256" fmla="*/ 9023 h 10000"/>
                <a:gd name="connsiteX257" fmla="*/ 8182 w 10000"/>
                <a:gd name="connsiteY257" fmla="*/ 8841 h 10000"/>
                <a:gd name="connsiteX258" fmla="*/ 8268 w 10000"/>
                <a:gd name="connsiteY258" fmla="*/ 8786 h 10000"/>
                <a:gd name="connsiteX259" fmla="*/ 8320 w 10000"/>
                <a:gd name="connsiteY259" fmla="*/ 8512 h 10000"/>
                <a:gd name="connsiteX260" fmla="*/ 8542 w 10000"/>
                <a:gd name="connsiteY260" fmla="*/ 8617 h 10000"/>
                <a:gd name="connsiteX261" fmla="*/ 8672 w 10000"/>
                <a:gd name="connsiteY261" fmla="*/ 8474 h 10000"/>
                <a:gd name="connsiteX262" fmla="*/ 8855 w 10000"/>
                <a:gd name="connsiteY262" fmla="*/ 8343 h 10000"/>
                <a:gd name="connsiteX263" fmla="*/ 8781 w 10000"/>
                <a:gd name="connsiteY263" fmla="*/ 8128 h 10000"/>
                <a:gd name="connsiteX264" fmla="*/ 7708 w 10000"/>
                <a:gd name="connsiteY264" fmla="*/ 7991 h 10000"/>
                <a:gd name="connsiteX265" fmla="*/ 7682 w 10000"/>
                <a:gd name="connsiteY265" fmla="*/ 7904 h 10000"/>
                <a:gd name="connsiteX266" fmla="*/ 7607 w 10000"/>
                <a:gd name="connsiteY266" fmla="*/ 8002 h 10000"/>
                <a:gd name="connsiteX267" fmla="*/ 7715 w 10000"/>
                <a:gd name="connsiteY267" fmla="*/ 7761 h 10000"/>
                <a:gd name="connsiteX268" fmla="*/ 7674 w 10000"/>
                <a:gd name="connsiteY268" fmla="*/ 7717 h 10000"/>
                <a:gd name="connsiteX269" fmla="*/ 7554 w 10000"/>
                <a:gd name="connsiteY269" fmla="*/ 7915 h 10000"/>
                <a:gd name="connsiteX270" fmla="*/ 7618 w 10000"/>
                <a:gd name="connsiteY270" fmla="*/ 7712 h 10000"/>
                <a:gd name="connsiteX271" fmla="*/ 7532 w 10000"/>
                <a:gd name="connsiteY271" fmla="*/ 7767 h 10000"/>
                <a:gd name="connsiteX272" fmla="*/ 7419 w 10000"/>
                <a:gd name="connsiteY272" fmla="*/ 7717 h 10000"/>
                <a:gd name="connsiteX273" fmla="*/ 7333 w 10000"/>
                <a:gd name="connsiteY273" fmla="*/ 7794 h 10000"/>
                <a:gd name="connsiteX274" fmla="*/ 7240 w 10000"/>
                <a:gd name="connsiteY274" fmla="*/ 7728 h 10000"/>
                <a:gd name="connsiteX275" fmla="*/ 7087 w 10000"/>
                <a:gd name="connsiteY275" fmla="*/ 7717 h 10000"/>
                <a:gd name="connsiteX276" fmla="*/ 7090 w 10000"/>
                <a:gd name="connsiteY276" fmla="*/ 7547 h 10000"/>
                <a:gd name="connsiteX277" fmla="*/ 7229 w 10000"/>
                <a:gd name="connsiteY277" fmla="*/ 7662 h 10000"/>
                <a:gd name="connsiteX278" fmla="*/ 7273 w 10000"/>
                <a:gd name="connsiteY278" fmla="*/ 7541 h 10000"/>
                <a:gd name="connsiteX279" fmla="*/ 7236 w 10000"/>
                <a:gd name="connsiteY279" fmla="*/ 7410 h 10000"/>
                <a:gd name="connsiteX280" fmla="*/ 7341 w 10000"/>
                <a:gd name="connsiteY280" fmla="*/ 7547 h 10000"/>
                <a:gd name="connsiteX281" fmla="*/ 7483 w 10000"/>
                <a:gd name="connsiteY281" fmla="*/ 7536 h 10000"/>
                <a:gd name="connsiteX282" fmla="*/ 7506 w 10000"/>
                <a:gd name="connsiteY282" fmla="*/ 7685 h 10000"/>
                <a:gd name="connsiteX283" fmla="*/ 7547 w 10000"/>
                <a:gd name="connsiteY283" fmla="*/ 7685 h 10000"/>
                <a:gd name="connsiteX284" fmla="*/ 7558 w 10000"/>
                <a:gd name="connsiteY284" fmla="*/ 7415 h 10000"/>
                <a:gd name="connsiteX285" fmla="*/ 7607 w 10000"/>
                <a:gd name="connsiteY285" fmla="*/ 7585 h 10000"/>
                <a:gd name="connsiteX286" fmla="*/ 7693 w 10000"/>
                <a:gd name="connsiteY286" fmla="*/ 7590 h 10000"/>
                <a:gd name="connsiteX287" fmla="*/ 7629 w 10000"/>
                <a:gd name="connsiteY287" fmla="*/ 7333 h 10000"/>
                <a:gd name="connsiteX288" fmla="*/ 7786 w 10000"/>
                <a:gd name="connsiteY288" fmla="*/ 7240 h 10000"/>
                <a:gd name="connsiteX289" fmla="*/ 7779 w 10000"/>
                <a:gd name="connsiteY289" fmla="*/ 6987 h 10000"/>
                <a:gd name="connsiteX290" fmla="*/ 7887 w 10000"/>
                <a:gd name="connsiteY290" fmla="*/ 7081 h 10000"/>
                <a:gd name="connsiteX291" fmla="*/ 7906 w 10000"/>
                <a:gd name="connsiteY291" fmla="*/ 7015 h 10000"/>
                <a:gd name="connsiteX292" fmla="*/ 7775 w 10000"/>
                <a:gd name="connsiteY292" fmla="*/ 6735 h 10000"/>
                <a:gd name="connsiteX293" fmla="*/ 7950 w 10000"/>
                <a:gd name="connsiteY293" fmla="*/ 6894 h 10000"/>
                <a:gd name="connsiteX294" fmla="*/ 8171 w 10000"/>
                <a:gd name="connsiteY294" fmla="*/ 6511 h 10000"/>
                <a:gd name="connsiteX295" fmla="*/ 8384 w 10000"/>
                <a:gd name="connsiteY295" fmla="*/ 6483 h 10000"/>
                <a:gd name="connsiteX296" fmla="*/ 8429 w 10000"/>
                <a:gd name="connsiteY29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143 w 10000"/>
                <a:gd name="connsiteY23" fmla="*/ 1838 h 10000"/>
                <a:gd name="connsiteX24" fmla="*/ 9091 w 10000"/>
                <a:gd name="connsiteY24" fmla="*/ 1712 h 10000"/>
                <a:gd name="connsiteX25" fmla="*/ 9020 w 10000"/>
                <a:gd name="connsiteY25" fmla="*/ 1728 h 10000"/>
                <a:gd name="connsiteX26" fmla="*/ 7569 w 10000"/>
                <a:gd name="connsiteY26" fmla="*/ 1873 h 10000"/>
                <a:gd name="connsiteX27" fmla="*/ 7165 w 10000"/>
                <a:gd name="connsiteY27" fmla="*/ 1996 h 10000"/>
                <a:gd name="connsiteX28" fmla="*/ 6892 w 10000"/>
                <a:gd name="connsiteY28" fmla="*/ 1827 h 10000"/>
                <a:gd name="connsiteX29" fmla="*/ 6922 w 10000"/>
                <a:gd name="connsiteY29" fmla="*/ 1728 h 10000"/>
                <a:gd name="connsiteX30" fmla="*/ 6765 w 10000"/>
                <a:gd name="connsiteY30" fmla="*/ 1398 h 10000"/>
                <a:gd name="connsiteX31" fmla="*/ 6799 w 10000"/>
                <a:gd name="connsiteY31" fmla="*/ 1256 h 10000"/>
                <a:gd name="connsiteX32" fmla="*/ 6728 w 10000"/>
                <a:gd name="connsiteY32" fmla="*/ 1229 h 10000"/>
                <a:gd name="connsiteX33" fmla="*/ 6657 w 10000"/>
                <a:gd name="connsiteY33" fmla="*/ 1311 h 10000"/>
                <a:gd name="connsiteX34" fmla="*/ 6593 w 10000"/>
                <a:gd name="connsiteY34" fmla="*/ 1114 h 10000"/>
                <a:gd name="connsiteX35" fmla="*/ 6391 w 10000"/>
                <a:gd name="connsiteY35" fmla="*/ 1311 h 10000"/>
                <a:gd name="connsiteX36" fmla="*/ 6309 w 10000"/>
                <a:gd name="connsiteY36" fmla="*/ 1223 h 10000"/>
                <a:gd name="connsiteX37" fmla="*/ 6126 w 10000"/>
                <a:gd name="connsiteY37" fmla="*/ 1273 h 10000"/>
                <a:gd name="connsiteX38" fmla="*/ 6144 w 10000"/>
                <a:gd name="connsiteY38" fmla="*/ 1125 h 10000"/>
                <a:gd name="connsiteX39" fmla="*/ 6073 w 10000"/>
                <a:gd name="connsiteY39" fmla="*/ 1119 h 10000"/>
                <a:gd name="connsiteX40" fmla="*/ 6040 w 10000"/>
                <a:gd name="connsiteY40" fmla="*/ 910 h 10000"/>
                <a:gd name="connsiteX41" fmla="*/ 5942 w 10000"/>
                <a:gd name="connsiteY41" fmla="*/ 795 h 10000"/>
                <a:gd name="connsiteX42" fmla="*/ 6144 w 10000"/>
                <a:gd name="connsiteY42" fmla="*/ 620 h 10000"/>
                <a:gd name="connsiteX43" fmla="*/ 5901 w 10000"/>
                <a:gd name="connsiteY43" fmla="*/ 395 h 10000"/>
                <a:gd name="connsiteX44" fmla="*/ 5853 w 10000"/>
                <a:gd name="connsiteY44" fmla="*/ 142 h 10000"/>
                <a:gd name="connsiteX45" fmla="*/ 5741 w 10000"/>
                <a:gd name="connsiteY45" fmla="*/ 110 h 10000"/>
                <a:gd name="connsiteX46" fmla="*/ 5647 w 10000"/>
                <a:gd name="connsiteY46" fmla="*/ 0 h 10000"/>
                <a:gd name="connsiteX47" fmla="*/ 5547 w 10000"/>
                <a:gd name="connsiteY47" fmla="*/ 120 h 10000"/>
                <a:gd name="connsiteX48" fmla="*/ 5377 w 10000"/>
                <a:gd name="connsiteY48" fmla="*/ 110 h 10000"/>
                <a:gd name="connsiteX49" fmla="*/ 5232 w 10000"/>
                <a:gd name="connsiteY49" fmla="*/ 351 h 10000"/>
                <a:gd name="connsiteX50" fmla="*/ 4952 w 10000"/>
                <a:gd name="connsiteY50" fmla="*/ 329 h 10000"/>
                <a:gd name="connsiteX51" fmla="*/ 4884 w 10000"/>
                <a:gd name="connsiteY51" fmla="*/ 680 h 10000"/>
                <a:gd name="connsiteX52" fmla="*/ 4701 w 10000"/>
                <a:gd name="connsiteY52" fmla="*/ 707 h 10000"/>
                <a:gd name="connsiteX53" fmla="*/ 4795 w 10000"/>
                <a:gd name="connsiteY53" fmla="*/ 844 h 10000"/>
                <a:gd name="connsiteX54" fmla="*/ 4739 w 10000"/>
                <a:gd name="connsiteY54" fmla="*/ 899 h 10000"/>
                <a:gd name="connsiteX55" fmla="*/ 4612 w 10000"/>
                <a:gd name="connsiteY55" fmla="*/ 894 h 10000"/>
                <a:gd name="connsiteX56" fmla="*/ 4439 w 10000"/>
                <a:gd name="connsiteY56" fmla="*/ 1026 h 10000"/>
                <a:gd name="connsiteX57" fmla="*/ 4252 w 10000"/>
                <a:gd name="connsiteY57" fmla="*/ 1668 h 10000"/>
                <a:gd name="connsiteX58" fmla="*/ 4308 w 10000"/>
                <a:gd name="connsiteY58" fmla="*/ 2090 h 10000"/>
                <a:gd name="connsiteX59" fmla="*/ 4121 w 10000"/>
                <a:gd name="connsiteY59" fmla="*/ 1865 h 10000"/>
                <a:gd name="connsiteX60" fmla="*/ 3849 w 10000"/>
                <a:gd name="connsiteY60" fmla="*/ 1991 h 10000"/>
                <a:gd name="connsiteX61" fmla="*/ 3822 w 10000"/>
                <a:gd name="connsiteY61" fmla="*/ 1931 h 10000"/>
                <a:gd name="connsiteX62" fmla="*/ 3695 w 10000"/>
                <a:gd name="connsiteY62" fmla="*/ 2002 h 10000"/>
                <a:gd name="connsiteX63" fmla="*/ 3621 w 10000"/>
                <a:gd name="connsiteY63" fmla="*/ 2144 h 10000"/>
                <a:gd name="connsiteX64" fmla="*/ 3561 w 10000"/>
                <a:gd name="connsiteY64" fmla="*/ 1909 h 10000"/>
                <a:gd name="connsiteX65" fmla="*/ 3478 w 10000"/>
                <a:gd name="connsiteY65" fmla="*/ 1843 h 10000"/>
                <a:gd name="connsiteX66" fmla="*/ 3444 w 10000"/>
                <a:gd name="connsiteY66" fmla="*/ 1964 h 10000"/>
                <a:gd name="connsiteX67" fmla="*/ 3332 w 10000"/>
                <a:gd name="connsiteY67" fmla="*/ 1996 h 10000"/>
                <a:gd name="connsiteX68" fmla="*/ 3272 w 10000"/>
                <a:gd name="connsiteY68" fmla="*/ 2161 h 10000"/>
                <a:gd name="connsiteX69" fmla="*/ 3235 w 10000"/>
                <a:gd name="connsiteY69" fmla="*/ 2013 h 10000"/>
                <a:gd name="connsiteX70" fmla="*/ 3123 w 10000"/>
                <a:gd name="connsiteY70" fmla="*/ 2024 h 10000"/>
                <a:gd name="connsiteX71" fmla="*/ 3078 w 10000"/>
                <a:gd name="connsiteY71" fmla="*/ 2128 h 10000"/>
                <a:gd name="connsiteX72" fmla="*/ 3011 w 10000"/>
                <a:gd name="connsiteY72" fmla="*/ 1975 h 10000"/>
                <a:gd name="connsiteX73" fmla="*/ 2895 w 10000"/>
                <a:gd name="connsiteY73" fmla="*/ 2117 h 10000"/>
                <a:gd name="connsiteX74" fmla="*/ 2783 w 10000"/>
                <a:gd name="connsiteY74" fmla="*/ 2106 h 10000"/>
                <a:gd name="connsiteX75" fmla="*/ 2779 w 10000"/>
                <a:gd name="connsiteY75" fmla="*/ 2276 h 10000"/>
                <a:gd name="connsiteX76" fmla="*/ 2727 w 10000"/>
                <a:gd name="connsiteY76" fmla="*/ 2144 h 10000"/>
                <a:gd name="connsiteX77" fmla="*/ 2559 w 10000"/>
                <a:gd name="connsiteY77" fmla="*/ 2155 h 10000"/>
                <a:gd name="connsiteX78" fmla="*/ 2438 w 10000"/>
                <a:gd name="connsiteY78" fmla="*/ 1980 h 10000"/>
                <a:gd name="connsiteX79" fmla="*/ 2293 w 10000"/>
                <a:gd name="connsiteY79" fmla="*/ 2073 h 10000"/>
                <a:gd name="connsiteX80" fmla="*/ 2143 w 10000"/>
                <a:gd name="connsiteY80" fmla="*/ 1958 h 10000"/>
                <a:gd name="connsiteX81" fmla="*/ 2057 w 10000"/>
                <a:gd name="connsiteY81" fmla="*/ 2035 h 10000"/>
                <a:gd name="connsiteX82" fmla="*/ 1975 w 10000"/>
                <a:gd name="connsiteY82" fmla="*/ 1947 h 10000"/>
                <a:gd name="connsiteX83" fmla="*/ 1852 w 10000"/>
                <a:gd name="connsiteY83" fmla="*/ 1936 h 10000"/>
                <a:gd name="connsiteX84" fmla="*/ 1669 w 10000"/>
                <a:gd name="connsiteY84" fmla="*/ 1925 h 10000"/>
                <a:gd name="connsiteX85" fmla="*/ 1444 w 10000"/>
                <a:gd name="connsiteY85" fmla="*/ 1991 h 10000"/>
                <a:gd name="connsiteX86" fmla="*/ 1205 w 10000"/>
                <a:gd name="connsiteY86" fmla="*/ 2062 h 10000"/>
                <a:gd name="connsiteX87" fmla="*/ 921 w 10000"/>
                <a:gd name="connsiteY87" fmla="*/ 2166 h 10000"/>
                <a:gd name="connsiteX88" fmla="*/ 797 w 10000"/>
                <a:gd name="connsiteY88" fmla="*/ 2496 h 10000"/>
                <a:gd name="connsiteX89" fmla="*/ 603 w 10000"/>
                <a:gd name="connsiteY89" fmla="*/ 2501 h 10000"/>
                <a:gd name="connsiteX90" fmla="*/ 540 w 10000"/>
                <a:gd name="connsiteY90" fmla="*/ 2687 h 10000"/>
                <a:gd name="connsiteX91" fmla="*/ 558 w 10000"/>
                <a:gd name="connsiteY91" fmla="*/ 2764 h 10000"/>
                <a:gd name="connsiteX92" fmla="*/ 577 w 10000"/>
                <a:gd name="connsiteY92" fmla="*/ 2868 h 10000"/>
                <a:gd name="connsiteX93" fmla="*/ 577 w 10000"/>
                <a:gd name="connsiteY93" fmla="*/ 2868 h 10000"/>
                <a:gd name="connsiteX94" fmla="*/ 577 w 10000"/>
                <a:gd name="connsiteY94" fmla="*/ 2896 h 10000"/>
                <a:gd name="connsiteX95" fmla="*/ 682 w 10000"/>
                <a:gd name="connsiteY95" fmla="*/ 3116 h 10000"/>
                <a:gd name="connsiteX96" fmla="*/ 786 w 10000"/>
                <a:gd name="connsiteY96" fmla="*/ 3351 h 10000"/>
                <a:gd name="connsiteX97" fmla="*/ 921 w 10000"/>
                <a:gd name="connsiteY97" fmla="*/ 3488 h 10000"/>
                <a:gd name="connsiteX98" fmla="*/ 876 w 10000"/>
                <a:gd name="connsiteY98" fmla="*/ 3548 h 10000"/>
                <a:gd name="connsiteX99" fmla="*/ 805 w 10000"/>
                <a:gd name="connsiteY99" fmla="*/ 3603 h 10000"/>
                <a:gd name="connsiteX100" fmla="*/ 887 w 10000"/>
                <a:gd name="connsiteY100" fmla="*/ 3697 h 10000"/>
                <a:gd name="connsiteX101" fmla="*/ 876 w 10000"/>
                <a:gd name="connsiteY101" fmla="*/ 4053 h 10000"/>
                <a:gd name="connsiteX102" fmla="*/ 693 w 10000"/>
                <a:gd name="connsiteY102" fmla="*/ 4124 h 10000"/>
                <a:gd name="connsiteX103" fmla="*/ 498 w 10000"/>
                <a:gd name="connsiteY103" fmla="*/ 4531 h 10000"/>
                <a:gd name="connsiteX104" fmla="*/ 371 w 10000"/>
                <a:gd name="connsiteY104" fmla="*/ 4936 h 10000"/>
                <a:gd name="connsiteX105" fmla="*/ 195 w 10000"/>
                <a:gd name="connsiteY105" fmla="*/ 5260 h 10000"/>
                <a:gd name="connsiteX106" fmla="*/ 270 w 10000"/>
                <a:gd name="connsiteY106" fmla="*/ 5517 h 10000"/>
                <a:gd name="connsiteX107" fmla="*/ 277 w 10000"/>
                <a:gd name="connsiteY107" fmla="*/ 5732 h 10000"/>
                <a:gd name="connsiteX108" fmla="*/ 400 w 10000"/>
                <a:gd name="connsiteY108" fmla="*/ 5841 h 10000"/>
                <a:gd name="connsiteX109" fmla="*/ 382 w 10000"/>
                <a:gd name="connsiteY109" fmla="*/ 5945 h 10000"/>
                <a:gd name="connsiteX110" fmla="*/ 202 w 10000"/>
                <a:gd name="connsiteY110" fmla="*/ 5852 h 10000"/>
                <a:gd name="connsiteX111" fmla="*/ 124 w 10000"/>
                <a:gd name="connsiteY111" fmla="*/ 6099 h 10000"/>
                <a:gd name="connsiteX112" fmla="*/ 105 w 10000"/>
                <a:gd name="connsiteY112" fmla="*/ 6346 h 10000"/>
                <a:gd name="connsiteX113" fmla="*/ 1 w 10000"/>
                <a:gd name="connsiteY113" fmla="*/ 6571 h 10000"/>
                <a:gd name="connsiteX114" fmla="*/ 19 w 10000"/>
                <a:gd name="connsiteY114" fmla="*/ 6779 h 10000"/>
                <a:gd name="connsiteX115" fmla="*/ 90 w 10000"/>
                <a:gd name="connsiteY115" fmla="*/ 6828 h 10000"/>
                <a:gd name="connsiteX116" fmla="*/ 154 w 10000"/>
                <a:gd name="connsiteY116" fmla="*/ 6960 h 10000"/>
                <a:gd name="connsiteX117" fmla="*/ 240 w 10000"/>
                <a:gd name="connsiteY117" fmla="*/ 6943 h 10000"/>
                <a:gd name="connsiteX118" fmla="*/ 292 w 10000"/>
                <a:gd name="connsiteY118" fmla="*/ 7076 h 10000"/>
                <a:gd name="connsiteX119" fmla="*/ 445 w 10000"/>
                <a:gd name="connsiteY119" fmla="*/ 7103 h 10000"/>
                <a:gd name="connsiteX120" fmla="*/ 453 w 10000"/>
                <a:gd name="connsiteY120" fmla="*/ 7251 h 10000"/>
                <a:gd name="connsiteX121" fmla="*/ 494 w 10000"/>
                <a:gd name="connsiteY121" fmla="*/ 7278 h 10000"/>
                <a:gd name="connsiteX122" fmla="*/ 525 w 10000"/>
                <a:gd name="connsiteY122" fmla="*/ 7174 h 10000"/>
                <a:gd name="connsiteX123" fmla="*/ 581 w 10000"/>
                <a:gd name="connsiteY123" fmla="*/ 7196 h 10000"/>
                <a:gd name="connsiteX124" fmla="*/ 644 w 10000"/>
                <a:gd name="connsiteY124" fmla="*/ 6992 h 10000"/>
                <a:gd name="connsiteX125" fmla="*/ 820 w 10000"/>
                <a:gd name="connsiteY125" fmla="*/ 7174 h 10000"/>
                <a:gd name="connsiteX126" fmla="*/ 1283 w 10000"/>
                <a:gd name="connsiteY126" fmla="*/ 7163 h 10000"/>
                <a:gd name="connsiteX127" fmla="*/ 1466 w 10000"/>
                <a:gd name="connsiteY127" fmla="*/ 7092 h 10000"/>
                <a:gd name="connsiteX128" fmla="*/ 1766 w 10000"/>
                <a:gd name="connsiteY128" fmla="*/ 7344 h 10000"/>
                <a:gd name="connsiteX129" fmla="*/ 1956 w 10000"/>
                <a:gd name="connsiteY129" fmla="*/ 7087 h 10000"/>
                <a:gd name="connsiteX130" fmla="*/ 2382 w 10000"/>
                <a:gd name="connsiteY130" fmla="*/ 6861 h 10000"/>
                <a:gd name="connsiteX131" fmla="*/ 2536 w 10000"/>
                <a:gd name="connsiteY131" fmla="*/ 6489 h 10000"/>
                <a:gd name="connsiteX132" fmla="*/ 2648 w 10000"/>
                <a:gd name="connsiteY132" fmla="*/ 6439 h 10000"/>
                <a:gd name="connsiteX133" fmla="*/ 2648 w 10000"/>
                <a:gd name="connsiteY133" fmla="*/ 6379 h 10000"/>
                <a:gd name="connsiteX134" fmla="*/ 2693 w 10000"/>
                <a:gd name="connsiteY134" fmla="*/ 6379 h 10000"/>
                <a:gd name="connsiteX135" fmla="*/ 2682 w 10000"/>
                <a:gd name="connsiteY135" fmla="*/ 6230 h 10000"/>
                <a:gd name="connsiteX136" fmla="*/ 2820 w 10000"/>
                <a:gd name="connsiteY136" fmla="*/ 6285 h 10000"/>
                <a:gd name="connsiteX137" fmla="*/ 2839 w 10000"/>
                <a:gd name="connsiteY137" fmla="*/ 6159 h 10000"/>
                <a:gd name="connsiteX138" fmla="*/ 2921 w 10000"/>
                <a:gd name="connsiteY138" fmla="*/ 6230 h 10000"/>
                <a:gd name="connsiteX139" fmla="*/ 2981 w 10000"/>
                <a:gd name="connsiteY139" fmla="*/ 6126 h 10000"/>
                <a:gd name="connsiteX140" fmla="*/ 3078 w 10000"/>
                <a:gd name="connsiteY140" fmla="*/ 6154 h 10000"/>
                <a:gd name="connsiteX141" fmla="*/ 3164 w 10000"/>
                <a:gd name="connsiteY141" fmla="*/ 6055 h 10000"/>
                <a:gd name="connsiteX142" fmla="*/ 3328 w 10000"/>
                <a:gd name="connsiteY142" fmla="*/ 6192 h 10000"/>
                <a:gd name="connsiteX143" fmla="*/ 3411 w 10000"/>
                <a:gd name="connsiteY143" fmla="*/ 6197 h 10000"/>
                <a:gd name="connsiteX144" fmla="*/ 3437 w 10000"/>
                <a:gd name="connsiteY144" fmla="*/ 6307 h 10000"/>
                <a:gd name="connsiteX145" fmla="*/ 3591 w 10000"/>
                <a:gd name="connsiteY145" fmla="*/ 6236 h 10000"/>
                <a:gd name="connsiteX146" fmla="*/ 3576 w 10000"/>
                <a:gd name="connsiteY146" fmla="*/ 6357 h 10000"/>
                <a:gd name="connsiteX147" fmla="*/ 3632 w 10000"/>
                <a:gd name="connsiteY147" fmla="*/ 6341 h 10000"/>
                <a:gd name="connsiteX148" fmla="*/ 3699 w 10000"/>
                <a:gd name="connsiteY148" fmla="*/ 6428 h 10000"/>
                <a:gd name="connsiteX149" fmla="*/ 3703 w 10000"/>
                <a:gd name="connsiteY149" fmla="*/ 6301 h 10000"/>
                <a:gd name="connsiteX150" fmla="*/ 3882 w 10000"/>
                <a:gd name="connsiteY150" fmla="*/ 6341 h 10000"/>
                <a:gd name="connsiteX151" fmla="*/ 3946 w 10000"/>
                <a:gd name="connsiteY151" fmla="*/ 6511 h 10000"/>
                <a:gd name="connsiteX152" fmla="*/ 4047 w 10000"/>
                <a:gd name="connsiteY152" fmla="*/ 6494 h 10000"/>
                <a:gd name="connsiteX153" fmla="*/ 4091 w 10000"/>
                <a:gd name="connsiteY153" fmla="*/ 6417 h 10000"/>
                <a:gd name="connsiteX154" fmla="*/ 4192 w 10000"/>
                <a:gd name="connsiteY154" fmla="*/ 6735 h 10000"/>
                <a:gd name="connsiteX155" fmla="*/ 4155 w 10000"/>
                <a:gd name="connsiteY155" fmla="*/ 6987 h 10000"/>
                <a:gd name="connsiteX156" fmla="*/ 4207 w 10000"/>
                <a:gd name="connsiteY156" fmla="*/ 7114 h 10000"/>
                <a:gd name="connsiteX157" fmla="*/ 4278 w 10000"/>
                <a:gd name="connsiteY157" fmla="*/ 7119 h 10000"/>
                <a:gd name="connsiteX158" fmla="*/ 4387 w 10000"/>
                <a:gd name="connsiteY158" fmla="*/ 7256 h 10000"/>
                <a:gd name="connsiteX159" fmla="*/ 4431 w 10000"/>
                <a:gd name="connsiteY159" fmla="*/ 7152 h 10000"/>
                <a:gd name="connsiteX160" fmla="*/ 4480 w 10000"/>
                <a:gd name="connsiteY160" fmla="*/ 7322 h 10000"/>
                <a:gd name="connsiteX161" fmla="*/ 4541 w 10000"/>
                <a:gd name="connsiteY161" fmla="*/ 7662 h 10000"/>
                <a:gd name="connsiteX162" fmla="*/ 4720 w 10000"/>
                <a:gd name="connsiteY162" fmla="*/ 7739 h 10000"/>
                <a:gd name="connsiteX163" fmla="*/ 4761 w 10000"/>
                <a:gd name="connsiteY163" fmla="*/ 8183 h 10000"/>
                <a:gd name="connsiteX164" fmla="*/ 4914 w 10000"/>
                <a:gd name="connsiteY164" fmla="*/ 8276 h 10000"/>
                <a:gd name="connsiteX165" fmla="*/ 4757 w 10000"/>
                <a:gd name="connsiteY165" fmla="*/ 8370 h 10000"/>
                <a:gd name="connsiteX166" fmla="*/ 4705 w 10000"/>
                <a:gd name="connsiteY166" fmla="*/ 8260 h 10000"/>
                <a:gd name="connsiteX167" fmla="*/ 4645 w 10000"/>
                <a:gd name="connsiteY167" fmla="*/ 8403 h 10000"/>
                <a:gd name="connsiteX168" fmla="*/ 4491 w 10000"/>
                <a:gd name="connsiteY168" fmla="*/ 8287 h 10000"/>
                <a:gd name="connsiteX169" fmla="*/ 4405 w 10000"/>
                <a:gd name="connsiteY169" fmla="*/ 8452 h 10000"/>
                <a:gd name="connsiteX170" fmla="*/ 4226 w 10000"/>
                <a:gd name="connsiteY170" fmla="*/ 8331 h 10000"/>
                <a:gd name="connsiteX171" fmla="*/ 4312 w 10000"/>
                <a:gd name="connsiteY171" fmla="*/ 8699 h 10000"/>
                <a:gd name="connsiteX172" fmla="*/ 4304 w 10000"/>
                <a:gd name="connsiteY172" fmla="*/ 8967 h 10000"/>
                <a:gd name="connsiteX173" fmla="*/ 4189 w 10000"/>
                <a:gd name="connsiteY173" fmla="*/ 9088 h 10000"/>
                <a:gd name="connsiteX174" fmla="*/ 4226 w 10000"/>
                <a:gd name="connsiteY174" fmla="*/ 9193 h 10000"/>
                <a:gd name="connsiteX175" fmla="*/ 4065 w 10000"/>
                <a:gd name="connsiteY175" fmla="*/ 9412 h 10000"/>
                <a:gd name="connsiteX176" fmla="*/ 4129 w 10000"/>
                <a:gd name="connsiteY176" fmla="*/ 9647 h 10000"/>
                <a:gd name="connsiteX177" fmla="*/ 3972 w 10000"/>
                <a:gd name="connsiteY177" fmla="*/ 9681 h 10000"/>
                <a:gd name="connsiteX178" fmla="*/ 3931 w 10000"/>
                <a:gd name="connsiteY178" fmla="*/ 9741 h 10000"/>
                <a:gd name="connsiteX179" fmla="*/ 3998 w 10000"/>
                <a:gd name="connsiteY179" fmla="*/ 9785 h 10000"/>
                <a:gd name="connsiteX180" fmla="*/ 4118 w 10000"/>
                <a:gd name="connsiteY180" fmla="*/ 9944 h 10000"/>
                <a:gd name="connsiteX181" fmla="*/ 4312 w 10000"/>
                <a:gd name="connsiteY181" fmla="*/ 9999 h 10000"/>
                <a:gd name="connsiteX182" fmla="*/ 4319 w 10000"/>
                <a:gd name="connsiteY182" fmla="*/ 9851 h 10000"/>
                <a:gd name="connsiteX183" fmla="*/ 4387 w 10000"/>
                <a:gd name="connsiteY183" fmla="*/ 9856 h 10000"/>
                <a:gd name="connsiteX184" fmla="*/ 4675 w 10000"/>
                <a:gd name="connsiteY184" fmla="*/ 9603 h 10000"/>
                <a:gd name="connsiteX185" fmla="*/ 4866 w 10000"/>
                <a:gd name="connsiteY185" fmla="*/ 9845 h 10000"/>
                <a:gd name="connsiteX186" fmla="*/ 4866 w 10000"/>
                <a:gd name="connsiteY186" fmla="*/ 9862 h 10000"/>
                <a:gd name="connsiteX187" fmla="*/ 4896 w 10000"/>
                <a:gd name="connsiteY187" fmla="*/ 9703 h 10000"/>
                <a:gd name="connsiteX188" fmla="*/ 4843 w 10000"/>
                <a:gd name="connsiteY188" fmla="*/ 9570 h 10000"/>
                <a:gd name="connsiteX189" fmla="*/ 4776 w 10000"/>
                <a:gd name="connsiteY189" fmla="*/ 9549 h 10000"/>
                <a:gd name="connsiteX190" fmla="*/ 4821 w 10000"/>
                <a:gd name="connsiteY190" fmla="*/ 9466 h 10000"/>
                <a:gd name="connsiteX191" fmla="*/ 4806 w 10000"/>
                <a:gd name="connsiteY191" fmla="*/ 9444 h 10000"/>
                <a:gd name="connsiteX192" fmla="*/ 4750 w 10000"/>
                <a:gd name="connsiteY192" fmla="*/ 9439 h 10000"/>
                <a:gd name="connsiteX193" fmla="*/ 4720 w 10000"/>
                <a:gd name="connsiteY193" fmla="*/ 9121 h 10000"/>
                <a:gd name="connsiteX194" fmla="*/ 4761 w 10000"/>
                <a:gd name="connsiteY194" fmla="*/ 9105 h 10000"/>
                <a:gd name="connsiteX195" fmla="*/ 4783 w 10000"/>
                <a:gd name="connsiteY195" fmla="*/ 9253 h 10000"/>
                <a:gd name="connsiteX196" fmla="*/ 4836 w 10000"/>
                <a:gd name="connsiteY196" fmla="*/ 9384 h 10000"/>
                <a:gd name="connsiteX197" fmla="*/ 4881 w 10000"/>
                <a:gd name="connsiteY197" fmla="*/ 9302 h 10000"/>
                <a:gd name="connsiteX198" fmla="*/ 4869 w 10000"/>
                <a:gd name="connsiteY198" fmla="*/ 9220 h 10000"/>
                <a:gd name="connsiteX199" fmla="*/ 4940 w 10000"/>
                <a:gd name="connsiteY199" fmla="*/ 9203 h 10000"/>
                <a:gd name="connsiteX200" fmla="*/ 4903 w 10000"/>
                <a:gd name="connsiteY200" fmla="*/ 9034 h 10000"/>
                <a:gd name="connsiteX201" fmla="*/ 5000 w 10000"/>
                <a:gd name="connsiteY201" fmla="*/ 9061 h 10000"/>
                <a:gd name="connsiteX202" fmla="*/ 5004 w 10000"/>
                <a:gd name="connsiteY202" fmla="*/ 8972 h 10000"/>
                <a:gd name="connsiteX203" fmla="*/ 5041 w 10000"/>
                <a:gd name="connsiteY203" fmla="*/ 9039 h 10000"/>
                <a:gd name="connsiteX204" fmla="*/ 5206 w 10000"/>
                <a:gd name="connsiteY204" fmla="*/ 8781 h 10000"/>
                <a:gd name="connsiteX205" fmla="*/ 5112 w 10000"/>
                <a:gd name="connsiteY205" fmla="*/ 8584 h 10000"/>
                <a:gd name="connsiteX206" fmla="*/ 4937 w 10000"/>
                <a:gd name="connsiteY206" fmla="*/ 8425 h 10000"/>
                <a:gd name="connsiteX207" fmla="*/ 5037 w 10000"/>
                <a:gd name="connsiteY207" fmla="*/ 8370 h 10000"/>
                <a:gd name="connsiteX208" fmla="*/ 5183 w 10000"/>
                <a:gd name="connsiteY208" fmla="*/ 8633 h 10000"/>
                <a:gd name="connsiteX209" fmla="*/ 5292 w 10000"/>
                <a:gd name="connsiteY209" fmla="*/ 8199 h 10000"/>
                <a:gd name="connsiteX210" fmla="*/ 5299 w 10000"/>
                <a:gd name="connsiteY210" fmla="*/ 8030 h 10000"/>
                <a:gd name="connsiteX211" fmla="*/ 5482 w 10000"/>
                <a:gd name="connsiteY211" fmla="*/ 7942 h 10000"/>
                <a:gd name="connsiteX212" fmla="*/ 5550 w 10000"/>
                <a:gd name="connsiteY212" fmla="*/ 7607 h 10000"/>
                <a:gd name="connsiteX213" fmla="*/ 5561 w 10000"/>
                <a:gd name="connsiteY213" fmla="*/ 7734 h 10000"/>
                <a:gd name="connsiteX214" fmla="*/ 5677 w 10000"/>
                <a:gd name="connsiteY214" fmla="*/ 7596 h 10000"/>
                <a:gd name="connsiteX215" fmla="*/ 5759 w 10000"/>
                <a:gd name="connsiteY215" fmla="*/ 7579 h 10000"/>
                <a:gd name="connsiteX216" fmla="*/ 5842 w 10000"/>
                <a:gd name="connsiteY216" fmla="*/ 7207 h 10000"/>
                <a:gd name="connsiteX217" fmla="*/ 5916 w 10000"/>
                <a:gd name="connsiteY217" fmla="*/ 7486 h 10000"/>
                <a:gd name="connsiteX218" fmla="*/ 6137 w 10000"/>
                <a:gd name="connsiteY218" fmla="*/ 7563 h 10000"/>
                <a:gd name="connsiteX219" fmla="*/ 5969 w 10000"/>
                <a:gd name="connsiteY219" fmla="*/ 7618 h 10000"/>
                <a:gd name="connsiteX220" fmla="*/ 5954 w 10000"/>
                <a:gd name="connsiteY220" fmla="*/ 7679 h 10000"/>
                <a:gd name="connsiteX221" fmla="*/ 5786 w 10000"/>
                <a:gd name="connsiteY221" fmla="*/ 7690 h 10000"/>
                <a:gd name="connsiteX222" fmla="*/ 5700 w 10000"/>
                <a:gd name="connsiteY222" fmla="*/ 7723 h 10000"/>
                <a:gd name="connsiteX223" fmla="*/ 5767 w 10000"/>
                <a:gd name="connsiteY223" fmla="*/ 7772 h 10000"/>
                <a:gd name="connsiteX224" fmla="*/ 5827 w 10000"/>
                <a:gd name="connsiteY224" fmla="*/ 7756 h 10000"/>
                <a:gd name="connsiteX225" fmla="*/ 5991 w 10000"/>
                <a:gd name="connsiteY225" fmla="*/ 7789 h 10000"/>
                <a:gd name="connsiteX226" fmla="*/ 5804 w 10000"/>
                <a:gd name="connsiteY226" fmla="*/ 7964 h 10000"/>
                <a:gd name="connsiteX227" fmla="*/ 5872 w 10000"/>
                <a:gd name="connsiteY227" fmla="*/ 8008 h 10000"/>
                <a:gd name="connsiteX228" fmla="*/ 6043 w 10000"/>
                <a:gd name="connsiteY228" fmla="*/ 7958 h 10000"/>
                <a:gd name="connsiteX229" fmla="*/ 6275 w 10000"/>
                <a:gd name="connsiteY229" fmla="*/ 8101 h 10000"/>
                <a:gd name="connsiteX230" fmla="*/ 6575 w 10000"/>
                <a:gd name="connsiteY230" fmla="*/ 7909 h 10000"/>
                <a:gd name="connsiteX231" fmla="*/ 6870 w 10000"/>
                <a:gd name="connsiteY231" fmla="*/ 7887 h 10000"/>
                <a:gd name="connsiteX232" fmla="*/ 6915 w 10000"/>
                <a:gd name="connsiteY232" fmla="*/ 7745 h 10000"/>
                <a:gd name="connsiteX233" fmla="*/ 6993 w 10000"/>
                <a:gd name="connsiteY233" fmla="*/ 7958 h 10000"/>
                <a:gd name="connsiteX234" fmla="*/ 7075 w 10000"/>
                <a:gd name="connsiteY234" fmla="*/ 7986 h 10000"/>
                <a:gd name="connsiteX235" fmla="*/ 7045 w 10000"/>
                <a:gd name="connsiteY235" fmla="*/ 8134 h 10000"/>
                <a:gd name="connsiteX236" fmla="*/ 6788 w 10000"/>
                <a:gd name="connsiteY236" fmla="*/ 8281 h 10000"/>
                <a:gd name="connsiteX237" fmla="*/ 6769 w 10000"/>
                <a:gd name="connsiteY237" fmla="*/ 8386 h 10000"/>
                <a:gd name="connsiteX238" fmla="*/ 6627 w 10000"/>
                <a:gd name="connsiteY238" fmla="*/ 8523 h 10000"/>
                <a:gd name="connsiteX239" fmla="*/ 6623 w 10000"/>
                <a:gd name="connsiteY239" fmla="*/ 8649 h 10000"/>
                <a:gd name="connsiteX240" fmla="*/ 6537 w 10000"/>
                <a:gd name="connsiteY240" fmla="*/ 8704 h 10000"/>
                <a:gd name="connsiteX241" fmla="*/ 6428 w 10000"/>
                <a:gd name="connsiteY241" fmla="*/ 8989 h 10000"/>
                <a:gd name="connsiteX242" fmla="*/ 6582 w 10000"/>
                <a:gd name="connsiteY242" fmla="*/ 9001 h 10000"/>
                <a:gd name="connsiteX243" fmla="*/ 6672 w 10000"/>
                <a:gd name="connsiteY243" fmla="*/ 8879 h 10000"/>
                <a:gd name="connsiteX244" fmla="*/ 6769 w 10000"/>
                <a:gd name="connsiteY244" fmla="*/ 8912 h 10000"/>
                <a:gd name="connsiteX245" fmla="*/ 6814 w 10000"/>
                <a:gd name="connsiteY245" fmla="*/ 8786 h 10000"/>
                <a:gd name="connsiteX246" fmla="*/ 6877 w 10000"/>
                <a:gd name="connsiteY246" fmla="*/ 9001 h 10000"/>
                <a:gd name="connsiteX247" fmla="*/ 7060 w 10000"/>
                <a:gd name="connsiteY247" fmla="*/ 8994 h 10000"/>
                <a:gd name="connsiteX248" fmla="*/ 7217 w 10000"/>
                <a:gd name="connsiteY248" fmla="*/ 9362 h 10000"/>
                <a:gd name="connsiteX249" fmla="*/ 7232 w 10000"/>
                <a:gd name="connsiteY249" fmla="*/ 9675 h 10000"/>
                <a:gd name="connsiteX250" fmla="*/ 7176 w 10000"/>
                <a:gd name="connsiteY250" fmla="*/ 9692 h 10000"/>
                <a:gd name="connsiteX251" fmla="*/ 7187 w 10000"/>
                <a:gd name="connsiteY251" fmla="*/ 9780 h 10000"/>
                <a:gd name="connsiteX252" fmla="*/ 7423 w 10000"/>
                <a:gd name="connsiteY252" fmla="*/ 9900 h 10000"/>
                <a:gd name="connsiteX253" fmla="*/ 7741 w 10000"/>
                <a:gd name="connsiteY253" fmla="*/ 9565 h 10000"/>
                <a:gd name="connsiteX254" fmla="*/ 7879 w 10000"/>
                <a:gd name="connsiteY254" fmla="*/ 9176 h 10000"/>
                <a:gd name="connsiteX255" fmla="*/ 8107 w 10000"/>
                <a:gd name="connsiteY255" fmla="*/ 9023 h 10000"/>
                <a:gd name="connsiteX256" fmla="*/ 8182 w 10000"/>
                <a:gd name="connsiteY256" fmla="*/ 8841 h 10000"/>
                <a:gd name="connsiteX257" fmla="*/ 8268 w 10000"/>
                <a:gd name="connsiteY257" fmla="*/ 8786 h 10000"/>
                <a:gd name="connsiteX258" fmla="*/ 8320 w 10000"/>
                <a:gd name="connsiteY258" fmla="*/ 8512 h 10000"/>
                <a:gd name="connsiteX259" fmla="*/ 8542 w 10000"/>
                <a:gd name="connsiteY259" fmla="*/ 8617 h 10000"/>
                <a:gd name="connsiteX260" fmla="*/ 8672 w 10000"/>
                <a:gd name="connsiteY260" fmla="*/ 8474 h 10000"/>
                <a:gd name="connsiteX261" fmla="*/ 8855 w 10000"/>
                <a:gd name="connsiteY261" fmla="*/ 8343 h 10000"/>
                <a:gd name="connsiteX262" fmla="*/ 8781 w 10000"/>
                <a:gd name="connsiteY262" fmla="*/ 8128 h 10000"/>
                <a:gd name="connsiteX263" fmla="*/ 7708 w 10000"/>
                <a:gd name="connsiteY263" fmla="*/ 7991 h 10000"/>
                <a:gd name="connsiteX264" fmla="*/ 7682 w 10000"/>
                <a:gd name="connsiteY264" fmla="*/ 7904 h 10000"/>
                <a:gd name="connsiteX265" fmla="*/ 7607 w 10000"/>
                <a:gd name="connsiteY265" fmla="*/ 8002 h 10000"/>
                <a:gd name="connsiteX266" fmla="*/ 7715 w 10000"/>
                <a:gd name="connsiteY266" fmla="*/ 7761 h 10000"/>
                <a:gd name="connsiteX267" fmla="*/ 7674 w 10000"/>
                <a:gd name="connsiteY267" fmla="*/ 7717 h 10000"/>
                <a:gd name="connsiteX268" fmla="*/ 7554 w 10000"/>
                <a:gd name="connsiteY268" fmla="*/ 7915 h 10000"/>
                <a:gd name="connsiteX269" fmla="*/ 7618 w 10000"/>
                <a:gd name="connsiteY269" fmla="*/ 7712 h 10000"/>
                <a:gd name="connsiteX270" fmla="*/ 7532 w 10000"/>
                <a:gd name="connsiteY270" fmla="*/ 7767 h 10000"/>
                <a:gd name="connsiteX271" fmla="*/ 7419 w 10000"/>
                <a:gd name="connsiteY271" fmla="*/ 7717 h 10000"/>
                <a:gd name="connsiteX272" fmla="*/ 7333 w 10000"/>
                <a:gd name="connsiteY272" fmla="*/ 7794 h 10000"/>
                <a:gd name="connsiteX273" fmla="*/ 7240 w 10000"/>
                <a:gd name="connsiteY273" fmla="*/ 7728 h 10000"/>
                <a:gd name="connsiteX274" fmla="*/ 7087 w 10000"/>
                <a:gd name="connsiteY274" fmla="*/ 7717 h 10000"/>
                <a:gd name="connsiteX275" fmla="*/ 7090 w 10000"/>
                <a:gd name="connsiteY275" fmla="*/ 7547 h 10000"/>
                <a:gd name="connsiteX276" fmla="*/ 7229 w 10000"/>
                <a:gd name="connsiteY276" fmla="*/ 7662 h 10000"/>
                <a:gd name="connsiteX277" fmla="*/ 7273 w 10000"/>
                <a:gd name="connsiteY277" fmla="*/ 7541 h 10000"/>
                <a:gd name="connsiteX278" fmla="*/ 7236 w 10000"/>
                <a:gd name="connsiteY278" fmla="*/ 7410 h 10000"/>
                <a:gd name="connsiteX279" fmla="*/ 7341 w 10000"/>
                <a:gd name="connsiteY279" fmla="*/ 7547 h 10000"/>
                <a:gd name="connsiteX280" fmla="*/ 7483 w 10000"/>
                <a:gd name="connsiteY280" fmla="*/ 7536 h 10000"/>
                <a:gd name="connsiteX281" fmla="*/ 7506 w 10000"/>
                <a:gd name="connsiteY281" fmla="*/ 7685 h 10000"/>
                <a:gd name="connsiteX282" fmla="*/ 7547 w 10000"/>
                <a:gd name="connsiteY282" fmla="*/ 7685 h 10000"/>
                <a:gd name="connsiteX283" fmla="*/ 7558 w 10000"/>
                <a:gd name="connsiteY283" fmla="*/ 7415 h 10000"/>
                <a:gd name="connsiteX284" fmla="*/ 7607 w 10000"/>
                <a:gd name="connsiteY284" fmla="*/ 7585 h 10000"/>
                <a:gd name="connsiteX285" fmla="*/ 7693 w 10000"/>
                <a:gd name="connsiteY285" fmla="*/ 7590 h 10000"/>
                <a:gd name="connsiteX286" fmla="*/ 7629 w 10000"/>
                <a:gd name="connsiteY286" fmla="*/ 7333 h 10000"/>
                <a:gd name="connsiteX287" fmla="*/ 7786 w 10000"/>
                <a:gd name="connsiteY287" fmla="*/ 7240 h 10000"/>
                <a:gd name="connsiteX288" fmla="*/ 7779 w 10000"/>
                <a:gd name="connsiteY288" fmla="*/ 6987 h 10000"/>
                <a:gd name="connsiteX289" fmla="*/ 7887 w 10000"/>
                <a:gd name="connsiteY289" fmla="*/ 7081 h 10000"/>
                <a:gd name="connsiteX290" fmla="*/ 7906 w 10000"/>
                <a:gd name="connsiteY290" fmla="*/ 7015 h 10000"/>
                <a:gd name="connsiteX291" fmla="*/ 7775 w 10000"/>
                <a:gd name="connsiteY291" fmla="*/ 6735 h 10000"/>
                <a:gd name="connsiteX292" fmla="*/ 7950 w 10000"/>
                <a:gd name="connsiteY292" fmla="*/ 6894 h 10000"/>
                <a:gd name="connsiteX293" fmla="*/ 8171 w 10000"/>
                <a:gd name="connsiteY293" fmla="*/ 6511 h 10000"/>
                <a:gd name="connsiteX294" fmla="*/ 8384 w 10000"/>
                <a:gd name="connsiteY294" fmla="*/ 6483 h 10000"/>
                <a:gd name="connsiteX295" fmla="*/ 8429 w 10000"/>
                <a:gd name="connsiteY29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143 w 10000"/>
                <a:gd name="connsiteY22" fmla="*/ 1838 h 10000"/>
                <a:gd name="connsiteX23" fmla="*/ 9091 w 10000"/>
                <a:gd name="connsiteY23" fmla="*/ 1712 h 10000"/>
                <a:gd name="connsiteX24" fmla="*/ 9020 w 10000"/>
                <a:gd name="connsiteY24" fmla="*/ 1728 h 10000"/>
                <a:gd name="connsiteX25" fmla="*/ 7569 w 10000"/>
                <a:gd name="connsiteY25" fmla="*/ 1873 h 10000"/>
                <a:gd name="connsiteX26" fmla="*/ 7165 w 10000"/>
                <a:gd name="connsiteY26" fmla="*/ 1996 h 10000"/>
                <a:gd name="connsiteX27" fmla="*/ 6892 w 10000"/>
                <a:gd name="connsiteY27" fmla="*/ 1827 h 10000"/>
                <a:gd name="connsiteX28" fmla="*/ 6922 w 10000"/>
                <a:gd name="connsiteY28" fmla="*/ 1728 h 10000"/>
                <a:gd name="connsiteX29" fmla="*/ 6765 w 10000"/>
                <a:gd name="connsiteY29" fmla="*/ 1398 h 10000"/>
                <a:gd name="connsiteX30" fmla="*/ 6799 w 10000"/>
                <a:gd name="connsiteY30" fmla="*/ 1256 h 10000"/>
                <a:gd name="connsiteX31" fmla="*/ 6728 w 10000"/>
                <a:gd name="connsiteY31" fmla="*/ 1229 h 10000"/>
                <a:gd name="connsiteX32" fmla="*/ 6657 w 10000"/>
                <a:gd name="connsiteY32" fmla="*/ 1311 h 10000"/>
                <a:gd name="connsiteX33" fmla="*/ 6593 w 10000"/>
                <a:gd name="connsiteY33" fmla="*/ 1114 h 10000"/>
                <a:gd name="connsiteX34" fmla="*/ 6391 w 10000"/>
                <a:gd name="connsiteY34" fmla="*/ 1311 h 10000"/>
                <a:gd name="connsiteX35" fmla="*/ 6309 w 10000"/>
                <a:gd name="connsiteY35" fmla="*/ 1223 h 10000"/>
                <a:gd name="connsiteX36" fmla="*/ 6126 w 10000"/>
                <a:gd name="connsiteY36" fmla="*/ 1273 h 10000"/>
                <a:gd name="connsiteX37" fmla="*/ 6144 w 10000"/>
                <a:gd name="connsiteY37" fmla="*/ 1125 h 10000"/>
                <a:gd name="connsiteX38" fmla="*/ 6073 w 10000"/>
                <a:gd name="connsiteY38" fmla="*/ 1119 h 10000"/>
                <a:gd name="connsiteX39" fmla="*/ 6040 w 10000"/>
                <a:gd name="connsiteY39" fmla="*/ 910 h 10000"/>
                <a:gd name="connsiteX40" fmla="*/ 5942 w 10000"/>
                <a:gd name="connsiteY40" fmla="*/ 795 h 10000"/>
                <a:gd name="connsiteX41" fmla="*/ 6144 w 10000"/>
                <a:gd name="connsiteY41" fmla="*/ 620 h 10000"/>
                <a:gd name="connsiteX42" fmla="*/ 5901 w 10000"/>
                <a:gd name="connsiteY42" fmla="*/ 395 h 10000"/>
                <a:gd name="connsiteX43" fmla="*/ 5853 w 10000"/>
                <a:gd name="connsiteY43" fmla="*/ 142 h 10000"/>
                <a:gd name="connsiteX44" fmla="*/ 5741 w 10000"/>
                <a:gd name="connsiteY44" fmla="*/ 110 h 10000"/>
                <a:gd name="connsiteX45" fmla="*/ 5647 w 10000"/>
                <a:gd name="connsiteY45" fmla="*/ 0 h 10000"/>
                <a:gd name="connsiteX46" fmla="*/ 5547 w 10000"/>
                <a:gd name="connsiteY46" fmla="*/ 120 h 10000"/>
                <a:gd name="connsiteX47" fmla="*/ 5377 w 10000"/>
                <a:gd name="connsiteY47" fmla="*/ 110 h 10000"/>
                <a:gd name="connsiteX48" fmla="*/ 5232 w 10000"/>
                <a:gd name="connsiteY48" fmla="*/ 351 h 10000"/>
                <a:gd name="connsiteX49" fmla="*/ 4952 w 10000"/>
                <a:gd name="connsiteY49" fmla="*/ 329 h 10000"/>
                <a:gd name="connsiteX50" fmla="*/ 4884 w 10000"/>
                <a:gd name="connsiteY50" fmla="*/ 680 h 10000"/>
                <a:gd name="connsiteX51" fmla="*/ 4701 w 10000"/>
                <a:gd name="connsiteY51" fmla="*/ 707 h 10000"/>
                <a:gd name="connsiteX52" fmla="*/ 4795 w 10000"/>
                <a:gd name="connsiteY52" fmla="*/ 844 h 10000"/>
                <a:gd name="connsiteX53" fmla="*/ 4739 w 10000"/>
                <a:gd name="connsiteY53" fmla="*/ 899 h 10000"/>
                <a:gd name="connsiteX54" fmla="*/ 4612 w 10000"/>
                <a:gd name="connsiteY54" fmla="*/ 894 h 10000"/>
                <a:gd name="connsiteX55" fmla="*/ 4439 w 10000"/>
                <a:gd name="connsiteY55" fmla="*/ 1026 h 10000"/>
                <a:gd name="connsiteX56" fmla="*/ 4252 w 10000"/>
                <a:gd name="connsiteY56" fmla="*/ 1668 h 10000"/>
                <a:gd name="connsiteX57" fmla="*/ 4308 w 10000"/>
                <a:gd name="connsiteY57" fmla="*/ 2090 h 10000"/>
                <a:gd name="connsiteX58" fmla="*/ 4121 w 10000"/>
                <a:gd name="connsiteY58" fmla="*/ 1865 h 10000"/>
                <a:gd name="connsiteX59" fmla="*/ 3849 w 10000"/>
                <a:gd name="connsiteY59" fmla="*/ 1991 h 10000"/>
                <a:gd name="connsiteX60" fmla="*/ 3822 w 10000"/>
                <a:gd name="connsiteY60" fmla="*/ 1931 h 10000"/>
                <a:gd name="connsiteX61" fmla="*/ 3695 w 10000"/>
                <a:gd name="connsiteY61" fmla="*/ 2002 h 10000"/>
                <a:gd name="connsiteX62" fmla="*/ 3621 w 10000"/>
                <a:gd name="connsiteY62" fmla="*/ 2144 h 10000"/>
                <a:gd name="connsiteX63" fmla="*/ 3561 w 10000"/>
                <a:gd name="connsiteY63" fmla="*/ 1909 h 10000"/>
                <a:gd name="connsiteX64" fmla="*/ 3478 w 10000"/>
                <a:gd name="connsiteY64" fmla="*/ 1843 h 10000"/>
                <a:gd name="connsiteX65" fmla="*/ 3444 w 10000"/>
                <a:gd name="connsiteY65" fmla="*/ 1964 h 10000"/>
                <a:gd name="connsiteX66" fmla="*/ 3332 w 10000"/>
                <a:gd name="connsiteY66" fmla="*/ 1996 h 10000"/>
                <a:gd name="connsiteX67" fmla="*/ 3272 w 10000"/>
                <a:gd name="connsiteY67" fmla="*/ 2161 h 10000"/>
                <a:gd name="connsiteX68" fmla="*/ 3235 w 10000"/>
                <a:gd name="connsiteY68" fmla="*/ 2013 h 10000"/>
                <a:gd name="connsiteX69" fmla="*/ 3123 w 10000"/>
                <a:gd name="connsiteY69" fmla="*/ 2024 h 10000"/>
                <a:gd name="connsiteX70" fmla="*/ 3078 w 10000"/>
                <a:gd name="connsiteY70" fmla="*/ 2128 h 10000"/>
                <a:gd name="connsiteX71" fmla="*/ 3011 w 10000"/>
                <a:gd name="connsiteY71" fmla="*/ 1975 h 10000"/>
                <a:gd name="connsiteX72" fmla="*/ 2895 w 10000"/>
                <a:gd name="connsiteY72" fmla="*/ 2117 h 10000"/>
                <a:gd name="connsiteX73" fmla="*/ 2783 w 10000"/>
                <a:gd name="connsiteY73" fmla="*/ 2106 h 10000"/>
                <a:gd name="connsiteX74" fmla="*/ 2779 w 10000"/>
                <a:gd name="connsiteY74" fmla="*/ 2276 h 10000"/>
                <a:gd name="connsiteX75" fmla="*/ 2727 w 10000"/>
                <a:gd name="connsiteY75" fmla="*/ 2144 h 10000"/>
                <a:gd name="connsiteX76" fmla="*/ 2559 w 10000"/>
                <a:gd name="connsiteY76" fmla="*/ 2155 h 10000"/>
                <a:gd name="connsiteX77" fmla="*/ 2438 w 10000"/>
                <a:gd name="connsiteY77" fmla="*/ 1980 h 10000"/>
                <a:gd name="connsiteX78" fmla="*/ 2293 w 10000"/>
                <a:gd name="connsiteY78" fmla="*/ 2073 h 10000"/>
                <a:gd name="connsiteX79" fmla="*/ 2143 w 10000"/>
                <a:gd name="connsiteY79" fmla="*/ 1958 h 10000"/>
                <a:gd name="connsiteX80" fmla="*/ 2057 w 10000"/>
                <a:gd name="connsiteY80" fmla="*/ 2035 h 10000"/>
                <a:gd name="connsiteX81" fmla="*/ 1975 w 10000"/>
                <a:gd name="connsiteY81" fmla="*/ 1947 h 10000"/>
                <a:gd name="connsiteX82" fmla="*/ 1852 w 10000"/>
                <a:gd name="connsiteY82" fmla="*/ 1936 h 10000"/>
                <a:gd name="connsiteX83" fmla="*/ 1669 w 10000"/>
                <a:gd name="connsiteY83" fmla="*/ 1925 h 10000"/>
                <a:gd name="connsiteX84" fmla="*/ 1444 w 10000"/>
                <a:gd name="connsiteY84" fmla="*/ 1991 h 10000"/>
                <a:gd name="connsiteX85" fmla="*/ 1205 w 10000"/>
                <a:gd name="connsiteY85" fmla="*/ 2062 h 10000"/>
                <a:gd name="connsiteX86" fmla="*/ 921 w 10000"/>
                <a:gd name="connsiteY86" fmla="*/ 2166 h 10000"/>
                <a:gd name="connsiteX87" fmla="*/ 797 w 10000"/>
                <a:gd name="connsiteY87" fmla="*/ 2496 h 10000"/>
                <a:gd name="connsiteX88" fmla="*/ 603 w 10000"/>
                <a:gd name="connsiteY88" fmla="*/ 2501 h 10000"/>
                <a:gd name="connsiteX89" fmla="*/ 540 w 10000"/>
                <a:gd name="connsiteY89" fmla="*/ 2687 h 10000"/>
                <a:gd name="connsiteX90" fmla="*/ 558 w 10000"/>
                <a:gd name="connsiteY90" fmla="*/ 2764 h 10000"/>
                <a:gd name="connsiteX91" fmla="*/ 577 w 10000"/>
                <a:gd name="connsiteY91" fmla="*/ 2868 h 10000"/>
                <a:gd name="connsiteX92" fmla="*/ 577 w 10000"/>
                <a:gd name="connsiteY92" fmla="*/ 2868 h 10000"/>
                <a:gd name="connsiteX93" fmla="*/ 577 w 10000"/>
                <a:gd name="connsiteY93" fmla="*/ 2896 h 10000"/>
                <a:gd name="connsiteX94" fmla="*/ 682 w 10000"/>
                <a:gd name="connsiteY94" fmla="*/ 3116 h 10000"/>
                <a:gd name="connsiteX95" fmla="*/ 786 w 10000"/>
                <a:gd name="connsiteY95" fmla="*/ 3351 h 10000"/>
                <a:gd name="connsiteX96" fmla="*/ 921 w 10000"/>
                <a:gd name="connsiteY96" fmla="*/ 3488 h 10000"/>
                <a:gd name="connsiteX97" fmla="*/ 876 w 10000"/>
                <a:gd name="connsiteY97" fmla="*/ 3548 h 10000"/>
                <a:gd name="connsiteX98" fmla="*/ 805 w 10000"/>
                <a:gd name="connsiteY98" fmla="*/ 3603 h 10000"/>
                <a:gd name="connsiteX99" fmla="*/ 887 w 10000"/>
                <a:gd name="connsiteY99" fmla="*/ 3697 h 10000"/>
                <a:gd name="connsiteX100" fmla="*/ 876 w 10000"/>
                <a:gd name="connsiteY100" fmla="*/ 4053 h 10000"/>
                <a:gd name="connsiteX101" fmla="*/ 693 w 10000"/>
                <a:gd name="connsiteY101" fmla="*/ 4124 h 10000"/>
                <a:gd name="connsiteX102" fmla="*/ 498 w 10000"/>
                <a:gd name="connsiteY102" fmla="*/ 4531 h 10000"/>
                <a:gd name="connsiteX103" fmla="*/ 371 w 10000"/>
                <a:gd name="connsiteY103" fmla="*/ 4936 h 10000"/>
                <a:gd name="connsiteX104" fmla="*/ 195 w 10000"/>
                <a:gd name="connsiteY104" fmla="*/ 5260 h 10000"/>
                <a:gd name="connsiteX105" fmla="*/ 270 w 10000"/>
                <a:gd name="connsiteY105" fmla="*/ 5517 h 10000"/>
                <a:gd name="connsiteX106" fmla="*/ 277 w 10000"/>
                <a:gd name="connsiteY106" fmla="*/ 5732 h 10000"/>
                <a:gd name="connsiteX107" fmla="*/ 400 w 10000"/>
                <a:gd name="connsiteY107" fmla="*/ 5841 h 10000"/>
                <a:gd name="connsiteX108" fmla="*/ 382 w 10000"/>
                <a:gd name="connsiteY108" fmla="*/ 5945 h 10000"/>
                <a:gd name="connsiteX109" fmla="*/ 202 w 10000"/>
                <a:gd name="connsiteY109" fmla="*/ 5852 h 10000"/>
                <a:gd name="connsiteX110" fmla="*/ 124 w 10000"/>
                <a:gd name="connsiteY110" fmla="*/ 6099 h 10000"/>
                <a:gd name="connsiteX111" fmla="*/ 105 w 10000"/>
                <a:gd name="connsiteY111" fmla="*/ 6346 h 10000"/>
                <a:gd name="connsiteX112" fmla="*/ 1 w 10000"/>
                <a:gd name="connsiteY112" fmla="*/ 6571 h 10000"/>
                <a:gd name="connsiteX113" fmla="*/ 19 w 10000"/>
                <a:gd name="connsiteY113" fmla="*/ 6779 h 10000"/>
                <a:gd name="connsiteX114" fmla="*/ 90 w 10000"/>
                <a:gd name="connsiteY114" fmla="*/ 6828 h 10000"/>
                <a:gd name="connsiteX115" fmla="*/ 154 w 10000"/>
                <a:gd name="connsiteY115" fmla="*/ 6960 h 10000"/>
                <a:gd name="connsiteX116" fmla="*/ 240 w 10000"/>
                <a:gd name="connsiteY116" fmla="*/ 6943 h 10000"/>
                <a:gd name="connsiteX117" fmla="*/ 292 w 10000"/>
                <a:gd name="connsiteY117" fmla="*/ 7076 h 10000"/>
                <a:gd name="connsiteX118" fmla="*/ 445 w 10000"/>
                <a:gd name="connsiteY118" fmla="*/ 7103 h 10000"/>
                <a:gd name="connsiteX119" fmla="*/ 453 w 10000"/>
                <a:gd name="connsiteY119" fmla="*/ 7251 h 10000"/>
                <a:gd name="connsiteX120" fmla="*/ 494 w 10000"/>
                <a:gd name="connsiteY120" fmla="*/ 7278 h 10000"/>
                <a:gd name="connsiteX121" fmla="*/ 525 w 10000"/>
                <a:gd name="connsiteY121" fmla="*/ 7174 h 10000"/>
                <a:gd name="connsiteX122" fmla="*/ 581 w 10000"/>
                <a:gd name="connsiteY122" fmla="*/ 7196 h 10000"/>
                <a:gd name="connsiteX123" fmla="*/ 644 w 10000"/>
                <a:gd name="connsiteY123" fmla="*/ 6992 h 10000"/>
                <a:gd name="connsiteX124" fmla="*/ 820 w 10000"/>
                <a:gd name="connsiteY124" fmla="*/ 7174 h 10000"/>
                <a:gd name="connsiteX125" fmla="*/ 1283 w 10000"/>
                <a:gd name="connsiteY125" fmla="*/ 7163 h 10000"/>
                <a:gd name="connsiteX126" fmla="*/ 1466 w 10000"/>
                <a:gd name="connsiteY126" fmla="*/ 7092 h 10000"/>
                <a:gd name="connsiteX127" fmla="*/ 1766 w 10000"/>
                <a:gd name="connsiteY127" fmla="*/ 7344 h 10000"/>
                <a:gd name="connsiteX128" fmla="*/ 1956 w 10000"/>
                <a:gd name="connsiteY128" fmla="*/ 7087 h 10000"/>
                <a:gd name="connsiteX129" fmla="*/ 2382 w 10000"/>
                <a:gd name="connsiteY129" fmla="*/ 6861 h 10000"/>
                <a:gd name="connsiteX130" fmla="*/ 2536 w 10000"/>
                <a:gd name="connsiteY130" fmla="*/ 6489 h 10000"/>
                <a:gd name="connsiteX131" fmla="*/ 2648 w 10000"/>
                <a:gd name="connsiteY131" fmla="*/ 6439 h 10000"/>
                <a:gd name="connsiteX132" fmla="*/ 2648 w 10000"/>
                <a:gd name="connsiteY132" fmla="*/ 6379 h 10000"/>
                <a:gd name="connsiteX133" fmla="*/ 2693 w 10000"/>
                <a:gd name="connsiteY133" fmla="*/ 6379 h 10000"/>
                <a:gd name="connsiteX134" fmla="*/ 2682 w 10000"/>
                <a:gd name="connsiteY134" fmla="*/ 6230 h 10000"/>
                <a:gd name="connsiteX135" fmla="*/ 2820 w 10000"/>
                <a:gd name="connsiteY135" fmla="*/ 6285 h 10000"/>
                <a:gd name="connsiteX136" fmla="*/ 2839 w 10000"/>
                <a:gd name="connsiteY136" fmla="*/ 6159 h 10000"/>
                <a:gd name="connsiteX137" fmla="*/ 2921 w 10000"/>
                <a:gd name="connsiteY137" fmla="*/ 6230 h 10000"/>
                <a:gd name="connsiteX138" fmla="*/ 2981 w 10000"/>
                <a:gd name="connsiteY138" fmla="*/ 6126 h 10000"/>
                <a:gd name="connsiteX139" fmla="*/ 3078 w 10000"/>
                <a:gd name="connsiteY139" fmla="*/ 6154 h 10000"/>
                <a:gd name="connsiteX140" fmla="*/ 3164 w 10000"/>
                <a:gd name="connsiteY140" fmla="*/ 6055 h 10000"/>
                <a:gd name="connsiteX141" fmla="*/ 3328 w 10000"/>
                <a:gd name="connsiteY141" fmla="*/ 6192 h 10000"/>
                <a:gd name="connsiteX142" fmla="*/ 3411 w 10000"/>
                <a:gd name="connsiteY142" fmla="*/ 6197 h 10000"/>
                <a:gd name="connsiteX143" fmla="*/ 3437 w 10000"/>
                <a:gd name="connsiteY143" fmla="*/ 6307 h 10000"/>
                <a:gd name="connsiteX144" fmla="*/ 3591 w 10000"/>
                <a:gd name="connsiteY144" fmla="*/ 6236 h 10000"/>
                <a:gd name="connsiteX145" fmla="*/ 3576 w 10000"/>
                <a:gd name="connsiteY145" fmla="*/ 6357 h 10000"/>
                <a:gd name="connsiteX146" fmla="*/ 3632 w 10000"/>
                <a:gd name="connsiteY146" fmla="*/ 6341 h 10000"/>
                <a:gd name="connsiteX147" fmla="*/ 3699 w 10000"/>
                <a:gd name="connsiteY147" fmla="*/ 6428 h 10000"/>
                <a:gd name="connsiteX148" fmla="*/ 3703 w 10000"/>
                <a:gd name="connsiteY148" fmla="*/ 6301 h 10000"/>
                <a:gd name="connsiteX149" fmla="*/ 3882 w 10000"/>
                <a:gd name="connsiteY149" fmla="*/ 6341 h 10000"/>
                <a:gd name="connsiteX150" fmla="*/ 3946 w 10000"/>
                <a:gd name="connsiteY150" fmla="*/ 6511 h 10000"/>
                <a:gd name="connsiteX151" fmla="*/ 4047 w 10000"/>
                <a:gd name="connsiteY151" fmla="*/ 6494 h 10000"/>
                <a:gd name="connsiteX152" fmla="*/ 4091 w 10000"/>
                <a:gd name="connsiteY152" fmla="*/ 6417 h 10000"/>
                <a:gd name="connsiteX153" fmla="*/ 4192 w 10000"/>
                <a:gd name="connsiteY153" fmla="*/ 6735 h 10000"/>
                <a:gd name="connsiteX154" fmla="*/ 4155 w 10000"/>
                <a:gd name="connsiteY154" fmla="*/ 6987 h 10000"/>
                <a:gd name="connsiteX155" fmla="*/ 4207 w 10000"/>
                <a:gd name="connsiteY155" fmla="*/ 7114 h 10000"/>
                <a:gd name="connsiteX156" fmla="*/ 4278 w 10000"/>
                <a:gd name="connsiteY156" fmla="*/ 7119 h 10000"/>
                <a:gd name="connsiteX157" fmla="*/ 4387 w 10000"/>
                <a:gd name="connsiteY157" fmla="*/ 7256 h 10000"/>
                <a:gd name="connsiteX158" fmla="*/ 4431 w 10000"/>
                <a:gd name="connsiteY158" fmla="*/ 7152 h 10000"/>
                <a:gd name="connsiteX159" fmla="*/ 4480 w 10000"/>
                <a:gd name="connsiteY159" fmla="*/ 7322 h 10000"/>
                <a:gd name="connsiteX160" fmla="*/ 4541 w 10000"/>
                <a:gd name="connsiteY160" fmla="*/ 7662 h 10000"/>
                <a:gd name="connsiteX161" fmla="*/ 4720 w 10000"/>
                <a:gd name="connsiteY161" fmla="*/ 7739 h 10000"/>
                <a:gd name="connsiteX162" fmla="*/ 4761 w 10000"/>
                <a:gd name="connsiteY162" fmla="*/ 8183 h 10000"/>
                <a:gd name="connsiteX163" fmla="*/ 4914 w 10000"/>
                <a:gd name="connsiteY163" fmla="*/ 8276 h 10000"/>
                <a:gd name="connsiteX164" fmla="*/ 4757 w 10000"/>
                <a:gd name="connsiteY164" fmla="*/ 8370 h 10000"/>
                <a:gd name="connsiteX165" fmla="*/ 4705 w 10000"/>
                <a:gd name="connsiteY165" fmla="*/ 8260 h 10000"/>
                <a:gd name="connsiteX166" fmla="*/ 4645 w 10000"/>
                <a:gd name="connsiteY166" fmla="*/ 8403 h 10000"/>
                <a:gd name="connsiteX167" fmla="*/ 4491 w 10000"/>
                <a:gd name="connsiteY167" fmla="*/ 8287 h 10000"/>
                <a:gd name="connsiteX168" fmla="*/ 4405 w 10000"/>
                <a:gd name="connsiteY168" fmla="*/ 8452 h 10000"/>
                <a:gd name="connsiteX169" fmla="*/ 4226 w 10000"/>
                <a:gd name="connsiteY169" fmla="*/ 8331 h 10000"/>
                <a:gd name="connsiteX170" fmla="*/ 4312 w 10000"/>
                <a:gd name="connsiteY170" fmla="*/ 8699 h 10000"/>
                <a:gd name="connsiteX171" fmla="*/ 4304 w 10000"/>
                <a:gd name="connsiteY171" fmla="*/ 8967 h 10000"/>
                <a:gd name="connsiteX172" fmla="*/ 4189 w 10000"/>
                <a:gd name="connsiteY172" fmla="*/ 9088 h 10000"/>
                <a:gd name="connsiteX173" fmla="*/ 4226 w 10000"/>
                <a:gd name="connsiteY173" fmla="*/ 9193 h 10000"/>
                <a:gd name="connsiteX174" fmla="*/ 4065 w 10000"/>
                <a:gd name="connsiteY174" fmla="*/ 9412 h 10000"/>
                <a:gd name="connsiteX175" fmla="*/ 4129 w 10000"/>
                <a:gd name="connsiteY175" fmla="*/ 9647 h 10000"/>
                <a:gd name="connsiteX176" fmla="*/ 3972 w 10000"/>
                <a:gd name="connsiteY176" fmla="*/ 9681 h 10000"/>
                <a:gd name="connsiteX177" fmla="*/ 3931 w 10000"/>
                <a:gd name="connsiteY177" fmla="*/ 9741 h 10000"/>
                <a:gd name="connsiteX178" fmla="*/ 3998 w 10000"/>
                <a:gd name="connsiteY178" fmla="*/ 9785 h 10000"/>
                <a:gd name="connsiteX179" fmla="*/ 4118 w 10000"/>
                <a:gd name="connsiteY179" fmla="*/ 9944 h 10000"/>
                <a:gd name="connsiteX180" fmla="*/ 4312 w 10000"/>
                <a:gd name="connsiteY180" fmla="*/ 9999 h 10000"/>
                <a:gd name="connsiteX181" fmla="*/ 4319 w 10000"/>
                <a:gd name="connsiteY181" fmla="*/ 9851 h 10000"/>
                <a:gd name="connsiteX182" fmla="*/ 4387 w 10000"/>
                <a:gd name="connsiteY182" fmla="*/ 9856 h 10000"/>
                <a:gd name="connsiteX183" fmla="*/ 4675 w 10000"/>
                <a:gd name="connsiteY183" fmla="*/ 9603 h 10000"/>
                <a:gd name="connsiteX184" fmla="*/ 4866 w 10000"/>
                <a:gd name="connsiteY184" fmla="*/ 9845 h 10000"/>
                <a:gd name="connsiteX185" fmla="*/ 4866 w 10000"/>
                <a:gd name="connsiteY185" fmla="*/ 9862 h 10000"/>
                <a:gd name="connsiteX186" fmla="*/ 4896 w 10000"/>
                <a:gd name="connsiteY186" fmla="*/ 9703 h 10000"/>
                <a:gd name="connsiteX187" fmla="*/ 4843 w 10000"/>
                <a:gd name="connsiteY187" fmla="*/ 9570 h 10000"/>
                <a:gd name="connsiteX188" fmla="*/ 4776 w 10000"/>
                <a:gd name="connsiteY188" fmla="*/ 9549 h 10000"/>
                <a:gd name="connsiteX189" fmla="*/ 4821 w 10000"/>
                <a:gd name="connsiteY189" fmla="*/ 9466 h 10000"/>
                <a:gd name="connsiteX190" fmla="*/ 4806 w 10000"/>
                <a:gd name="connsiteY190" fmla="*/ 9444 h 10000"/>
                <a:gd name="connsiteX191" fmla="*/ 4750 w 10000"/>
                <a:gd name="connsiteY191" fmla="*/ 9439 h 10000"/>
                <a:gd name="connsiteX192" fmla="*/ 4720 w 10000"/>
                <a:gd name="connsiteY192" fmla="*/ 9121 h 10000"/>
                <a:gd name="connsiteX193" fmla="*/ 4761 w 10000"/>
                <a:gd name="connsiteY193" fmla="*/ 9105 h 10000"/>
                <a:gd name="connsiteX194" fmla="*/ 4783 w 10000"/>
                <a:gd name="connsiteY194" fmla="*/ 9253 h 10000"/>
                <a:gd name="connsiteX195" fmla="*/ 4836 w 10000"/>
                <a:gd name="connsiteY195" fmla="*/ 9384 h 10000"/>
                <a:gd name="connsiteX196" fmla="*/ 4881 w 10000"/>
                <a:gd name="connsiteY196" fmla="*/ 9302 h 10000"/>
                <a:gd name="connsiteX197" fmla="*/ 4869 w 10000"/>
                <a:gd name="connsiteY197" fmla="*/ 9220 h 10000"/>
                <a:gd name="connsiteX198" fmla="*/ 4940 w 10000"/>
                <a:gd name="connsiteY198" fmla="*/ 9203 h 10000"/>
                <a:gd name="connsiteX199" fmla="*/ 4903 w 10000"/>
                <a:gd name="connsiteY199" fmla="*/ 9034 h 10000"/>
                <a:gd name="connsiteX200" fmla="*/ 5000 w 10000"/>
                <a:gd name="connsiteY200" fmla="*/ 9061 h 10000"/>
                <a:gd name="connsiteX201" fmla="*/ 5004 w 10000"/>
                <a:gd name="connsiteY201" fmla="*/ 8972 h 10000"/>
                <a:gd name="connsiteX202" fmla="*/ 5041 w 10000"/>
                <a:gd name="connsiteY202" fmla="*/ 9039 h 10000"/>
                <a:gd name="connsiteX203" fmla="*/ 5206 w 10000"/>
                <a:gd name="connsiteY203" fmla="*/ 8781 h 10000"/>
                <a:gd name="connsiteX204" fmla="*/ 5112 w 10000"/>
                <a:gd name="connsiteY204" fmla="*/ 8584 h 10000"/>
                <a:gd name="connsiteX205" fmla="*/ 4937 w 10000"/>
                <a:gd name="connsiteY205" fmla="*/ 8425 h 10000"/>
                <a:gd name="connsiteX206" fmla="*/ 5037 w 10000"/>
                <a:gd name="connsiteY206" fmla="*/ 8370 h 10000"/>
                <a:gd name="connsiteX207" fmla="*/ 5183 w 10000"/>
                <a:gd name="connsiteY207" fmla="*/ 8633 h 10000"/>
                <a:gd name="connsiteX208" fmla="*/ 5292 w 10000"/>
                <a:gd name="connsiteY208" fmla="*/ 8199 h 10000"/>
                <a:gd name="connsiteX209" fmla="*/ 5299 w 10000"/>
                <a:gd name="connsiteY209" fmla="*/ 8030 h 10000"/>
                <a:gd name="connsiteX210" fmla="*/ 5482 w 10000"/>
                <a:gd name="connsiteY210" fmla="*/ 7942 h 10000"/>
                <a:gd name="connsiteX211" fmla="*/ 5550 w 10000"/>
                <a:gd name="connsiteY211" fmla="*/ 7607 h 10000"/>
                <a:gd name="connsiteX212" fmla="*/ 5561 w 10000"/>
                <a:gd name="connsiteY212" fmla="*/ 7734 h 10000"/>
                <a:gd name="connsiteX213" fmla="*/ 5677 w 10000"/>
                <a:gd name="connsiteY213" fmla="*/ 7596 h 10000"/>
                <a:gd name="connsiteX214" fmla="*/ 5759 w 10000"/>
                <a:gd name="connsiteY214" fmla="*/ 7579 h 10000"/>
                <a:gd name="connsiteX215" fmla="*/ 5842 w 10000"/>
                <a:gd name="connsiteY215" fmla="*/ 7207 h 10000"/>
                <a:gd name="connsiteX216" fmla="*/ 5916 w 10000"/>
                <a:gd name="connsiteY216" fmla="*/ 7486 h 10000"/>
                <a:gd name="connsiteX217" fmla="*/ 6137 w 10000"/>
                <a:gd name="connsiteY217" fmla="*/ 7563 h 10000"/>
                <a:gd name="connsiteX218" fmla="*/ 5969 w 10000"/>
                <a:gd name="connsiteY218" fmla="*/ 7618 h 10000"/>
                <a:gd name="connsiteX219" fmla="*/ 5954 w 10000"/>
                <a:gd name="connsiteY219" fmla="*/ 7679 h 10000"/>
                <a:gd name="connsiteX220" fmla="*/ 5786 w 10000"/>
                <a:gd name="connsiteY220" fmla="*/ 7690 h 10000"/>
                <a:gd name="connsiteX221" fmla="*/ 5700 w 10000"/>
                <a:gd name="connsiteY221" fmla="*/ 7723 h 10000"/>
                <a:gd name="connsiteX222" fmla="*/ 5767 w 10000"/>
                <a:gd name="connsiteY222" fmla="*/ 7772 h 10000"/>
                <a:gd name="connsiteX223" fmla="*/ 5827 w 10000"/>
                <a:gd name="connsiteY223" fmla="*/ 7756 h 10000"/>
                <a:gd name="connsiteX224" fmla="*/ 5991 w 10000"/>
                <a:gd name="connsiteY224" fmla="*/ 7789 h 10000"/>
                <a:gd name="connsiteX225" fmla="*/ 5804 w 10000"/>
                <a:gd name="connsiteY225" fmla="*/ 7964 h 10000"/>
                <a:gd name="connsiteX226" fmla="*/ 5872 w 10000"/>
                <a:gd name="connsiteY226" fmla="*/ 8008 h 10000"/>
                <a:gd name="connsiteX227" fmla="*/ 6043 w 10000"/>
                <a:gd name="connsiteY227" fmla="*/ 7958 h 10000"/>
                <a:gd name="connsiteX228" fmla="*/ 6275 w 10000"/>
                <a:gd name="connsiteY228" fmla="*/ 8101 h 10000"/>
                <a:gd name="connsiteX229" fmla="*/ 6575 w 10000"/>
                <a:gd name="connsiteY229" fmla="*/ 7909 h 10000"/>
                <a:gd name="connsiteX230" fmla="*/ 6870 w 10000"/>
                <a:gd name="connsiteY230" fmla="*/ 7887 h 10000"/>
                <a:gd name="connsiteX231" fmla="*/ 6915 w 10000"/>
                <a:gd name="connsiteY231" fmla="*/ 7745 h 10000"/>
                <a:gd name="connsiteX232" fmla="*/ 6993 w 10000"/>
                <a:gd name="connsiteY232" fmla="*/ 7958 h 10000"/>
                <a:gd name="connsiteX233" fmla="*/ 7075 w 10000"/>
                <a:gd name="connsiteY233" fmla="*/ 7986 h 10000"/>
                <a:gd name="connsiteX234" fmla="*/ 7045 w 10000"/>
                <a:gd name="connsiteY234" fmla="*/ 8134 h 10000"/>
                <a:gd name="connsiteX235" fmla="*/ 6788 w 10000"/>
                <a:gd name="connsiteY235" fmla="*/ 8281 h 10000"/>
                <a:gd name="connsiteX236" fmla="*/ 6769 w 10000"/>
                <a:gd name="connsiteY236" fmla="*/ 8386 h 10000"/>
                <a:gd name="connsiteX237" fmla="*/ 6627 w 10000"/>
                <a:gd name="connsiteY237" fmla="*/ 8523 h 10000"/>
                <a:gd name="connsiteX238" fmla="*/ 6623 w 10000"/>
                <a:gd name="connsiteY238" fmla="*/ 8649 h 10000"/>
                <a:gd name="connsiteX239" fmla="*/ 6537 w 10000"/>
                <a:gd name="connsiteY239" fmla="*/ 8704 h 10000"/>
                <a:gd name="connsiteX240" fmla="*/ 6428 w 10000"/>
                <a:gd name="connsiteY240" fmla="*/ 8989 h 10000"/>
                <a:gd name="connsiteX241" fmla="*/ 6582 w 10000"/>
                <a:gd name="connsiteY241" fmla="*/ 9001 h 10000"/>
                <a:gd name="connsiteX242" fmla="*/ 6672 w 10000"/>
                <a:gd name="connsiteY242" fmla="*/ 8879 h 10000"/>
                <a:gd name="connsiteX243" fmla="*/ 6769 w 10000"/>
                <a:gd name="connsiteY243" fmla="*/ 8912 h 10000"/>
                <a:gd name="connsiteX244" fmla="*/ 6814 w 10000"/>
                <a:gd name="connsiteY244" fmla="*/ 8786 h 10000"/>
                <a:gd name="connsiteX245" fmla="*/ 6877 w 10000"/>
                <a:gd name="connsiteY245" fmla="*/ 9001 h 10000"/>
                <a:gd name="connsiteX246" fmla="*/ 7060 w 10000"/>
                <a:gd name="connsiteY246" fmla="*/ 8994 h 10000"/>
                <a:gd name="connsiteX247" fmla="*/ 7217 w 10000"/>
                <a:gd name="connsiteY247" fmla="*/ 9362 h 10000"/>
                <a:gd name="connsiteX248" fmla="*/ 7232 w 10000"/>
                <a:gd name="connsiteY248" fmla="*/ 9675 h 10000"/>
                <a:gd name="connsiteX249" fmla="*/ 7176 w 10000"/>
                <a:gd name="connsiteY249" fmla="*/ 9692 h 10000"/>
                <a:gd name="connsiteX250" fmla="*/ 7187 w 10000"/>
                <a:gd name="connsiteY250" fmla="*/ 9780 h 10000"/>
                <a:gd name="connsiteX251" fmla="*/ 7423 w 10000"/>
                <a:gd name="connsiteY251" fmla="*/ 9900 h 10000"/>
                <a:gd name="connsiteX252" fmla="*/ 7741 w 10000"/>
                <a:gd name="connsiteY252" fmla="*/ 9565 h 10000"/>
                <a:gd name="connsiteX253" fmla="*/ 7879 w 10000"/>
                <a:gd name="connsiteY253" fmla="*/ 9176 h 10000"/>
                <a:gd name="connsiteX254" fmla="*/ 8107 w 10000"/>
                <a:gd name="connsiteY254" fmla="*/ 9023 h 10000"/>
                <a:gd name="connsiteX255" fmla="*/ 8182 w 10000"/>
                <a:gd name="connsiteY255" fmla="*/ 8841 h 10000"/>
                <a:gd name="connsiteX256" fmla="*/ 8268 w 10000"/>
                <a:gd name="connsiteY256" fmla="*/ 8786 h 10000"/>
                <a:gd name="connsiteX257" fmla="*/ 8320 w 10000"/>
                <a:gd name="connsiteY257" fmla="*/ 8512 h 10000"/>
                <a:gd name="connsiteX258" fmla="*/ 8542 w 10000"/>
                <a:gd name="connsiteY258" fmla="*/ 8617 h 10000"/>
                <a:gd name="connsiteX259" fmla="*/ 8672 w 10000"/>
                <a:gd name="connsiteY259" fmla="*/ 8474 h 10000"/>
                <a:gd name="connsiteX260" fmla="*/ 8855 w 10000"/>
                <a:gd name="connsiteY260" fmla="*/ 8343 h 10000"/>
                <a:gd name="connsiteX261" fmla="*/ 8781 w 10000"/>
                <a:gd name="connsiteY261" fmla="*/ 8128 h 10000"/>
                <a:gd name="connsiteX262" fmla="*/ 7708 w 10000"/>
                <a:gd name="connsiteY262" fmla="*/ 7991 h 10000"/>
                <a:gd name="connsiteX263" fmla="*/ 7682 w 10000"/>
                <a:gd name="connsiteY263" fmla="*/ 7904 h 10000"/>
                <a:gd name="connsiteX264" fmla="*/ 7607 w 10000"/>
                <a:gd name="connsiteY264" fmla="*/ 8002 h 10000"/>
                <a:gd name="connsiteX265" fmla="*/ 7715 w 10000"/>
                <a:gd name="connsiteY265" fmla="*/ 7761 h 10000"/>
                <a:gd name="connsiteX266" fmla="*/ 7674 w 10000"/>
                <a:gd name="connsiteY266" fmla="*/ 7717 h 10000"/>
                <a:gd name="connsiteX267" fmla="*/ 7554 w 10000"/>
                <a:gd name="connsiteY267" fmla="*/ 7915 h 10000"/>
                <a:gd name="connsiteX268" fmla="*/ 7618 w 10000"/>
                <a:gd name="connsiteY268" fmla="*/ 7712 h 10000"/>
                <a:gd name="connsiteX269" fmla="*/ 7532 w 10000"/>
                <a:gd name="connsiteY269" fmla="*/ 7767 h 10000"/>
                <a:gd name="connsiteX270" fmla="*/ 7419 w 10000"/>
                <a:gd name="connsiteY270" fmla="*/ 7717 h 10000"/>
                <a:gd name="connsiteX271" fmla="*/ 7333 w 10000"/>
                <a:gd name="connsiteY271" fmla="*/ 7794 h 10000"/>
                <a:gd name="connsiteX272" fmla="*/ 7240 w 10000"/>
                <a:gd name="connsiteY272" fmla="*/ 7728 h 10000"/>
                <a:gd name="connsiteX273" fmla="*/ 7087 w 10000"/>
                <a:gd name="connsiteY273" fmla="*/ 7717 h 10000"/>
                <a:gd name="connsiteX274" fmla="*/ 7090 w 10000"/>
                <a:gd name="connsiteY274" fmla="*/ 7547 h 10000"/>
                <a:gd name="connsiteX275" fmla="*/ 7229 w 10000"/>
                <a:gd name="connsiteY275" fmla="*/ 7662 h 10000"/>
                <a:gd name="connsiteX276" fmla="*/ 7273 w 10000"/>
                <a:gd name="connsiteY276" fmla="*/ 7541 h 10000"/>
                <a:gd name="connsiteX277" fmla="*/ 7236 w 10000"/>
                <a:gd name="connsiteY277" fmla="*/ 7410 h 10000"/>
                <a:gd name="connsiteX278" fmla="*/ 7341 w 10000"/>
                <a:gd name="connsiteY278" fmla="*/ 7547 h 10000"/>
                <a:gd name="connsiteX279" fmla="*/ 7483 w 10000"/>
                <a:gd name="connsiteY279" fmla="*/ 7536 h 10000"/>
                <a:gd name="connsiteX280" fmla="*/ 7506 w 10000"/>
                <a:gd name="connsiteY280" fmla="*/ 7685 h 10000"/>
                <a:gd name="connsiteX281" fmla="*/ 7547 w 10000"/>
                <a:gd name="connsiteY281" fmla="*/ 7685 h 10000"/>
                <a:gd name="connsiteX282" fmla="*/ 7558 w 10000"/>
                <a:gd name="connsiteY282" fmla="*/ 7415 h 10000"/>
                <a:gd name="connsiteX283" fmla="*/ 7607 w 10000"/>
                <a:gd name="connsiteY283" fmla="*/ 7585 h 10000"/>
                <a:gd name="connsiteX284" fmla="*/ 7693 w 10000"/>
                <a:gd name="connsiteY284" fmla="*/ 7590 h 10000"/>
                <a:gd name="connsiteX285" fmla="*/ 7629 w 10000"/>
                <a:gd name="connsiteY285" fmla="*/ 7333 h 10000"/>
                <a:gd name="connsiteX286" fmla="*/ 7786 w 10000"/>
                <a:gd name="connsiteY286" fmla="*/ 7240 h 10000"/>
                <a:gd name="connsiteX287" fmla="*/ 7779 w 10000"/>
                <a:gd name="connsiteY287" fmla="*/ 6987 h 10000"/>
                <a:gd name="connsiteX288" fmla="*/ 7887 w 10000"/>
                <a:gd name="connsiteY288" fmla="*/ 7081 h 10000"/>
                <a:gd name="connsiteX289" fmla="*/ 7906 w 10000"/>
                <a:gd name="connsiteY289" fmla="*/ 7015 h 10000"/>
                <a:gd name="connsiteX290" fmla="*/ 7775 w 10000"/>
                <a:gd name="connsiteY290" fmla="*/ 6735 h 10000"/>
                <a:gd name="connsiteX291" fmla="*/ 7950 w 10000"/>
                <a:gd name="connsiteY291" fmla="*/ 6894 h 10000"/>
                <a:gd name="connsiteX292" fmla="*/ 8171 w 10000"/>
                <a:gd name="connsiteY292" fmla="*/ 6511 h 10000"/>
                <a:gd name="connsiteX293" fmla="*/ 8384 w 10000"/>
                <a:gd name="connsiteY293" fmla="*/ 6483 h 10000"/>
                <a:gd name="connsiteX294" fmla="*/ 8429 w 10000"/>
                <a:gd name="connsiteY29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143 w 10000"/>
                <a:gd name="connsiteY21" fmla="*/ 1838 h 10000"/>
                <a:gd name="connsiteX22" fmla="*/ 9091 w 10000"/>
                <a:gd name="connsiteY22" fmla="*/ 1712 h 10000"/>
                <a:gd name="connsiteX23" fmla="*/ 9020 w 10000"/>
                <a:gd name="connsiteY23" fmla="*/ 1728 h 10000"/>
                <a:gd name="connsiteX24" fmla="*/ 7569 w 10000"/>
                <a:gd name="connsiteY24" fmla="*/ 1873 h 10000"/>
                <a:gd name="connsiteX25" fmla="*/ 7165 w 10000"/>
                <a:gd name="connsiteY25" fmla="*/ 1996 h 10000"/>
                <a:gd name="connsiteX26" fmla="*/ 6892 w 10000"/>
                <a:gd name="connsiteY26" fmla="*/ 1827 h 10000"/>
                <a:gd name="connsiteX27" fmla="*/ 6922 w 10000"/>
                <a:gd name="connsiteY27" fmla="*/ 1728 h 10000"/>
                <a:gd name="connsiteX28" fmla="*/ 6765 w 10000"/>
                <a:gd name="connsiteY28" fmla="*/ 1398 h 10000"/>
                <a:gd name="connsiteX29" fmla="*/ 6799 w 10000"/>
                <a:gd name="connsiteY29" fmla="*/ 1256 h 10000"/>
                <a:gd name="connsiteX30" fmla="*/ 6728 w 10000"/>
                <a:gd name="connsiteY30" fmla="*/ 1229 h 10000"/>
                <a:gd name="connsiteX31" fmla="*/ 6657 w 10000"/>
                <a:gd name="connsiteY31" fmla="*/ 1311 h 10000"/>
                <a:gd name="connsiteX32" fmla="*/ 6593 w 10000"/>
                <a:gd name="connsiteY32" fmla="*/ 1114 h 10000"/>
                <a:gd name="connsiteX33" fmla="*/ 6391 w 10000"/>
                <a:gd name="connsiteY33" fmla="*/ 1311 h 10000"/>
                <a:gd name="connsiteX34" fmla="*/ 6309 w 10000"/>
                <a:gd name="connsiteY34" fmla="*/ 1223 h 10000"/>
                <a:gd name="connsiteX35" fmla="*/ 6126 w 10000"/>
                <a:gd name="connsiteY35" fmla="*/ 1273 h 10000"/>
                <a:gd name="connsiteX36" fmla="*/ 6144 w 10000"/>
                <a:gd name="connsiteY36" fmla="*/ 1125 h 10000"/>
                <a:gd name="connsiteX37" fmla="*/ 6073 w 10000"/>
                <a:gd name="connsiteY37" fmla="*/ 1119 h 10000"/>
                <a:gd name="connsiteX38" fmla="*/ 6040 w 10000"/>
                <a:gd name="connsiteY38" fmla="*/ 910 h 10000"/>
                <a:gd name="connsiteX39" fmla="*/ 5942 w 10000"/>
                <a:gd name="connsiteY39" fmla="*/ 795 h 10000"/>
                <a:gd name="connsiteX40" fmla="*/ 6144 w 10000"/>
                <a:gd name="connsiteY40" fmla="*/ 620 h 10000"/>
                <a:gd name="connsiteX41" fmla="*/ 5901 w 10000"/>
                <a:gd name="connsiteY41" fmla="*/ 395 h 10000"/>
                <a:gd name="connsiteX42" fmla="*/ 5853 w 10000"/>
                <a:gd name="connsiteY42" fmla="*/ 142 h 10000"/>
                <a:gd name="connsiteX43" fmla="*/ 5741 w 10000"/>
                <a:gd name="connsiteY43" fmla="*/ 110 h 10000"/>
                <a:gd name="connsiteX44" fmla="*/ 5647 w 10000"/>
                <a:gd name="connsiteY44" fmla="*/ 0 h 10000"/>
                <a:gd name="connsiteX45" fmla="*/ 5547 w 10000"/>
                <a:gd name="connsiteY45" fmla="*/ 120 h 10000"/>
                <a:gd name="connsiteX46" fmla="*/ 5377 w 10000"/>
                <a:gd name="connsiteY46" fmla="*/ 110 h 10000"/>
                <a:gd name="connsiteX47" fmla="*/ 5232 w 10000"/>
                <a:gd name="connsiteY47" fmla="*/ 351 h 10000"/>
                <a:gd name="connsiteX48" fmla="*/ 4952 w 10000"/>
                <a:gd name="connsiteY48" fmla="*/ 329 h 10000"/>
                <a:gd name="connsiteX49" fmla="*/ 4884 w 10000"/>
                <a:gd name="connsiteY49" fmla="*/ 680 h 10000"/>
                <a:gd name="connsiteX50" fmla="*/ 4701 w 10000"/>
                <a:gd name="connsiteY50" fmla="*/ 707 h 10000"/>
                <a:gd name="connsiteX51" fmla="*/ 4795 w 10000"/>
                <a:gd name="connsiteY51" fmla="*/ 844 h 10000"/>
                <a:gd name="connsiteX52" fmla="*/ 4739 w 10000"/>
                <a:gd name="connsiteY52" fmla="*/ 899 h 10000"/>
                <a:gd name="connsiteX53" fmla="*/ 4612 w 10000"/>
                <a:gd name="connsiteY53" fmla="*/ 894 h 10000"/>
                <a:gd name="connsiteX54" fmla="*/ 4439 w 10000"/>
                <a:gd name="connsiteY54" fmla="*/ 1026 h 10000"/>
                <a:gd name="connsiteX55" fmla="*/ 4252 w 10000"/>
                <a:gd name="connsiteY55" fmla="*/ 1668 h 10000"/>
                <a:gd name="connsiteX56" fmla="*/ 4308 w 10000"/>
                <a:gd name="connsiteY56" fmla="*/ 2090 h 10000"/>
                <a:gd name="connsiteX57" fmla="*/ 4121 w 10000"/>
                <a:gd name="connsiteY57" fmla="*/ 1865 h 10000"/>
                <a:gd name="connsiteX58" fmla="*/ 3849 w 10000"/>
                <a:gd name="connsiteY58" fmla="*/ 1991 h 10000"/>
                <a:gd name="connsiteX59" fmla="*/ 3822 w 10000"/>
                <a:gd name="connsiteY59" fmla="*/ 1931 h 10000"/>
                <a:gd name="connsiteX60" fmla="*/ 3695 w 10000"/>
                <a:gd name="connsiteY60" fmla="*/ 2002 h 10000"/>
                <a:gd name="connsiteX61" fmla="*/ 3621 w 10000"/>
                <a:gd name="connsiteY61" fmla="*/ 2144 h 10000"/>
                <a:gd name="connsiteX62" fmla="*/ 3561 w 10000"/>
                <a:gd name="connsiteY62" fmla="*/ 1909 h 10000"/>
                <a:gd name="connsiteX63" fmla="*/ 3478 w 10000"/>
                <a:gd name="connsiteY63" fmla="*/ 1843 h 10000"/>
                <a:gd name="connsiteX64" fmla="*/ 3444 w 10000"/>
                <a:gd name="connsiteY64" fmla="*/ 1964 h 10000"/>
                <a:gd name="connsiteX65" fmla="*/ 3332 w 10000"/>
                <a:gd name="connsiteY65" fmla="*/ 1996 h 10000"/>
                <a:gd name="connsiteX66" fmla="*/ 3272 w 10000"/>
                <a:gd name="connsiteY66" fmla="*/ 2161 h 10000"/>
                <a:gd name="connsiteX67" fmla="*/ 3235 w 10000"/>
                <a:gd name="connsiteY67" fmla="*/ 2013 h 10000"/>
                <a:gd name="connsiteX68" fmla="*/ 3123 w 10000"/>
                <a:gd name="connsiteY68" fmla="*/ 2024 h 10000"/>
                <a:gd name="connsiteX69" fmla="*/ 3078 w 10000"/>
                <a:gd name="connsiteY69" fmla="*/ 2128 h 10000"/>
                <a:gd name="connsiteX70" fmla="*/ 3011 w 10000"/>
                <a:gd name="connsiteY70" fmla="*/ 1975 h 10000"/>
                <a:gd name="connsiteX71" fmla="*/ 2895 w 10000"/>
                <a:gd name="connsiteY71" fmla="*/ 2117 h 10000"/>
                <a:gd name="connsiteX72" fmla="*/ 2783 w 10000"/>
                <a:gd name="connsiteY72" fmla="*/ 2106 h 10000"/>
                <a:gd name="connsiteX73" fmla="*/ 2779 w 10000"/>
                <a:gd name="connsiteY73" fmla="*/ 2276 h 10000"/>
                <a:gd name="connsiteX74" fmla="*/ 2727 w 10000"/>
                <a:gd name="connsiteY74" fmla="*/ 2144 h 10000"/>
                <a:gd name="connsiteX75" fmla="*/ 2559 w 10000"/>
                <a:gd name="connsiteY75" fmla="*/ 2155 h 10000"/>
                <a:gd name="connsiteX76" fmla="*/ 2438 w 10000"/>
                <a:gd name="connsiteY76" fmla="*/ 1980 h 10000"/>
                <a:gd name="connsiteX77" fmla="*/ 2293 w 10000"/>
                <a:gd name="connsiteY77" fmla="*/ 2073 h 10000"/>
                <a:gd name="connsiteX78" fmla="*/ 2143 w 10000"/>
                <a:gd name="connsiteY78" fmla="*/ 1958 h 10000"/>
                <a:gd name="connsiteX79" fmla="*/ 2057 w 10000"/>
                <a:gd name="connsiteY79" fmla="*/ 2035 h 10000"/>
                <a:gd name="connsiteX80" fmla="*/ 1975 w 10000"/>
                <a:gd name="connsiteY80" fmla="*/ 1947 h 10000"/>
                <a:gd name="connsiteX81" fmla="*/ 1852 w 10000"/>
                <a:gd name="connsiteY81" fmla="*/ 1936 h 10000"/>
                <a:gd name="connsiteX82" fmla="*/ 1669 w 10000"/>
                <a:gd name="connsiteY82" fmla="*/ 1925 h 10000"/>
                <a:gd name="connsiteX83" fmla="*/ 1444 w 10000"/>
                <a:gd name="connsiteY83" fmla="*/ 1991 h 10000"/>
                <a:gd name="connsiteX84" fmla="*/ 1205 w 10000"/>
                <a:gd name="connsiteY84" fmla="*/ 2062 h 10000"/>
                <a:gd name="connsiteX85" fmla="*/ 921 w 10000"/>
                <a:gd name="connsiteY85" fmla="*/ 2166 h 10000"/>
                <a:gd name="connsiteX86" fmla="*/ 797 w 10000"/>
                <a:gd name="connsiteY86" fmla="*/ 2496 h 10000"/>
                <a:gd name="connsiteX87" fmla="*/ 603 w 10000"/>
                <a:gd name="connsiteY87" fmla="*/ 2501 h 10000"/>
                <a:gd name="connsiteX88" fmla="*/ 540 w 10000"/>
                <a:gd name="connsiteY88" fmla="*/ 2687 h 10000"/>
                <a:gd name="connsiteX89" fmla="*/ 558 w 10000"/>
                <a:gd name="connsiteY89" fmla="*/ 2764 h 10000"/>
                <a:gd name="connsiteX90" fmla="*/ 577 w 10000"/>
                <a:gd name="connsiteY90" fmla="*/ 2868 h 10000"/>
                <a:gd name="connsiteX91" fmla="*/ 577 w 10000"/>
                <a:gd name="connsiteY91" fmla="*/ 2868 h 10000"/>
                <a:gd name="connsiteX92" fmla="*/ 577 w 10000"/>
                <a:gd name="connsiteY92" fmla="*/ 2896 h 10000"/>
                <a:gd name="connsiteX93" fmla="*/ 682 w 10000"/>
                <a:gd name="connsiteY93" fmla="*/ 3116 h 10000"/>
                <a:gd name="connsiteX94" fmla="*/ 786 w 10000"/>
                <a:gd name="connsiteY94" fmla="*/ 3351 h 10000"/>
                <a:gd name="connsiteX95" fmla="*/ 921 w 10000"/>
                <a:gd name="connsiteY95" fmla="*/ 3488 h 10000"/>
                <a:gd name="connsiteX96" fmla="*/ 876 w 10000"/>
                <a:gd name="connsiteY96" fmla="*/ 3548 h 10000"/>
                <a:gd name="connsiteX97" fmla="*/ 805 w 10000"/>
                <a:gd name="connsiteY97" fmla="*/ 3603 h 10000"/>
                <a:gd name="connsiteX98" fmla="*/ 887 w 10000"/>
                <a:gd name="connsiteY98" fmla="*/ 3697 h 10000"/>
                <a:gd name="connsiteX99" fmla="*/ 876 w 10000"/>
                <a:gd name="connsiteY99" fmla="*/ 4053 h 10000"/>
                <a:gd name="connsiteX100" fmla="*/ 693 w 10000"/>
                <a:gd name="connsiteY100" fmla="*/ 4124 h 10000"/>
                <a:gd name="connsiteX101" fmla="*/ 498 w 10000"/>
                <a:gd name="connsiteY101" fmla="*/ 4531 h 10000"/>
                <a:gd name="connsiteX102" fmla="*/ 371 w 10000"/>
                <a:gd name="connsiteY102" fmla="*/ 4936 h 10000"/>
                <a:gd name="connsiteX103" fmla="*/ 195 w 10000"/>
                <a:gd name="connsiteY103" fmla="*/ 5260 h 10000"/>
                <a:gd name="connsiteX104" fmla="*/ 270 w 10000"/>
                <a:gd name="connsiteY104" fmla="*/ 5517 h 10000"/>
                <a:gd name="connsiteX105" fmla="*/ 277 w 10000"/>
                <a:gd name="connsiteY105" fmla="*/ 5732 h 10000"/>
                <a:gd name="connsiteX106" fmla="*/ 400 w 10000"/>
                <a:gd name="connsiteY106" fmla="*/ 5841 h 10000"/>
                <a:gd name="connsiteX107" fmla="*/ 382 w 10000"/>
                <a:gd name="connsiteY107" fmla="*/ 5945 h 10000"/>
                <a:gd name="connsiteX108" fmla="*/ 202 w 10000"/>
                <a:gd name="connsiteY108" fmla="*/ 5852 h 10000"/>
                <a:gd name="connsiteX109" fmla="*/ 124 w 10000"/>
                <a:gd name="connsiteY109" fmla="*/ 6099 h 10000"/>
                <a:gd name="connsiteX110" fmla="*/ 105 w 10000"/>
                <a:gd name="connsiteY110" fmla="*/ 6346 h 10000"/>
                <a:gd name="connsiteX111" fmla="*/ 1 w 10000"/>
                <a:gd name="connsiteY111" fmla="*/ 6571 h 10000"/>
                <a:gd name="connsiteX112" fmla="*/ 19 w 10000"/>
                <a:gd name="connsiteY112" fmla="*/ 6779 h 10000"/>
                <a:gd name="connsiteX113" fmla="*/ 90 w 10000"/>
                <a:gd name="connsiteY113" fmla="*/ 6828 h 10000"/>
                <a:gd name="connsiteX114" fmla="*/ 154 w 10000"/>
                <a:gd name="connsiteY114" fmla="*/ 6960 h 10000"/>
                <a:gd name="connsiteX115" fmla="*/ 240 w 10000"/>
                <a:gd name="connsiteY115" fmla="*/ 6943 h 10000"/>
                <a:gd name="connsiteX116" fmla="*/ 292 w 10000"/>
                <a:gd name="connsiteY116" fmla="*/ 7076 h 10000"/>
                <a:gd name="connsiteX117" fmla="*/ 445 w 10000"/>
                <a:gd name="connsiteY117" fmla="*/ 7103 h 10000"/>
                <a:gd name="connsiteX118" fmla="*/ 453 w 10000"/>
                <a:gd name="connsiteY118" fmla="*/ 7251 h 10000"/>
                <a:gd name="connsiteX119" fmla="*/ 494 w 10000"/>
                <a:gd name="connsiteY119" fmla="*/ 7278 h 10000"/>
                <a:gd name="connsiteX120" fmla="*/ 525 w 10000"/>
                <a:gd name="connsiteY120" fmla="*/ 7174 h 10000"/>
                <a:gd name="connsiteX121" fmla="*/ 581 w 10000"/>
                <a:gd name="connsiteY121" fmla="*/ 7196 h 10000"/>
                <a:gd name="connsiteX122" fmla="*/ 644 w 10000"/>
                <a:gd name="connsiteY122" fmla="*/ 6992 h 10000"/>
                <a:gd name="connsiteX123" fmla="*/ 820 w 10000"/>
                <a:gd name="connsiteY123" fmla="*/ 7174 h 10000"/>
                <a:gd name="connsiteX124" fmla="*/ 1283 w 10000"/>
                <a:gd name="connsiteY124" fmla="*/ 7163 h 10000"/>
                <a:gd name="connsiteX125" fmla="*/ 1466 w 10000"/>
                <a:gd name="connsiteY125" fmla="*/ 7092 h 10000"/>
                <a:gd name="connsiteX126" fmla="*/ 1766 w 10000"/>
                <a:gd name="connsiteY126" fmla="*/ 7344 h 10000"/>
                <a:gd name="connsiteX127" fmla="*/ 1956 w 10000"/>
                <a:gd name="connsiteY127" fmla="*/ 7087 h 10000"/>
                <a:gd name="connsiteX128" fmla="*/ 2382 w 10000"/>
                <a:gd name="connsiteY128" fmla="*/ 6861 h 10000"/>
                <a:gd name="connsiteX129" fmla="*/ 2536 w 10000"/>
                <a:gd name="connsiteY129" fmla="*/ 6489 h 10000"/>
                <a:gd name="connsiteX130" fmla="*/ 2648 w 10000"/>
                <a:gd name="connsiteY130" fmla="*/ 6439 h 10000"/>
                <a:gd name="connsiteX131" fmla="*/ 2648 w 10000"/>
                <a:gd name="connsiteY131" fmla="*/ 6379 h 10000"/>
                <a:gd name="connsiteX132" fmla="*/ 2693 w 10000"/>
                <a:gd name="connsiteY132" fmla="*/ 6379 h 10000"/>
                <a:gd name="connsiteX133" fmla="*/ 2682 w 10000"/>
                <a:gd name="connsiteY133" fmla="*/ 6230 h 10000"/>
                <a:gd name="connsiteX134" fmla="*/ 2820 w 10000"/>
                <a:gd name="connsiteY134" fmla="*/ 6285 h 10000"/>
                <a:gd name="connsiteX135" fmla="*/ 2839 w 10000"/>
                <a:gd name="connsiteY135" fmla="*/ 6159 h 10000"/>
                <a:gd name="connsiteX136" fmla="*/ 2921 w 10000"/>
                <a:gd name="connsiteY136" fmla="*/ 6230 h 10000"/>
                <a:gd name="connsiteX137" fmla="*/ 2981 w 10000"/>
                <a:gd name="connsiteY137" fmla="*/ 6126 h 10000"/>
                <a:gd name="connsiteX138" fmla="*/ 3078 w 10000"/>
                <a:gd name="connsiteY138" fmla="*/ 6154 h 10000"/>
                <a:gd name="connsiteX139" fmla="*/ 3164 w 10000"/>
                <a:gd name="connsiteY139" fmla="*/ 6055 h 10000"/>
                <a:gd name="connsiteX140" fmla="*/ 3328 w 10000"/>
                <a:gd name="connsiteY140" fmla="*/ 6192 h 10000"/>
                <a:gd name="connsiteX141" fmla="*/ 3411 w 10000"/>
                <a:gd name="connsiteY141" fmla="*/ 6197 h 10000"/>
                <a:gd name="connsiteX142" fmla="*/ 3437 w 10000"/>
                <a:gd name="connsiteY142" fmla="*/ 6307 h 10000"/>
                <a:gd name="connsiteX143" fmla="*/ 3591 w 10000"/>
                <a:gd name="connsiteY143" fmla="*/ 6236 h 10000"/>
                <a:gd name="connsiteX144" fmla="*/ 3576 w 10000"/>
                <a:gd name="connsiteY144" fmla="*/ 6357 h 10000"/>
                <a:gd name="connsiteX145" fmla="*/ 3632 w 10000"/>
                <a:gd name="connsiteY145" fmla="*/ 6341 h 10000"/>
                <a:gd name="connsiteX146" fmla="*/ 3699 w 10000"/>
                <a:gd name="connsiteY146" fmla="*/ 6428 h 10000"/>
                <a:gd name="connsiteX147" fmla="*/ 3703 w 10000"/>
                <a:gd name="connsiteY147" fmla="*/ 6301 h 10000"/>
                <a:gd name="connsiteX148" fmla="*/ 3882 w 10000"/>
                <a:gd name="connsiteY148" fmla="*/ 6341 h 10000"/>
                <a:gd name="connsiteX149" fmla="*/ 3946 w 10000"/>
                <a:gd name="connsiteY149" fmla="*/ 6511 h 10000"/>
                <a:gd name="connsiteX150" fmla="*/ 4047 w 10000"/>
                <a:gd name="connsiteY150" fmla="*/ 6494 h 10000"/>
                <a:gd name="connsiteX151" fmla="*/ 4091 w 10000"/>
                <a:gd name="connsiteY151" fmla="*/ 6417 h 10000"/>
                <a:gd name="connsiteX152" fmla="*/ 4192 w 10000"/>
                <a:gd name="connsiteY152" fmla="*/ 6735 h 10000"/>
                <a:gd name="connsiteX153" fmla="*/ 4155 w 10000"/>
                <a:gd name="connsiteY153" fmla="*/ 6987 h 10000"/>
                <a:gd name="connsiteX154" fmla="*/ 4207 w 10000"/>
                <a:gd name="connsiteY154" fmla="*/ 7114 h 10000"/>
                <a:gd name="connsiteX155" fmla="*/ 4278 w 10000"/>
                <a:gd name="connsiteY155" fmla="*/ 7119 h 10000"/>
                <a:gd name="connsiteX156" fmla="*/ 4387 w 10000"/>
                <a:gd name="connsiteY156" fmla="*/ 7256 h 10000"/>
                <a:gd name="connsiteX157" fmla="*/ 4431 w 10000"/>
                <a:gd name="connsiteY157" fmla="*/ 7152 h 10000"/>
                <a:gd name="connsiteX158" fmla="*/ 4480 w 10000"/>
                <a:gd name="connsiteY158" fmla="*/ 7322 h 10000"/>
                <a:gd name="connsiteX159" fmla="*/ 4541 w 10000"/>
                <a:gd name="connsiteY159" fmla="*/ 7662 h 10000"/>
                <a:gd name="connsiteX160" fmla="*/ 4720 w 10000"/>
                <a:gd name="connsiteY160" fmla="*/ 7739 h 10000"/>
                <a:gd name="connsiteX161" fmla="*/ 4761 w 10000"/>
                <a:gd name="connsiteY161" fmla="*/ 8183 h 10000"/>
                <a:gd name="connsiteX162" fmla="*/ 4914 w 10000"/>
                <a:gd name="connsiteY162" fmla="*/ 8276 h 10000"/>
                <a:gd name="connsiteX163" fmla="*/ 4757 w 10000"/>
                <a:gd name="connsiteY163" fmla="*/ 8370 h 10000"/>
                <a:gd name="connsiteX164" fmla="*/ 4705 w 10000"/>
                <a:gd name="connsiteY164" fmla="*/ 8260 h 10000"/>
                <a:gd name="connsiteX165" fmla="*/ 4645 w 10000"/>
                <a:gd name="connsiteY165" fmla="*/ 8403 h 10000"/>
                <a:gd name="connsiteX166" fmla="*/ 4491 w 10000"/>
                <a:gd name="connsiteY166" fmla="*/ 8287 h 10000"/>
                <a:gd name="connsiteX167" fmla="*/ 4405 w 10000"/>
                <a:gd name="connsiteY167" fmla="*/ 8452 h 10000"/>
                <a:gd name="connsiteX168" fmla="*/ 4226 w 10000"/>
                <a:gd name="connsiteY168" fmla="*/ 8331 h 10000"/>
                <a:gd name="connsiteX169" fmla="*/ 4312 w 10000"/>
                <a:gd name="connsiteY169" fmla="*/ 8699 h 10000"/>
                <a:gd name="connsiteX170" fmla="*/ 4304 w 10000"/>
                <a:gd name="connsiteY170" fmla="*/ 8967 h 10000"/>
                <a:gd name="connsiteX171" fmla="*/ 4189 w 10000"/>
                <a:gd name="connsiteY171" fmla="*/ 9088 h 10000"/>
                <a:gd name="connsiteX172" fmla="*/ 4226 w 10000"/>
                <a:gd name="connsiteY172" fmla="*/ 9193 h 10000"/>
                <a:gd name="connsiteX173" fmla="*/ 4065 w 10000"/>
                <a:gd name="connsiteY173" fmla="*/ 9412 h 10000"/>
                <a:gd name="connsiteX174" fmla="*/ 4129 w 10000"/>
                <a:gd name="connsiteY174" fmla="*/ 9647 h 10000"/>
                <a:gd name="connsiteX175" fmla="*/ 3972 w 10000"/>
                <a:gd name="connsiteY175" fmla="*/ 9681 h 10000"/>
                <a:gd name="connsiteX176" fmla="*/ 3931 w 10000"/>
                <a:gd name="connsiteY176" fmla="*/ 9741 h 10000"/>
                <a:gd name="connsiteX177" fmla="*/ 3998 w 10000"/>
                <a:gd name="connsiteY177" fmla="*/ 9785 h 10000"/>
                <a:gd name="connsiteX178" fmla="*/ 4118 w 10000"/>
                <a:gd name="connsiteY178" fmla="*/ 9944 h 10000"/>
                <a:gd name="connsiteX179" fmla="*/ 4312 w 10000"/>
                <a:gd name="connsiteY179" fmla="*/ 9999 h 10000"/>
                <a:gd name="connsiteX180" fmla="*/ 4319 w 10000"/>
                <a:gd name="connsiteY180" fmla="*/ 9851 h 10000"/>
                <a:gd name="connsiteX181" fmla="*/ 4387 w 10000"/>
                <a:gd name="connsiteY181" fmla="*/ 9856 h 10000"/>
                <a:gd name="connsiteX182" fmla="*/ 4675 w 10000"/>
                <a:gd name="connsiteY182" fmla="*/ 9603 h 10000"/>
                <a:gd name="connsiteX183" fmla="*/ 4866 w 10000"/>
                <a:gd name="connsiteY183" fmla="*/ 9845 h 10000"/>
                <a:gd name="connsiteX184" fmla="*/ 4866 w 10000"/>
                <a:gd name="connsiteY184" fmla="*/ 9862 h 10000"/>
                <a:gd name="connsiteX185" fmla="*/ 4896 w 10000"/>
                <a:gd name="connsiteY185" fmla="*/ 9703 h 10000"/>
                <a:gd name="connsiteX186" fmla="*/ 4843 w 10000"/>
                <a:gd name="connsiteY186" fmla="*/ 9570 h 10000"/>
                <a:gd name="connsiteX187" fmla="*/ 4776 w 10000"/>
                <a:gd name="connsiteY187" fmla="*/ 9549 h 10000"/>
                <a:gd name="connsiteX188" fmla="*/ 4821 w 10000"/>
                <a:gd name="connsiteY188" fmla="*/ 9466 h 10000"/>
                <a:gd name="connsiteX189" fmla="*/ 4806 w 10000"/>
                <a:gd name="connsiteY189" fmla="*/ 9444 h 10000"/>
                <a:gd name="connsiteX190" fmla="*/ 4750 w 10000"/>
                <a:gd name="connsiteY190" fmla="*/ 9439 h 10000"/>
                <a:gd name="connsiteX191" fmla="*/ 4720 w 10000"/>
                <a:gd name="connsiteY191" fmla="*/ 9121 h 10000"/>
                <a:gd name="connsiteX192" fmla="*/ 4761 w 10000"/>
                <a:gd name="connsiteY192" fmla="*/ 9105 h 10000"/>
                <a:gd name="connsiteX193" fmla="*/ 4783 w 10000"/>
                <a:gd name="connsiteY193" fmla="*/ 9253 h 10000"/>
                <a:gd name="connsiteX194" fmla="*/ 4836 w 10000"/>
                <a:gd name="connsiteY194" fmla="*/ 9384 h 10000"/>
                <a:gd name="connsiteX195" fmla="*/ 4881 w 10000"/>
                <a:gd name="connsiteY195" fmla="*/ 9302 h 10000"/>
                <a:gd name="connsiteX196" fmla="*/ 4869 w 10000"/>
                <a:gd name="connsiteY196" fmla="*/ 9220 h 10000"/>
                <a:gd name="connsiteX197" fmla="*/ 4940 w 10000"/>
                <a:gd name="connsiteY197" fmla="*/ 9203 h 10000"/>
                <a:gd name="connsiteX198" fmla="*/ 4903 w 10000"/>
                <a:gd name="connsiteY198" fmla="*/ 9034 h 10000"/>
                <a:gd name="connsiteX199" fmla="*/ 5000 w 10000"/>
                <a:gd name="connsiteY199" fmla="*/ 9061 h 10000"/>
                <a:gd name="connsiteX200" fmla="*/ 5004 w 10000"/>
                <a:gd name="connsiteY200" fmla="*/ 8972 h 10000"/>
                <a:gd name="connsiteX201" fmla="*/ 5041 w 10000"/>
                <a:gd name="connsiteY201" fmla="*/ 9039 h 10000"/>
                <a:gd name="connsiteX202" fmla="*/ 5206 w 10000"/>
                <a:gd name="connsiteY202" fmla="*/ 8781 h 10000"/>
                <a:gd name="connsiteX203" fmla="*/ 5112 w 10000"/>
                <a:gd name="connsiteY203" fmla="*/ 8584 h 10000"/>
                <a:gd name="connsiteX204" fmla="*/ 4937 w 10000"/>
                <a:gd name="connsiteY204" fmla="*/ 8425 h 10000"/>
                <a:gd name="connsiteX205" fmla="*/ 5037 w 10000"/>
                <a:gd name="connsiteY205" fmla="*/ 8370 h 10000"/>
                <a:gd name="connsiteX206" fmla="*/ 5183 w 10000"/>
                <a:gd name="connsiteY206" fmla="*/ 8633 h 10000"/>
                <a:gd name="connsiteX207" fmla="*/ 5292 w 10000"/>
                <a:gd name="connsiteY207" fmla="*/ 8199 h 10000"/>
                <a:gd name="connsiteX208" fmla="*/ 5299 w 10000"/>
                <a:gd name="connsiteY208" fmla="*/ 8030 h 10000"/>
                <a:gd name="connsiteX209" fmla="*/ 5482 w 10000"/>
                <a:gd name="connsiteY209" fmla="*/ 7942 h 10000"/>
                <a:gd name="connsiteX210" fmla="*/ 5550 w 10000"/>
                <a:gd name="connsiteY210" fmla="*/ 7607 h 10000"/>
                <a:gd name="connsiteX211" fmla="*/ 5561 w 10000"/>
                <a:gd name="connsiteY211" fmla="*/ 7734 h 10000"/>
                <a:gd name="connsiteX212" fmla="*/ 5677 w 10000"/>
                <a:gd name="connsiteY212" fmla="*/ 7596 h 10000"/>
                <a:gd name="connsiteX213" fmla="*/ 5759 w 10000"/>
                <a:gd name="connsiteY213" fmla="*/ 7579 h 10000"/>
                <a:gd name="connsiteX214" fmla="*/ 5842 w 10000"/>
                <a:gd name="connsiteY214" fmla="*/ 7207 h 10000"/>
                <a:gd name="connsiteX215" fmla="*/ 5916 w 10000"/>
                <a:gd name="connsiteY215" fmla="*/ 7486 h 10000"/>
                <a:gd name="connsiteX216" fmla="*/ 6137 w 10000"/>
                <a:gd name="connsiteY216" fmla="*/ 7563 h 10000"/>
                <a:gd name="connsiteX217" fmla="*/ 5969 w 10000"/>
                <a:gd name="connsiteY217" fmla="*/ 7618 h 10000"/>
                <a:gd name="connsiteX218" fmla="*/ 5954 w 10000"/>
                <a:gd name="connsiteY218" fmla="*/ 7679 h 10000"/>
                <a:gd name="connsiteX219" fmla="*/ 5786 w 10000"/>
                <a:gd name="connsiteY219" fmla="*/ 7690 h 10000"/>
                <a:gd name="connsiteX220" fmla="*/ 5700 w 10000"/>
                <a:gd name="connsiteY220" fmla="*/ 7723 h 10000"/>
                <a:gd name="connsiteX221" fmla="*/ 5767 w 10000"/>
                <a:gd name="connsiteY221" fmla="*/ 7772 h 10000"/>
                <a:gd name="connsiteX222" fmla="*/ 5827 w 10000"/>
                <a:gd name="connsiteY222" fmla="*/ 7756 h 10000"/>
                <a:gd name="connsiteX223" fmla="*/ 5991 w 10000"/>
                <a:gd name="connsiteY223" fmla="*/ 7789 h 10000"/>
                <a:gd name="connsiteX224" fmla="*/ 5804 w 10000"/>
                <a:gd name="connsiteY224" fmla="*/ 7964 h 10000"/>
                <a:gd name="connsiteX225" fmla="*/ 5872 w 10000"/>
                <a:gd name="connsiteY225" fmla="*/ 8008 h 10000"/>
                <a:gd name="connsiteX226" fmla="*/ 6043 w 10000"/>
                <a:gd name="connsiteY226" fmla="*/ 7958 h 10000"/>
                <a:gd name="connsiteX227" fmla="*/ 6275 w 10000"/>
                <a:gd name="connsiteY227" fmla="*/ 8101 h 10000"/>
                <a:gd name="connsiteX228" fmla="*/ 6575 w 10000"/>
                <a:gd name="connsiteY228" fmla="*/ 7909 h 10000"/>
                <a:gd name="connsiteX229" fmla="*/ 6870 w 10000"/>
                <a:gd name="connsiteY229" fmla="*/ 7887 h 10000"/>
                <a:gd name="connsiteX230" fmla="*/ 6915 w 10000"/>
                <a:gd name="connsiteY230" fmla="*/ 7745 h 10000"/>
                <a:gd name="connsiteX231" fmla="*/ 6993 w 10000"/>
                <a:gd name="connsiteY231" fmla="*/ 7958 h 10000"/>
                <a:gd name="connsiteX232" fmla="*/ 7075 w 10000"/>
                <a:gd name="connsiteY232" fmla="*/ 7986 h 10000"/>
                <a:gd name="connsiteX233" fmla="*/ 7045 w 10000"/>
                <a:gd name="connsiteY233" fmla="*/ 8134 h 10000"/>
                <a:gd name="connsiteX234" fmla="*/ 6788 w 10000"/>
                <a:gd name="connsiteY234" fmla="*/ 8281 h 10000"/>
                <a:gd name="connsiteX235" fmla="*/ 6769 w 10000"/>
                <a:gd name="connsiteY235" fmla="*/ 8386 h 10000"/>
                <a:gd name="connsiteX236" fmla="*/ 6627 w 10000"/>
                <a:gd name="connsiteY236" fmla="*/ 8523 h 10000"/>
                <a:gd name="connsiteX237" fmla="*/ 6623 w 10000"/>
                <a:gd name="connsiteY237" fmla="*/ 8649 h 10000"/>
                <a:gd name="connsiteX238" fmla="*/ 6537 w 10000"/>
                <a:gd name="connsiteY238" fmla="*/ 8704 h 10000"/>
                <a:gd name="connsiteX239" fmla="*/ 6428 w 10000"/>
                <a:gd name="connsiteY239" fmla="*/ 8989 h 10000"/>
                <a:gd name="connsiteX240" fmla="*/ 6582 w 10000"/>
                <a:gd name="connsiteY240" fmla="*/ 9001 h 10000"/>
                <a:gd name="connsiteX241" fmla="*/ 6672 w 10000"/>
                <a:gd name="connsiteY241" fmla="*/ 8879 h 10000"/>
                <a:gd name="connsiteX242" fmla="*/ 6769 w 10000"/>
                <a:gd name="connsiteY242" fmla="*/ 8912 h 10000"/>
                <a:gd name="connsiteX243" fmla="*/ 6814 w 10000"/>
                <a:gd name="connsiteY243" fmla="*/ 8786 h 10000"/>
                <a:gd name="connsiteX244" fmla="*/ 6877 w 10000"/>
                <a:gd name="connsiteY244" fmla="*/ 9001 h 10000"/>
                <a:gd name="connsiteX245" fmla="*/ 7060 w 10000"/>
                <a:gd name="connsiteY245" fmla="*/ 8994 h 10000"/>
                <a:gd name="connsiteX246" fmla="*/ 7217 w 10000"/>
                <a:gd name="connsiteY246" fmla="*/ 9362 h 10000"/>
                <a:gd name="connsiteX247" fmla="*/ 7232 w 10000"/>
                <a:gd name="connsiteY247" fmla="*/ 9675 h 10000"/>
                <a:gd name="connsiteX248" fmla="*/ 7176 w 10000"/>
                <a:gd name="connsiteY248" fmla="*/ 9692 h 10000"/>
                <a:gd name="connsiteX249" fmla="*/ 7187 w 10000"/>
                <a:gd name="connsiteY249" fmla="*/ 9780 h 10000"/>
                <a:gd name="connsiteX250" fmla="*/ 7423 w 10000"/>
                <a:gd name="connsiteY250" fmla="*/ 9900 h 10000"/>
                <a:gd name="connsiteX251" fmla="*/ 7741 w 10000"/>
                <a:gd name="connsiteY251" fmla="*/ 9565 h 10000"/>
                <a:gd name="connsiteX252" fmla="*/ 7879 w 10000"/>
                <a:gd name="connsiteY252" fmla="*/ 9176 h 10000"/>
                <a:gd name="connsiteX253" fmla="*/ 8107 w 10000"/>
                <a:gd name="connsiteY253" fmla="*/ 9023 h 10000"/>
                <a:gd name="connsiteX254" fmla="*/ 8182 w 10000"/>
                <a:gd name="connsiteY254" fmla="*/ 8841 h 10000"/>
                <a:gd name="connsiteX255" fmla="*/ 8268 w 10000"/>
                <a:gd name="connsiteY255" fmla="*/ 8786 h 10000"/>
                <a:gd name="connsiteX256" fmla="*/ 8320 w 10000"/>
                <a:gd name="connsiteY256" fmla="*/ 8512 h 10000"/>
                <a:gd name="connsiteX257" fmla="*/ 8542 w 10000"/>
                <a:gd name="connsiteY257" fmla="*/ 8617 h 10000"/>
                <a:gd name="connsiteX258" fmla="*/ 8672 w 10000"/>
                <a:gd name="connsiteY258" fmla="*/ 8474 h 10000"/>
                <a:gd name="connsiteX259" fmla="*/ 8855 w 10000"/>
                <a:gd name="connsiteY259" fmla="*/ 8343 h 10000"/>
                <a:gd name="connsiteX260" fmla="*/ 8781 w 10000"/>
                <a:gd name="connsiteY260" fmla="*/ 8128 h 10000"/>
                <a:gd name="connsiteX261" fmla="*/ 7708 w 10000"/>
                <a:gd name="connsiteY261" fmla="*/ 7991 h 10000"/>
                <a:gd name="connsiteX262" fmla="*/ 7682 w 10000"/>
                <a:gd name="connsiteY262" fmla="*/ 7904 h 10000"/>
                <a:gd name="connsiteX263" fmla="*/ 7607 w 10000"/>
                <a:gd name="connsiteY263" fmla="*/ 8002 h 10000"/>
                <a:gd name="connsiteX264" fmla="*/ 7715 w 10000"/>
                <a:gd name="connsiteY264" fmla="*/ 7761 h 10000"/>
                <a:gd name="connsiteX265" fmla="*/ 7674 w 10000"/>
                <a:gd name="connsiteY265" fmla="*/ 7717 h 10000"/>
                <a:gd name="connsiteX266" fmla="*/ 7554 w 10000"/>
                <a:gd name="connsiteY266" fmla="*/ 7915 h 10000"/>
                <a:gd name="connsiteX267" fmla="*/ 7618 w 10000"/>
                <a:gd name="connsiteY267" fmla="*/ 7712 h 10000"/>
                <a:gd name="connsiteX268" fmla="*/ 7532 w 10000"/>
                <a:gd name="connsiteY268" fmla="*/ 7767 h 10000"/>
                <a:gd name="connsiteX269" fmla="*/ 7419 w 10000"/>
                <a:gd name="connsiteY269" fmla="*/ 7717 h 10000"/>
                <a:gd name="connsiteX270" fmla="*/ 7333 w 10000"/>
                <a:gd name="connsiteY270" fmla="*/ 7794 h 10000"/>
                <a:gd name="connsiteX271" fmla="*/ 7240 w 10000"/>
                <a:gd name="connsiteY271" fmla="*/ 7728 h 10000"/>
                <a:gd name="connsiteX272" fmla="*/ 7087 w 10000"/>
                <a:gd name="connsiteY272" fmla="*/ 7717 h 10000"/>
                <a:gd name="connsiteX273" fmla="*/ 7090 w 10000"/>
                <a:gd name="connsiteY273" fmla="*/ 7547 h 10000"/>
                <a:gd name="connsiteX274" fmla="*/ 7229 w 10000"/>
                <a:gd name="connsiteY274" fmla="*/ 7662 h 10000"/>
                <a:gd name="connsiteX275" fmla="*/ 7273 w 10000"/>
                <a:gd name="connsiteY275" fmla="*/ 7541 h 10000"/>
                <a:gd name="connsiteX276" fmla="*/ 7236 w 10000"/>
                <a:gd name="connsiteY276" fmla="*/ 7410 h 10000"/>
                <a:gd name="connsiteX277" fmla="*/ 7341 w 10000"/>
                <a:gd name="connsiteY277" fmla="*/ 7547 h 10000"/>
                <a:gd name="connsiteX278" fmla="*/ 7483 w 10000"/>
                <a:gd name="connsiteY278" fmla="*/ 7536 h 10000"/>
                <a:gd name="connsiteX279" fmla="*/ 7506 w 10000"/>
                <a:gd name="connsiteY279" fmla="*/ 7685 h 10000"/>
                <a:gd name="connsiteX280" fmla="*/ 7547 w 10000"/>
                <a:gd name="connsiteY280" fmla="*/ 7685 h 10000"/>
                <a:gd name="connsiteX281" fmla="*/ 7558 w 10000"/>
                <a:gd name="connsiteY281" fmla="*/ 7415 h 10000"/>
                <a:gd name="connsiteX282" fmla="*/ 7607 w 10000"/>
                <a:gd name="connsiteY282" fmla="*/ 7585 h 10000"/>
                <a:gd name="connsiteX283" fmla="*/ 7693 w 10000"/>
                <a:gd name="connsiteY283" fmla="*/ 7590 h 10000"/>
                <a:gd name="connsiteX284" fmla="*/ 7629 w 10000"/>
                <a:gd name="connsiteY284" fmla="*/ 7333 h 10000"/>
                <a:gd name="connsiteX285" fmla="*/ 7786 w 10000"/>
                <a:gd name="connsiteY285" fmla="*/ 7240 h 10000"/>
                <a:gd name="connsiteX286" fmla="*/ 7779 w 10000"/>
                <a:gd name="connsiteY286" fmla="*/ 6987 h 10000"/>
                <a:gd name="connsiteX287" fmla="*/ 7887 w 10000"/>
                <a:gd name="connsiteY287" fmla="*/ 7081 h 10000"/>
                <a:gd name="connsiteX288" fmla="*/ 7906 w 10000"/>
                <a:gd name="connsiteY288" fmla="*/ 7015 h 10000"/>
                <a:gd name="connsiteX289" fmla="*/ 7775 w 10000"/>
                <a:gd name="connsiteY289" fmla="*/ 6735 h 10000"/>
                <a:gd name="connsiteX290" fmla="*/ 7950 w 10000"/>
                <a:gd name="connsiteY290" fmla="*/ 6894 h 10000"/>
                <a:gd name="connsiteX291" fmla="*/ 8171 w 10000"/>
                <a:gd name="connsiteY291" fmla="*/ 6511 h 10000"/>
                <a:gd name="connsiteX292" fmla="*/ 8384 w 10000"/>
                <a:gd name="connsiteY292" fmla="*/ 6483 h 10000"/>
                <a:gd name="connsiteX293" fmla="*/ 8429 w 10000"/>
                <a:gd name="connsiteY29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143 w 10000"/>
                <a:gd name="connsiteY20" fmla="*/ 1838 h 10000"/>
                <a:gd name="connsiteX21" fmla="*/ 9091 w 10000"/>
                <a:gd name="connsiteY21" fmla="*/ 1712 h 10000"/>
                <a:gd name="connsiteX22" fmla="*/ 9020 w 10000"/>
                <a:gd name="connsiteY22" fmla="*/ 1728 h 10000"/>
                <a:gd name="connsiteX23" fmla="*/ 7569 w 10000"/>
                <a:gd name="connsiteY23" fmla="*/ 1873 h 10000"/>
                <a:gd name="connsiteX24" fmla="*/ 7165 w 10000"/>
                <a:gd name="connsiteY24" fmla="*/ 1996 h 10000"/>
                <a:gd name="connsiteX25" fmla="*/ 6892 w 10000"/>
                <a:gd name="connsiteY25" fmla="*/ 1827 h 10000"/>
                <a:gd name="connsiteX26" fmla="*/ 6922 w 10000"/>
                <a:gd name="connsiteY26" fmla="*/ 1728 h 10000"/>
                <a:gd name="connsiteX27" fmla="*/ 6765 w 10000"/>
                <a:gd name="connsiteY27" fmla="*/ 1398 h 10000"/>
                <a:gd name="connsiteX28" fmla="*/ 6799 w 10000"/>
                <a:gd name="connsiteY28" fmla="*/ 1256 h 10000"/>
                <a:gd name="connsiteX29" fmla="*/ 6728 w 10000"/>
                <a:gd name="connsiteY29" fmla="*/ 1229 h 10000"/>
                <a:gd name="connsiteX30" fmla="*/ 6657 w 10000"/>
                <a:gd name="connsiteY30" fmla="*/ 1311 h 10000"/>
                <a:gd name="connsiteX31" fmla="*/ 6593 w 10000"/>
                <a:gd name="connsiteY31" fmla="*/ 1114 h 10000"/>
                <a:gd name="connsiteX32" fmla="*/ 6391 w 10000"/>
                <a:gd name="connsiteY32" fmla="*/ 1311 h 10000"/>
                <a:gd name="connsiteX33" fmla="*/ 6309 w 10000"/>
                <a:gd name="connsiteY33" fmla="*/ 1223 h 10000"/>
                <a:gd name="connsiteX34" fmla="*/ 6126 w 10000"/>
                <a:gd name="connsiteY34" fmla="*/ 1273 h 10000"/>
                <a:gd name="connsiteX35" fmla="*/ 6144 w 10000"/>
                <a:gd name="connsiteY35" fmla="*/ 1125 h 10000"/>
                <a:gd name="connsiteX36" fmla="*/ 6073 w 10000"/>
                <a:gd name="connsiteY36" fmla="*/ 1119 h 10000"/>
                <a:gd name="connsiteX37" fmla="*/ 6040 w 10000"/>
                <a:gd name="connsiteY37" fmla="*/ 910 h 10000"/>
                <a:gd name="connsiteX38" fmla="*/ 5942 w 10000"/>
                <a:gd name="connsiteY38" fmla="*/ 795 h 10000"/>
                <a:gd name="connsiteX39" fmla="*/ 6144 w 10000"/>
                <a:gd name="connsiteY39" fmla="*/ 620 h 10000"/>
                <a:gd name="connsiteX40" fmla="*/ 5901 w 10000"/>
                <a:gd name="connsiteY40" fmla="*/ 395 h 10000"/>
                <a:gd name="connsiteX41" fmla="*/ 5853 w 10000"/>
                <a:gd name="connsiteY41" fmla="*/ 142 h 10000"/>
                <a:gd name="connsiteX42" fmla="*/ 5741 w 10000"/>
                <a:gd name="connsiteY42" fmla="*/ 110 h 10000"/>
                <a:gd name="connsiteX43" fmla="*/ 5647 w 10000"/>
                <a:gd name="connsiteY43" fmla="*/ 0 h 10000"/>
                <a:gd name="connsiteX44" fmla="*/ 5547 w 10000"/>
                <a:gd name="connsiteY44" fmla="*/ 120 h 10000"/>
                <a:gd name="connsiteX45" fmla="*/ 5377 w 10000"/>
                <a:gd name="connsiteY45" fmla="*/ 110 h 10000"/>
                <a:gd name="connsiteX46" fmla="*/ 5232 w 10000"/>
                <a:gd name="connsiteY46" fmla="*/ 351 h 10000"/>
                <a:gd name="connsiteX47" fmla="*/ 4952 w 10000"/>
                <a:gd name="connsiteY47" fmla="*/ 329 h 10000"/>
                <a:gd name="connsiteX48" fmla="*/ 4884 w 10000"/>
                <a:gd name="connsiteY48" fmla="*/ 680 h 10000"/>
                <a:gd name="connsiteX49" fmla="*/ 4701 w 10000"/>
                <a:gd name="connsiteY49" fmla="*/ 707 h 10000"/>
                <a:gd name="connsiteX50" fmla="*/ 4795 w 10000"/>
                <a:gd name="connsiteY50" fmla="*/ 844 h 10000"/>
                <a:gd name="connsiteX51" fmla="*/ 4739 w 10000"/>
                <a:gd name="connsiteY51" fmla="*/ 899 h 10000"/>
                <a:gd name="connsiteX52" fmla="*/ 4612 w 10000"/>
                <a:gd name="connsiteY52" fmla="*/ 894 h 10000"/>
                <a:gd name="connsiteX53" fmla="*/ 4439 w 10000"/>
                <a:gd name="connsiteY53" fmla="*/ 1026 h 10000"/>
                <a:gd name="connsiteX54" fmla="*/ 4252 w 10000"/>
                <a:gd name="connsiteY54" fmla="*/ 1668 h 10000"/>
                <a:gd name="connsiteX55" fmla="*/ 4308 w 10000"/>
                <a:gd name="connsiteY55" fmla="*/ 2090 h 10000"/>
                <a:gd name="connsiteX56" fmla="*/ 4121 w 10000"/>
                <a:gd name="connsiteY56" fmla="*/ 1865 h 10000"/>
                <a:gd name="connsiteX57" fmla="*/ 3849 w 10000"/>
                <a:gd name="connsiteY57" fmla="*/ 1991 h 10000"/>
                <a:gd name="connsiteX58" fmla="*/ 3822 w 10000"/>
                <a:gd name="connsiteY58" fmla="*/ 1931 h 10000"/>
                <a:gd name="connsiteX59" fmla="*/ 3695 w 10000"/>
                <a:gd name="connsiteY59" fmla="*/ 2002 h 10000"/>
                <a:gd name="connsiteX60" fmla="*/ 3621 w 10000"/>
                <a:gd name="connsiteY60" fmla="*/ 2144 h 10000"/>
                <a:gd name="connsiteX61" fmla="*/ 3561 w 10000"/>
                <a:gd name="connsiteY61" fmla="*/ 1909 h 10000"/>
                <a:gd name="connsiteX62" fmla="*/ 3478 w 10000"/>
                <a:gd name="connsiteY62" fmla="*/ 1843 h 10000"/>
                <a:gd name="connsiteX63" fmla="*/ 3444 w 10000"/>
                <a:gd name="connsiteY63" fmla="*/ 1964 h 10000"/>
                <a:gd name="connsiteX64" fmla="*/ 3332 w 10000"/>
                <a:gd name="connsiteY64" fmla="*/ 1996 h 10000"/>
                <a:gd name="connsiteX65" fmla="*/ 3272 w 10000"/>
                <a:gd name="connsiteY65" fmla="*/ 2161 h 10000"/>
                <a:gd name="connsiteX66" fmla="*/ 3235 w 10000"/>
                <a:gd name="connsiteY66" fmla="*/ 2013 h 10000"/>
                <a:gd name="connsiteX67" fmla="*/ 3123 w 10000"/>
                <a:gd name="connsiteY67" fmla="*/ 2024 h 10000"/>
                <a:gd name="connsiteX68" fmla="*/ 3078 w 10000"/>
                <a:gd name="connsiteY68" fmla="*/ 2128 h 10000"/>
                <a:gd name="connsiteX69" fmla="*/ 3011 w 10000"/>
                <a:gd name="connsiteY69" fmla="*/ 1975 h 10000"/>
                <a:gd name="connsiteX70" fmla="*/ 2895 w 10000"/>
                <a:gd name="connsiteY70" fmla="*/ 2117 h 10000"/>
                <a:gd name="connsiteX71" fmla="*/ 2783 w 10000"/>
                <a:gd name="connsiteY71" fmla="*/ 2106 h 10000"/>
                <a:gd name="connsiteX72" fmla="*/ 2779 w 10000"/>
                <a:gd name="connsiteY72" fmla="*/ 2276 h 10000"/>
                <a:gd name="connsiteX73" fmla="*/ 2727 w 10000"/>
                <a:gd name="connsiteY73" fmla="*/ 2144 h 10000"/>
                <a:gd name="connsiteX74" fmla="*/ 2559 w 10000"/>
                <a:gd name="connsiteY74" fmla="*/ 2155 h 10000"/>
                <a:gd name="connsiteX75" fmla="*/ 2438 w 10000"/>
                <a:gd name="connsiteY75" fmla="*/ 1980 h 10000"/>
                <a:gd name="connsiteX76" fmla="*/ 2293 w 10000"/>
                <a:gd name="connsiteY76" fmla="*/ 2073 h 10000"/>
                <a:gd name="connsiteX77" fmla="*/ 2143 w 10000"/>
                <a:gd name="connsiteY77" fmla="*/ 1958 h 10000"/>
                <a:gd name="connsiteX78" fmla="*/ 2057 w 10000"/>
                <a:gd name="connsiteY78" fmla="*/ 2035 h 10000"/>
                <a:gd name="connsiteX79" fmla="*/ 1975 w 10000"/>
                <a:gd name="connsiteY79" fmla="*/ 1947 h 10000"/>
                <a:gd name="connsiteX80" fmla="*/ 1852 w 10000"/>
                <a:gd name="connsiteY80" fmla="*/ 1936 h 10000"/>
                <a:gd name="connsiteX81" fmla="*/ 1669 w 10000"/>
                <a:gd name="connsiteY81" fmla="*/ 1925 h 10000"/>
                <a:gd name="connsiteX82" fmla="*/ 1444 w 10000"/>
                <a:gd name="connsiteY82" fmla="*/ 1991 h 10000"/>
                <a:gd name="connsiteX83" fmla="*/ 1205 w 10000"/>
                <a:gd name="connsiteY83" fmla="*/ 2062 h 10000"/>
                <a:gd name="connsiteX84" fmla="*/ 921 w 10000"/>
                <a:gd name="connsiteY84" fmla="*/ 2166 h 10000"/>
                <a:gd name="connsiteX85" fmla="*/ 797 w 10000"/>
                <a:gd name="connsiteY85" fmla="*/ 2496 h 10000"/>
                <a:gd name="connsiteX86" fmla="*/ 603 w 10000"/>
                <a:gd name="connsiteY86" fmla="*/ 2501 h 10000"/>
                <a:gd name="connsiteX87" fmla="*/ 540 w 10000"/>
                <a:gd name="connsiteY87" fmla="*/ 2687 h 10000"/>
                <a:gd name="connsiteX88" fmla="*/ 558 w 10000"/>
                <a:gd name="connsiteY88" fmla="*/ 2764 h 10000"/>
                <a:gd name="connsiteX89" fmla="*/ 577 w 10000"/>
                <a:gd name="connsiteY89" fmla="*/ 2868 h 10000"/>
                <a:gd name="connsiteX90" fmla="*/ 577 w 10000"/>
                <a:gd name="connsiteY90" fmla="*/ 2868 h 10000"/>
                <a:gd name="connsiteX91" fmla="*/ 577 w 10000"/>
                <a:gd name="connsiteY91" fmla="*/ 2896 h 10000"/>
                <a:gd name="connsiteX92" fmla="*/ 682 w 10000"/>
                <a:gd name="connsiteY92" fmla="*/ 3116 h 10000"/>
                <a:gd name="connsiteX93" fmla="*/ 786 w 10000"/>
                <a:gd name="connsiteY93" fmla="*/ 3351 h 10000"/>
                <a:gd name="connsiteX94" fmla="*/ 921 w 10000"/>
                <a:gd name="connsiteY94" fmla="*/ 3488 h 10000"/>
                <a:gd name="connsiteX95" fmla="*/ 876 w 10000"/>
                <a:gd name="connsiteY95" fmla="*/ 3548 h 10000"/>
                <a:gd name="connsiteX96" fmla="*/ 805 w 10000"/>
                <a:gd name="connsiteY96" fmla="*/ 3603 h 10000"/>
                <a:gd name="connsiteX97" fmla="*/ 887 w 10000"/>
                <a:gd name="connsiteY97" fmla="*/ 3697 h 10000"/>
                <a:gd name="connsiteX98" fmla="*/ 876 w 10000"/>
                <a:gd name="connsiteY98" fmla="*/ 4053 h 10000"/>
                <a:gd name="connsiteX99" fmla="*/ 693 w 10000"/>
                <a:gd name="connsiteY99" fmla="*/ 4124 h 10000"/>
                <a:gd name="connsiteX100" fmla="*/ 498 w 10000"/>
                <a:gd name="connsiteY100" fmla="*/ 4531 h 10000"/>
                <a:gd name="connsiteX101" fmla="*/ 371 w 10000"/>
                <a:gd name="connsiteY101" fmla="*/ 4936 h 10000"/>
                <a:gd name="connsiteX102" fmla="*/ 195 w 10000"/>
                <a:gd name="connsiteY102" fmla="*/ 5260 h 10000"/>
                <a:gd name="connsiteX103" fmla="*/ 270 w 10000"/>
                <a:gd name="connsiteY103" fmla="*/ 5517 h 10000"/>
                <a:gd name="connsiteX104" fmla="*/ 277 w 10000"/>
                <a:gd name="connsiteY104" fmla="*/ 5732 h 10000"/>
                <a:gd name="connsiteX105" fmla="*/ 400 w 10000"/>
                <a:gd name="connsiteY105" fmla="*/ 5841 h 10000"/>
                <a:gd name="connsiteX106" fmla="*/ 382 w 10000"/>
                <a:gd name="connsiteY106" fmla="*/ 5945 h 10000"/>
                <a:gd name="connsiteX107" fmla="*/ 202 w 10000"/>
                <a:gd name="connsiteY107" fmla="*/ 5852 h 10000"/>
                <a:gd name="connsiteX108" fmla="*/ 124 w 10000"/>
                <a:gd name="connsiteY108" fmla="*/ 6099 h 10000"/>
                <a:gd name="connsiteX109" fmla="*/ 105 w 10000"/>
                <a:gd name="connsiteY109" fmla="*/ 6346 h 10000"/>
                <a:gd name="connsiteX110" fmla="*/ 1 w 10000"/>
                <a:gd name="connsiteY110" fmla="*/ 6571 h 10000"/>
                <a:gd name="connsiteX111" fmla="*/ 19 w 10000"/>
                <a:gd name="connsiteY111" fmla="*/ 6779 h 10000"/>
                <a:gd name="connsiteX112" fmla="*/ 90 w 10000"/>
                <a:gd name="connsiteY112" fmla="*/ 6828 h 10000"/>
                <a:gd name="connsiteX113" fmla="*/ 154 w 10000"/>
                <a:gd name="connsiteY113" fmla="*/ 6960 h 10000"/>
                <a:gd name="connsiteX114" fmla="*/ 240 w 10000"/>
                <a:gd name="connsiteY114" fmla="*/ 6943 h 10000"/>
                <a:gd name="connsiteX115" fmla="*/ 292 w 10000"/>
                <a:gd name="connsiteY115" fmla="*/ 7076 h 10000"/>
                <a:gd name="connsiteX116" fmla="*/ 445 w 10000"/>
                <a:gd name="connsiteY116" fmla="*/ 7103 h 10000"/>
                <a:gd name="connsiteX117" fmla="*/ 453 w 10000"/>
                <a:gd name="connsiteY117" fmla="*/ 7251 h 10000"/>
                <a:gd name="connsiteX118" fmla="*/ 494 w 10000"/>
                <a:gd name="connsiteY118" fmla="*/ 7278 h 10000"/>
                <a:gd name="connsiteX119" fmla="*/ 525 w 10000"/>
                <a:gd name="connsiteY119" fmla="*/ 7174 h 10000"/>
                <a:gd name="connsiteX120" fmla="*/ 581 w 10000"/>
                <a:gd name="connsiteY120" fmla="*/ 7196 h 10000"/>
                <a:gd name="connsiteX121" fmla="*/ 644 w 10000"/>
                <a:gd name="connsiteY121" fmla="*/ 6992 h 10000"/>
                <a:gd name="connsiteX122" fmla="*/ 820 w 10000"/>
                <a:gd name="connsiteY122" fmla="*/ 7174 h 10000"/>
                <a:gd name="connsiteX123" fmla="*/ 1283 w 10000"/>
                <a:gd name="connsiteY123" fmla="*/ 7163 h 10000"/>
                <a:gd name="connsiteX124" fmla="*/ 1466 w 10000"/>
                <a:gd name="connsiteY124" fmla="*/ 7092 h 10000"/>
                <a:gd name="connsiteX125" fmla="*/ 1766 w 10000"/>
                <a:gd name="connsiteY125" fmla="*/ 7344 h 10000"/>
                <a:gd name="connsiteX126" fmla="*/ 1956 w 10000"/>
                <a:gd name="connsiteY126" fmla="*/ 7087 h 10000"/>
                <a:gd name="connsiteX127" fmla="*/ 2382 w 10000"/>
                <a:gd name="connsiteY127" fmla="*/ 6861 h 10000"/>
                <a:gd name="connsiteX128" fmla="*/ 2536 w 10000"/>
                <a:gd name="connsiteY128" fmla="*/ 6489 h 10000"/>
                <a:gd name="connsiteX129" fmla="*/ 2648 w 10000"/>
                <a:gd name="connsiteY129" fmla="*/ 6439 h 10000"/>
                <a:gd name="connsiteX130" fmla="*/ 2648 w 10000"/>
                <a:gd name="connsiteY130" fmla="*/ 6379 h 10000"/>
                <a:gd name="connsiteX131" fmla="*/ 2693 w 10000"/>
                <a:gd name="connsiteY131" fmla="*/ 6379 h 10000"/>
                <a:gd name="connsiteX132" fmla="*/ 2682 w 10000"/>
                <a:gd name="connsiteY132" fmla="*/ 6230 h 10000"/>
                <a:gd name="connsiteX133" fmla="*/ 2820 w 10000"/>
                <a:gd name="connsiteY133" fmla="*/ 6285 h 10000"/>
                <a:gd name="connsiteX134" fmla="*/ 2839 w 10000"/>
                <a:gd name="connsiteY134" fmla="*/ 6159 h 10000"/>
                <a:gd name="connsiteX135" fmla="*/ 2921 w 10000"/>
                <a:gd name="connsiteY135" fmla="*/ 6230 h 10000"/>
                <a:gd name="connsiteX136" fmla="*/ 2981 w 10000"/>
                <a:gd name="connsiteY136" fmla="*/ 6126 h 10000"/>
                <a:gd name="connsiteX137" fmla="*/ 3078 w 10000"/>
                <a:gd name="connsiteY137" fmla="*/ 6154 h 10000"/>
                <a:gd name="connsiteX138" fmla="*/ 3164 w 10000"/>
                <a:gd name="connsiteY138" fmla="*/ 6055 h 10000"/>
                <a:gd name="connsiteX139" fmla="*/ 3328 w 10000"/>
                <a:gd name="connsiteY139" fmla="*/ 6192 h 10000"/>
                <a:gd name="connsiteX140" fmla="*/ 3411 w 10000"/>
                <a:gd name="connsiteY140" fmla="*/ 6197 h 10000"/>
                <a:gd name="connsiteX141" fmla="*/ 3437 w 10000"/>
                <a:gd name="connsiteY141" fmla="*/ 6307 h 10000"/>
                <a:gd name="connsiteX142" fmla="*/ 3591 w 10000"/>
                <a:gd name="connsiteY142" fmla="*/ 6236 h 10000"/>
                <a:gd name="connsiteX143" fmla="*/ 3576 w 10000"/>
                <a:gd name="connsiteY143" fmla="*/ 6357 h 10000"/>
                <a:gd name="connsiteX144" fmla="*/ 3632 w 10000"/>
                <a:gd name="connsiteY144" fmla="*/ 6341 h 10000"/>
                <a:gd name="connsiteX145" fmla="*/ 3699 w 10000"/>
                <a:gd name="connsiteY145" fmla="*/ 6428 h 10000"/>
                <a:gd name="connsiteX146" fmla="*/ 3703 w 10000"/>
                <a:gd name="connsiteY146" fmla="*/ 6301 h 10000"/>
                <a:gd name="connsiteX147" fmla="*/ 3882 w 10000"/>
                <a:gd name="connsiteY147" fmla="*/ 6341 h 10000"/>
                <a:gd name="connsiteX148" fmla="*/ 3946 w 10000"/>
                <a:gd name="connsiteY148" fmla="*/ 6511 h 10000"/>
                <a:gd name="connsiteX149" fmla="*/ 4047 w 10000"/>
                <a:gd name="connsiteY149" fmla="*/ 6494 h 10000"/>
                <a:gd name="connsiteX150" fmla="*/ 4091 w 10000"/>
                <a:gd name="connsiteY150" fmla="*/ 6417 h 10000"/>
                <a:gd name="connsiteX151" fmla="*/ 4192 w 10000"/>
                <a:gd name="connsiteY151" fmla="*/ 6735 h 10000"/>
                <a:gd name="connsiteX152" fmla="*/ 4155 w 10000"/>
                <a:gd name="connsiteY152" fmla="*/ 6987 h 10000"/>
                <a:gd name="connsiteX153" fmla="*/ 4207 w 10000"/>
                <a:gd name="connsiteY153" fmla="*/ 7114 h 10000"/>
                <a:gd name="connsiteX154" fmla="*/ 4278 w 10000"/>
                <a:gd name="connsiteY154" fmla="*/ 7119 h 10000"/>
                <a:gd name="connsiteX155" fmla="*/ 4387 w 10000"/>
                <a:gd name="connsiteY155" fmla="*/ 7256 h 10000"/>
                <a:gd name="connsiteX156" fmla="*/ 4431 w 10000"/>
                <a:gd name="connsiteY156" fmla="*/ 7152 h 10000"/>
                <a:gd name="connsiteX157" fmla="*/ 4480 w 10000"/>
                <a:gd name="connsiteY157" fmla="*/ 7322 h 10000"/>
                <a:gd name="connsiteX158" fmla="*/ 4541 w 10000"/>
                <a:gd name="connsiteY158" fmla="*/ 7662 h 10000"/>
                <a:gd name="connsiteX159" fmla="*/ 4720 w 10000"/>
                <a:gd name="connsiteY159" fmla="*/ 7739 h 10000"/>
                <a:gd name="connsiteX160" fmla="*/ 4761 w 10000"/>
                <a:gd name="connsiteY160" fmla="*/ 8183 h 10000"/>
                <a:gd name="connsiteX161" fmla="*/ 4914 w 10000"/>
                <a:gd name="connsiteY161" fmla="*/ 8276 h 10000"/>
                <a:gd name="connsiteX162" fmla="*/ 4757 w 10000"/>
                <a:gd name="connsiteY162" fmla="*/ 8370 h 10000"/>
                <a:gd name="connsiteX163" fmla="*/ 4705 w 10000"/>
                <a:gd name="connsiteY163" fmla="*/ 8260 h 10000"/>
                <a:gd name="connsiteX164" fmla="*/ 4645 w 10000"/>
                <a:gd name="connsiteY164" fmla="*/ 8403 h 10000"/>
                <a:gd name="connsiteX165" fmla="*/ 4491 w 10000"/>
                <a:gd name="connsiteY165" fmla="*/ 8287 h 10000"/>
                <a:gd name="connsiteX166" fmla="*/ 4405 w 10000"/>
                <a:gd name="connsiteY166" fmla="*/ 8452 h 10000"/>
                <a:gd name="connsiteX167" fmla="*/ 4226 w 10000"/>
                <a:gd name="connsiteY167" fmla="*/ 8331 h 10000"/>
                <a:gd name="connsiteX168" fmla="*/ 4312 w 10000"/>
                <a:gd name="connsiteY168" fmla="*/ 8699 h 10000"/>
                <a:gd name="connsiteX169" fmla="*/ 4304 w 10000"/>
                <a:gd name="connsiteY169" fmla="*/ 8967 h 10000"/>
                <a:gd name="connsiteX170" fmla="*/ 4189 w 10000"/>
                <a:gd name="connsiteY170" fmla="*/ 9088 h 10000"/>
                <a:gd name="connsiteX171" fmla="*/ 4226 w 10000"/>
                <a:gd name="connsiteY171" fmla="*/ 9193 h 10000"/>
                <a:gd name="connsiteX172" fmla="*/ 4065 w 10000"/>
                <a:gd name="connsiteY172" fmla="*/ 9412 h 10000"/>
                <a:gd name="connsiteX173" fmla="*/ 4129 w 10000"/>
                <a:gd name="connsiteY173" fmla="*/ 9647 h 10000"/>
                <a:gd name="connsiteX174" fmla="*/ 3972 w 10000"/>
                <a:gd name="connsiteY174" fmla="*/ 9681 h 10000"/>
                <a:gd name="connsiteX175" fmla="*/ 3931 w 10000"/>
                <a:gd name="connsiteY175" fmla="*/ 9741 h 10000"/>
                <a:gd name="connsiteX176" fmla="*/ 3998 w 10000"/>
                <a:gd name="connsiteY176" fmla="*/ 9785 h 10000"/>
                <a:gd name="connsiteX177" fmla="*/ 4118 w 10000"/>
                <a:gd name="connsiteY177" fmla="*/ 9944 h 10000"/>
                <a:gd name="connsiteX178" fmla="*/ 4312 w 10000"/>
                <a:gd name="connsiteY178" fmla="*/ 9999 h 10000"/>
                <a:gd name="connsiteX179" fmla="*/ 4319 w 10000"/>
                <a:gd name="connsiteY179" fmla="*/ 9851 h 10000"/>
                <a:gd name="connsiteX180" fmla="*/ 4387 w 10000"/>
                <a:gd name="connsiteY180" fmla="*/ 9856 h 10000"/>
                <a:gd name="connsiteX181" fmla="*/ 4675 w 10000"/>
                <a:gd name="connsiteY181" fmla="*/ 9603 h 10000"/>
                <a:gd name="connsiteX182" fmla="*/ 4866 w 10000"/>
                <a:gd name="connsiteY182" fmla="*/ 9845 h 10000"/>
                <a:gd name="connsiteX183" fmla="*/ 4866 w 10000"/>
                <a:gd name="connsiteY183" fmla="*/ 9862 h 10000"/>
                <a:gd name="connsiteX184" fmla="*/ 4896 w 10000"/>
                <a:gd name="connsiteY184" fmla="*/ 9703 h 10000"/>
                <a:gd name="connsiteX185" fmla="*/ 4843 w 10000"/>
                <a:gd name="connsiteY185" fmla="*/ 9570 h 10000"/>
                <a:gd name="connsiteX186" fmla="*/ 4776 w 10000"/>
                <a:gd name="connsiteY186" fmla="*/ 9549 h 10000"/>
                <a:gd name="connsiteX187" fmla="*/ 4821 w 10000"/>
                <a:gd name="connsiteY187" fmla="*/ 9466 h 10000"/>
                <a:gd name="connsiteX188" fmla="*/ 4806 w 10000"/>
                <a:gd name="connsiteY188" fmla="*/ 9444 h 10000"/>
                <a:gd name="connsiteX189" fmla="*/ 4750 w 10000"/>
                <a:gd name="connsiteY189" fmla="*/ 9439 h 10000"/>
                <a:gd name="connsiteX190" fmla="*/ 4720 w 10000"/>
                <a:gd name="connsiteY190" fmla="*/ 9121 h 10000"/>
                <a:gd name="connsiteX191" fmla="*/ 4761 w 10000"/>
                <a:gd name="connsiteY191" fmla="*/ 9105 h 10000"/>
                <a:gd name="connsiteX192" fmla="*/ 4783 w 10000"/>
                <a:gd name="connsiteY192" fmla="*/ 9253 h 10000"/>
                <a:gd name="connsiteX193" fmla="*/ 4836 w 10000"/>
                <a:gd name="connsiteY193" fmla="*/ 9384 h 10000"/>
                <a:gd name="connsiteX194" fmla="*/ 4881 w 10000"/>
                <a:gd name="connsiteY194" fmla="*/ 9302 h 10000"/>
                <a:gd name="connsiteX195" fmla="*/ 4869 w 10000"/>
                <a:gd name="connsiteY195" fmla="*/ 9220 h 10000"/>
                <a:gd name="connsiteX196" fmla="*/ 4940 w 10000"/>
                <a:gd name="connsiteY196" fmla="*/ 9203 h 10000"/>
                <a:gd name="connsiteX197" fmla="*/ 4903 w 10000"/>
                <a:gd name="connsiteY197" fmla="*/ 9034 h 10000"/>
                <a:gd name="connsiteX198" fmla="*/ 5000 w 10000"/>
                <a:gd name="connsiteY198" fmla="*/ 9061 h 10000"/>
                <a:gd name="connsiteX199" fmla="*/ 5004 w 10000"/>
                <a:gd name="connsiteY199" fmla="*/ 8972 h 10000"/>
                <a:gd name="connsiteX200" fmla="*/ 5041 w 10000"/>
                <a:gd name="connsiteY200" fmla="*/ 9039 h 10000"/>
                <a:gd name="connsiteX201" fmla="*/ 5206 w 10000"/>
                <a:gd name="connsiteY201" fmla="*/ 8781 h 10000"/>
                <a:gd name="connsiteX202" fmla="*/ 5112 w 10000"/>
                <a:gd name="connsiteY202" fmla="*/ 8584 h 10000"/>
                <a:gd name="connsiteX203" fmla="*/ 4937 w 10000"/>
                <a:gd name="connsiteY203" fmla="*/ 8425 h 10000"/>
                <a:gd name="connsiteX204" fmla="*/ 5037 w 10000"/>
                <a:gd name="connsiteY204" fmla="*/ 8370 h 10000"/>
                <a:gd name="connsiteX205" fmla="*/ 5183 w 10000"/>
                <a:gd name="connsiteY205" fmla="*/ 8633 h 10000"/>
                <a:gd name="connsiteX206" fmla="*/ 5292 w 10000"/>
                <a:gd name="connsiteY206" fmla="*/ 8199 h 10000"/>
                <a:gd name="connsiteX207" fmla="*/ 5299 w 10000"/>
                <a:gd name="connsiteY207" fmla="*/ 8030 h 10000"/>
                <a:gd name="connsiteX208" fmla="*/ 5482 w 10000"/>
                <a:gd name="connsiteY208" fmla="*/ 7942 h 10000"/>
                <a:gd name="connsiteX209" fmla="*/ 5550 w 10000"/>
                <a:gd name="connsiteY209" fmla="*/ 7607 h 10000"/>
                <a:gd name="connsiteX210" fmla="*/ 5561 w 10000"/>
                <a:gd name="connsiteY210" fmla="*/ 7734 h 10000"/>
                <a:gd name="connsiteX211" fmla="*/ 5677 w 10000"/>
                <a:gd name="connsiteY211" fmla="*/ 7596 h 10000"/>
                <a:gd name="connsiteX212" fmla="*/ 5759 w 10000"/>
                <a:gd name="connsiteY212" fmla="*/ 7579 h 10000"/>
                <a:gd name="connsiteX213" fmla="*/ 5842 w 10000"/>
                <a:gd name="connsiteY213" fmla="*/ 7207 h 10000"/>
                <a:gd name="connsiteX214" fmla="*/ 5916 w 10000"/>
                <a:gd name="connsiteY214" fmla="*/ 7486 h 10000"/>
                <a:gd name="connsiteX215" fmla="*/ 6137 w 10000"/>
                <a:gd name="connsiteY215" fmla="*/ 7563 h 10000"/>
                <a:gd name="connsiteX216" fmla="*/ 5969 w 10000"/>
                <a:gd name="connsiteY216" fmla="*/ 7618 h 10000"/>
                <a:gd name="connsiteX217" fmla="*/ 5954 w 10000"/>
                <a:gd name="connsiteY217" fmla="*/ 7679 h 10000"/>
                <a:gd name="connsiteX218" fmla="*/ 5786 w 10000"/>
                <a:gd name="connsiteY218" fmla="*/ 7690 h 10000"/>
                <a:gd name="connsiteX219" fmla="*/ 5700 w 10000"/>
                <a:gd name="connsiteY219" fmla="*/ 7723 h 10000"/>
                <a:gd name="connsiteX220" fmla="*/ 5767 w 10000"/>
                <a:gd name="connsiteY220" fmla="*/ 7772 h 10000"/>
                <a:gd name="connsiteX221" fmla="*/ 5827 w 10000"/>
                <a:gd name="connsiteY221" fmla="*/ 7756 h 10000"/>
                <a:gd name="connsiteX222" fmla="*/ 5991 w 10000"/>
                <a:gd name="connsiteY222" fmla="*/ 7789 h 10000"/>
                <a:gd name="connsiteX223" fmla="*/ 5804 w 10000"/>
                <a:gd name="connsiteY223" fmla="*/ 7964 h 10000"/>
                <a:gd name="connsiteX224" fmla="*/ 5872 w 10000"/>
                <a:gd name="connsiteY224" fmla="*/ 8008 h 10000"/>
                <a:gd name="connsiteX225" fmla="*/ 6043 w 10000"/>
                <a:gd name="connsiteY225" fmla="*/ 7958 h 10000"/>
                <a:gd name="connsiteX226" fmla="*/ 6275 w 10000"/>
                <a:gd name="connsiteY226" fmla="*/ 8101 h 10000"/>
                <a:gd name="connsiteX227" fmla="*/ 6575 w 10000"/>
                <a:gd name="connsiteY227" fmla="*/ 7909 h 10000"/>
                <a:gd name="connsiteX228" fmla="*/ 6870 w 10000"/>
                <a:gd name="connsiteY228" fmla="*/ 7887 h 10000"/>
                <a:gd name="connsiteX229" fmla="*/ 6915 w 10000"/>
                <a:gd name="connsiteY229" fmla="*/ 7745 h 10000"/>
                <a:gd name="connsiteX230" fmla="*/ 6993 w 10000"/>
                <a:gd name="connsiteY230" fmla="*/ 7958 h 10000"/>
                <a:gd name="connsiteX231" fmla="*/ 7075 w 10000"/>
                <a:gd name="connsiteY231" fmla="*/ 7986 h 10000"/>
                <a:gd name="connsiteX232" fmla="*/ 7045 w 10000"/>
                <a:gd name="connsiteY232" fmla="*/ 8134 h 10000"/>
                <a:gd name="connsiteX233" fmla="*/ 6788 w 10000"/>
                <a:gd name="connsiteY233" fmla="*/ 8281 h 10000"/>
                <a:gd name="connsiteX234" fmla="*/ 6769 w 10000"/>
                <a:gd name="connsiteY234" fmla="*/ 8386 h 10000"/>
                <a:gd name="connsiteX235" fmla="*/ 6627 w 10000"/>
                <a:gd name="connsiteY235" fmla="*/ 8523 h 10000"/>
                <a:gd name="connsiteX236" fmla="*/ 6623 w 10000"/>
                <a:gd name="connsiteY236" fmla="*/ 8649 h 10000"/>
                <a:gd name="connsiteX237" fmla="*/ 6537 w 10000"/>
                <a:gd name="connsiteY237" fmla="*/ 8704 h 10000"/>
                <a:gd name="connsiteX238" fmla="*/ 6428 w 10000"/>
                <a:gd name="connsiteY238" fmla="*/ 8989 h 10000"/>
                <a:gd name="connsiteX239" fmla="*/ 6582 w 10000"/>
                <a:gd name="connsiteY239" fmla="*/ 9001 h 10000"/>
                <a:gd name="connsiteX240" fmla="*/ 6672 w 10000"/>
                <a:gd name="connsiteY240" fmla="*/ 8879 h 10000"/>
                <a:gd name="connsiteX241" fmla="*/ 6769 w 10000"/>
                <a:gd name="connsiteY241" fmla="*/ 8912 h 10000"/>
                <a:gd name="connsiteX242" fmla="*/ 6814 w 10000"/>
                <a:gd name="connsiteY242" fmla="*/ 8786 h 10000"/>
                <a:gd name="connsiteX243" fmla="*/ 6877 w 10000"/>
                <a:gd name="connsiteY243" fmla="*/ 9001 h 10000"/>
                <a:gd name="connsiteX244" fmla="*/ 7060 w 10000"/>
                <a:gd name="connsiteY244" fmla="*/ 8994 h 10000"/>
                <a:gd name="connsiteX245" fmla="*/ 7217 w 10000"/>
                <a:gd name="connsiteY245" fmla="*/ 9362 h 10000"/>
                <a:gd name="connsiteX246" fmla="*/ 7232 w 10000"/>
                <a:gd name="connsiteY246" fmla="*/ 9675 h 10000"/>
                <a:gd name="connsiteX247" fmla="*/ 7176 w 10000"/>
                <a:gd name="connsiteY247" fmla="*/ 9692 h 10000"/>
                <a:gd name="connsiteX248" fmla="*/ 7187 w 10000"/>
                <a:gd name="connsiteY248" fmla="*/ 9780 h 10000"/>
                <a:gd name="connsiteX249" fmla="*/ 7423 w 10000"/>
                <a:gd name="connsiteY249" fmla="*/ 9900 h 10000"/>
                <a:gd name="connsiteX250" fmla="*/ 7741 w 10000"/>
                <a:gd name="connsiteY250" fmla="*/ 9565 h 10000"/>
                <a:gd name="connsiteX251" fmla="*/ 7879 w 10000"/>
                <a:gd name="connsiteY251" fmla="*/ 9176 h 10000"/>
                <a:gd name="connsiteX252" fmla="*/ 8107 w 10000"/>
                <a:gd name="connsiteY252" fmla="*/ 9023 h 10000"/>
                <a:gd name="connsiteX253" fmla="*/ 8182 w 10000"/>
                <a:gd name="connsiteY253" fmla="*/ 8841 h 10000"/>
                <a:gd name="connsiteX254" fmla="*/ 8268 w 10000"/>
                <a:gd name="connsiteY254" fmla="*/ 8786 h 10000"/>
                <a:gd name="connsiteX255" fmla="*/ 8320 w 10000"/>
                <a:gd name="connsiteY255" fmla="*/ 8512 h 10000"/>
                <a:gd name="connsiteX256" fmla="*/ 8542 w 10000"/>
                <a:gd name="connsiteY256" fmla="*/ 8617 h 10000"/>
                <a:gd name="connsiteX257" fmla="*/ 8672 w 10000"/>
                <a:gd name="connsiteY257" fmla="*/ 8474 h 10000"/>
                <a:gd name="connsiteX258" fmla="*/ 8855 w 10000"/>
                <a:gd name="connsiteY258" fmla="*/ 8343 h 10000"/>
                <a:gd name="connsiteX259" fmla="*/ 8781 w 10000"/>
                <a:gd name="connsiteY259" fmla="*/ 8128 h 10000"/>
                <a:gd name="connsiteX260" fmla="*/ 7708 w 10000"/>
                <a:gd name="connsiteY260" fmla="*/ 7991 h 10000"/>
                <a:gd name="connsiteX261" fmla="*/ 7682 w 10000"/>
                <a:gd name="connsiteY261" fmla="*/ 7904 h 10000"/>
                <a:gd name="connsiteX262" fmla="*/ 7607 w 10000"/>
                <a:gd name="connsiteY262" fmla="*/ 8002 h 10000"/>
                <a:gd name="connsiteX263" fmla="*/ 7715 w 10000"/>
                <a:gd name="connsiteY263" fmla="*/ 7761 h 10000"/>
                <a:gd name="connsiteX264" fmla="*/ 7674 w 10000"/>
                <a:gd name="connsiteY264" fmla="*/ 7717 h 10000"/>
                <a:gd name="connsiteX265" fmla="*/ 7554 w 10000"/>
                <a:gd name="connsiteY265" fmla="*/ 7915 h 10000"/>
                <a:gd name="connsiteX266" fmla="*/ 7618 w 10000"/>
                <a:gd name="connsiteY266" fmla="*/ 7712 h 10000"/>
                <a:gd name="connsiteX267" fmla="*/ 7532 w 10000"/>
                <a:gd name="connsiteY267" fmla="*/ 7767 h 10000"/>
                <a:gd name="connsiteX268" fmla="*/ 7419 w 10000"/>
                <a:gd name="connsiteY268" fmla="*/ 7717 h 10000"/>
                <a:gd name="connsiteX269" fmla="*/ 7333 w 10000"/>
                <a:gd name="connsiteY269" fmla="*/ 7794 h 10000"/>
                <a:gd name="connsiteX270" fmla="*/ 7240 w 10000"/>
                <a:gd name="connsiteY270" fmla="*/ 7728 h 10000"/>
                <a:gd name="connsiteX271" fmla="*/ 7087 w 10000"/>
                <a:gd name="connsiteY271" fmla="*/ 7717 h 10000"/>
                <a:gd name="connsiteX272" fmla="*/ 7090 w 10000"/>
                <a:gd name="connsiteY272" fmla="*/ 7547 h 10000"/>
                <a:gd name="connsiteX273" fmla="*/ 7229 w 10000"/>
                <a:gd name="connsiteY273" fmla="*/ 7662 h 10000"/>
                <a:gd name="connsiteX274" fmla="*/ 7273 w 10000"/>
                <a:gd name="connsiteY274" fmla="*/ 7541 h 10000"/>
                <a:gd name="connsiteX275" fmla="*/ 7236 w 10000"/>
                <a:gd name="connsiteY275" fmla="*/ 7410 h 10000"/>
                <a:gd name="connsiteX276" fmla="*/ 7341 w 10000"/>
                <a:gd name="connsiteY276" fmla="*/ 7547 h 10000"/>
                <a:gd name="connsiteX277" fmla="*/ 7483 w 10000"/>
                <a:gd name="connsiteY277" fmla="*/ 7536 h 10000"/>
                <a:gd name="connsiteX278" fmla="*/ 7506 w 10000"/>
                <a:gd name="connsiteY278" fmla="*/ 7685 h 10000"/>
                <a:gd name="connsiteX279" fmla="*/ 7547 w 10000"/>
                <a:gd name="connsiteY279" fmla="*/ 7685 h 10000"/>
                <a:gd name="connsiteX280" fmla="*/ 7558 w 10000"/>
                <a:gd name="connsiteY280" fmla="*/ 7415 h 10000"/>
                <a:gd name="connsiteX281" fmla="*/ 7607 w 10000"/>
                <a:gd name="connsiteY281" fmla="*/ 7585 h 10000"/>
                <a:gd name="connsiteX282" fmla="*/ 7693 w 10000"/>
                <a:gd name="connsiteY282" fmla="*/ 7590 h 10000"/>
                <a:gd name="connsiteX283" fmla="*/ 7629 w 10000"/>
                <a:gd name="connsiteY283" fmla="*/ 7333 h 10000"/>
                <a:gd name="connsiteX284" fmla="*/ 7786 w 10000"/>
                <a:gd name="connsiteY284" fmla="*/ 7240 h 10000"/>
                <a:gd name="connsiteX285" fmla="*/ 7779 w 10000"/>
                <a:gd name="connsiteY285" fmla="*/ 6987 h 10000"/>
                <a:gd name="connsiteX286" fmla="*/ 7887 w 10000"/>
                <a:gd name="connsiteY286" fmla="*/ 7081 h 10000"/>
                <a:gd name="connsiteX287" fmla="*/ 7906 w 10000"/>
                <a:gd name="connsiteY287" fmla="*/ 7015 h 10000"/>
                <a:gd name="connsiteX288" fmla="*/ 7775 w 10000"/>
                <a:gd name="connsiteY288" fmla="*/ 6735 h 10000"/>
                <a:gd name="connsiteX289" fmla="*/ 7950 w 10000"/>
                <a:gd name="connsiteY289" fmla="*/ 6894 h 10000"/>
                <a:gd name="connsiteX290" fmla="*/ 8171 w 10000"/>
                <a:gd name="connsiteY290" fmla="*/ 6511 h 10000"/>
                <a:gd name="connsiteX291" fmla="*/ 8384 w 10000"/>
                <a:gd name="connsiteY291" fmla="*/ 6483 h 10000"/>
                <a:gd name="connsiteX292" fmla="*/ 8429 w 10000"/>
                <a:gd name="connsiteY29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775 w 10000"/>
                <a:gd name="connsiteY16" fmla="*/ 2259 h 10000"/>
                <a:gd name="connsiteX17" fmla="*/ 9656 w 10000"/>
                <a:gd name="connsiteY17" fmla="*/ 2024 h 10000"/>
                <a:gd name="connsiteX18" fmla="*/ 9663 w 10000"/>
                <a:gd name="connsiteY18" fmla="*/ 1810 h 10000"/>
                <a:gd name="connsiteX19" fmla="*/ 9143 w 10000"/>
                <a:gd name="connsiteY19" fmla="*/ 1838 h 10000"/>
                <a:gd name="connsiteX20" fmla="*/ 9091 w 10000"/>
                <a:gd name="connsiteY20" fmla="*/ 1712 h 10000"/>
                <a:gd name="connsiteX21" fmla="*/ 9020 w 10000"/>
                <a:gd name="connsiteY21" fmla="*/ 1728 h 10000"/>
                <a:gd name="connsiteX22" fmla="*/ 7569 w 10000"/>
                <a:gd name="connsiteY22" fmla="*/ 1873 h 10000"/>
                <a:gd name="connsiteX23" fmla="*/ 7165 w 10000"/>
                <a:gd name="connsiteY23" fmla="*/ 1996 h 10000"/>
                <a:gd name="connsiteX24" fmla="*/ 6892 w 10000"/>
                <a:gd name="connsiteY24" fmla="*/ 1827 h 10000"/>
                <a:gd name="connsiteX25" fmla="*/ 6922 w 10000"/>
                <a:gd name="connsiteY25" fmla="*/ 1728 h 10000"/>
                <a:gd name="connsiteX26" fmla="*/ 6765 w 10000"/>
                <a:gd name="connsiteY26" fmla="*/ 1398 h 10000"/>
                <a:gd name="connsiteX27" fmla="*/ 6799 w 10000"/>
                <a:gd name="connsiteY27" fmla="*/ 1256 h 10000"/>
                <a:gd name="connsiteX28" fmla="*/ 6728 w 10000"/>
                <a:gd name="connsiteY28" fmla="*/ 1229 h 10000"/>
                <a:gd name="connsiteX29" fmla="*/ 6657 w 10000"/>
                <a:gd name="connsiteY29" fmla="*/ 1311 h 10000"/>
                <a:gd name="connsiteX30" fmla="*/ 6593 w 10000"/>
                <a:gd name="connsiteY30" fmla="*/ 1114 h 10000"/>
                <a:gd name="connsiteX31" fmla="*/ 6391 w 10000"/>
                <a:gd name="connsiteY31" fmla="*/ 1311 h 10000"/>
                <a:gd name="connsiteX32" fmla="*/ 6309 w 10000"/>
                <a:gd name="connsiteY32" fmla="*/ 1223 h 10000"/>
                <a:gd name="connsiteX33" fmla="*/ 6126 w 10000"/>
                <a:gd name="connsiteY33" fmla="*/ 1273 h 10000"/>
                <a:gd name="connsiteX34" fmla="*/ 6144 w 10000"/>
                <a:gd name="connsiteY34" fmla="*/ 1125 h 10000"/>
                <a:gd name="connsiteX35" fmla="*/ 6073 w 10000"/>
                <a:gd name="connsiteY35" fmla="*/ 1119 h 10000"/>
                <a:gd name="connsiteX36" fmla="*/ 6040 w 10000"/>
                <a:gd name="connsiteY36" fmla="*/ 910 h 10000"/>
                <a:gd name="connsiteX37" fmla="*/ 5942 w 10000"/>
                <a:gd name="connsiteY37" fmla="*/ 795 h 10000"/>
                <a:gd name="connsiteX38" fmla="*/ 6144 w 10000"/>
                <a:gd name="connsiteY38" fmla="*/ 620 h 10000"/>
                <a:gd name="connsiteX39" fmla="*/ 5901 w 10000"/>
                <a:gd name="connsiteY39" fmla="*/ 395 h 10000"/>
                <a:gd name="connsiteX40" fmla="*/ 5853 w 10000"/>
                <a:gd name="connsiteY40" fmla="*/ 142 h 10000"/>
                <a:gd name="connsiteX41" fmla="*/ 5741 w 10000"/>
                <a:gd name="connsiteY41" fmla="*/ 110 h 10000"/>
                <a:gd name="connsiteX42" fmla="*/ 5647 w 10000"/>
                <a:gd name="connsiteY42" fmla="*/ 0 h 10000"/>
                <a:gd name="connsiteX43" fmla="*/ 5547 w 10000"/>
                <a:gd name="connsiteY43" fmla="*/ 120 h 10000"/>
                <a:gd name="connsiteX44" fmla="*/ 5377 w 10000"/>
                <a:gd name="connsiteY44" fmla="*/ 110 h 10000"/>
                <a:gd name="connsiteX45" fmla="*/ 5232 w 10000"/>
                <a:gd name="connsiteY45" fmla="*/ 351 h 10000"/>
                <a:gd name="connsiteX46" fmla="*/ 4952 w 10000"/>
                <a:gd name="connsiteY46" fmla="*/ 329 h 10000"/>
                <a:gd name="connsiteX47" fmla="*/ 4884 w 10000"/>
                <a:gd name="connsiteY47" fmla="*/ 680 h 10000"/>
                <a:gd name="connsiteX48" fmla="*/ 4701 w 10000"/>
                <a:gd name="connsiteY48" fmla="*/ 707 h 10000"/>
                <a:gd name="connsiteX49" fmla="*/ 4795 w 10000"/>
                <a:gd name="connsiteY49" fmla="*/ 844 h 10000"/>
                <a:gd name="connsiteX50" fmla="*/ 4739 w 10000"/>
                <a:gd name="connsiteY50" fmla="*/ 899 h 10000"/>
                <a:gd name="connsiteX51" fmla="*/ 4612 w 10000"/>
                <a:gd name="connsiteY51" fmla="*/ 894 h 10000"/>
                <a:gd name="connsiteX52" fmla="*/ 4439 w 10000"/>
                <a:gd name="connsiteY52" fmla="*/ 1026 h 10000"/>
                <a:gd name="connsiteX53" fmla="*/ 4252 w 10000"/>
                <a:gd name="connsiteY53" fmla="*/ 1668 h 10000"/>
                <a:gd name="connsiteX54" fmla="*/ 4308 w 10000"/>
                <a:gd name="connsiteY54" fmla="*/ 2090 h 10000"/>
                <a:gd name="connsiteX55" fmla="*/ 4121 w 10000"/>
                <a:gd name="connsiteY55" fmla="*/ 1865 h 10000"/>
                <a:gd name="connsiteX56" fmla="*/ 3849 w 10000"/>
                <a:gd name="connsiteY56" fmla="*/ 1991 h 10000"/>
                <a:gd name="connsiteX57" fmla="*/ 3822 w 10000"/>
                <a:gd name="connsiteY57" fmla="*/ 1931 h 10000"/>
                <a:gd name="connsiteX58" fmla="*/ 3695 w 10000"/>
                <a:gd name="connsiteY58" fmla="*/ 2002 h 10000"/>
                <a:gd name="connsiteX59" fmla="*/ 3621 w 10000"/>
                <a:gd name="connsiteY59" fmla="*/ 2144 h 10000"/>
                <a:gd name="connsiteX60" fmla="*/ 3561 w 10000"/>
                <a:gd name="connsiteY60" fmla="*/ 1909 h 10000"/>
                <a:gd name="connsiteX61" fmla="*/ 3478 w 10000"/>
                <a:gd name="connsiteY61" fmla="*/ 1843 h 10000"/>
                <a:gd name="connsiteX62" fmla="*/ 3444 w 10000"/>
                <a:gd name="connsiteY62" fmla="*/ 1964 h 10000"/>
                <a:gd name="connsiteX63" fmla="*/ 3332 w 10000"/>
                <a:gd name="connsiteY63" fmla="*/ 1996 h 10000"/>
                <a:gd name="connsiteX64" fmla="*/ 3272 w 10000"/>
                <a:gd name="connsiteY64" fmla="*/ 2161 h 10000"/>
                <a:gd name="connsiteX65" fmla="*/ 3235 w 10000"/>
                <a:gd name="connsiteY65" fmla="*/ 2013 h 10000"/>
                <a:gd name="connsiteX66" fmla="*/ 3123 w 10000"/>
                <a:gd name="connsiteY66" fmla="*/ 2024 h 10000"/>
                <a:gd name="connsiteX67" fmla="*/ 3078 w 10000"/>
                <a:gd name="connsiteY67" fmla="*/ 2128 h 10000"/>
                <a:gd name="connsiteX68" fmla="*/ 3011 w 10000"/>
                <a:gd name="connsiteY68" fmla="*/ 1975 h 10000"/>
                <a:gd name="connsiteX69" fmla="*/ 2895 w 10000"/>
                <a:gd name="connsiteY69" fmla="*/ 2117 h 10000"/>
                <a:gd name="connsiteX70" fmla="*/ 2783 w 10000"/>
                <a:gd name="connsiteY70" fmla="*/ 2106 h 10000"/>
                <a:gd name="connsiteX71" fmla="*/ 2779 w 10000"/>
                <a:gd name="connsiteY71" fmla="*/ 2276 h 10000"/>
                <a:gd name="connsiteX72" fmla="*/ 2727 w 10000"/>
                <a:gd name="connsiteY72" fmla="*/ 2144 h 10000"/>
                <a:gd name="connsiteX73" fmla="*/ 2559 w 10000"/>
                <a:gd name="connsiteY73" fmla="*/ 2155 h 10000"/>
                <a:gd name="connsiteX74" fmla="*/ 2438 w 10000"/>
                <a:gd name="connsiteY74" fmla="*/ 1980 h 10000"/>
                <a:gd name="connsiteX75" fmla="*/ 2293 w 10000"/>
                <a:gd name="connsiteY75" fmla="*/ 2073 h 10000"/>
                <a:gd name="connsiteX76" fmla="*/ 2143 w 10000"/>
                <a:gd name="connsiteY76" fmla="*/ 1958 h 10000"/>
                <a:gd name="connsiteX77" fmla="*/ 2057 w 10000"/>
                <a:gd name="connsiteY77" fmla="*/ 2035 h 10000"/>
                <a:gd name="connsiteX78" fmla="*/ 1975 w 10000"/>
                <a:gd name="connsiteY78" fmla="*/ 1947 h 10000"/>
                <a:gd name="connsiteX79" fmla="*/ 1852 w 10000"/>
                <a:gd name="connsiteY79" fmla="*/ 1936 h 10000"/>
                <a:gd name="connsiteX80" fmla="*/ 1669 w 10000"/>
                <a:gd name="connsiteY80" fmla="*/ 1925 h 10000"/>
                <a:gd name="connsiteX81" fmla="*/ 1444 w 10000"/>
                <a:gd name="connsiteY81" fmla="*/ 1991 h 10000"/>
                <a:gd name="connsiteX82" fmla="*/ 1205 w 10000"/>
                <a:gd name="connsiteY82" fmla="*/ 2062 h 10000"/>
                <a:gd name="connsiteX83" fmla="*/ 921 w 10000"/>
                <a:gd name="connsiteY83" fmla="*/ 2166 h 10000"/>
                <a:gd name="connsiteX84" fmla="*/ 797 w 10000"/>
                <a:gd name="connsiteY84" fmla="*/ 2496 h 10000"/>
                <a:gd name="connsiteX85" fmla="*/ 603 w 10000"/>
                <a:gd name="connsiteY85" fmla="*/ 2501 h 10000"/>
                <a:gd name="connsiteX86" fmla="*/ 540 w 10000"/>
                <a:gd name="connsiteY86" fmla="*/ 2687 h 10000"/>
                <a:gd name="connsiteX87" fmla="*/ 558 w 10000"/>
                <a:gd name="connsiteY87" fmla="*/ 2764 h 10000"/>
                <a:gd name="connsiteX88" fmla="*/ 577 w 10000"/>
                <a:gd name="connsiteY88" fmla="*/ 2868 h 10000"/>
                <a:gd name="connsiteX89" fmla="*/ 577 w 10000"/>
                <a:gd name="connsiteY89" fmla="*/ 2868 h 10000"/>
                <a:gd name="connsiteX90" fmla="*/ 577 w 10000"/>
                <a:gd name="connsiteY90" fmla="*/ 2896 h 10000"/>
                <a:gd name="connsiteX91" fmla="*/ 682 w 10000"/>
                <a:gd name="connsiteY91" fmla="*/ 3116 h 10000"/>
                <a:gd name="connsiteX92" fmla="*/ 786 w 10000"/>
                <a:gd name="connsiteY92" fmla="*/ 3351 h 10000"/>
                <a:gd name="connsiteX93" fmla="*/ 921 w 10000"/>
                <a:gd name="connsiteY93" fmla="*/ 3488 h 10000"/>
                <a:gd name="connsiteX94" fmla="*/ 876 w 10000"/>
                <a:gd name="connsiteY94" fmla="*/ 3548 h 10000"/>
                <a:gd name="connsiteX95" fmla="*/ 805 w 10000"/>
                <a:gd name="connsiteY95" fmla="*/ 3603 h 10000"/>
                <a:gd name="connsiteX96" fmla="*/ 887 w 10000"/>
                <a:gd name="connsiteY96" fmla="*/ 3697 h 10000"/>
                <a:gd name="connsiteX97" fmla="*/ 876 w 10000"/>
                <a:gd name="connsiteY97" fmla="*/ 4053 h 10000"/>
                <a:gd name="connsiteX98" fmla="*/ 693 w 10000"/>
                <a:gd name="connsiteY98" fmla="*/ 4124 h 10000"/>
                <a:gd name="connsiteX99" fmla="*/ 498 w 10000"/>
                <a:gd name="connsiteY99" fmla="*/ 4531 h 10000"/>
                <a:gd name="connsiteX100" fmla="*/ 371 w 10000"/>
                <a:gd name="connsiteY100" fmla="*/ 4936 h 10000"/>
                <a:gd name="connsiteX101" fmla="*/ 195 w 10000"/>
                <a:gd name="connsiteY101" fmla="*/ 5260 h 10000"/>
                <a:gd name="connsiteX102" fmla="*/ 270 w 10000"/>
                <a:gd name="connsiteY102" fmla="*/ 5517 h 10000"/>
                <a:gd name="connsiteX103" fmla="*/ 277 w 10000"/>
                <a:gd name="connsiteY103" fmla="*/ 5732 h 10000"/>
                <a:gd name="connsiteX104" fmla="*/ 400 w 10000"/>
                <a:gd name="connsiteY104" fmla="*/ 5841 h 10000"/>
                <a:gd name="connsiteX105" fmla="*/ 382 w 10000"/>
                <a:gd name="connsiteY105" fmla="*/ 5945 h 10000"/>
                <a:gd name="connsiteX106" fmla="*/ 202 w 10000"/>
                <a:gd name="connsiteY106" fmla="*/ 5852 h 10000"/>
                <a:gd name="connsiteX107" fmla="*/ 124 w 10000"/>
                <a:gd name="connsiteY107" fmla="*/ 6099 h 10000"/>
                <a:gd name="connsiteX108" fmla="*/ 105 w 10000"/>
                <a:gd name="connsiteY108" fmla="*/ 6346 h 10000"/>
                <a:gd name="connsiteX109" fmla="*/ 1 w 10000"/>
                <a:gd name="connsiteY109" fmla="*/ 6571 h 10000"/>
                <a:gd name="connsiteX110" fmla="*/ 19 w 10000"/>
                <a:gd name="connsiteY110" fmla="*/ 6779 h 10000"/>
                <a:gd name="connsiteX111" fmla="*/ 90 w 10000"/>
                <a:gd name="connsiteY111" fmla="*/ 6828 h 10000"/>
                <a:gd name="connsiteX112" fmla="*/ 154 w 10000"/>
                <a:gd name="connsiteY112" fmla="*/ 6960 h 10000"/>
                <a:gd name="connsiteX113" fmla="*/ 240 w 10000"/>
                <a:gd name="connsiteY113" fmla="*/ 6943 h 10000"/>
                <a:gd name="connsiteX114" fmla="*/ 292 w 10000"/>
                <a:gd name="connsiteY114" fmla="*/ 7076 h 10000"/>
                <a:gd name="connsiteX115" fmla="*/ 445 w 10000"/>
                <a:gd name="connsiteY115" fmla="*/ 7103 h 10000"/>
                <a:gd name="connsiteX116" fmla="*/ 453 w 10000"/>
                <a:gd name="connsiteY116" fmla="*/ 7251 h 10000"/>
                <a:gd name="connsiteX117" fmla="*/ 494 w 10000"/>
                <a:gd name="connsiteY117" fmla="*/ 7278 h 10000"/>
                <a:gd name="connsiteX118" fmla="*/ 525 w 10000"/>
                <a:gd name="connsiteY118" fmla="*/ 7174 h 10000"/>
                <a:gd name="connsiteX119" fmla="*/ 581 w 10000"/>
                <a:gd name="connsiteY119" fmla="*/ 7196 h 10000"/>
                <a:gd name="connsiteX120" fmla="*/ 644 w 10000"/>
                <a:gd name="connsiteY120" fmla="*/ 6992 h 10000"/>
                <a:gd name="connsiteX121" fmla="*/ 820 w 10000"/>
                <a:gd name="connsiteY121" fmla="*/ 7174 h 10000"/>
                <a:gd name="connsiteX122" fmla="*/ 1283 w 10000"/>
                <a:gd name="connsiteY122" fmla="*/ 7163 h 10000"/>
                <a:gd name="connsiteX123" fmla="*/ 1466 w 10000"/>
                <a:gd name="connsiteY123" fmla="*/ 7092 h 10000"/>
                <a:gd name="connsiteX124" fmla="*/ 1766 w 10000"/>
                <a:gd name="connsiteY124" fmla="*/ 7344 h 10000"/>
                <a:gd name="connsiteX125" fmla="*/ 1956 w 10000"/>
                <a:gd name="connsiteY125" fmla="*/ 7087 h 10000"/>
                <a:gd name="connsiteX126" fmla="*/ 2382 w 10000"/>
                <a:gd name="connsiteY126" fmla="*/ 6861 h 10000"/>
                <a:gd name="connsiteX127" fmla="*/ 2536 w 10000"/>
                <a:gd name="connsiteY127" fmla="*/ 6489 h 10000"/>
                <a:gd name="connsiteX128" fmla="*/ 2648 w 10000"/>
                <a:gd name="connsiteY128" fmla="*/ 6439 h 10000"/>
                <a:gd name="connsiteX129" fmla="*/ 2648 w 10000"/>
                <a:gd name="connsiteY129" fmla="*/ 6379 h 10000"/>
                <a:gd name="connsiteX130" fmla="*/ 2693 w 10000"/>
                <a:gd name="connsiteY130" fmla="*/ 6379 h 10000"/>
                <a:gd name="connsiteX131" fmla="*/ 2682 w 10000"/>
                <a:gd name="connsiteY131" fmla="*/ 6230 h 10000"/>
                <a:gd name="connsiteX132" fmla="*/ 2820 w 10000"/>
                <a:gd name="connsiteY132" fmla="*/ 6285 h 10000"/>
                <a:gd name="connsiteX133" fmla="*/ 2839 w 10000"/>
                <a:gd name="connsiteY133" fmla="*/ 6159 h 10000"/>
                <a:gd name="connsiteX134" fmla="*/ 2921 w 10000"/>
                <a:gd name="connsiteY134" fmla="*/ 6230 h 10000"/>
                <a:gd name="connsiteX135" fmla="*/ 2981 w 10000"/>
                <a:gd name="connsiteY135" fmla="*/ 6126 h 10000"/>
                <a:gd name="connsiteX136" fmla="*/ 3078 w 10000"/>
                <a:gd name="connsiteY136" fmla="*/ 6154 h 10000"/>
                <a:gd name="connsiteX137" fmla="*/ 3164 w 10000"/>
                <a:gd name="connsiteY137" fmla="*/ 6055 h 10000"/>
                <a:gd name="connsiteX138" fmla="*/ 3328 w 10000"/>
                <a:gd name="connsiteY138" fmla="*/ 6192 h 10000"/>
                <a:gd name="connsiteX139" fmla="*/ 3411 w 10000"/>
                <a:gd name="connsiteY139" fmla="*/ 6197 h 10000"/>
                <a:gd name="connsiteX140" fmla="*/ 3437 w 10000"/>
                <a:gd name="connsiteY140" fmla="*/ 6307 h 10000"/>
                <a:gd name="connsiteX141" fmla="*/ 3591 w 10000"/>
                <a:gd name="connsiteY141" fmla="*/ 6236 h 10000"/>
                <a:gd name="connsiteX142" fmla="*/ 3576 w 10000"/>
                <a:gd name="connsiteY142" fmla="*/ 6357 h 10000"/>
                <a:gd name="connsiteX143" fmla="*/ 3632 w 10000"/>
                <a:gd name="connsiteY143" fmla="*/ 6341 h 10000"/>
                <a:gd name="connsiteX144" fmla="*/ 3699 w 10000"/>
                <a:gd name="connsiteY144" fmla="*/ 6428 h 10000"/>
                <a:gd name="connsiteX145" fmla="*/ 3703 w 10000"/>
                <a:gd name="connsiteY145" fmla="*/ 6301 h 10000"/>
                <a:gd name="connsiteX146" fmla="*/ 3882 w 10000"/>
                <a:gd name="connsiteY146" fmla="*/ 6341 h 10000"/>
                <a:gd name="connsiteX147" fmla="*/ 3946 w 10000"/>
                <a:gd name="connsiteY147" fmla="*/ 6511 h 10000"/>
                <a:gd name="connsiteX148" fmla="*/ 4047 w 10000"/>
                <a:gd name="connsiteY148" fmla="*/ 6494 h 10000"/>
                <a:gd name="connsiteX149" fmla="*/ 4091 w 10000"/>
                <a:gd name="connsiteY149" fmla="*/ 6417 h 10000"/>
                <a:gd name="connsiteX150" fmla="*/ 4192 w 10000"/>
                <a:gd name="connsiteY150" fmla="*/ 6735 h 10000"/>
                <a:gd name="connsiteX151" fmla="*/ 4155 w 10000"/>
                <a:gd name="connsiteY151" fmla="*/ 6987 h 10000"/>
                <a:gd name="connsiteX152" fmla="*/ 4207 w 10000"/>
                <a:gd name="connsiteY152" fmla="*/ 7114 h 10000"/>
                <a:gd name="connsiteX153" fmla="*/ 4278 w 10000"/>
                <a:gd name="connsiteY153" fmla="*/ 7119 h 10000"/>
                <a:gd name="connsiteX154" fmla="*/ 4387 w 10000"/>
                <a:gd name="connsiteY154" fmla="*/ 7256 h 10000"/>
                <a:gd name="connsiteX155" fmla="*/ 4431 w 10000"/>
                <a:gd name="connsiteY155" fmla="*/ 7152 h 10000"/>
                <a:gd name="connsiteX156" fmla="*/ 4480 w 10000"/>
                <a:gd name="connsiteY156" fmla="*/ 7322 h 10000"/>
                <a:gd name="connsiteX157" fmla="*/ 4541 w 10000"/>
                <a:gd name="connsiteY157" fmla="*/ 7662 h 10000"/>
                <a:gd name="connsiteX158" fmla="*/ 4720 w 10000"/>
                <a:gd name="connsiteY158" fmla="*/ 7739 h 10000"/>
                <a:gd name="connsiteX159" fmla="*/ 4761 w 10000"/>
                <a:gd name="connsiteY159" fmla="*/ 8183 h 10000"/>
                <a:gd name="connsiteX160" fmla="*/ 4914 w 10000"/>
                <a:gd name="connsiteY160" fmla="*/ 8276 h 10000"/>
                <a:gd name="connsiteX161" fmla="*/ 4757 w 10000"/>
                <a:gd name="connsiteY161" fmla="*/ 8370 h 10000"/>
                <a:gd name="connsiteX162" fmla="*/ 4705 w 10000"/>
                <a:gd name="connsiteY162" fmla="*/ 8260 h 10000"/>
                <a:gd name="connsiteX163" fmla="*/ 4645 w 10000"/>
                <a:gd name="connsiteY163" fmla="*/ 8403 h 10000"/>
                <a:gd name="connsiteX164" fmla="*/ 4491 w 10000"/>
                <a:gd name="connsiteY164" fmla="*/ 8287 h 10000"/>
                <a:gd name="connsiteX165" fmla="*/ 4405 w 10000"/>
                <a:gd name="connsiteY165" fmla="*/ 8452 h 10000"/>
                <a:gd name="connsiteX166" fmla="*/ 4226 w 10000"/>
                <a:gd name="connsiteY166" fmla="*/ 8331 h 10000"/>
                <a:gd name="connsiteX167" fmla="*/ 4312 w 10000"/>
                <a:gd name="connsiteY167" fmla="*/ 8699 h 10000"/>
                <a:gd name="connsiteX168" fmla="*/ 4304 w 10000"/>
                <a:gd name="connsiteY168" fmla="*/ 8967 h 10000"/>
                <a:gd name="connsiteX169" fmla="*/ 4189 w 10000"/>
                <a:gd name="connsiteY169" fmla="*/ 9088 h 10000"/>
                <a:gd name="connsiteX170" fmla="*/ 4226 w 10000"/>
                <a:gd name="connsiteY170" fmla="*/ 9193 h 10000"/>
                <a:gd name="connsiteX171" fmla="*/ 4065 w 10000"/>
                <a:gd name="connsiteY171" fmla="*/ 9412 h 10000"/>
                <a:gd name="connsiteX172" fmla="*/ 4129 w 10000"/>
                <a:gd name="connsiteY172" fmla="*/ 9647 h 10000"/>
                <a:gd name="connsiteX173" fmla="*/ 3972 w 10000"/>
                <a:gd name="connsiteY173" fmla="*/ 9681 h 10000"/>
                <a:gd name="connsiteX174" fmla="*/ 3931 w 10000"/>
                <a:gd name="connsiteY174" fmla="*/ 9741 h 10000"/>
                <a:gd name="connsiteX175" fmla="*/ 3998 w 10000"/>
                <a:gd name="connsiteY175" fmla="*/ 9785 h 10000"/>
                <a:gd name="connsiteX176" fmla="*/ 4118 w 10000"/>
                <a:gd name="connsiteY176" fmla="*/ 9944 h 10000"/>
                <a:gd name="connsiteX177" fmla="*/ 4312 w 10000"/>
                <a:gd name="connsiteY177" fmla="*/ 9999 h 10000"/>
                <a:gd name="connsiteX178" fmla="*/ 4319 w 10000"/>
                <a:gd name="connsiteY178" fmla="*/ 9851 h 10000"/>
                <a:gd name="connsiteX179" fmla="*/ 4387 w 10000"/>
                <a:gd name="connsiteY179" fmla="*/ 9856 h 10000"/>
                <a:gd name="connsiteX180" fmla="*/ 4675 w 10000"/>
                <a:gd name="connsiteY180" fmla="*/ 9603 h 10000"/>
                <a:gd name="connsiteX181" fmla="*/ 4866 w 10000"/>
                <a:gd name="connsiteY181" fmla="*/ 9845 h 10000"/>
                <a:gd name="connsiteX182" fmla="*/ 4866 w 10000"/>
                <a:gd name="connsiteY182" fmla="*/ 9862 h 10000"/>
                <a:gd name="connsiteX183" fmla="*/ 4896 w 10000"/>
                <a:gd name="connsiteY183" fmla="*/ 9703 h 10000"/>
                <a:gd name="connsiteX184" fmla="*/ 4843 w 10000"/>
                <a:gd name="connsiteY184" fmla="*/ 9570 h 10000"/>
                <a:gd name="connsiteX185" fmla="*/ 4776 w 10000"/>
                <a:gd name="connsiteY185" fmla="*/ 9549 h 10000"/>
                <a:gd name="connsiteX186" fmla="*/ 4821 w 10000"/>
                <a:gd name="connsiteY186" fmla="*/ 9466 h 10000"/>
                <a:gd name="connsiteX187" fmla="*/ 4806 w 10000"/>
                <a:gd name="connsiteY187" fmla="*/ 9444 h 10000"/>
                <a:gd name="connsiteX188" fmla="*/ 4750 w 10000"/>
                <a:gd name="connsiteY188" fmla="*/ 9439 h 10000"/>
                <a:gd name="connsiteX189" fmla="*/ 4720 w 10000"/>
                <a:gd name="connsiteY189" fmla="*/ 9121 h 10000"/>
                <a:gd name="connsiteX190" fmla="*/ 4761 w 10000"/>
                <a:gd name="connsiteY190" fmla="*/ 9105 h 10000"/>
                <a:gd name="connsiteX191" fmla="*/ 4783 w 10000"/>
                <a:gd name="connsiteY191" fmla="*/ 9253 h 10000"/>
                <a:gd name="connsiteX192" fmla="*/ 4836 w 10000"/>
                <a:gd name="connsiteY192" fmla="*/ 9384 h 10000"/>
                <a:gd name="connsiteX193" fmla="*/ 4881 w 10000"/>
                <a:gd name="connsiteY193" fmla="*/ 9302 h 10000"/>
                <a:gd name="connsiteX194" fmla="*/ 4869 w 10000"/>
                <a:gd name="connsiteY194" fmla="*/ 9220 h 10000"/>
                <a:gd name="connsiteX195" fmla="*/ 4940 w 10000"/>
                <a:gd name="connsiteY195" fmla="*/ 9203 h 10000"/>
                <a:gd name="connsiteX196" fmla="*/ 4903 w 10000"/>
                <a:gd name="connsiteY196" fmla="*/ 9034 h 10000"/>
                <a:gd name="connsiteX197" fmla="*/ 5000 w 10000"/>
                <a:gd name="connsiteY197" fmla="*/ 9061 h 10000"/>
                <a:gd name="connsiteX198" fmla="*/ 5004 w 10000"/>
                <a:gd name="connsiteY198" fmla="*/ 8972 h 10000"/>
                <a:gd name="connsiteX199" fmla="*/ 5041 w 10000"/>
                <a:gd name="connsiteY199" fmla="*/ 9039 h 10000"/>
                <a:gd name="connsiteX200" fmla="*/ 5206 w 10000"/>
                <a:gd name="connsiteY200" fmla="*/ 8781 h 10000"/>
                <a:gd name="connsiteX201" fmla="*/ 5112 w 10000"/>
                <a:gd name="connsiteY201" fmla="*/ 8584 h 10000"/>
                <a:gd name="connsiteX202" fmla="*/ 4937 w 10000"/>
                <a:gd name="connsiteY202" fmla="*/ 8425 h 10000"/>
                <a:gd name="connsiteX203" fmla="*/ 5037 w 10000"/>
                <a:gd name="connsiteY203" fmla="*/ 8370 h 10000"/>
                <a:gd name="connsiteX204" fmla="*/ 5183 w 10000"/>
                <a:gd name="connsiteY204" fmla="*/ 8633 h 10000"/>
                <a:gd name="connsiteX205" fmla="*/ 5292 w 10000"/>
                <a:gd name="connsiteY205" fmla="*/ 8199 h 10000"/>
                <a:gd name="connsiteX206" fmla="*/ 5299 w 10000"/>
                <a:gd name="connsiteY206" fmla="*/ 8030 h 10000"/>
                <a:gd name="connsiteX207" fmla="*/ 5482 w 10000"/>
                <a:gd name="connsiteY207" fmla="*/ 7942 h 10000"/>
                <a:gd name="connsiteX208" fmla="*/ 5550 w 10000"/>
                <a:gd name="connsiteY208" fmla="*/ 7607 h 10000"/>
                <a:gd name="connsiteX209" fmla="*/ 5561 w 10000"/>
                <a:gd name="connsiteY209" fmla="*/ 7734 h 10000"/>
                <a:gd name="connsiteX210" fmla="*/ 5677 w 10000"/>
                <a:gd name="connsiteY210" fmla="*/ 7596 h 10000"/>
                <a:gd name="connsiteX211" fmla="*/ 5759 w 10000"/>
                <a:gd name="connsiteY211" fmla="*/ 7579 h 10000"/>
                <a:gd name="connsiteX212" fmla="*/ 5842 w 10000"/>
                <a:gd name="connsiteY212" fmla="*/ 7207 h 10000"/>
                <a:gd name="connsiteX213" fmla="*/ 5916 w 10000"/>
                <a:gd name="connsiteY213" fmla="*/ 7486 h 10000"/>
                <a:gd name="connsiteX214" fmla="*/ 6137 w 10000"/>
                <a:gd name="connsiteY214" fmla="*/ 7563 h 10000"/>
                <a:gd name="connsiteX215" fmla="*/ 5969 w 10000"/>
                <a:gd name="connsiteY215" fmla="*/ 7618 h 10000"/>
                <a:gd name="connsiteX216" fmla="*/ 5954 w 10000"/>
                <a:gd name="connsiteY216" fmla="*/ 7679 h 10000"/>
                <a:gd name="connsiteX217" fmla="*/ 5786 w 10000"/>
                <a:gd name="connsiteY217" fmla="*/ 7690 h 10000"/>
                <a:gd name="connsiteX218" fmla="*/ 5700 w 10000"/>
                <a:gd name="connsiteY218" fmla="*/ 7723 h 10000"/>
                <a:gd name="connsiteX219" fmla="*/ 5767 w 10000"/>
                <a:gd name="connsiteY219" fmla="*/ 7772 h 10000"/>
                <a:gd name="connsiteX220" fmla="*/ 5827 w 10000"/>
                <a:gd name="connsiteY220" fmla="*/ 7756 h 10000"/>
                <a:gd name="connsiteX221" fmla="*/ 5991 w 10000"/>
                <a:gd name="connsiteY221" fmla="*/ 7789 h 10000"/>
                <a:gd name="connsiteX222" fmla="*/ 5804 w 10000"/>
                <a:gd name="connsiteY222" fmla="*/ 7964 h 10000"/>
                <a:gd name="connsiteX223" fmla="*/ 5872 w 10000"/>
                <a:gd name="connsiteY223" fmla="*/ 8008 h 10000"/>
                <a:gd name="connsiteX224" fmla="*/ 6043 w 10000"/>
                <a:gd name="connsiteY224" fmla="*/ 7958 h 10000"/>
                <a:gd name="connsiteX225" fmla="*/ 6275 w 10000"/>
                <a:gd name="connsiteY225" fmla="*/ 8101 h 10000"/>
                <a:gd name="connsiteX226" fmla="*/ 6575 w 10000"/>
                <a:gd name="connsiteY226" fmla="*/ 7909 h 10000"/>
                <a:gd name="connsiteX227" fmla="*/ 6870 w 10000"/>
                <a:gd name="connsiteY227" fmla="*/ 7887 h 10000"/>
                <a:gd name="connsiteX228" fmla="*/ 6915 w 10000"/>
                <a:gd name="connsiteY228" fmla="*/ 7745 h 10000"/>
                <a:gd name="connsiteX229" fmla="*/ 6993 w 10000"/>
                <a:gd name="connsiteY229" fmla="*/ 7958 h 10000"/>
                <a:gd name="connsiteX230" fmla="*/ 7075 w 10000"/>
                <a:gd name="connsiteY230" fmla="*/ 7986 h 10000"/>
                <a:gd name="connsiteX231" fmla="*/ 7045 w 10000"/>
                <a:gd name="connsiteY231" fmla="*/ 8134 h 10000"/>
                <a:gd name="connsiteX232" fmla="*/ 6788 w 10000"/>
                <a:gd name="connsiteY232" fmla="*/ 8281 h 10000"/>
                <a:gd name="connsiteX233" fmla="*/ 6769 w 10000"/>
                <a:gd name="connsiteY233" fmla="*/ 8386 h 10000"/>
                <a:gd name="connsiteX234" fmla="*/ 6627 w 10000"/>
                <a:gd name="connsiteY234" fmla="*/ 8523 h 10000"/>
                <a:gd name="connsiteX235" fmla="*/ 6623 w 10000"/>
                <a:gd name="connsiteY235" fmla="*/ 8649 h 10000"/>
                <a:gd name="connsiteX236" fmla="*/ 6537 w 10000"/>
                <a:gd name="connsiteY236" fmla="*/ 8704 h 10000"/>
                <a:gd name="connsiteX237" fmla="*/ 6428 w 10000"/>
                <a:gd name="connsiteY237" fmla="*/ 8989 h 10000"/>
                <a:gd name="connsiteX238" fmla="*/ 6582 w 10000"/>
                <a:gd name="connsiteY238" fmla="*/ 9001 h 10000"/>
                <a:gd name="connsiteX239" fmla="*/ 6672 w 10000"/>
                <a:gd name="connsiteY239" fmla="*/ 8879 h 10000"/>
                <a:gd name="connsiteX240" fmla="*/ 6769 w 10000"/>
                <a:gd name="connsiteY240" fmla="*/ 8912 h 10000"/>
                <a:gd name="connsiteX241" fmla="*/ 6814 w 10000"/>
                <a:gd name="connsiteY241" fmla="*/ 8786 h 10000"/>
                <a:gd name="connsiteX242" fmla="*/ 6877 w 10000"/>
                <a:gd name="connsiteY242" fmla="*/ 9001 h 10000"/>
                <a:gd name="connsiteX243" fmla="*/ 7060 w 10000"/>
                <a:gd name="connsiteY243" fmla="*/ 8994 h 10000"/>
                <a:gd name="connsiteX244" fmla="*/ 7217 w 10000"/>
                <a:gd name="connsiteY244" fmla="*/ 9362 h 10000"/>
                <a:gd name="connsiteX245" fmla="*/ 7232 w 10000"/>
                <a:gd name="connsiteY245" fmla="*/ 9675 h 10000"/>
                <a:gd name="connsiteX246" fmla="*/ 7176 w 10000"/>
                <a:gd name="connsiteY246" fmla="*/ 9692 h 10000"/>
                <a:gd name="connsiteX247" fmla="*/ 7187 w 10000"/>
                <a:gd name="connsiteY247" fmla="*/ 9780 h 10000"/>
                <a:gd name="connsiteX248" fmla="*/ 7423 w 10000"/>
                <a:gd name="connsiteY248" fmla="*/ 9900 h 10000"/>
                <a:gd name="connsiteX249" fmla="*/ 7741 w 10000"/>
                <a:gd name="connsiteY249" fmla="*/ 9565 h 10000"/>
                <a:gd name="connsiteX250" fmla="*/ 7879 w 10000"/>
                <a:gd name="connsiteY250" fmla="*/ 9176 h 10000"/>
                <a:gd name="connsiteX251" fmla="*/ 8107 w 10000"/>
                <a:gd name="connsiteY251" fmla="*/ 9023 h 10000"/>
                <a:gd name="connsiteX252" fmla="*/ 8182 w 10000"/>
                <a:gd name="connsiteY252" fmla="*/ 8841 h 10000"/>
                <a:gd name="connsiteX253" fmla="*/ 8268 w 10000"/>
                <a:gd name="connsiteY253" fmla="*/ 8786 h 10000"/>
                <a:gd name="connsiteX254" fmla="*/ 8320 w 10000"/>
                <a:gd name="connsiteY254" fmla="*/ 8512 h 10000"/>
                <a:gd name="connsiteX255" fmla="*/ 8542 w 10000"/>
                <a:gd name="connsiteY255" fmla="*/ 8617 h 10000"/>
                <a:gd name="connsiteX256" fmla="*/ 8672 w 10000"/>
                <a:gd name="connsiteY256" fmla="*/ 8474 h 10000"/>
                <a:gd name="connsiteX257" fmla="*/ 8855 w 10000"/>
                <a:gd name="connsiteY257" fmla="*/ 8343 h 10000"/>
                <a:gd name="connsiteX258" fmla="*/ 8781 w 10000"/>
                <a:gd name="connsiteY258" fmla="*/ 8128 h 10000"/>
                <a:gd name="connsiteX259" fmla="*/ 7708 w 10000"/>
                <a:gd name="connsiteY259" fmla="*/ 7991 h 10000"/>
                <a:gd name="connsiteX260" fmla="*/ 7682 w 10000"/>
                <a:gd name="connsiteY260" fmla="*/ 7904 h 10000"/>
                <a:gd name="connsiteX261" fmla="*/ 7607 w 10000"/>
                <a:gd name="connsiteY261" fmla="*/ 8002 h 10000"/>
                <a:gd name="connsiteX262" fmla="*/ 7715 w 10000"/>
                <a:gd name="connsiteY262" fmla="*/ 7761 h 10000"/>
                <a:gd name="connsiteX263" fmla="*/ 7674 w 10000"/>
                <a:gd name="connsiteY263" fmla="*/ 7717 h 10000"/>
                <a:gd name="connsiteX264" fmla="*/ 7554 w 10000"/>
                <a:gd name="connsiteY264" fmla="*/ 7915 h 10000"/>
                <a:gd name="connsiteX265" fmla="*/ 7618 w 10000"/>
                <a:gd name="connsiteY265" fmla="*/ 7712 h 10000"/>
                <a:gd name="connsiteX266" fmla="*/ 7532 w 10000"/>
                <a:gd name="connsiteY266" fmla="*/ 7767 h 10000"/>
                <a:gd name="connsiteX267" fmla="*/ 7419 w 10000"/>
                <a:gd name="connsiteY267" fmla="*/ 7717 h 10000"/>
                <a:gd name="connsiteX268" fmla="*/ 7333 w 10000"/>
                <a:gd name="connsiteY268" fmla="*/ 7794 h 10000"/>
                <a:gd name="connsiteX269" fmla="*/ 7240 w 10000"/>
                <a:gd name="connsiteY269" fmla="*/ 7728 h 10000"/>
                <a:gd name="connsiteX270" fmla="*/ 7087 w 10000"/>
                <a:gd name="connsiteY270" fmla="*/ 7717 h 10000"/>
                <a:gd name="connsiteX271" fmla="*/ 7090 w 10000"/>
                <a:gd name="connsiteY271" fmla="*/ 7547 h 10000"/>
                <a:gd name="connsiteX272" fmla="*/ 7229 w 10000"/>
                <a:gd name="connsiteY272" fmla="*/ 7662 h 10000"/>
                <a:gd name="connsiteX273" fmla="*/ 7273 w 10000"/>
                <a:gd name="connsiteY273" fmla="*/ 7541 h 10000"/>
                <a:gd name="connsiteX274" fmla="*/ 7236 w 10000"/>
                <a:gd name="connsiteY274" fmla="*/ 7410 h 10000"/>
                <a:gd name="connsiteX275" fmla="*/ 7341 w 10000"/>
                <a:gd name="connsiteY275" fmla="*/ 7547 h 10000"/>
                <a:gd name="connsiteX276" fmla="*/ 7483 w 10000"/>
                <a:gd name="connsiteY276" fmla="*/ 7536 h 10000"/>
                <a:gd name="connsiteX277" fmla="*/ 7506 w 10000"/>
                <a:gd name="connsiteY277" fmla="*/ 7685 h 10000"/>
                <a:gd name="connsiteX278" fmla="*/ 7547 w 10000"/>
                <a:gd name="connsiteY278" fmla="*/ 7685 h 10000"/>
                <a:gd name="connsiteX279" fmla="*/ 7558 w 10000"/>
                <a:gd name="connsiteY279" fmla="*/ 7415 h 10000"/>
                <a:gd name="connsiteX280" fmla="*/ 7607 w 10000"/>
                <a:gd name="connsiteY280" fmla="*/ 7585 h 10000"/>
                <a:gd name="connsiteX281" fmla="*/ 7693 w 10000"/>
                <a:gd name="connsiteY281" fmla="*/ 7590 h 10000"/>
                <a:gd name="connsiteX282" fmla="*/ 7629 w 10000"/>
                <a:gd name="connsiteY282" fmla="*/ 7333 h 10000"/>
                <a:gd name="connsiteX283" fmla="*/ 7786 w 10000"/>
                <a:gd name="connsiteY283" fmla="*/ 7240 h 10000"/>
                <a:gd name="connsiteX284" fmla="*/ 7779 w 10000"/>
                <a:gd name="connsiteY284" fmla="*/ 6987 h 10000"/>
                <a:gd name="connsiteX285" fmla="*/ 7887 w 10000"/>
                <a:gd name="connsiteY285" fmla="*/ 7081 h 10000"/>
                <a:gd name="connsiteX286" fmla="*/ 7906 w 10000"/>
                <a:gd name="connsiteY286" fmla="*/ 7015 h 10000"/>
                <a:gd name="connsiteX287" fmla="*/ 7775 w 10000"/>
                <a:gd name="connsiteY287" fmla="*/ 6735 h 10000"/>
                <a:gd name="connsiteX288" fmla="*/ 7950 w 10000"/>
                <a:gd name="connsiteY288" fmla="*/ 6894 h 10000"/>
                <a:gd name="connsiteX289" fmla="*/ 8171 w 10000"/>
                <a:gd name="connsiteY289" fmla="*/ 6511 h 10000"/>
                <a:gd name="connsiteX290" fmla="*/ 8384 w 10000"/>
                <a:gd name="connsiteY290" fmla="*/ 6483 h 10000"/>
                <a:gd name="connsiteX291" fmla="*/ 8429 w 10000"/>
                <a:gd name="connsiteY29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775 w 10000"/>
                <a:gd name="connsiteY15" fmla="*/ 2259 h 10000"/>
                <a:gd name="connsiteX16" fmla="*/ 9656 w 10000"/>
                <a:gd name="connsiteY16" fmla="*/ 2024 h 10000"/>
                <a:gd name="connsiteX17" fmla="*/ 9663 w 10000"/>
                <a:gd name="connsiteY17" fmla="*/ 1810 h 10000"/>
                <a:gd name="connsiteX18" fmla="*/ 9143 w 10000"/>
                <a:gd name="connsiteY18" fmla="*/ 1838 h 10000"/>
                <a:gd name="connsiteX19" fmla="*/ 9091 w 10000"/>
                <a:gd name="connsiteY19" fmla="*/ 1712 h 10000"/>
                <a:gd name="connsiteX20" fmla="*/ 9020 w 10000"/>
                <a:gd name="connsiteY20" fmla="*/ 1728 h 10000"/>
                <a:gd name="connsiteX21" fmla="*/ 7569 w 10000"/>
                <a:gd name="connsiteY21" fmla="*/ 1873 h 10000"/>
                <a:gd name="connsiteX22" fmla="*/ 7165 w 10000"/>
                <a:gd name="connsiteY22" fmla="*/ 1996 h 10000"/>
                <a:gd name="connsiteX23" fmla="*/ 6892 w 10000"/>
                <a:gd name="connsiteY23" fmla="*/ 1827 h 10000"/>
                <a:gd name="connsiteX24" fmla="*/ 6922 w 10000"/>
                <a:gd name="connsiteY24" fmla="*/ 1728 h 10000"/>
                <a:gd name="connsiteX25" fmla="*/ 6765 w 10000"/>
                <a:gd name="connsiteY25" fmla="*/ 1398 h 10000"/>
                <a:gd name="connsiteX26" fmla="*/ 6799 w 10000"/>
                <a:gd name="connsiteY26" fmla="*/ 1256 h 10000"/>
                <a:gd name="connsiteX27" fmla="*/ 6728 w 10000"/>
                <a:gd name="connsiteY27" fmla="*/ 1229 h 10000"/>
                <a:gd name="connsiteX28" fmla="*/ 6657 w 10000"/>
                <a:gd name="connsiteY28" fmla="*/ 1311 h 10000"/>
                <a:gd name="connsiteX29" fmla="*/ 6593 w 10000"/>
                <a:gd name="connsiteY29" fmla="*/ 1114 h 10000"/>
                <a:gd name="connsiteX30" fmla="*/ 6391 w 10000"/>
                <a:gd name="connsiteY30" fmla="*/ 1311 h 10000"/>
                <a:gd name="connsiteX31" fmla="*/ 6309 w 10000"/>
                <a:gd name="connsiteY31" fmla="*/ 1223 h 10000"/>
                <a:gd name="connsiteX32" fmla="*/ 6126 w 10000"/>
                <a:gd name="connsiteY32" fmla="*/ 1273 h 10000"/>
                <a:gd name="connsiteX33" fmla="*/ 6144 w 10000"/>
                <a:gd name="connsiteY33" fmla="*/ 1125 h 10000"/>
                <a:gd name="connsiteX34" fmla="*/ 6073 w 10000"/>
                <a:gd name="connsiteY34" fmla="*/ 1119 h 10000"/>
                <a:gd name="connsiteX35" fmla="*/ 6040 w 10000"/>
                <a:gd name="connsiteY35" fmla="*/ 910 h 10000"/>
                <a:gd name="connsiteX36" fmla="*/ 5942 w 10000"/>
                <a:gd name="connsiteY36" fmla="*/ 795 h 10000"/>
                <a:gd name="connsiteX37" fmla="*/ 6144 w 10000"/>
                <a:gd name="connsiteY37" fmla="*/ 620 h 10000"/>
                <a:gd name="connsiteX38" fmla="*/ 5901 w 10000"/>
                <a:gd name="connsiteY38" fmla="*/ 395 h 10000"/>
                <a:gd name="connsiteX39" fmla="*/ 5853 w 10000"/>
                <a:gd name="connsiteY39" fmla="*/ 142 h 10000"/>
                <a:gd name="connsiteX40" fmla="*/ 5741 w 10000"/>
                <a:gd name="connsiteY40" fmla="*/ 110 h 10000"/>
                <a:gd name="connsiteX41" fmla="*/ 5647 w 10000"/>
                <a:gd name="connsiteY41" fmla="*/ 0 h 10000"/>
                <a:gd name="connsiteX42" fmla="*/ 5547 w 10000"/>
                <a:gd name="connsiteY42" fmla="*/ 120 h 10000"/>
                <a:gd name="connsiteX43" fmla="*/ 5377 w 10000"/>
                <a:gd name="connsiteY43" fmla="*/ 110 h 10000"/>
                <a:gd name="connsiteX44" fmla="*/ 5232 w 10000"/>
                <a:gd name="connsiteY44" fmla="*/ 351 h 10000"/>
                <a:gd name="connsiteX45" fmla="*/ 4952 w 10000"/>
                <a:gd name="connsiteY45" fmla="*/ 329 h 10000"/>
                <a:gd name="connsiteX46" fmla="*/ 4884 w 10000"/>
                <a:gd name="connsiteY46" fmla="*/ 680 h 10000"/>
                <a:gd name="connsiteX47" fmla="*/ 4701 w 10000"/>
                <a:gd name="connsiteY47" fmla="*/ 707 h 10000"/>
                <a:gd name="connsiteX48" fmla="*/ 4795 w 10000"/>
                <a:gd name="connsiteY48" fmla="*/ 844 h 10000"/>
                <a:gd name="connsiteX49" fmla="*/ 4739 w 10000"/>
                <a:gd name="connsiteY49" fmla="*/ 899 h 10000"/>
                <a:gd name="connsiteX50" fmla="*/ 4612 w 10000"/>
                <a:gd name="connsiteY50" fmla="*/ 894 h 10000"/>
                <a:gd name="connsiteX51" fmla="*/ 4439 w 10000"/>
                <a:gd name="connsiteY51" fmla="*/ 1026 h 10000"/>
                <a:gd name="connsiteX52" fmla="*/ 4252 w 10000"/>
                <a:gd name="connsiteY52" fmla="*/ 1668 h 10000"/>
                <a:gd name="connsiteX53" fmla="*/ 4308 w 10000"/>
                <a:gd name="connsiteY53" fmla="*/ 2090 h 10000"/>
                <a:gd name="connsiteX54" fmla="*/ 4121 w 10000"/>
                <a:gd name="connsiteY54" fmla="*/ 1865 h 10000"/>
                <a:gd name="connsiteX55" fmla="*/ 3849 w 10000"/>
                <a:gd name="connsiteY55" fmla="*/ 1991 h 10000"/>
                <a:gd name="connsiteX56" fmla="*/ 3822 w 10000"/>
                <a:gd name="connsiteY56" fmla="*/ 1931 h 10000"/>
                <a:gd name="connsiteX57" fmla="*/ 3695 w 10000"/>
                <a:gd name="connsiteY57" fmla="*/ 2002 h 10000"/>
                <a:gd name="connsiteX58" fmla="*/ 3621 w 10000"/>
                <a:gd name="connsiteY58" fmla="*/ 2144 h 10000"/>
                <a:gd name="connsiteX59" fmla="*/ 3561 w 10000"/>
                <a:gd name="connsiteY59" fmla="*/ 1909 h 10000"/>
                <a:gd name="connsiteX60" fmla="*/ 3478 w 10000"/>
                <a:gd name="connsiteY60" fmla="*/ 1843 h 10000"/>
                <a:gd name="connsiteX61" fmla="*/ 3444 w 10000"/>
                <a:gd name="connsiteY61" fmla="*/ 1964 h 10000"/>
                <a:gd name="connsiteX62" fmla="*/ 3332 w 10000"/>
                <a:gd name="connsiteY62" fmla="*/ 1996 h 10000"/>
                <a:gd name="connsiteX63" fmla="*/ 3272 w 10000"/>
                <a:gd name="connsiteY63" fmla="*/ 2161 h 10000"/>
                <a:gd name="connsiteX64" fmla="*/ 3235 w 10000"/>
                <a:gd name="connsiteY64" fmla="*/ 2013 h 10000"/>
                <a:gd name="connsiteX65" fmla="*/ 3123 w 10000"/>
                <a:gd name="connsiteY65" fmla="*/ 2024 h 10000"/>
                <a:gd name="connsiteX66" fmla="*/ 3078 w 10000"/>
                <a:gd name="connsiteY66" fmla="*/ 2128 h 10000"/>
                <a:gd name="connsiteX67" fmla="*/ 3011 w 10000"/>
                <a:gd name="connsiteY67" fmla="*/ 1975 h 10000"/>
                <a:gd name="connsiteX68" fmla="*/ 2895 w 10000"/>
                <a:gd name="connsiteY68" fmla="*/ 2117 h 10000"/>
                <a:gd name="connsiteX69" fmla="*/ 2783 w 10000"/>
                <a:gd name="connsiteY69" fmla="*/ 2106 h 10000"/>
                <a:gd name="connsiteX70" fmla="*/ 2779 w 10000"/>
                <a:gd name="connsiteY70" fmla="*/ 2276 h 10000"/>
                <a:gd name="connsiteX71" fmla="*/ 2727 w 10000"/>
                <a:gd name="connsiteY71" fmla="*/ 2144 h 10000"/>
                <a:gd name="connsiteX72" fmla="*/ 2559 w 10000"/>
                <a:gd name="connsiteY72" fmla="*/ 2155 h 10000"/>
                <a:gd name="connsiteX73" fmla="*/ 2438 w 10000"/>
                <a:gd name="connsiteY73" fmla="*/ 1980 h 10000"/>
                <a:gd name="connsiteX74" fmla="*/ 2293 w 10000"/>
                <a:gd name="connsiteY74" fmla="*/ 2073 h 10000"/>
                <a:gd name="connsiteX75" fmla="*/ 2143 w 10000"/>
                <a:gd name="connsiteY75" fmla="*/ 1958 h 10000"/>
                <a:gd name="connsiteX76" fmla="*/ 2057 w 10000"/>
                <a:gd name="connsiteY76" fmla="*/ 2035 h 10000"/>
                <a:gd name="connsiteX77" fmla="*/ 1975 w 10000"/>
                <a:gd name="connsiteY77" fmla="*/ 1947 h 10000"/>
                <a:gd name="connsiteX78" fmla="*/ 1852 w 10000"/>
                <a:gd name="connsiteY78" fmla="*/ 1936 h 10000"/>
                <a:gd name="connsiteX79" fmla="*/ 1669 w 10000"/>
                <a:gd name="connsiteY79" fmla="*/ 1925 h 10000"/>
                <a:gd name="connsiteX80" fmla="*/ 1444 w 10000"/>
                <a:gd name="connsiteY80" fmla="*/ 1991 h 10000"/>
                <a:gd name="connsiteX81" fmla="*/ 1205 w 10000"/>
                <a:gd name="connsiteY81" fmla="*/ 2062 h 10000"/>
                <a:gd name="connsiteX82" fmla="*/ 921 w 10000"/>
                <a:gd name="connsiteY82" fmla="*/ 2166 h 10000"/>
                <a:gd name="connsiteX83" fmla="*/ 797 w 10000"/>
                <a:gd name="connsiteY83" fmla="*/ 2496 h 10000"/>
                <a:gd name="connsiteX84" fmla="*/ 603 w 10000"/>
                <a:gd name="connsiteY84" fmla="*/ 2501 h 10000"/>
                <a:gd name="connsiteX85" fmla="*/ 540 w 10000"/>
                <a:gd name="connsiteY85" fmla="*/ 2687 h 10000"/>
                <a:gd name="connsiteX86" fmla="*/ 558 w 10000"/>
                <a:gd name="connsiteY86" fmla="*/ 2764 h 10000"/>
                <a:gd name="connsiteX87" fmla="*/ 577 w 10000"/>
                <a:gd name="connsiteY87" fmla="*/ 2868 h 10000"/>
                <a:gd name="connsiteX88" fmla="*/ 577 w 10000"/>
                <a:gd name="connsiteY88" fmla="*/ 2868 h 10000"/>
                <a:gd name="connsiteX89" fmla="*/ 577 w 10000"/>
                <a:gd name="connsiteY89" fmla="*/ 2896 h 10000"/>
                <a:gd name="connsiteX90" fmla="*/ 682 w 10000"/>
                <a:gd name="connsiteY90" fmla="*/ 3116 h 10000"/>
                <a:gd name="connsiteX91" fmla="*/ 786 w 10000"/>
                <a:gd name="connsiteY91" fmla="*/ 3351 h 10000"/>
                <a:gd name="connsiteX92" fmla="*/ 921 w 10000"/>
                <a:gd name="connsiteY92" fmla="*/ 3488 h 10000"/>
                <a:gd name="connsiteX93" fmla="*/ 876 w 10000"/>
                <a:gd name="connsiteY93" fmla="*/ 3548 h 10000"/>
                <a:gd name="connsiteX94" fmla="*/ 805 w 10000"/>
                <a:gd name="connsiteY94" fmla="*/ 3603 h 10000"/>
                <a:gd name="connsiteX95" fmla="*/ 887 w 10000"/>
                <a:gd name="connsiteY95" fmla="*/ 3697 h 10000"/>
                <a:gd name="connsiteX96" fmla="*/ 876 w 10000"/>
                <a:gd name="connsiteY96" fmla="*/ 4053 h 10000"/>
                <a:gd name="connsiteX97" fmla="*/ 693 w 10000"/>
                <a:gd name="connsiteY97" fmla="*/ 4124 h 10000"/>
                <a:gd name="connsiteX98" fmla="*/ 498 w 10000"/>
                <a:gd name="connsiteY98" fmla="*/ 4531 h 10000"/>
                <a:gd name="connsiteX99" fmla="*/ 371 w 10000"/>
                <a:gd name="connsiteY99" fmla="*/ 4936 h 10000"/>
                <a:gd name="connsiteX100" fmla="*/ 195 w 10000"/>
                <a:gd name="connsiteY100" fmla="*/ 5260 h 10000"/>
                <a:gd name="connsiteX101" fmla="*/ 270 w 10000"/>
                <a:gd name="connsiteY101" fmla="*/ 5517 h 10000"/>
                <a:gd name="connsiteX102" fmla="*/ 277 w 10000"/>
                <a:gd name="connsiteY102" fmla="*/ 5732 h 10000"/>
                <a:gd name="connsiteX103" fmla="*/ 400 w 10000"/>
                <a:gd name="connsiteY103" fmla="*/ 5841 h 10000"/>
                <a:gd name="connsiteX104" fmla="*/ 382 w 10000"/>
                <a:gd name="connsiteY104" fmla="*/ 5945 h 10000"/>
                <a:gd name="connsiteX105" fmla="*/ 202 w 10000"/>
                <a:gd name="connsiteY105" fmla="*/ 5852 h 10000"/>
                <a:gd name="connsiteX106" fmla="*/ 124 w 10000"/>
                <a:gd name="connsiteY106" fmla="*/ 6099 h 10000"/>
                <a:gd name="connsiteX107" fmla="*/ 105 w 10000"/>
                <a:gd name="connsiteY107" fmla="*/ 6346 h 10000"/>
                <a:gd name="connsiteX108" fmla="*/ 1 w 10000"/>
                <a:gd name="connsiteY108" fmla="*/ 6571 h 10000"/>
                <a:gd name="connsiteX109" fmla="*/ 19 w 10000"/>
                <a:gd name="connsiteY109" fmla="*/ 6779 h 10000"/>
                <a:gd name="connsiteX110" fmla="*/ 90 w 10000"/>
                <a:gd name="connsiteY110" fmla="*/ 6828 h 10000"/>
                <a:gd name="connsiteX111" fmla="*/ 154 w 10000"/>
                <a:gd name="connsiteY111" fmla="*/ 6960 h 10000"/>
                <a:gd name="connsiteX112" fmla="*/ 240 w 10000"/>
                <a:gd name="connsiteY112" fmla="*/ 6943 h 10000"/>
                <a:gd name="connsiteX113" fmla="*/ 292 w 10000"/>
                <a:gd name="connsiteY113" fmla="*/ 7076 h 10000"/>
                <a:gd name="connsiteX114" fmla="*/ 445 w 10000"/>
                <a:gd name="connsiteY114" fmla="*/ 7103 h 10000"/>
                <a:gd name="connsiteX115" fmla="*/ 453 w 10000"/>
                <a:gd name="connsiteY115" fmla="*/ 7251 h 10000"/>
                <a:gd name="connsiteX116" fmla="*/ 494 w 10000"/>
                <a:gd name="connsiteY116" fmla="*/ 7278 h 10000"/>
                <a:gd name="connsiteX117" fmla="*/ 525 w 10000"/>
                <a:gd name="connsiteY117" fmla="*/ 7174 h 10000"/>
                <a:gd name="connsiteX118" fmla="*/ 581 w 10000"/>
                <a:gd name="connsiteY118" fmla="*/ 7196 h 10000"/>
                <a:gd name="connsiteX119" fmla="*/ 644 w 10000"/>
                <a:gd name="connsiteY119" fmla="*/ 6992 h 10000"/>
                <a:gd name="connsiteX120" fmla="*/ 820 w 10000"/>
                <a:gd name="connsiteY120" fmla="*/ 7174 h 10000"/>
                <a:gd name="connsiteX121" fmla="*/ 1283 w 10000"/>
                <a:gd name="connsiteY121" fmla="*/ 7163 h 10000"/>
                <a:gd name="connsiteX122" fmla="*/ 1466 w 10000"/>
                <a:gd name="connsiteY122" fmla="*/ 7092 h 10000"/>
                <a:gd name="connsiteX123" fmla="*/ 1766 w 10000"/>
                <a:gd name="connsiteY123" fmla="*/ 7344 h 10000"/>
                <a:gd name="connsiteX124" fmla="*/ 1956 w 10000"/>
                <a:gd name="connsiteY124" fmla="*/ 7087 h 10000"/>
                <a:gd name="connsiteX125" fmla="*/ 2382 w 10000"/>
                <a:gd name="connsiteY125" fmla="*/ 6861 h 10000"/>
                <a:gd name="connsiteX126" fmla="*/ 2536 w 10000"/>
                <a:gd name="connsiteY126" fmla="*/ 6489 h 10000"/>
                <a:gd name="connsiteX127" fmla="*/ 2648 w 10000"/>
                <a:gd name="connsiteY127" fmla="*/ 6439 h 10000"/>
                <a:gd name="connsiteX128" fmla="*/ 2648 w 10000"/>
                <a:gd name="connsiteY128" fmla="*/ 6379 h 10000"/>
                <a:gd name="connsiteX129" fmla="*/ 2693 w 10000"/>
                <a:gd name="connsiteY129" fmla="*/ 6379 h 10000"/>
                <a:gd name="connsiteX130" fmla="*/ 2682 w 10000"/>
                <a:gd name="connsiteY130" fmla="*/ 6230 h 10000"/>
                <a:gd name="connsiteX131" fmla="*/ 2820 w 10000"/>
                <a:gd name="connsiteY131" fmla="*/ 6285 h 10000"/>
                <a:gd name="connsiteX132" fmla="*/ 2839 w 10000"/>
                <a:gd name="connsiteY132" fmla="*/ 6159 h 10000"/>
                <a:gd name="connsiteX133" fmla="*/ 2921 w 10000"/>
                <a:gd name="connsiteY133" fmla="*/ 6230 h 10000"/>
                <a:gd name="connsiteX134" fmla="*/ 2981 w 10000"/>
                <a:gd name="connsiteY134" fmla="*/ 6126 h 10000"/>
                <a:gd name="connsiteX135" fmla="*/ 3078 w 10000"/>
                <a:gd name="connsiteY135" fmla="*/ 6154 h 10000"/>
                <a:gd name="connsiteX136" fmla="*/ 3164 w 10000"/>
                <a:gd name="connsiteY136" fmla="*/ 6055 h 10000"/>
                <a:gd name="connsiteX137" fmla="*/ 3328 w 10000"/>
                <a:gd name="connsiteY137" fmla="*/ 6192 h 10000"/>
                <a:gd name="connsiteX138" fmla="*/ 3411 w 10000"/>
                <a:gd name="connsiteY138" fmla="*/ 6197 h 10000"/>
                <a:gd name="connsiteX139" fmla="*/ 3437 w 10000"/>
                <a:gd name="connsiteY139" fmla="*/ 6307 h 10000"/>
                <a:gd name="connsiteX140" fmla="*/ 3591 w 10000"/>
                <a:gd name="connsiteY140" fmla="*/ 6236 h 10000"/>
                <a:gd name="connsiteX141" fmla="*/ 3576 w 10000"/>
                <a:gd name="connsiteY141" fmla="*/ 6357 h 10000"/>
                <a:gd name="connsiteX142" fmla="*/ 3632 w 10000"/>
                <a:gd name="connsiteY142" fmla="*/ 6341 h 10000"/>
                <a:gd name="connsiteX143" fmla="*/ 3699 w 10000"/>
                <a:gd name="connsiteY143" fmla="*/ 6428 h 10000"/>
                <a:gd name="connsiteX144" fmla="*/ 3703 w 10000"/>
                <a:gd name="connsiteY144" fmla="*/ 6301 h 10000"/>
                <a:gd name="connsiteX145" fmla="*/ 3882 w 10000"/>
                <a:gd name="connsiteY145" fmla="*/ 6341 h 10000"/>
                <a:gd name="connsiteX146" fmla="*/ 3946 w 10000"/>
                <a:gd name="connsiteY146" fmla="*/ 6511 h 10000"/>
                <a:gd name="connsiteX147" fmla="*/ 4047 w 10000"/>
                <a:gd name="connsiteY147" fmla="*/ 6494 h 10000"/>
                <a:gd name="connsiteX148" fmla="*/ 4091 w 10000"/>
                <a:gd name="connsiteY148" fmla="*/ 6417 h 10000"/>
                <a:gd name="connsiteX149" fmla="*/ 4192 w 10000"/>
                <a:gd name="connsiteY149" fmla="*/ 6735 h 10000"/>
                <a:gd name="connsiteX150" fmla="*/ 4155 w 10000"/>
                <a:gd name="connsiteY150" fmla="*/ 6987 h 10000"/>
                <a:gd name="connsiteX151" fmla="*/ 4207 w 10000"/>
                <a:gd name="connsiteY151" fmla="*/ 7114 h 10000"/>
                <a:gd name="connsiteX152" fmla="*/ 4278 w 10000"/>
                <a:gd name="connsiteY152" fmla="*/ 7119 h 10000"/>
                <a:gd name="connsiteX153" fmla="*/ 4387 w 10000"/>
                <a:gd name="connsiteY153" fmla="*/ 7256 h 10000"/>
                <a:gd name="connsiteX154" fmla="*/ 4431 w 10000"/>
                <a:gd name="connsiteY154" fmla="*/ 7152 h 10000"/>
                <a:gd name="connsiteX155" fmla="*/ 4480 w 10000"/>
                <a:gd name="connsiteY155" fmla="*/ 7322 h 10000"/>
                <a:gd name="connsiteX156" fmla="*/ 4541 w 10000"/>
                <a:gd name="connsiteY156" fmla="*/ 7662 h 10000"/>
                <a:gd name="connsiteX157" fmla="*/ 4720 w 10000"/>
                <a:gd name="connsiteY157" fmla="*/ 7739 h 10000"/>
                <a:gd name="connsiteX158" fmla="*/ 4761 w 10000"/>
                <a:gd name="connsiteY158" fmla="*/ 8183 h 10000"/>
                <a:gd name="connsiteX159" fmla="*/ 4914 w 10000"/>
                <a:gd name="connsiteY159" fmla="*/ 8276 h 10000"/>
                <a:gd name="connsiteX160" fmla="*/ 4757 w 10000"/>
                <a:gd name="connsiteY160" fmla="*/ 8370 h 10000"/>
                <a:gd name="connsiteX161" fmla="*/ 4705 w 10000"/>
                <a:gd name="connsiteY161" fmla="*/ 8260 h 10000"/>
                <a:gd name="connsiteX162" fmla="*/ 4645 w 10000"/>
                <a:gd name="connsiteY162" fmla="*/ 8403 h 10000"/>
                <a:gd name="connsiteX163" fmla="*/ 4491 w 10000"/>
                <a:gd name="connsiteY163" fmla="*/ 8287 h 10000"/>
                <a:gd name="connsiteX164" fmla="*/ 4405 w 10000"/>
                <a:gd name="connsiteY164" fmla="*/ 8452 h 10000"/>
                <a:gd name="connsiteX165" fmla="*/ 4226 w 10000"/>
                <a:gd name="connsiteY165" fmla="*/ 8331 h 10000"/>
                <a:gd name="connsiteX166" fmla="*/ 4312 w 10000"/>
                <a:gd name="connsiteY166" fmla="*/ 8699 h 10000"/>
                <a:gd name="connsiteX167" fmla="*/ 4304 w 10000"/>
                <a:gd name="connsiteY167" fmla="*/ 8967 h 10000"/>
                <a:gd name="connsiteX168" fmla="*/ 4189 w 10000"/>
                <a:gd name="connsiteY168" fmla="*/ 9088 h 10000"/>
                <a:gd name="connsiteX169" fmla="*/ 4226 w 10000"/>
                <a:gd name="connsiteY169" fmla="*/ 9193 h 10000"/>
                <a:gd name="connsiteX170" fmla="*/ 4065 w 10000"/>
                <a:gd name="connsiteY170" fmla="*/ 9412 h 10000"/>
                <a:gd name="connsiteX171" fmla="*/ 4129 w 10000"/>
                <a:gd name="connsiteY171" fmla="*/ 9647 h 10000"/>
                <a:gd name="connsiteX172" fmla="*/ 3972 w 10000"/>
                <a:gd name="connsiteY172" fmla="*/ 9681 h 10000"/>
                <a:gd name="connsiteX173" fmla="*/ 3931 w 10000"/>
                <a:gd name="connsiteY173" fmla="*/ 9741 h 10000"/>
                <a:gd name="connsiteX174" fmla="*/ 3998 w 10000"/>
                <a:gd name="connsiteY174" fmla="*/ 9785 h 10000"/>
                <a:gd name="connsiteX175" fmla="*/ 4118 w 10000"/>
                <a:gd name="connsiteY175" fmla="*/ 9944 h 10000"/>
                <a:gd name="connsiteX176" fmla="*/ 4312 w 10000"/>
                <a:gd name="connsiteY176" fmla="*/ 9999 h 10000"/>
                <a:gd name="connsiteX177" fmla="*/ 4319 w 10000"/>
                <a:gd name="connsiteY177" fmla="*/ 9851 h 10000"/>
                <a:gd name="connsiteX178" fmla="*/ 4387 w 10000"/>
                <a:gd name="connsiteY178" fmla="*/ 9856 h 10000"/>
                <a:gd name="connsiteX179" fmla="*/ 4675 w 10000"/>
                <a:gd name="connsiteY179" fmla="*/ 9603 h 10000"/>
                <a:gd name="connsiteX180" fmla="*/ 4866 w 10000"/>
                <a:gd name="connsiteY180" fmla="*/ 9845 h 10000"/>
                <a:gd name="connsiteX181" fmla="*/ 4866 w 10000"/>
                <a:gd name="connsiteY181" fmla="*/ 9862 h 10000"/>
                <a:gd name="connsiteX182" fmla="*/ 4896 w 10000"/>
                <a:gd name="connsiteY182" fmla="*/ 9703 h 10000"/>
                <a:gd name="connsiteX183" fmla="*/ 4843 w 10000"/>
                <a:gd name="connsiteY183" fmla="*/ 9570 h 10000"/>
                <a:gd name="connsiteX184" fmla="*/ 4776 w 10000"/>
                <a:gd name="connsiteY184" fmla="*/ 9549 h 10000"/>
                <a:gd name="connsiteX185" fmla="*/ 4821 w 10000"/>
                <a:gd name="connsiteY185" fmla="*/ 9466 h 10000"/>
                <a:gd name="connsiteX186" fmla="*/ 4806 w 10000"/>
                <a:gd name="connsiteY186" fmla="*/ 9444 h 10000"/>
                <a:gd name="connsiteX187" fmla="*/ 4750 w 10000"/>
                <a:gd name="connsiteY187" fmla="*/ 9439 h 10000"/>
                <a:gd name="connsiteX188" fmla="*/ 4720 w 10000"/>
                <a:gd name="connsiteY188" fmla="*/ 9121 h 10000"/>
                <a:gd name="connsiteX189" fmla="*/ 4761 w 10000"/>
                <a:gd name="connsiteY189" fmla="*/ 9105 h 10000"/>
                <a:gd name="connsiteX190" fmla="*/ 4783 w 10000"/>
                <a:gd name="connsiteY190" fmla="*/ 9253 h 10000"/>
                <a:gd name="connsiteX191" fmla="*/ 4836 w 10000"/>
                <a:gd name="connsiteY191" fmla="*/ 9384 h 10000"/>
                <a:gd name="connsiteX192" fmla="*/ 4881 w 10000"/>
                <a:gd name="connsiteY192" fmla="*/ 9302 h 10000"/>
                <a:gd name="connsiteX193" fmla="*/ 4869 w 10000"/>
                <a:gd name="connsiteY193" fmla="*/ 9220 h 10000"/>
                <a:gd name="connsiteX194" fmla="*/ 4940 w 10000"/>
                <a:gd name="connsiteY194" fmla="*/ 9203 h 10000"/>
                <a:gd name="connsiteX195" fmla="*/ 4903 w 10000"/>
                <a:gd name="connsiteY195" fmla="*/ 9034 h 10000"/>
                <a:gd name="connsiteX196" fmla="*/ 5000 w 10000"/>
                <a:gd name="connsiteY196" fmla="*/ 9061 h 10000"/>
                <a:gd name="connsiteX197" fmla="*/ 5004 w 10000"/>
                <a:gd name="connsiteY197" fmla="*/ 8972 h 10000"/>
                <a:gd name="connsiteX198" fmla="*/ 5041 w 10000"/>
                <a:gd name="connsiteY198" fmla="*/ 9039 h 10000"/>
                <a:gd name="connsiteX199" fmla="*/ 5206 w 10000"/>
                <a:gd name="connsiteY199" fmla="*/ 8781 h 10000"/>
                <a:gd name="connsiteX200" fmla="*/ 5112 w 10000"/>
                <a:gd name="connsiteY200" fmla="*/ 8584 h 10000"/>
                <a:gd name="connsiteX201" fmla="*/ 4937 w 10000"/>
                <a:gd name="connsiteY201" fmla="*/ 8425 h 10000"/>
                <a:gd name="connsiteX202" fmla="*/ 5037 w 10000"/>
                <a:gd name="connsiteY202" fmla="*/ 8370 h 10000"/>
                <a:gd name="connsiteX203" fmla="*/ 5183 w 10000"/>
                <a:gd name="connsiteY203" fmla="*/ 8633 h 10000"/>
                <a:gd name="connsiteX204" fmla="*/ 5292 w 10000"/>
                <a:gd name="connsiteY204" fmla="*/ 8199 h 10000"/>
                <a:gd name="connsiteX205" fmla="*/ 5299 w 10000"/>
                <a:gd name="connsiteY205" fmla="*/ 8030 h 10000"/>
                <a:gd name="connsiteX206" fmla="*/ 5482 w 10000"/>
                <a:gd name="connsiteY206" fmla="*/ 7942 h 10000"/>
                <a:gd name="connsiteX207" fmla="*/ 5550 w 10000"/>
                <a:gd name="connsiteY207" fmla="*/ 7607 h 10000"/>
                <a:gd name="connsiteX208" fmla="*/ 5561 w 10000"/>
                <a:gd name="connsiteY208" fmla="*/ 7734 h 10000"/>
                <a:gd name="connsiteX209" fmla="*/ 5677 w 10000"/>
                <a:gd name="connsiteY209" fmla="*/ 7596 h 10000"/>
                <a:gd name="connsiteX210" fmla="*/ 5759 w 10000"/>
                <a:gd name="connsiteY210" fmla="*/ 7579 h 10000"/>
                <a:gd name="connsiteX211" fmla="*/ 5842 w 10000"/>
                <a:gd name="connsiteY211" fmla="*/ 7207 h 10000"/>
                <a:gd name="connsiteX212" fmla="*/ 5916 w 10000"/>
                <a:gd name="connsiteY212" fmla="*/ 7486 h 10000"/>
                <a:gd name="connsiteX213" fmla="*/ 6137 w 10000"/>
                <a:gd name="connsiteY213" fmla="*/ 7563 h 10000"/>
                <a:gd name="connsiteX214" fmla="*/ 5969 w 10000"/>
                <a:gd name="connsiteY214" fmla="*/ 7618 h 10000"/>
                <a:gd name="connsiteX215" fmla="*/ 5954 w 10000"/>
                <a:gd name="connsiteY215" fmla="*/ 7679 h 10000"/>
                <a:gd name="connsiteX216" fmla="*/ 5786 w 10000"/>
                <a:gd name="connsiteY216" fmla="*/ 7690 h 10000"/>
                <a:gd name="connsiteX217" fmla="*/ 5700 w 10000"/>
                <a:gd name="connsiteY217" fmla="*/ 7723 h 10000"/>
                <a:gd name="connsiteX218" fmla="*/ 5767 w 10000"/>
                <a:gd name="connsiteY218" fmla="*/ 7772 h 10000"/>
                <a:gd name="connsiteX219" fmla="*/ 5827 w 10000"/>
                <a:gd name="connsiteY219" fmla="*/ 7756 h 10000"/>
                <a:gd name="connsiteX220" fmla="*/ 5991 w 10000"/>
                <a:gd name="connsiteY220" fmla="*/ 7789 h 10000"/>
                <a:gd name="connsiteX221" fmla="*/ 5804 w 10000"/>
                <a:gd name="connsiteY221" fmla="*/ 7964 h 10000"/>
                <a:gd name="connsiteX222" fmla="*/ 5872 w 10000"/>
                <a:gd name="connsiteY222" fmla="*/ 8008 h 10000"/>
                <a:gd name="connsiteX223" fmla="*/ 6043 w 10000"/>
                <a:gd name="connsiteY223" fmla="*/ 7958 h 10000"/>
                <a:gd name="connsiteX224" fmla="*/ 6275 w 10000"/>
                <a:gd name="connsiteY224" fmla="*/ 8101 h 10000"/>
                <a:gd name="connsiteX225" fmla="*/ 6575 w 10000"/>
                <a:gd name="connsiteY225" fmla="*/ 7909 h 10000"/>
                <a:gd name="connsiteX226" fmla="*/ 6870 w 10000"/>
                <a:gd name="connsiteY226" fmla="*/ 7887 h 10000"/>
                <a:gd name="connsiteX227" fmla="*/ 6915 w 10000"/>
                <a:gd name="connsiteY227" fmla="*/ 7745 h 10000"/>
                <a:gd name="connsiteX228" fmla="*/ 6993 w 10000"/>
                <a:gd name="connsiteY228" fmla="*/ 7958 h 10000"/>
                <a:gd name="connsiteX229" fmla="*/ 7075 w 10000"/>
                <a:gd name="connsiteY229" fmla="*/ 7986 h 10000"/>
                <a:gd name="connsiteX230" fmla="*/ 7045 w 10000"/>
                <a:gd name="connsiteY230" fmla="*/ 8134 h 10000"/>
                <a:gd name="connsiteX231" fmla="*/ 6788 w 10000"/>
                <a:gd name="connsiteY231" fmla="*/ 8281 h 10000"/>
                <a:gd name="connsiteX232" fmla="*/ 6769 w 10000"/>
                <a:gd name="connsiteY232" fmla="*/ 8386 h 10000"/>
                <a:gd name="connsiteX233" fmla="*/ 6627 w 10000"/>
                <a:gd name="connsiteY233" fmla="*/ 8523 h 10000"/>
                <a:gd name="connsiteX234" fmla="*/ 6623 w 10000"/>
                <a:gd name="connsiteY234" fmla="*/ 8649 h 10000"/>
                <a:gd name="connsiteX235" fmla="*/ 6537 w 10000"/>
                <a:gd name="connsiteY235" fmla="*/ 8704 h 10000"/>
                <a:gd name="connsiteX236" fmla="*/ 6428 w 10000"/>
                <a:gd name="connsiteY236" fmla="*/ 8989 h 10000"/>
                <a:gd name="connsiteX237" fmla="*/ 6582 w 10000"/>
                <a:gd name="connsiteY237" fmla="*/ 9001 h 10000"/>
                <a:gd name="connsiteX238" fmla="*/ 6672 w 10000"/>
                <a:gd name="connsiteY238" fmla="*/ 8879 h 10000"/>
                <a:gd name="connsiteX239" fmla="*/ 6769 w 10000"/>
                <a:gd name="connsiteY239" fmla="*/ 8912 h 10000"/>
                <a:gd name="connsiteX240" fmla="*/ 6814 w 10000"/>
                <a:gd name="connsiteY240" fmla="*/ 8786 h 10000"/>
                <a:gd name="connsiteX241" fmla="*/ 6877 w 10000"/>
                <a:gd name="connsiteY241" fmla="*/ 9001 h 10000"/>
                <a:gd name="connsiteX242" fmla="*/ 7060 w 10000"/>
                <a:gd name="connsiteY242" fmla="*/ 8994 h 10000"/>
                <a:gd name="connsiteX243" fmla="*/ 7217 w 10000"/>
                <a:gd name="connsiteY243" fmla="*/ 9362 h 10000"/>
                <a:gd name="connsiteX244" fmla="*/ 7232 w 10000"/>
                <a:gd name="connsiteY244" fmla="*/ 9675 h 10000"/>
                <a:gd name="connsiteX245" fmla="*/ 7176 w 10000"/>
                <a:gd name="connsiteY245" fmla="*/ 9692 h 10000"/>
                <a:gd name="connsiteX246" fmla="*/ 7187 w 10000"/>
                <a:gd name="connsiteY246" fmla="*/ 9780 h 10000"/>
                <a:gd name="connsiteX247" fmla="*/ 7423 w 10000"/>
                <a:gd name="connsiteY247" fmla="*/ 9900 h 10000"/>
                <a:gd name="connsiteX248" fmla="*/ 7741 w 10000"/>
                <a:gd name="connsiteY248" fmla="*/ 9565 h 10000"/>
                <a:gd name="connsiteX249" fmla="*/ 7879 w 10000"/>
                <a:gd name="connsiteY249" fmla="*/ 9176 h 10000"/>
                <a:gd name="connsiteX250" fmla="*/ 8107 w 10000"/>
                <a:gd name="connsiteY250" fmla="*/ 9023 h 10000"/>
                <a:gd name="connsiteX251" fmla="*/ 8182 w 10000"/>
                <a:gd name="connsiteY251" fmla="*/ 8841 h 10000"/>
                <a:gd name="connsiteX252" fmla="*/ 8268 w 10000"/>
                <a:gd name="connsiteY252" fmla="*/ 8786 h 10000"/>
                <a:gd name="connsiteX253" fmla="*/ 8320 w 10000"/>
                <a:gd name="connsiteY253" fmla="*/ 8512 h 10000"/>
                <a:gd name="connsiteX254" fmla="*/ 8542 w 10000"/>
                <a:gd name="connsiteY254" fmla="*/ 8617 h 10000"/>
                <a:gd name="connsiteX255" fmla="*/ 8672 w 10000"/>
                <a:gd name="connsiteY255" fmla="*/ 8474 h 10000"/>
                <a:gd name="connsiteX256" fmla="*/ 8855 w 10000"/>
                <a:gd name="connsiteY256" fmla="*/ 8343 h 10000"/>
                <a:gd name="connsiteX257" fmla="*/ 8781 w 10000"/>
                <a:gd name="connsiteY257" fmla="*/ 8128 h 10000"/>
                <a:gd name="connsiteX258" fmla="*/ 7708 w 10000"/>
                <a:gd name="connsiteY258" fmla="*/ 7991 h 10000"/>
                <a:gd name="connsiteX259" fmla="*/ 7682 w 10000"/>
                <a:gd name="connsiteY259" fmla="*/ 7904 h 10000"/>
                <a:gd name="connsiteX260" fmla="*/ 7607 w 10000"/>
                <a:gd name="connsiteY260" fmla="*/ 8002 h 10000"/>
                <a:gd name="connsiteX261" fmla="*/ 7715 w 10000"/>
                <a:gd name="connsiteY261" fmla="*/ 7761 h 10000"/>
                <a:gd name="connsiteX262" fmla="*/ 7674 w 10000"/>
                <a:gd name="connsiteY262" fmla="*/ 7717 h 10000"/>
                <a:gd name="connsiteX263" fmla="*/ 7554 w 10000"/>
                <a:gd name="connsiteY263" fmla="*/ 7915 h 10000"/>
                <a:gd name="connsiteX264" fmla="*/ 7618 w 10000"/>
                <a:gd name="connsiteY264" fmla="*/ 7712 h 10000"/>
                <a:gd name="connsiteX265" fmla="*/ 7532 w 10000"/>
                <a:gd name="connsiteY265" fmla="*/ 7767 h 10000"/>
                <a:gd name="connsiteX266" fmla="*/ 7419 w 10000"/>
                <a:gd name="connsiteY266" fmla="*/ 7717 h 10000"/>
                <a:gd name="connsiteX267" fmla="*/ 7333 w 10000"/>
                <a:gd name="connsiteY267" fmla="*/ 7794 h 10000"/>
                <a:gd name="connsiteX268" fmla="*/ 7240 w 10000"/>
                <a:gd name="connsiteY268" fmla="*/ 7728 h 10000"/>
                <a:gd name="connsiteX269" fmla="*/ 7087 w 10000"/>
                <a:gd name="connsiteY269" fmla="*/ 7717 h 10000"/>
                <a:gd name="connsiteX270" fmla="*/ 7090 w 10000"/>
                <a:gd name="connsiteY270" fmla="*/ 7547 h 10000"/>
                <a:gd name="connsiteX271" fmla="*/ 7229 w 10000"/>
                <a:gd name="connsiteY271" fmla="*/ 7662 h 10000"/>
                <a:gd name="connsiteX272" fmla="*/ 7273 w 10000"/>
                <a:gd name="connsiteY272" fmla="*/ 7541 h 10000"/>
                <a:gd name="connsiteX273" fmla="*/ 7236 w 10000"/>
                <a:gd name="connsiteY273" fmla="*/ 7410 h 10000"/>
                <a:gd name="connsiteX274" fmla="*/ 7341 w 10000"/>
                <a:gd name="connsiteY274" fmla="*/ 7547 h 10000"/>
                <a:gd name="connsiteX275" fmla="*/ 7483 w 10000"/>
                <a:gd name="connsiteY275" fmla="*/ 7536 h 10000"/>
                <a:gd name="connsiteX276" fmla="*/ 7506 w 10000"/>
                <a:gd name="connsiteY276" fmla="*/ 7685 h 10000"/>
                <a:gd name="connsiteX277" fmla="*/ 7547 w 10000"/>
                <a:gd name="connsiteY277" fmla="*/ 7685 h 10000"/>
                <a:gd name="connsiteX278" fmla="*/ 7558 w 10000"/>
                <a:gd name="connsiteY278" fmla="*/ 7415 h 10000"/>
                <a:gd name="connsiteX279" fmla="*/ 7607 w 10000"/>
                <a:gd name="connsiteY279" fmla="*/ 7585 h 10000"/>
                <a:gd name="connsiteX280" fmla="*/ 7693 w 10000"/>
                <a:gd name="connsiteY280" fmla="*/ 7590 h 10000"/>
                <a:gd name="connsiteX281" fmla="*/ 7629 w 10000"/>
                <a:gd name="connsiteY281" fmla="*/ 7333 h 10000"/>
                <a:gd name="connsiteX282" fmla="*/ 7786 w 10000"/>
                <a:gd name="connsiteY282" fmla="*/ 7240 h 10000"/>
                <a:gd name="connsiteX283" fmla="*/ 7779 w 10000"/>
                <a:gd name="connsiteY283" fmla="*/ 6987 h 10000"/>
                <a:gd name="connsiteX284" fmla="*/ 7887 w 10000"/>
                <a:gd name="connsiteY284" fmla="*/ 7081 h 10000"/>
                <a:gd name="connsiteX285" fmla="*/ 7906 w 10000"/>
                <a:gd name="connsiteY285" fmla="*/ 7015 h 10000"/>
                <a:gd name="connsiteX286" fmla="*/ 7775 w 10000"/>
                <a:gd name="connsiteY286" fmla="*/ 6735 h 10000"/>
                <a:gd name="connsiteX287" fmla="*/ 7950 w 10000"/>
                <a:gd name="connsiteY287" fmla="*/ 6894 h 10000"/>
                <a:gd name="connsiteX288" fmla="*/ 8171 w 10000"/>
                <a:gd name="connsiteY288" fmla="*/ 6511 h 10000"/>
                <a:gd name="connsiteX289" fmla="*/ 8384 w 10000"/>
                <a:gd name="connsiteY289" fmla="*/ 6483 h 10000"/>
                <a:gd name="connsiteX290" fmla="*/ 8429 w 10000"/>
                <a:gd name="connsiteY29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775 w 10000"/>
                <a:gd name="connsiteY14" fmla="*/ 2259 h 10000"/>
                <a:gd name="connsiteX15" fmla="*/ 9656 w 10000"/>
                <a:gd name="connsiteY15" fmla="*/ 2024 h 10000"/>
                <a:gd name="connsiteX16" fmla="*/ 9663 w 10000"/>
                <a:gd name="connsiteY16" fmla="*/ 1810 h 10000"/>
                <a:gd name="connsiteX17" fmla="*/ 9143 w 10000"/>
                <a:gd name="connsiteY17" fmla="*/ 1838 h 10000"/>
                <a:gd name="connsiteX18" fmla="*/ 9091 w 10000"/>
                <a:gd name="connsiteY18" fmla="*/ 1712 h 10000"/>
                <a:gd name="connsiteX19" fmla="*/ 9020 w 10000"/>
                <a:gd name="connsiteY19" fmla="*/ 1728 h 10000"/>
                <a:gd name="connsiteX20" fmla="*/ 7569 w 10000"/>
                <a:gd name="connsiteY20" fmla="*/ 1873 h 10000"/>
                <a:gd name="connsiteX21" fmla="*/ 7165 w 10000"/>
                <a:gd name="connsiteY21" fmla="*/ 1996 h 10000"/>
                <a:gd name="connsiteX22" fmla="*/ 6892 w 10000"/>
                <a:gd name="connsiteY22" fmla="*/ 1827 h 10000"/>
                <a:gd name="connsiteX23" fmla="*/ 6922 w 10000"/>
                <a:gd name="connsiteY23" fmla="*/ 1728 h 10000"/>
                <a:gd name="connsiteX24" fmla="*/ 6765 w 10000"/>
                <a:gd name="connsiteY24" fmla="*/ 1398 h 10000"/>
                <a:gd name="connsiteX25" fmla="*/ 6799 w 10000"/>
                <a:gd name="connsiteY25" fmla="*/ 1256 h 10000"/>
                <a:gd name="connsiteX26" fmla="*/ 6728 w 10000"/>
                <a:gd name="connsiteY26" fmla="*/ 1229 h 10000"/>
                <a:gd name="connsiteX27" fmla="*/ 6657 w 10000"/>
                <a:gd name="connsiteY27" fmla="*/ 1311 h 10000"/>
                <a:gd name="connsiteX28" fmla="*/ 6593 w 10000"/>
                <a:gd name="connsiteY28" fmla="*/ 1114 h 10000"/>
                <a:gd name="connsiteX29" fmla="*/ 6391 w 10000"/>
                <a:gd name="connsiteY29" fmla="*/ 1311 h 10000"/>
                <a:gd name="connsiteX30" fmla="*/ 6309 w 10000"/>
                <a:gd name="connsiteY30" fmla="*/ 1223 h 10000"/>
                <a:gd name="connsiteX31" fmla="*/ 6126 w 10000"/>
                <a:gd name="connsiteY31" fmla="*/ 1273 h 10000"/>
                <a:gd name="connsiteX32" fmla="*/ 6144 w 10000"/>
                <a:gd name="connsiteY32" fmla="*/ 1125 h 10000"/>
                <a:gd name="connsiteX33" fmla="*/ 6073 w 10000"/>
                <a:gd name="connsiteY33" fmla="*/ 1119 h 10000"/>
                <a:gd name="connsiteX34" fmla="*/ 6040 w 10000"/>
                <a:gd name="connsiteY34" fmla="*/ 910 h 10000"/>
                <a:gd name="connsiteX35" fmla="*/ 5942 w 10000"/>
                <a:gd name="connsiteY35" fmla="*/ 795 h 10000"/>
                <a:gd name="connsiteX36" fmla="*/ 6144 w 10000"/>
                <a:gd name="connsiteY36" fmla="*/ 620 h 10000"/>
                <a:gd name="connsiteX37" fmla="*/ 5901 w 10000"/>
                <a:gd name="connsiteY37" fmla="*/ 395 h 10000"/>
                <a:gd name="connsiteX38" fmla="*/ 5853 w 10000"/>
                <a:gd name="connsiteY38" fmla="*/ 142 h 10000"/>
                <a:gd name="connsiteX39" fmla="*/ 5741 w 10000"/>
                <a:gd name="connsiteY39" fmla="*/ 110 h 10000"/>
                <a:gd name="connsiteX40" fmla="*/ 5647 w 10000"/>
                <a:gd name="connsiteY40" fmla="*/ 0 h 10000"/>
                <a:gd name="connsiteX41" fmla="*/ 5547 w 10000"/>
                <a:gd name="connsiteY41" fmla="*/ 120 h 10000"/>
                <a:gd name="connsiteX42" fmla="*/ 5377 w 10000"/>
                <a:gd name="connsiteY42" fmla="*/ 110 h 10000"/>
                <a:gd name="connsiteX43" fmla="*/ 5232 w 10000"/>
                <a:gd name="connsiteY43" fmla="*/ 351 h 10000"/>
                <a:gd name="connsiteX44" fmla="*/ 4952 w 10000"/>
                <a:gd name="connsiteY44" fmla="*/ 329 h 10000"/>
                <a:gd name="connsiteX45" fmla="*/ 4884 w 10000"/>
                <a:gd name="connsiteY45" fmla="*/ 680 h 10000"/>
                <a:gd name="connsiteX46" fmla="*/ 4701 w 10000"/>
                <a:gd name="connsiteY46" fmla="*/ 707 h 10000"/>
                <a:gd name="connsiteX47" fmla="*/ 4795 w 10000"/>
                <a:gd name="connsiteY47" fmla="*/ 844 h 10000"/>
                <a:gd name="connsiteX48" fmla="*/ 4739 w 10000"/>
                <a:gd name="connsiteY48" fmla="*/ 899 h 10000"/>
                <a:gd name="connsiteX49" fmla="*/ 4612 w 10000"/>
                <a:gd name="connsiteY49" fmla="*/ 894 h 10000"/>
                <a:gd name="connsiteX50" fmla="*/ 4439 w 10000"/>
                <a:gd name="connsiteY50" fmla="*/ 1026 h 10000"/>
                <a:gd name="connsiteX51" fmla="*/ 4252 w 10000"/>
                <a:gd name="connsiteY51" fmla="*/ 1668 h 10000"/>
                <a:gd name="connsiteX52" fmla="*/ 4308 w 10000"/>
                <a:gd name="connsiteY52" fmla="*/ 2090 h 10000"/>
                <a:gd name="connsiteX53" fmla="*/ 4121 w 10000"/>
                <a:gd name="connsiteY53" fmla="*/ 1865 h 10000"/>
                <a:gd name="connsiteX54" fmla="*/ 3849 w 10000"/>
                <a:gd name="connsiteY54" fmla="*/ 1991 h 10000"/>
                <a:gd name="connsiteX55" fmla="*/ 3822 w 10000"/>
                <a:gd name="connsiteY55" fmla="*/ 1931 h 10000"/>
                <a:gd name="connsiteX56" fmla="*/ 3695 w 10000"/>
                <a:gd name="connsiteY56" fmla="*/ 2002 h 10000"/>
                <a:gd name="connsiteX57" fmla="*/ 3621 w 10000"/>
                <a:gd name="connsiteY57" fmla="*/ 2144 h 10000"/>
                <a:gd name="connsiteX58" fmla="*/ 3561 w 10000"/>
                <a:gd name="connsiteY58" fmla="*/ 1909 h 10000"/>
                <a:gd name="connsiteX59" fmla="*/ 3478 w 10000"/>
                <a:gd name="connsiteY59" fmla="*/ 1843 h 10000"/>
                <a:gd name="connsiteX60" fmla="*/ 3444 w 10000"/>
                <a:gd name="connsiteY60" fmla="*/ 1964 h 10000"/>
                <a:gd name="connsiteX61" fmla="*/ 3332 w 10000"/>
                <a:gd name="connsiteY61" fmla="*/ 1996 h 10000"/>
                <a:gd name="connsiteX62" fmla="*/ 3272 w 10000"/>
                <a:gd name="connsiteY62" fmla="*/ 2161 h 10000"/>
                <a:gd name="connsiteX63" fmla="*/ 3235 w 10000"/>
                <a:gd name="connsiteY63" fmla="*/ 2013 h 10000"/>
                <a:gd name="connsiteX64" fmla="*/ 3123 w 10000"/>
                <a:gd name="connsiteY64" fmla="*/ 2024 h 10000"/>
                <a:gd name="connsiteX65" fmla="*/ 3078 w 10000"/>
                <a:gd name="connsiteY65" fmla="*/ 2128 h 10000"/>
                <a:gd name="connsiteX66" fmla="*/ 3011 w 10000"/>
                <a:gd name="connsiteY66" fmla="*/ 1975 h 10000"/>
                <a:gd name="connsiteX67" fmla="*/ 2895 w 10000"/>
                <a:gd name="connsiteY67" fmla="*/ 2117 h 10000"/>
                <a:gd name="connsiteX68" fmla="*/ 2783 w 10000"/>
                <a:gd name="connsiteY68" fmla="*/ 2106 h 10000"/>
                <a:gd name="connsiteX69" fmla="*/ 2779 w 10000"/>
                <a:gd name="connsiteY69" fmla="*/ 2276 h 10000"/>
                <a:gd name="connsiteX70" fmla="*/ 2727 w 10000"/>
                <a:gd name="connsiteY70" fmla="*/ 2144 h 10000"/>
                <a:gd name="connsiteX71" fmla="*/ 2559 w 10000"/>
                <a:gd name="connsiteY71" fmla="*/ 2155 h 10000"/>
                <a:gd name="connsiteX72" fmla="*/ 2438 w 10000"/>
                <a:gd name="connsiteY72" fmla="*/ 1980 h 10000"/>
                <a:gd name="connsiteX73" fmla="*/ 2293 w 10000"/>
                <a:gd name="connsiteY73" fmla="*/ 2073 h 10000"/>
                <a:gd name="connsiteX74" fmla="*/ 2143 w 10000"/>
                <a:gd name="connsiteY74" fmla="*/ 1958 h 10000"/>
                <a:gd name="connsiteX75" fmla="*/ 2057 w 10000"/>
                <a:gd name="connsiteY75" fmla="*/ 2035 h 10000"/>
                <a:gd name="connsiteX76" fmla="*/ 1975 w 10000"/>
                <a:gd name="connsiteY76" fmla="*/ 1947 h 10000"/>
                <a:gd name="connsiteX77" fmla="*/ 1852 w 10000"/>
                <a:gd name="connsiteY77" fmla="*/ 1936 h 10000"/>
                <a:gd name="connsiteX78" fmla="*/ 1669 w 10000"/>
                <a:gd name="connsiteY78" fmla="*/ 1925 h 10000"/>
                <a:gd name="connsiteX79" fmla="*/ 1444 w 10000"/>
                <a:gd name="connsiteY79" fmla="*/ 1991 h 10000"/>
                <a:gd name="connsiteX80" fmla="*/ 1205 w 10000"/>
                <a:gd name="connsiteY80" fmla="*/ 2062 h 10000"/>
                <a:gd name="connsiteX81" fmla="*/ 921 w 10000"/>
                <a:gd name="connsiteY81" fmla="*/ 2166 h 10000"/>
                <a:gd name="connsiteX82" fmla="*/ 797 w 10000"/>
                <a:gd name="connsiteY82" fmla="*/ 2496 h 10000"/>
                <a:gd name="connsiteX83" fmla="*/ 603 w 10000"/>
                <a:gd name="connsiteY83" fmla="*/ 2501 h 10000"/>
                <a:gd name="connsiteX84" fmla="*/ 540 w 10000"/>
                <a:gd name="connsiteY84" fmla="*/ 2687 h 10000"/>
                <a:gd name="connsiteX85" fmla="*/ 558 w 10000"/>
                <a:gd name="connsiteY85" fmla="*/ 2764 h 10000"/>
                <a:gd name="connsiteX86" fmla="*/ 577 w 10000"/>
                <a:gd name="connsiteY86" fmla="*/ 2868 h 10000"/>
                <a:gd name="connsiteX87" fmla="*/ 577 w 10000"/>
                <a:gd name="connsiteY87" fmla="*/ 2868 h 10000"/>
                <a:gd name="connsiteX88" fmla="*/ 577 w 10000"/>
                <a:gd name="connsiteY88" fmla="*/ 2896 h 10000"/>
                <a:gd name="connsiteX89" fmla="*/ 682 w 10000"/>
                <a:gd name="connsiteY89" fmla="*/ 3116 h 10000"/>
                <a:gd name="connsiteX90" fmla="*/ 786 w 10000"/>
                <a:gd name="connsiteY90" fmla="*/ 3351 h 10000"/>
                <a:gd name="connsiteX91" fmla="*/ 921 w 10000"/>
                <a:gd name="connsiteY91" fmla="*/ 3488 h 10000"/>
                <a:gd name="connsiteX92" fmla="*/ 876 w 10000"/>
                <a:gd name="connsiteY92" fmla="*/ 3548 h 10000"/>
                <a:gd name="connsiteX93" fmla="*/ 805 w 10000"/>
                <a:gd name="connsiteY93" fmla="*/ 3603 h 10000"/>
                <a:gd name="connsiteX94" fmla="*/ 887 w 10000"/>
                <a:gd name="connsiteY94" fmla="*/ 3697 h 10000"/>
                <a:gd name="connsiteX95" fmla="*/ 876 w 10000"/>
                <a:gd name="connsiteY95" fmla="*/ 4053 h 10000"/>
                <a:gd name="connsiteX96" fmla="*/ 693 w 10000"/>
                <a:gd name="connsiteY96" fmla="*/ 4124 h 10000"/>
                <a:gd name="connsiteX97" fmla="*/ 498 w 10000"/>
                <a:gd name="connsiteY97" fmla="*/ 4531 h 10000"/>
                <a:gd name="connsiteX98" fmla="*/ 371 w 10000"/>
                <a:gd name="connsiteY98" fmla="*/ 4936 h 10000"/>
                <a:gd name="connsiteX99" fmla="*/ 195 w 10000"/>
                <a:gd name="connsiteY99" fmla="*/ 5260 h 10000"/>
                <a:gd name="connsiteX100" fmla="*/ 270 w 10000"/>
                <a:gd name="connsiteY100" fmla="*/ 5517 h 10000"/>
                <a:gd name="connsiteX101" fmla="*/ 277 w 10000"/>
                <a:gd name="connsiteY101" fmla="*/ 5732 h 10000"/>
                <a:gd name="connsiteX102" fmla="*/ 400 w 10000"/>
                <a:gd name="connsiteY102" fmla="*/ 5841 h 10000"/>
                <a:gd name="connsiteX103" fmla="*/ 382 w 10000"/>
                <a:gd name="connsiteY103" fmla="*/ 5945 h 10000"/>
                <a:gd name="connsiteX104" fmla="*/ 202 w 10000"/>
                <a:gd name="connsiteY104" fmla="*/ 5852 h 10000"/>
                <a:gd name="connsiteX105" fmla="*/ 124 w 10000"/>
                <a:gd name="connsiteY105" fmla="*/ 6099 h 10000"/>
                <a:gd name="connsiteX106" fmla="*/ 105 w 10000"/>
                <a:gd name="connsiteY106" fmla="*/ 6346 h 10000"/>
                <a:gd name="connsiteX107" fmla="*/ 1 w 10000"/>
                <a:gd name="connsiteY107" fmla="*/ 6571 h 10000"/>
                <a:gd name="connsiteX108" fmla="*/ 19 w 10000"/>
                <a:gd name="connsiteY108" fmla="*/ 6779 h 10000"/>
                <a:gd name="connsiteX109" fmla="*/ 90 w 10000"/>
                <a:gd name="connsiteY109" fmla="*/ 6828 h 10000"/>
                <a:gd name="connsiteX110" fmla="*/ 154 w 10000"/>
                <a:gd name="connsiteY110" fmla="*/ 6960 h 10000"/>
                <a:gd name="connsiteX111" fmla="*/ 240 w 10000"/>
                <a:gd name="connsiteY111" fmla="*/ 6943 h 10000"/>
                <a:gd name="connsiteX112" fmla="*/ 292 w 10000"/>
                <a:gd name="connsiteY112" fmla="*/ 7076 h 10000"/>
                <a:gd name="connsiteX113" fmla="*/ 445 w 10000"/>
                <a:gd name="connsiteY113" fmla="*/ 7103 h 10000"/>
                <a:gd name="connsiteX114" fmla="*/ 453 w 10000"/>
                <a:gd name="connsiteY114" fmla="*/ 7251 h 10000"/>
                <a:gd name="connsiteX115" fmla="*/ 494 w 10000"/>
                <a:gd name="connsiteY115" fmla="*/ 7278 h 10000"/>
                <a:gd name="connsiteX116" fmla="*/ 525 w 10000"/>
                <a:gd name="connsiteY116" fmla="*/ 7174 h 10000"/>
                <a:gd name="connsiteX117" fmla="*/ 581 w 10000"/>
                <a:gd name="connsiteY117" fmla="*/ 7196 h 10000"/>
                <a:gd name="connsiteX118" fmla="*/ 644 w 10000"/>
                <a:gd name="connsiteY118" fmla="*/ 6992 h 10000"/>
                <a:gd name="connsiteX119" fmla="*/ 820 w 10000"/>
                <a:gd name="connsiteY119" fmla="*/ 7174 h 10000"/>
                <a:gd name="connsiteX120" fmla="*/ 1283 w 10000"/>
                <a:gd name="connsiteY120" fmla="*/ 7163 h 10000"/>
                <a:gd name="connsiteX121" fmla="*/ 1466 w 10000"/>
                <a:gd name="connsiteY121" fmla="*/ 7092 h 10000"/>
                <a:gd name="connsiteX122" fmla="*/ 1766 w 10000"/>
                <a:gd name="connsiteY122" fmla="*/ 7344 h 10000"/>
                <a:gd name="connsiteX123" fmla="*/ 1956 w 10000"/>
                <a:gd name="connsiteY123" fmla="*/ 7087 h 10000"/>
                <a:gd name="connsiteX124" fmla="*/ 2382 w 10000"/>
                <a:gd name="connsiteY124" fmla="*/ 6861 h 10000"/>
                <a:gd name="connsiteX125" fmla="*/ 2536 w 10000"/>
                <a:gd name="connsiteY125" fmla="*/ 6489 h 10000"/>
                <a:gd name="connsiteX126" fmla="*/ 2648 w 10000"/>
                <a:gd name="connsiteY126" fmla="*/ 6439 h 10000"/>
                <a:gd name="connsiteX127" fmla="*/ 2648 w 10000"/>
                <a:gd name="connsiteY127" fmla="*/ 6379 h 10000"/>
                <a:gd name="connsiteX128" fmla="*/ 2693 w 10000"/>
                <a:gd name="connsiteY128" fmla="*/ 6379 h 10000"/>
                <a:gd name="connsiteX129" fmla="*/ 2682 w 10000"/>
                <a:gd name="connsiteY129" fmla="*/ 6230 h 10000"/>
                <a:gd name="connsiteX130" fmla="*/ 2820 w 10000"/>
                <a:gd name="connsiteY130" fmla="*/ 6285 h 10000"/>
                <a:gd name="connsiteX131" fmla="*/ 2839 w 10000"/>
                <a:gd name="connsiteY131" fmla="*/ 6159 h 10000"/>
                <a:gd name="connsiteX132" fmla="*/ 2921 w 10000"/>
                <a:gd name="connsiteY132" fmla="*/ 6230 h 10000"/>
                <a:gd name="connsiteX133" fmla="*/ 2981 w 10000"/>
                <a:gd name="connsiteY133" fmla="*/ 6126 h 10000"/>
                <a:gd name="connsiteX134" fmla="*/ 3078 w 10000"/>
                <a:gd name="connsiteY134" fmla="*/ 6154 h 10000"/>
                <a:gd name="connsiteX135" fmla="*/ 3164 w 10000"/>
                <a:gd name="connsiteY135" fmla="*/ 6055 h 10000"/>
                <a:gd name="connsiteX136" fmla="*/ 3328 w 10000"/>
                <a:gd name="connsiteY136" fmla="*/ 6192 h 10000"/>
                <a:gd name="connsiteX137" fmla="*/ 3411 w 10000"/>
                <a:gd name="connsiteY137" fmla="*/ 6197 h 10000"/>
                <a:gd name="connsiteX138" fmla="*/ 3437 w 10000"/>
                <a:gd name="connsiteY138" fmla="*/ 6307 h 10000"/>
                <a:gd name="connsiteX139" fmla="*/ 3591 w 10000"/>
                <a:gd name="connsiteY139" fmla="*/ 6236 h 10000"/>
                <a:gd name="connsiteX140" fmla="*/ 3576 w 10000"/>
                <a:gd name="connsiteY140" fmla="*/ 6357 h 10000"/>
                <a:gd name="connsiteX141" fmla="*/ 3632 w 10000"/>
                <a:gd name="connsiteY141" fmla="*/ 6341 h 10000"/>
                <a:gd name="connsiteX142" fmla="*/ 3699 w 10000"/>
                <a:gd name="connsiteY142" fmla="*/ 6428 h 10000"/>
                <a:gd name="connsiteX143" fmla="*/ 3703 w 10000"/>
                <a:gd name="connsiteY143" fmla="*/ 6301 h 10000"/>
                <a:gd name="connsiteX144" fmla="*/ 3882 w 10000"/>
                <a:gd name="connsiteY144" fmla="*/ 6341 h 10000"/>
                <a:gd name="connsiteX145" fmla="*/ 3946 w 10000"/>
                <a:gd name="connsiteY145" fmla="*/ 6511 h 10000"/>
                <a:gd name="connsiteX146" fmla="*/ 4047 w 10000"/>
                <a:gd name="connsiteY146" fmla="*/ 6494 h 10000"/>
                <a:gd name="connsiteX147" fmla="*/ 4091 w 10000"/>
                <a:gd name="connsiteY147" fmla="*/ 6417 h 10000"/>
                <a:gd name="connsiteX148" fmla="*/ 4192 w 10000"/>
                <a:gd name="connsiteY148" fmla="*/ 6735 h 10000"/>
                <a:gd name="connsiteX149" fmla="*/ 4155 w 10000"/>
                <a:gd name="connsiteY149" fmla="*/ 6987 h 10000"/>
                <a:gd name="connsiteX150" fmla="*/ 4207 w 10000"/>
                <a:gd name="connsiteY150" fmla="*/ 7114 h 10000"/>
                <a:gd name="connsiteX151" fmla="*/ 4278 w 10000"/>
                <a:gd name="connsiteY151" fmla="*/ 7119 h 10000"/>
                <a:gd name="connsiteX152" fmla="*/ 4387 w 10000"/>
                <a:gd name="connsiteY152" fmla="*/ 7256 h 10000"/>
                <a:gd name="connsiteX153" fmla="*/ 4431 w 10000"/>
                <a:gd name="connsiteY153" fmla="*/ 7152 h 10000"/>
                <a:gd name="connsiteX154" fmla="*/ 4480 w 10000"/>
                <a:gd name="connsiteY154" fmla="*/ 7322 h 10000"/>
                <a:gd name="connsiteX155" fmla="*/ 4541 w 10000"/>
                <a:gd name="connsiteY155" fmla="*/ 7662 h 10000"/>
                <a:gd name="connsiteX156" fmla="*/ 4720 w 10000"/>
                <a:gd name="connsiteY156" fmla="*/ 7739 h 10000"/>
                <a:gd name="connsiteX157" fmla="*/ 4761 w 10000"/>
                <a:gd name="connsiteY157" fmla="*/ 8183 h 10000"/>
                <a:gd name="connsiteX158" fmla="*/ 4914 w 10000"/>
                <a:gd name="connsiteY158" fmla="*/ 8276 h 10000"/>
                <a:gd name="connsiteX159" fmla="*/ 4757 w 10000"/>
                <a:gd name="connsiteY159" fmla="*/ 8370 h 10000"/>
                <a:gd name="connsiteX160" fmla="*/ 4705 w 10000"/>
                <a:gd name="connsiteY160" fmla="*/ 8260 h 10000"/>
                <a:gd name="connsiteX161" fmla="*/ 4645 w 10000"/>
                <a:gd name="connsiteY161" fmla="*/ 8403 h 10000"/>
                <a:gd name="connsiteX162" fmla="*/ 4491 w 10000"/>
                <a:gd name="connsiteY162" fmla="*/ 8287 h 10000"/>
                <a:gd name="connsiteX163" fmla="*/ 4405 w 10000"/>
                <a:gd name="connsiteY163" fmla="*/ 8452 h 10000"/>
                <a:gd name="connsiteX164" fmla="*/ 4226 w 10000"/>
                <a:gd name="connsiteY164" fmla="*/ 8331 h 10000"/>
                <a:gd name="connsiteX165" fmla="*/ 4312 w 10000"/>
                <a:gd name="connsiteY165" fmla="*/ 8699 h 10000"/>
                <a:gd name="connsiteX166" fmla="*/ 4304 w 10000"/>
                <a:gd name="connsiteY166" fmla="*/ 8967 h 10000"/>
                <a:gd name="connsiteX167" fmla="*/ 4189 w 10000"/>
                <a:gd name="connsiteY167" fmla="*/ 9088 h 10000"/>
                <a:gd name="connsiteX168" fmla="*/ 4226 w 10000"/>
                <a:gd name="connsiteY168" fmla="*/ 9193 h 10000"/>
                <a:gd name="connsiteX169" fmla="*/ 4065 w 10000"/>
                <a:gd name="connsiteY169" fmla="*/ 9412 h 10000"/>
                <a:gd name="connsiteX170" fmla="*/ 4129 w 10000"/>
                <a:gd name="connsiteY170" fmla="*/ 9647 h 10000"/>
                <a:gd name="connsiteX171" fmla="*/ 3972 w 10000"/>
                <a:gd name="connsiteY171" fmla="*/ 9681 h 10000"/>
                <a:gd name="connsiteX172" fmla="*/ 3931 w 10000"/>
                <a:gd name="connsiteY172" fmla="*/ 9741 h 10000"/>
                <a:gd name="connsiteX173" fmla="*/ 3998 w 10000"/>
                <a:gd name="connsiteY173" fmla="*/ 9785 h 10000"/>
                <a:gd name="connsiteX174" fmla="*/ 4118 w 10000"/>
                <a:gd name="connsiteY174" fmla="*/ 9944 h 10000"/>
                <a:gd name="connsiteX175" fmla="*/ 4312 w 10000"/>
                <a:gd name="connsiteY175" fmla="*/ 9999 h 10000"/>
                <a:gd name="connsiteX176" fmla="*/ 4319 w 10000"/>
                <a:gd name="connsiteY176" fmla="*/ 9851 h 10000"/>
                <a:gd name="connsiteX177" fmla="*/ 4387 w 10000"/>
                <a:gd name="connsiteY177" fmla="*/ 9856 h 10000"/>
                <a:gd name="connsiteX178" fmla="*/ 4675 w 10000"/>
                <a:gd name="connsiteY178" fmla="*/ 9603 h 10000"/>
                <a:gd name="connsiteX179" fmla="*/ 4866 w 10000"/>
                <a:gd name="connsiteY179" fmla="*/ 9845 h 10000"/>
                <a:gd name="connsiteX180" fmla="*/ 4866 w 10000"/>
                <a:gd name="connsiteY180" fmla="*/ 9862 h 10000"/>
                <a:gd name="connsiteX181" fmla="*/ 4896 w 10000"/>
                <a:gd name="connsiteY181" fmla="*/ 9703 h 10000"/>
                <a:gd name="connsiteX182" fmla="*/ 4843 w 10000"/>
                <a:gd name="connsiteY182" fmla="*/ 9570 h 10000"/>
                <a:gd name="connsiteX183" fmla="*/ 4776 w 10000"/>
                <a:gd name="connsiteY183" fmla="*/ 9549 h 10000"/>
                <a:gd name="connsiteX184" fmla="*/ 4821 w 10000"/>
                <a:gd name="connsiteY184" fmla="*/ 9466 h 10000"/>
                <a:gd name="connsiteX185" fmla="*/ 4806 w 10000"/>
                <a:gd name="connsiteY185" fmla="*/ 9444 h 10000"/>
                <a:gd name="connsiteX186" fmla="*/ 4750 w 10000"/>
                <a:gd name="connsiteY186" fmla="*/ 9439 h 10000"/>
                <a:gd name="connsiteX187" fmla="*/ 4720 w 10000"/>
                <a:gd name="connsiteY187" fmla="*/ 9121 h 10000"/>
                <a:gd name="connsiteX188" fmla="*/ 4761 w 10000"/>
                <a:gd name="connsiteY188" fmla="*/ 9105 h 10000"/>
                <a:gd name="connsiteX189" fmla="*/ 4783 w 10000"/>
                <a:gd name="connsiteY189" fmla="*/ 9253 h 10000"/>
                <a:gd name="connsiteX190" fmla="*/ 4836 w 10000"/>
                <a:gd name="connsiteY190" fmla="*/ 9384 h 10000"/>
                <a:gd name="connsiteX191" fmla="*/ 4881 w 10000"/>
                <a:gd name="connsiteY191" fmla="*/ 9302 h 10000"/>
                <a:gd name="connsiteX192" fmla="*/ 4869 w 10000"/>
                <a:gd name="connsiteY192" fmla="*/ 9220 h 10000"/>
                <a:gd name="connsiteX193" fmla="*/ 4940 w 10000"/>
                <a:gd name="connsiteY193" fmla="*/ 9203 h 10000"/>
                <a:gd name="connsiteX194" fmla="*/ 4903 w 10000"/>
                <a:gd name="connsiteY194" fmla="*/ 9034 h 10000"/>
                <a:gd name="connsiteX195" fmla="*/ 5000 w 10000"/>
                <a:gd name="connsiteY195" fmla="*/ 9061 h 10000"/>
                <a:gd name="connsiteX196" fmla="*/ 5004 w 10000"/>
                <a:gd name="connsiteY196" fmla="*/ 8972 h 10000"/>
                <a:gd name="connsiteX197" fmla="*/ 5041 w 10000"/>
                <a:gd name="connsiteY197" fmla="*/ 9039 h 10000"/>
                <a:gd name="connsiteX198" fmla="*/ 5206 w 10000"/>
                <a:gd name="connsiteY198" fmla="*/ 8781 h 10000"/>
                <a:gd name="connsiteX199" fmla="*/ 5112 w 10000"/>
                <a:gd name="connsiteY199" fmla="*/ 8584 h 10000"/>
                <a:gd name="connsiteX200" fmla="*/ 4937 w 10000"/>
                <a:gd name="connsiteY200" fmla="*/ 8425 h 10000"/>
                <a:gd name="connsiteX201" fmla="*/ 5037 w 10000"/>
                <a:gd name="connsiteY201" fmla="*/ 8370 h 10000"/>
                <a:gd name="connsiteX202" fmla="*/ 5183 w 10000"/>
                <a:gd name="connsiteY202" fmla="*/ 8633 h 10000"/>
                <a:gd name="connsiteX203" fmla="*/ 5292 w 10000"/>
                <a:gd name="connsiteY203" fmla="*/ 8199 h 10000"/>
                <a:gd name="connsiteX204" fmla="*/ 5299 w 10000"/>
                <a:gd name="connsiteY204" fmla="*/ 8030 h 10000"/>
                <a:gd name="connsiteX205" fmla="*/ 5482 w 10000"/>
                <a:gd name="connsiteY205" fmla="*/ 7942 h 10000"/>
                <a:gd name="connsiteX206" fmla="*/ 5550 w 10000"/>
                <a:gd name="connsiteY206" fmla="*/ 7607 h 10000"/>
                <a:gd name="connsiteX207" fmla="*/ 5561 w 10000"/>
                <a:gd name="connsiteY207" fmla="*/ 7734 h 10000"/>
                <a:gd name="connsiteX208" fmla="*/ 5677 w 10000"/>
                <a:gd name="connsiteY208" fmla="*/ 7596 h 10000"/>
                <a:gd name="connsiteX209" fmla="*/ 5759 w 10000"/>
                <a:gd name="connsiteY209" fmla="*/ 7579 h 10000"/>
                <a:gd name="connsiteX210" fmla="*/ 5842 w 10000"/>
                <a:gd name="connsiteY210" fmla="*/ 7207 h 10000"/>
                <a:gd name="connsiteX211" fmla="*/ 5916 w 10000"/>
                <a:gd name="connsiteY211" fmla="*/ 7486 h 10000"/>
                <a:gd name="connsiteX212" fmla="*/ 6137 w 10000"/>
                <a:gd name="connsiteY212" fmla="*/ 7563 h 10000"/>
                <a:gd name="connsiteX213" fmla="*/ 5969 w 10000"/>
                <a:gd name="connsiteY213" fmla="*/ 7618 h 10000"/>
                <a:gd name="connsiteX214" fmla="*/ 5954 w 10000"/>
                <a:gd name="connsiteY214" fmla="*/ 7679 h 10000"/>
                <a:gd name="connsiteX215" fmla="*/ 5786 w 10000"/>
                <a:gd name="connsiteY215" fmla="*/ 7690 h 10000"/>
                <a:gd name="connsiteX216" fmla="*/ 5700 w 10000"/>
                <a:gd name="connsiteY216" fmla="*/ 7723 h 10000"/>
                <a:gd name="connsiteX217" fmla="*/ 5767 w 10000"/>
                <a:gd name="connsiteY217" fmla="*/ 7772 h 10000"/>
                <a:gd name="connsiteX218" fmla="*/ 5827 w 10000"/>
                <a:gd name="connsiteY218" fmla="*/ 7756 h 10000"/>
                <a:gd name="connsiteX219" fmla="*/ 5991 w 10000"/>
                <a:gd name="connsiteY219" fmla="*/ 7789 h 10000"/>
                <a:gd name="connsiteX220" fmla="*/ 5804 w 10000"/>
                <a:gd name="connsiteY220" fmla="*/ 7964 h 10000"/>
                <a:gd name="connsiteX221" fmla="*/ 5872 w 10000"/>
                <a:gd name="connsiteY221" fmla="*/ 8008 h 10000"/>
                <a:gd name="connsiteX222" fmla="*/ 6043 w 10000"/>
                <a:gd name="connsiteY222" fmla="*/ 7958 h 10000"/>
                <a:gd name="connsiteX223" fmla="*/ 6275 w 10000"/>
                <a:gd name="connsiteY223" fmla="*/ 8101 h 10000"/>
                <a:gd name="connsiteX224" fmla="*/ 6575 w 10000"/>
                <a:gd name="connsiteY224" fmla="*/ 7909 h 10000"/>
                <a:gd name="connsiteX225" fmla="*/ 6870 w 10000"/>
                <a:gd name="connsiteY225" fmla="*/ 7887 h 10000"/>
                <a:gd name="connsiteX226" fmla="*/ 6915 w 10000"/>
                <a:gd name="connsiteY226" fmla="*/ 7745 h 10000"/>
                <a:gd name="connsiteX227" fmla="*/ 6993 w 10000"/>
                <a:gd name="connsiteY227" fmla="*/ 7958 h 10000"/>
                <a:gd name="connsiteX228" fmla="*/ 7075 w 10000"/>
                <a:gd name="connsiteY228" fmla="*/ 7986 h 10000"/>
                <a:gd name="connsiteX229" fmla="*/ 7045 w 10000"/>
                <a:gd name="connsiteY229" fmla="*/ 8134 h 10000"/>
                <a:gd name="connsiteX230" fmla="*/ 6788 w 10000"/>
                <a:gd name="connsiteY230" fmla="*/ 8281 h 10000"/>
                <a:gd name="connsiteX231" fmla="*/ 6769 w 10000"/>
                <a:gd name="connsiteY231" fmla="*/ 8386 h 10000"/>
                <a:gd name="connsiteX232" fmla="*/ 6627 w 10000"/>
                <a:gd name="connsiteY232" fmla="*/ 8523 h 10000"/>
                <a:gd name="connsiteX233" fmla="*/ 6623 w 10000"/>
                <a:gd name="connsiteY233" fmla="*/ 8649 h 10000"/>
                <a:gd name="connsiteX234" fmla="*/ 6537 w 10000"/>
                <a:gd name="connsiteY234" fmla="*/ 8704 h 10000"/>
                <a:gd name="connsiteX235" fmla="*/ 6428 w 10000"/>
                <a:gd name="connsiteY235" fmla="*/ 8989 h 10000"/>
                <a:gd name="connsiteX236" fmla="*/ 6582 w 10000"/>
                <a:gd name="connsiteY236" fmla="*/ 9001 h 10000"/>
                <a:gd name="connsiteX237" fmla="*/ 6672 w 10000"/>
                <a:gd name="connsiteY237" fmla="*/ 8879 h 10000"/>
                <a:gd name="connsiteX238" fmla="*/ 6769 w 10000"/>
                <a:gd name="connsiteY238" fmla="*/ 8912 h 10000"/>
                <a:gd name="connsiteX239" fmla="*/ 6814 w 10000"/>
                <a:gd name="connsiteY239" fmla="*/ 8786 h 10000"/>
                <a:gd name="connsiteX240" fmla="*/ 6877 w 10000"/>
                <a:gd name="connsiteY240" fmla="*/ 9001 h 10000"/>
                <a:gd name="connsiteX241" fmla="*/ 7060 w 10000"/>
                <a:gd name="connsiteY241" fmla="*/ 8994 h 10000"/>
                <a:gd name="connsiteX242" fmla="*/ 7217 w 10000"/>
                <a:gd name="connsiteY242" fmla="*/ 9362 h 10000"/>
                <a:gd name="connsiteX243" fmla="*/ 7232 w 10000"/>
                <a:gd name="connsiteY243" fmla="*/ 9675 h 10000"/>
                <a:gd name="connsiteX244" fmla="*/ 7176 w 10000"/>
                <a:gd name="connsiteY244" fmla="*/ 9692 h 10000"/>
                <a:gd name="connsiteX245" fmla="*/ 7187 w 10000"/>
                <a:gd name="connsiteY245" fmla="*/ 9780 h 10000"/>
                <a:gd name="connsiteX246" fmla="*/ 7423 w 10000"/>
                <a:gd name="connsiteY246" fmla="*/ 9900 h 10000"/>
                <a:gd name="connsiteX247" fmla="*/ 7741 w 10000"/>
                <a:gd name="connsiteY247" fmla="*/ 9565 h 10000"/>
                <a:gd name="connsiteX248" fmla="*/ 7879 w 10000"/>
                <a:gd name="connsiteY248" fmla="*/ 9176 h 10000"/>
                <a:gd name="connsiteX249" fmla="*/ 8107 w 10000"/>
                <a:gd name="connsiteY249" fmla="*/ 9023 h 10000"/>
                <a:gd name="connsiteX250" fmla="*/ 8182 w 10000"/>
                <a:gd name="connsiteY250" fmla="*/ 8841 h 10000"/>
                <a:gd name="connsiteX251" fmla="*/ 8268 w 10000"/>
                <a:gd name="connsiteY251" fmla="*/ 8786 h 10000"/>
                <a:gd name="connsiteX252" fmla="*/ 8320 w 10000"/>
                <a:gd name="connsiteY252" fmla="*/ 8512 h 10000"/>
                <a:gd name="connsiteX253" fmla="*/ 8542 w 10000"/>
                <a:gd name="connsiteY253" fmla="*/ 8617 h 10000"/>
                <a:gd name="connsiteX254" fmla="*/ 8672 w 10000"/>
                <a:gd name="connsiteY254" fmla="*/ 8474 h 10000"/>
                <a:gd name="connsiteX255" fmla="*/ 8855 w 10000"/>
                <a:gd name="connsiteY255" fmla="*/ 8343 h 10000"/>
                <a:gd name="connsiteX256" fmla="*/ 8781 w 10000"/>
                <a:gd name="connsiteY256" fmla="*/ 8128 h 10000"/>
                <a:gd name="connsiteX257" fmla="*/ 7708 w 10000"/>
                <a:gd name="connsiteY257" fmla="*/ 7991 h 10000"/>
                <a:gd name="connsiteX258" fmla="*/ 7682 w 10000"/>
                <a:gd name="connsiteY258" fmla="*/ 7904 h 10000"/>
                <a:gd name="connsiteX259" fmla="*/ 7607 w 10000"/>
                <a:gd name="connsiteY259" fmla="*/ 8002 h 10000"/>
                <a:gd name="connsiteX260" fmla="*/ 7715 w 10000"/>
                <a:gd name="connsiteY260" fmla="*/ 7761 h 10000"/>
                <a:gd name="connsiteX261" fmla="*/ 7674 w 10000"/>
                <a:gd name="connsiteY261" fmla="*/ 7717 h 10000"/>
                <a:gd name="connsiteX262" fmla="*/ 7554 w 10000"/>
                <a:gd name="connsiteY262" fmla="*/ 7915 h 10000"/>
                <a:gd name="connsiteX263" fmla="*/ 7618 w 10000"/>
                <a:gd name="connsiteY263" fmla="*/ 7712 h 10000"/>
                <a:gd name="connsiteX264" fmla="*/ 7532 w 10000"/>
                <a:gd name="connsiteY264" fmla="*/ 7767 h 10000"/>
                <a:gd name="connsiteX265" fmla="*/ 7419 w 10000"/>
                <a:gd name="connsiteY265" fmla="*/ 7717 h 10000"/>
                <a:gd name="connsiteX266" fmla="*/ 7333 w 10000"/>
                <a:gd name="connsiteY266" fmla="*/ 7794 h 10000"/>
                <a:gd name="connsiteX267" fmla="*/ 7240 w 10000"/>
                <a:gd name="connsiteY267" fmla="*/ 7728 h 10000"/>
                <a:gd name="connsiteX268" fmla="*/ 7087 w 10000"/>
                <a:gd name="connsiteY268" fmla="*/ 7717 h 10000"/>
                <a:gd name="connsiteX269" fmla="*/ 7090 w 10000"/>
                <a:gd name="connsiteY269" fmla="*/ 7547 h 10000"/>
                <a:gd name="connsiteX270" fmla="*/ 7229 w 10000"/>
                <a:gd name="connsiteY270" fmla="*/ 7662 h 10000"/>
                <a:gd name="connsiteX271" fmla="*/ 7273 w 10000"/>
                <a:gd name="connsiteY271" fmla="*/ 7541 h 10000"/>
                <a:gd name="connsiteX272" fmla="*/ 7236 w 10000"/>
                <a:gd name="connsiteY272" fmla="*/ 7410 h 10000"/>
                <a:gd name="connsiteX273" fmla="*/ 7341 w 10000"/>
                <a:gd name="connsiteY273" fmla="*/ 7547 h 10000"/>
                <a:gd name="connsiteX274" fmla="*/ 7483 w 10000"/>
                <a:gd name="connsiteY274" fmla="*/ 7536 h 10000"/>
                <a:gd name="connsiteX275" fmla="*/ 7506 w 10000"/>
                <a:gd name="connsiteY275" fmla="*/ 7685 h 10000"/>
                <a:gd name="connsiteX276" fmla="*/ 7547 w 10000"/>
                <a:gd name="connsiteY276" fmla="*/ 7685 h 10000"/>
                <a:gd name="connsiteX277" fmla="*/ 7558 w 10000"/>
                <a:gd name="connsiteY277" fmla="*/ 7415 h 10000"/>
                <a:gd name="connsiteX278" fmla="*/ 7607 w 10000"/>
                <a:gd name="connsiteY278" fmla="*/ 7585 h 10000"/>
                <a:gd name="connsiteX279" fmla="*/ 7693 w 10000"/>
                <a:gd name="connsiteY279" fmla="*/ 7590 h 10000"/>
                <a:gd name="connsiteX280" fmla="*/ 7629 w 10000"/>
                <a:gd name="connsiteY280" fmla="*/ 7333 h 10000"/>
                <a:gd name="connsiteX281" fmla="*/ 7786 w 10000"/>
                <a:gd name="connsiteY281" fmla="*/ 7240 h 10000"/>
                <a:gd name="connsiteX282" fmla="*/ 7779 w 10000"/>
                <a:gd name="connsiteY282" fmla="*/ 6987 h 10000"/>
                <a:gd name="connsiteX283" fmla="*/ 7887 w 10000"/>
                <a:gd name="connsiteY283" fmla="*/ 7081 h 10000"/>
                <a:gd name="connsiteX284" fmla="*/ 7906 w 10000"/>
                <a:gd name="connsiteY284" fmla="*/ 7015 h 10000"/>
                <a:gd name="connsiteX285" fmla="*/ 7775 w 10000"/>
                <a:gd name="connsiteY285" fmla="*/ 6735 h 10000"/>
                <a:gd name="connsiteX286" fmla="*/ 7950 w 10000"/>
                <a:gd name="connsiteY286" fmla="*/ 6894 h 10000"/>
                <a:gd name="connsiteX287" fmla="*/ 8171 w 10000"/>
                <a:gd name="connsiteY287" fmla="*/ 6511 h 10000"/>
                <a:gd name="connsiteX288" fmla="*/ 8384 w 10000"/>
                <a:gd name="connsiteY288" fmla="*/ 6483 h 10000"/>
                <a:gd name="connsiteX289" fmla="*/ 8429 w 10000"/>
                <a:gd name="connsiteY28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775 w 10000"/>
                <a:gd name="connsiteY13" fmla="*/ 2259 h 10000"/>
                <a:gd name="connsiteX14" fmla="*/ 9656 w 10000"/>
                <a:gd name="connsiteY14" fmla="*/ 2024 h 10000"/>
                <a:gd name="connsiteX15" fmla="*/ 9663 w 10000"/>
                <a:gd name="connsiteY15" fmla="*/ 1810 h 10000"/>
                <a:gd name="connsiteX16" fmla="*/ 9143 w 10000"/>
                <a:gd name="connsiteY16" fmla="*/ 1838 h 10000"/>
                <a:gd name="connsiteX17" fmla="*/ 9091 w 10000"/>
                <a:gd name="connsiteY17" fmla="*/ 1712 h 10000"/>
                <a:gd name="connsiteX18" fmla="*/ 9020 w 10000"/>
                <a:gd name="connsiteY18" fmla="*/ 1728 h 10000"/>
                <a:gd name="connsiteX19" fmla="*/ 7569 w 10000"/>
                <a:gd name="connsiteY19" fmla="*/ 1873 h 10000"/>
                <a:gd name="connsiteX20" fmla="*/ 7165 w 10000"/>
                <a:gd name="connsiteY20" fmla="*/ 1996 h 10000"/>
                <a:gd name="connsiteX21" fmla="*/ 6892 w 10000"/>
                <a:gd name="connsiteY21" fmla="*/ 1827 h 10000"/>
                <a:gd name="connsiteX22" fmla="*/ 6922 w 10000"/>
                <a:gd name="connsiteY22" fmla="*/ 1728 h 10000"/>
                <a:gd name="connsiteX23" fmla="*/ 6765 w 10000"/>
                <a:gd name="connsiteY23" fmla="*/ 1398 h 10000"/>
                <a:gd name="connsiteX24" fmla="*/ 6799 w 10000"/>
                <a:gd name="connsiteY24" fmla="*/ 1256 h 10000"/>
                <a:gd name="connsiteX25" fmla="*/ 6728 w 10000"/>
                <a:gd name="connsiteY25" fmla="*/ 1229 h 10000"/>
                <a:gd name="connsiteX26" fmla="*/ 6657 w 10000"/>
                <a:gd name="connsiteY26" fmla="*/ 1311 h 10000"/>
                <a:gd name="connsiteX27" fmla="*/ 6593 w 10000"/>
                <a:gd name="connsiteY27" fmla="*/ 1114 h 10000"/>
                <a:gd name="connsiteX28" fmla="*/ 6391 w 10000"/>
                <a:gd name="connsiteY28" fmla="*/ 1311 h 10000"/>
                <a:gd name="connsiteX29" fmla="*/ 6309 w 10000"/>
                <a:gd name="connsiteY29" fmla="*/ 1223 h 10000"/>
                <a:gd name="connsiteX30" fmla="*/ 6126 w 10000"/>
                <a:gd name="connsiteY30" fmla="*/ 1273 h 10000"/>
                <a:gd name="connsiteX31" fmla="*/ 6144 w 10000"/>
                <a:gd name="connsiteY31" fmla="*/ 1125 h 10000"/>
                <a:gd name="connsiteX32" fmla="*/ 6073 w 10000"/>
                <a:gd name="connsiteY32" fmla="*/ 1119 h 10000"/>
                <a:gd name="connsiteX33" fmla="*/ 6040 w 10000"/>
                <a:gd name="connsiteY33" fmla="*/ 910 h 10000"/>
                <a:gd name="connsiteX34" fmla="*/ 5942 w 10000"/>
                <a:gd name="connsiteY34" fmla="*/ 795 h 10000"/>
                <a:gd name="connsiteX35" fmla="*/ 6144 w 10000"/>
                <a:gd name="connsiteY35" fmla="*/ 620 h 10000"/>
                <a:gd name="connsiteX36" fmla="*/ 5901 w 10000"/>
                <a:gd name="connsiteY36" fmla="*/ 395 h 10000"/>
                <a:gd name="connsiteX37" fmla="*/ 5853 w 10000"/>
                <a:gd name="connsiteY37" fmla="*/ 142 h 10000"/>
                <a:gd name="connsiteX38" fmla="*/ 5741 w 10000"/>
                <a:gd name="connsiteY38" fmla="*/ 110 h 10000"/>
                <a:gd name="connsiteX39" fmla="*/ 5647 w 10000"/>
                <a:gd name="connsiteY39" fmla="*/ 0 h 10000"/>
                <a:gd name="connsiteX40" fmla="*/ 5547 w 10000"/>
                <a:gd name="connsiteY40" fmla="*/ 120 h 10000"/>
                <a:gd name="connsiteX41" fmla="*/ 5377 w 10000"/>
                <a:gd name="connsiteY41" fmla="*/ 110 h 10000"/>
                <a:gd name="connsiteX42" fmla="*/ 5232 w 10000"/>
                <a:gd name="connsiteY42" fmla="*/ 351 h 10000"/>
                <a:gd name="connsiteX43" fmla="*/ 4952 w 10000"/>
                <a:gd name="connsiteY43" fmla="*/ 329 h 10000"/>
                <a:gd name="connsiteX44" fmla="*/ 4884 w 10000"/>
                <a:gd name="connsiteY44" fmla="*/ 680 h 10000"/>
                <a:gd name="connsiteX45" fmla="*/ 4701 w 10000"/>
                <a:gd name="connsiteY45" fmla="*/ 707 h 10000"/>
                <a:gd name="connsiteX46" fmla="*/ 4795 w 10000"/>
                <a:gd name="connsiteY46" fmla="*/ 844 h 10000"/>
                <a:gd name="connsiteX47" fmla="*/ 4739 w 10000"/>
                <a:gd name="connsiteY47" fmla="*/ 899 h 10000"/>
                <a:gd name="connsiteX48" fmla="*/ 4612 w 10000"/>
                <a:gd name="connsiteY48" fmla="*/ 894 h 10000"/>
                <a:gd name="connsiteX49" fmla="*/ 4439 w 10000"/>
                <a:gd name="connsiteY49" fmla="*/ 1026 h 10000"/>
                <a:gd name="connsiteX50" fmla="*/ 4252 w 10000"/>
                <a:gd name="connsiteY50" fmla="*/ 1668 h 10000"/>
                <a:gd name="connsiteX51" fmla="*/ 4308 w 10000"/>
                <a:gd name="connsiteY51" fmla="*/ 2090 h 10000"/>
                <a:gd name="connsiteX52" fmla="*/ 4121 w 10000"/>
                <a:gd name="connsiteY52" fmla="*/ 1865 h 10000"/>
                <a:gd name="connsiteX53" fmla="*/ 3849 w 10000"/>
                <a:gd name="connsiteY53" fmla="*/ 1991 h 10000"/>
                <a:gd name="connsiteX54" fmla="*/ 3822 w 10000"/>
                <a:gd name="connsiteY54" fmla="*/ 1931 h 10000"/>
                <a:gd name="connsiteX55" fmla="*/ 3695 w 10000"/>
                <a:gd name="connsiteY55" fmla="*/ 2002 h 10000"/>
                <a:gd name="connsiteX56" fmla="*/ 3621 w 10000"/>
                <a:gd name="connsiteY56" fmla="*/ 2144 h 10000"/>
                <a:gd name="connsiteX57" fmla="*/ 3561 w 10000"/>
                <a:gd name="connsiteY57" fmla="*/ 1909 h 10000"/>
                <a:gd name="connsiteX58" fmla="*/ 3478 w 10000"/>
                <a:gd name="connsiteY58" fmla="*/ 1843 h 10000"/>
                <a:gd name="connsiteX59" fmla="*/ 3444 w 10000"/>
                <a:gd name="connsiteY59" fmla="*/ 1964 h 10000"/>
                <a:gd name="connsiteX60" fmla="*/ 3332 w 10000"/>
                <a:gd name="connsiteY60" fmla="*/ 1996 h 10000"/>
                <a:gd name="connsiteX61" fmla="*/ 3272 w 10000"/>
                <a:gd name="connsiteY61" fmla="*/ 2161 h 10000"/>
                <a:gd name="connsiteX62" fmla="*/ 3235 w 10000"/>
                <a:gd name="connsiteY62" fmla="*/ 2013 h 10000"/>
                <a:gd name="connsiteX63" fmla="*/ 3123 w 10000"/>
                <a:gd name="connsiteY63" fmla="*/ 2024 h 10000"/>
                <a:gd name="connsiteX64" fmla="*/ 3078 w 10000"/>
                <a:gd name="connsiteY64" fmla="*/ 2128 h 10000"/>
                <a:gd name="connsiteX65" fmla="*/ 3011 w 10000"/>
                <a:gd name="connsiteY65" fmla="*/ 1975 h 10000"/>
                <a:gd name="connsiteX66" fmla="*/ 2895 w 10000"/>
                <a:gd name="connsiteY66" fmla="*/ 2117 h 10000"/>
                <a:gd name="connsiteX67" fmla="*/ 2783 w 10000"/>
                <a:gd name="connsiteY67" fmla="*/ 2106 h 10000"/>
                <a:gd name="connsiteX68" fmla="*/ 2779 w 10000"/>
                <a:gd name="connsiteY68" fmla="*/ 2276 h 10000"/>
                <a:gd name="connsiteX69" fmla="*/ 2727 w 10000"/>
                <a:gd name="connsiteY69" fmla="*/ 2144 h 10000"/>
                <a:gd name="connsiteX70" fmla="*/ 2559 w 10000"/>
                <a:gd name="connsiteY70" fmla="*/ 2155 h 10000"/>
                <a:gd name="connsiteX71" fmla="*/ 2438 w 10000"/>
                <a:gd name="connsiteY71" fmla="*/ 1980 h 10000"/>
                <a:gd name="connsiteX72" fmla="*/ 2293 w 10000"/>
                <a:gd name="connsiteY72" fmla="*/ 2073 h 10000"/>
                <a:gd name="connsiteX73" fmla="*/ 2143 w 10000"/>
                <a:gd name="connsiteY73" fmla="*/ 1958 h 10000"/>
                <a:gd name="connsiteX74" fmla="*/ 2057 w 10000"/>
                <a:gd name="connsiteY74" fmla="*/ 2035 h 10000"/>
                <a:gd name="connsiteX75" fmla="*/ 1975 w 10000"/>
                <a:gd name="connsiteY75" fmla="*/ 1947 h 10000"/>
                <a:gd name="connsiteX76" fmla="*/ 1852 w 10000"/>
                <a:gd name="connsiteY76" fmla="*/ 1936 h 10000"/>
                <a:gd name="connsiteX77" fmla="*/ 1669 w 10000"/>
                <a:gd name="connsiteY77" fmla="*/ 1925 h 10000"/>
                <a:gd name="connsiteX78" fmla="*/ 1444 w 10000"/>
                <a:gd name="connsiteY78" fmla="*/ 1991 h 10000"/>
                <a:gd name="connsiteX79" fmla="*/ 1205 w 10000"/>
                <a:gd name="connsiteY79" fmla="*/ 2062 h 10000"/>
                <a:gd name="connsiteX80" fmla="*/ 921 w 10000"/>
                <a:gd name="connsiteY80" fmla="*/ 2166 h 10000"/>
                <a:gd name="connsiteX81" fmla="*/ 797 w 10000"/>
                <a:gd name="connsiteY81" fmla="*/ 2496 h 10000"/>
                <a:gd name="connsiteX82" fmla="*/ 603 w 10000"/>
                <a:gd name="connsiteY82" fmla="*/ 2501 h 10000"/>
                <a:gd name="connsiteX83" fmla="*/ 540 w 10000"/>
                <a:gd name="connsiteY83" fmla="*/ 2687 h 10000"/>
                <a:gd name="connsiteX84" fmla="*/ 558 w 10000"/>
                <a:gd name="connsiteY84" fmla="*/ 2764 h 10000"/>
                <a:gd name="connsiteX85" fmla="*/ 577 w 10000"/>
                <a:gd name="connsiteY85" fmla="*/ 2868 h 10000"/>
                <a:gd name="connsiteX86" fmla="*/ 577 w 10000"/>
                <a:gd name="connsiteY86" fmla="*/ 2868 h 10000"/>
                <a:gd name="connsiteX87" fmla="*/ 577 w 10000"/>
                <a:gd name="connsiteY87" fmla="*/ 2896 h 10000"/>
                <a:gd name="connsiteX88" fmla="*/ 682 w 10000"/>
                <a:gd name="connsiteY88" fmla="*/ 3116 h 10000"/>
                <a:gd name="connsiteX89" fmla="*/ 786 w 10000"/>
                <a:gd name="connsiteY89" fmla="*/ 3351 h 10000"/>
                <a:gd name="connsiteX90" fmla="*/ 921 w 10000"/>
                <a:gd name="connsiteY90" fmla="*/ 3488 h 10000"/>
                <a:gd name="connsiteX91" fmla="*/ 876 w 10000"/>
                <a:gd name="connsiteY91" fmla="*/ 3548 h 10000"/>
                <a:gd name="connsiteX92" fmla="*/ 805 w 10000"/>
                <a:gd name="connsiteY92" fmla="*/ 3603 h 10000"/>
                <a:gd name="connsiteX93" fmla="*/ 887 w 10000"/>
                <a:gd name="connsiteY93" fmla="*/ 3697 h 10000"/>
                <a:gd name="connsiteX94" fmla="*/ 876 w 10000"/>
                <a:gd name="connsiteY94" fmla="*/ 4053 h 10000"/>
                <a:gd name="connsiteX95" fmla="*/ 693 w 10000"/>
                <a:gd name="connsiteY95" fmla="*/ 4124 h 10000"/>
                <a:gd name="connsiteX96" fmla="*/ 498 w 10000"/>
                <a:gd name="connsiteY96" fmla="*/ 4531 h 10000"/>
                <a:gd name="connsiteX97" fmla="*/ 371 w 10000"/>
                <a:gd name="connsiteY97" fmla="*/ 4936 h 10000"/>
                <a:gd name="connsiteX98" fmla="*/ 195 w 10000"/>
                <a:gd name="connsiteY98" fmla="*/ 5260 h 10000"/>
                <a:gd name="connsiteX99" fmla="*/ 270 w 10000"/>
                <a:gd name="connsiteY99" fmla="*/ 5517 h 10000"/>
                <a:gd name="connsiteX100" fmla="*/ 277 w 10000"/>
                <a:gd name="connsiteY100" fmla="*/ 5732 h 10000"/>
                <a:gd name="connsiteX101" fmla="*/ 400 w 10000"/>
                <a:gd name="connsiteY101" fmla="*/ 5841 h 10000"/>
                <a:gd name="connsiteX102" fmla="*/ 382 w 10000"/>
                <a:gd name="connsiteY102" fmla="*/ 5945 h 10000"/>
                <a:gd name="connsiteX103" fmla="*/ 202 w 10000"/>
                <a:gd name="connsiteY103" fmla="*/ 5852 h 10000"/>
                <a:gd name="connsiteX104" fmla="*/ 124 w 10000"/>
                <a:gd name="connsiteY104" fmla="*/ 6099 h 10000"/>
                <a:gd name="connsiteX105" fmla="*/ 105 w 10000"/>
                <a:gd name="connsiteY105" fmla="*/ 6346 h 10000"/>
                <a:gd name="connsiteX106" fmla="*/ 1 w 10000"/>
                <a:gd name="connsiteY106" fmla="*/ 6571 h 10000"/>
                <a:gd name="connsiteX107" fmla="*/ 19 w 10000"/>
                <a:gd name="connsiteY107" fmla="*/ 6779 h 10000"/>
                <a:gd name="connsiteX108" fmla="*/ 90 w 10000"/>
                <a:gd name="connsiteY108" fmla="*/ 6828 h 10000"/>
                <a:gd name="connsiteX109" fmla="*/ 154 w 10000"/>
                <a:gd name="connsiteY109" fmla="*/ 6960 h 10000"/>
                <a:gd name="connsiteX110" fmla="*/ 240 w 10000"/>
                <a:gd name="connsiteY110" fmla="*/ 6943 h 10000"/>
                <a:gd name="connsiteX111" fmla="*/ 292 w 10000"/>
                <a:gd name="connsiteY111" fmla="*/ 7076 h 10000"/>
                <a:gd name="connsiteX112" fmla="*/ 445 w 10000"/>
                <a:gd name="connsiteY112" fmla="*/ 7103 h 10000"/>
                <a:gd name="connsiteX113" fmla="*/ 453 w 10000"/>
                <a:gd name="connsiteY113" fmla="*/ 7251 h 10000"/>
                <a:gd name="connsiteX114" fmla="*/ 494 w 10000"/>
                <a:gd name="connsiteY114" fmla="*/ 7278 h 10000"/>
                <a:gd name="connsiteX115" fmla="*/ 525 w 10000"/>
                <a:gd name="connsiteY115" fmla="*/ 7174 h 10000"/>
                <a:gd name="connsiteX116" fmla="*/ 581 w 10000"/>
                <a:gd name="connsiteY116" fmla="*/ 7196 h 10000"/>
                <a:gd name="connsiteX117" fmla="*/ 644 w 10000"/>
                <a:gd name="connsiteY117" fmla="*/ 6992 h 10000"/>
                <a:gd name="connsiteX118" fmla="*/ 820 w 10000"/>
                <a:gd name="connsiteY118" fmla="*/ 7174 h 10000"/>
                <a:gd name="connsiteX119" fmla="*/ 1283 w 10000"/>
                <a:gd name="connsiteY119" fmla="*/ 7163 h 10000"/>
                <a:gd name="connsiteX120" fmla="*/ 1466 w 10000"/>
                <a:gd name="connsiteY120" fmla="*/ 7092 h 10000"/>
                <a:gd name="connsiteX121" fmla="*/ 1766 w 10000"/>
                <a:gd name="connsiteY121" fmla="*/ 7344 h 10000"/>
                <a:gd name="connsiteX122" fmla="*/ 1956 w 10000"/>
                <a:gd name="connsiteY122" fmla="*/ 7087 h 10000"/>
                <a:gd name="connsiteX123" fmla="*/ 2382 w 10000"/>
                <a:gd name="connsiteY123" fmla="*/ 6861 h 10000"/>
                <a:gd name="connsiteX124" fmla="*/ 2536 w 10000"/>
                <a:gd name="connsiteY124" fmla="*/ 6489 h 10000"/>
                <a:gd name="connsiteX125" fmla="*/ 2648 w 10000"/>
                <a:gd name="connsiteY125" fmla="*/ 6439 h 10000"/>
                <a:gd name="connsiteX126" fmla="*/ 2648 w 10000"/>
                <a:gd name="connsiteY126" fmla="*/ 6379 h 10000"/>
                <a:gd name="connsiteX127" fmla="*/ 2693 w 10000"/>
                <a:gd name="connsiteY127" fmla="*/ 6379 h 10000"/>
                <a:gd name="connsiteX128" fmla="*/ 2682 w 10000"/>
                <a:gd name="connsiteY128" fmla="*/ 6230 h 10000"/>
                <a:gd name="connsiteX129" fmla="*/ 2820 w 10000"/>
                <a:gd name="connsiteY129" fmla="*/ 6285 h 10000"/>
                <a:gd name="connsiteX130" fmla="*/ 2839 w 10000"/>
                <a:gd name="connsiteY130" fmla="*/ 6159 h 10000"/>
                <a:gd name="connsiteX131" fmla="*/ 2921 w 10000"/>
                <a:gd name="connsiteY131" fmla="*/ 6230 h 10000"/>
                <a:gd name="connsiteX132" fmla="*/ 2981 w 10000"/>
                <a:gd name="connsiteY132" fmla="*/ 6126 h 10000"/>
                <a:gd name="connsiteX133" fmla="*/ 3078 w 10000"/>
                <a:gd name="connsiteY133" fmla="*/ 6154 h 10000"/>
                <a:gd name="connsiteX134" fmla="*/ 3164 w 10000"/>
                <a:gd name="connsiteY134" fmla="*/ 6055 h 10000"/>
                <a:gd name="connsiteX135" fmla="*/ 3328 w 10000"/>
                <a:gd name="connsiteY135" fmla="*/ 6192 h 10000"/>
                <a:gd name="connsiteX136" fmla="*/ 3411 w 10000"/>
                <a:gd name="connsiteY136" fmla="*/ 6197 h 10000"/>
                <a:gd name="connsiteX137" fmla="*/ 3437 w 10000"/>
                <a:gd name="connsiteY137" fmla="*/ 6307 h 10000"/>
                <a:gd name="connsiteX138" fmla="*/ 3591 w 10000"/>
                <a:gd name="connsiteY138" fmla="*/ 6236 h 10000"/>
                <a:gd name="connsiteX139" fmla="*/ 3576 w 10000"/>
                <a:gd name="connsiteY139" fmla="*/ 6357 h 10000"/>
                <a:gd name="connsiteX140" fmla="*/ 3632 w 10000"/>
                <a:gd name="connsiteY140" fmla="*/ 6341 h 10000"/>
                <a:gd name="connsiteX141" fmla="*/ 3699 w 10000"/>
                <a:gd name="connsiteY141" fmla="*/ 6428 h 10000"/>
                <a:gd name="connsiteX142" fmla="*/ 3703 w 10000"/>
                <a:gd name="connsiteY142" fmla="*/ 6301 h 10000"/>
                <a:gd name="connsiteX143" fmla="*/ 3882 w 10000"/>
                <a:gd name="connsiteY143" fmla="*/ 6341 h 10000"/>
                <a:gd name="connsiteX144" fmla="*/ 3946 w 10000"/>
                <a:gd name="connsiteY144" fmla="*/ 6511 h 10000"/>
                <a:gd name="connsiteX145" fmla="*/ 4047 w 10000"/>
                <a:gd name="connsiteY145" fmla="*/ 6494 h 10000"/>
                <a:gd name="connsiteX146" fmla="*/ 4091 w 10000"/>
                <a:gd name="connsiteY146" fmla="*/ 6417 h 10000"/>
                <a:gd name="connsiteX147" fmla="*/ 4192 w 10000"/>
                <a:gd name="connsiteY147" fmla="*/ 6735 h 10000"/>
                <a:gd name="connsiteX148" fmla="*/ 4155 w 10000"/>
                <a:gd name="connsiteY148" fmla="*/ 6987 h 10000"/>
                <a:gd name="connsiteX149" fmla="*/ 4207 w 10000"/>
                <a:gd name="connsiteY149" fmla="*/ 7114 h 10000"/>
                <a:gd name="connsiteX150" fmla="*/ 4278 w 10000"/>
                <a:gd name="connsiteY150" fmla="*/ 7119 h 10000"/>
                <a:gd name="connsiteX151" fmla="*/ 4387 w 10000"/>
                <a:gd name="connsiteY151" fmla="*/ 7256 h 10000"/>
                <a:gd name="connsiteX152" fmla="*/ 4431 w 10000"/>
                <a:gd name="connsiteY152" fmla="*/ 7152 h 10000"/>
                <a:gd name="connsiteX153" fmla="*/ 4480 w 10000"/>
                <a:gd name="connsiteY153" fmla="*/ 7322 h 10000"/>
                <a:gd name="connsiteX154" fmla="*/ 4541 w 10000"/>
                <a:gd name="connsiteY154" fmla="*/ 7662 h 10000"/>
                <a:gd name="connsiteX155" fmla="*/ 4720 w 10000"/>
                <a:gd name="connsiteY155" fmla="*/ 7739 h 10000"/>
                <a:gd name="connsiteX156" fmla="*/ 4761 w 10000"/>
                <a:gd name="connsiteY156" fmla="*/ 8183 h 10000"/>
                <a:gd name="connsiteX157" fmla="*/ 4914 w 10000"/>
                <a:gd name="connsiteY157" fmla="*/ 8276 h 10000"/>
                <a:gd name="connsiteX158" fmla="*/ 4757 w 10000"/>
                <a:gd name="connsiteY158" fmla="*/ 8370 h 10000"/>
                <a:gd name="connsiteX159" fmla="*/ 4705 w 10000"/>
                <a:gd name="connsiteY159" fmla="*/ 8260 h 10000"/>
                <a:gd name="connsiteX160" fmla="*/ 4645 w 10000"/>
                <a:gd name="connsiteY160" fmla="*/ 8403 h 10000"/>
                <a:gd name="connsiteX161" fmla="*/ 4491 w 10000"/>
                <a:gd name="connsiteY161" fmla="*/ 8287 h 10000"/>
                <a:gd name="connsiteX162" fmla="*/ 4405 w 10000"/>
                <a:gd name="connsiteY162" fmla="*/ 8452 h 10000"/>
                <a:gd name="connsiteX163" fmla="*/ 4226 w 10000"/>
                <a:gd name="connsiteY163" fmla="*/ 8331 h 10000"/>
                <a:gd name="connsiteX164" fmla="*/ 4312 w 10000"/>
                <a:gd name="connsiteY164" fmla="*/ 8699 h 10000"/>
                <a:gd name="connsiteX165" fmla="*/ 4304 w 10000"/>
                <a:gd name="connsiteY165" fmla="*/ 8967 h 10000"/>
                <a:gd name="connsiteX166" fmla="*/ 4189 w 10000"/>
                <a:gd name="connsiteY166" fmla="*/ 9088 h 10000"/>
                <a:gd name="connsiteX167" fmla="*/ 4226 w 10000"/>
                <a:gd name="connsiteY167" fmla="*/ 9193 h 10000"/>
                <a:gd name="connsiteX168" fmla="*/ 4065 w 10000"/>
                <a:gd name="connsiteY168" fmla="*/ 9412 h 10000"/>
                <a:gd name="connsiteX169" fmla="*/ 4129 w 10000"/>
                <a:gd name="connsiteY169" fmla="*/ 9647 h 10000"/>
                <a:gd name="connsiteX170" fmla="*/ 3972 w 10000"/>
                <a:gd name="connsiteY170" fmla="*/ 9681 h 10000"/>
                <a:gd name="connsiteX171" fmla="*/ 3931 w 10000"/>
                <a:gd name="connsiteY171" fmla="*/ 9741 h 10000"/>
                <a:gd name="connsiteX172" fmla="*/ 3998 w 10000"/>
                <a:gd name="connsiteY172" fmla="*/ 9785 h 10000"/>
                <a:gd name="connsiteX173" fmla="*/ 4118 w 10000"/>
                <a:gd name="connsiteY173" fmla="*/ 9944 h 10000"/>
                <a:gd name="connsiteX174" fmla="*/ 4312 w 10000"/>
                <a:gd name="connsiteY174" fmla="*/ 9999 h 10000"/>
                <a:gd name="connsiteX175" fmla="*/ 4319 w 10000"/>
                <a:gd name="connsiteY175" fmla="*/ 9851 h 10000"/>
                <a:gd name="connsiteX176" fmla="*/ 4387 w 10000"/>
                <a:gd name="connsiteY176" fmla="*/ 9856 h 10000"/>
                <a:gd name="connsiteX177" fmla="*/ 4675 w 10000"/>
                <a:gd name="connsiteY177" fmla="*/ 9603 h 10000"/>
                <a:gd name="connsiteX178" fmla="*/ 4866 w 10000"/>
                <a:gd name="connsiteY178" fmla="*/ 9845 h 10000"/>
                <a:gd name="connsiteX179" fmla="*/ 4866 w 10000"/>
                <a:gd name="connsiteY179" fmla="*/ 9862 h 10000"/>
                <a:gd name="connsiteX180" fmla="*/ 4896 w 10000"/>
                <a:gd name="connsiteY180" fmla="*/ 9703 h 10000"/>
                <a:gd name="connsiteX181" fmla="*/ 4843 w 10000"/>
                <a:gd name="connsiteY181" fmla="*/ 9570 h 10000"/>
                <a:gd name="connsiteX182" fmla="*/ 4776 w 10000"/>
                <a:gd name="connsiteY182" fmla="*/ 9549 h 10000"/>
                <a:gd name="connsiteX183" fmla="*/ 4821 w 10000"/>
                <a:gd name="connsiteY183" fmla="*/ 9466 h 10000"/>
                <a:gd name="connsiteX184" fmla="*/ 4806 w 10000"/>
                <a:gd name="connsiteY184" fmla="*/ 9444 h 10000"/>
                <a:gd name="connsiteX185" fmla="*/ 4750 w 10000"/>
                <a:gd name="connsiteY185" fmla="*/ 9439 h 10000"/>
                <a:gd name="connsiteX186" fmla="*/ 4720 w 10000"/>
                <a:gd name="connsiteY186" fmla="*/ 9121 h 10000"/>
                <a:gd name="connsiteX187" fmla="*/ 4761 w 10000"/>
                <a:gd name="connsiteY187" fmla="*/ 9105 h 10000"/>
                <a:gd name="connsiteX188" fmla="*/ 4783 w 10000"/>
                <a:gd name="connsiteY188" fmla="*/ 9253 h 10000"/>
                <a:gd name="connsiteX189" fmla="*/ 4836 w 10000"/>
                <a:gd name="connsiteY189" fmla="*/ 9384 h 10000"/>
                <a:gd name="connsiteX190" fmla="*/ 4881 w 10000"/>
                <a:gd name="connsiteY190" fmla="*/ 9302 h 10000"/>
                <a:gd name="connsiteX191" fmla="*/ 4869 w 10000"/>
                <a:gd name="connsiteY191" fmla="*/ 9220 h 10000"/>
                <a:gd name="connsiteX192" fmla="*/ 4940 w 10000"/>
                <a:gd name="connsiteY192" fmla="*/ 9203 h 10000"/>
                <a:gd name="connsiteX193" fmla="*/ 4903 w 10000"/>
                <a:gd name="connsiteY193" fmla="*/ 9034 h 10000"/>
                <a:gd name="connsiteX194" fmla="*/ 5000 w 10000"/>
                <a:gd name="connsiteY194" fmla="*/ 9061 h 10000"/>
                <a:gd name="connsiteX195" fmla="*/ 5004 w 10000"/>
                <a:gd name="connsiteY195" fmla="*/ 8972 h 10000"/>
                <a:gd name="connsiteX196" fmla="*/ 5041 w 10000"/>
                <a:gd name="connsiteY196" fmla="*/ 9039 h 10000"/>
                <a:gd name="connsiteX197" fmla="*/ 5206 w 10000"/>
                <a:gd name="connsiteY197" fmla="*/ 8781 h 10000"/>
                <a:gd name="connsiteX198" fmla="*/ 5112 w 10000"/>
                <a:gd name="connsiteY198" fmla="*/ 8584 h 10000"/>
                <a:gd name="connsiteX199" fmla="*/ 4937 w 10000"/>
                <a:gd name="connsiteY199" fmla="*/ 8425 h 10000"/>
                <a:gd name="connsiteX200" fmla="*/ 5037 w 10000"/>
                <a:gd name="connsiteY200" fmla="*/ 8370 h 10000"/>
                <a:gd name="connsiteX201" fmla="*/ 5183 w 10000"/>
                <a:gd name="connsiteY201" fmla="*/ 8633 h 10000"/>
                <a:gd name="connsiteX202" fmla="*/ 5292 w 10000"/>
                <a:gd name="connsiteY202" fmla="*/ 8199 h 10000"/>
                <a:gd name="connsiteX203" fmla="*/ 5299 w 10000"/>
                <a:gd name="connsiteY203" fmla="*/ 8030 h 10000"/>
                <a:gd name="connsiteX204" fmla="*/ 5482 w 10000"/>
                <a:gd name="connsiteY204" fmla="*/ 7942 h 10000"/>
                <a:gd name="connsiteX205" fmla="*/ 5550 w 10000"/>
                <a:gd name="connsiteY205" fmla="*/ 7607 h 10000"/>
                <a:gd name="connsiteX206" fmla="*/ 5561 w 10000"/>
                <a:gd name="connsiteY206" fmla="*/ 7734 h 10000"/>
                <a:gd name="connsiteX207" fmla="*/ 5677 w 10000"/>
                <a:gd name="connsiteY207" fmla="*/ 7596 h 10000"/>
                <a:gd name="connsiteX208" fmla="*/ 5759 w 10000"/>
                <a:gd name="connsiteY208" fmla="*/ 7579 h 10000"/>
                <a:gd name="connsiteX209" fmla="*/ 5842 w 10000"/>
                <a:gd name="connsiteY209" fmla="*/ 7207 h 10000"/>
                <a:gd name="connsiteX210" fmla="*/ 5916 w 10000"/>
                <a:gd name="connsiteY210" fmla="*/ 7486 h 10000"/>
                <a:gd name="connsiteX211" fmla="*/ 6137 w 10000"/>
                <a:gd name="connsiteY211" fmla="*/ 7563 h 10000"/>
                <a:gd name="connsiteX212" fmla="*/ 5969 w 10000"/>
                <a:gd name="connsiteY212" fmla="*/ 7618 h 10000"/>
                <a:gd name="connsiteX213" fmla="*/ 5954 w 10000"/>
                <a:gd name="connsiteY213" fmla="*/ 7679 h 10000"/>
                <a:gd name="connsiteX214" fmla="*/ 5786 w 10000"/>
                <a:gd name="connsiteY214" fmla="*/ 7690 h 10000"/>
                <a:gd name="connsiteX215" fmla="*/ 5700 w 10000"/>
                <a:gd name="connsiteY215" fmla="*/ 7723 h 10000"/>
                <a:gd name="connsiteX216" fmla="*/ 5767 w 10000"/>
                <a:gd name="connsiteY216" fmla="*/ 7772 h 10000"/>
                <a:gd name="connsiteX217" fmla="*/ 5827 w 10000"/>
                <a:gd name="connsiteY217" fmla="*/ 7756 h 10000"/>
                <a:gd name="connsiteX218" fmla="*/ 5991 w 10000"/>
                <a:gd name="connsiteY218" fmla="*/ 7789 h 10000"/>
                <a:gd name="connsiteX219" fmla="*/ 5804 w 10000"/>
                <a:gd name="connsiteY219" fmla="*/ 7964 h 10000"/>
                <a:gd name="connsiteX220" fmla="*/ 5872 w 10000"/>
                <a:gd name="connsiteY220" fmla="*/ 8008 h 10000"/>
                <a:gd name="connsiteX221" fmla="*/ 6043 w 10000"/>
                <a:gd name="connsiteY221" fmla="*/ 7958 h 10000"/>
                <a:gd name="connsiteX222" fmla="*/ 6275 w 10000"/>
                <a:gd name="connsiteY222" fmla="*/ 8101 h 10000"/>
                <a:gd name="connsiteX223" fmla="*/ 6575 w 10000"/>
                <a:gd name="connsiteY223" fmla="*/ 7909 h 10000"/>
                <a:gd name="connsiteX224" fmla="*/ 6870 w 10000"/>
                <a:gd name="connsiteY224" fmla="*/ 7887 h 10000"/>
                <a:gd name="connsiteX225" fmla="*/ 6915 w 10000"/>
                <a:gd name="connsiteY225" fmla="*/ 7745 h 10000"/>
                <a:gd name="connsiteX226" fmla="*/ 6993 w 10000"/>
                <a:gd name="connsiteY226" fmla="*/ 7958 h 10000"/>
                <a:gd name="connsiteX227" fmla="*/ 7075 w 10000"/>
                <a:gd name="connsiteY227" fmla="*/ 7986 h 10000"/>
                <a:gd name="connsiteX228" fmla="*/ 7045 w 10000"/>
                <a:gd name="connsiteY228" fmla="*/ 8134 h 10000"/>
                <a:gd name="connsiteX229" fmla="*/ 6788 w 10000"/>
                <a:gd name="connsiteY229" fmla="*/ 8281 h 10000"/>
                <a:gd name="connsiteX230" fmla="*/ 6769 w 10000"/>
                <a:gd name="connsiteY230" fmla="*/ 8386 h 10000"/>
                <a:gd name="connsiteX231" fmla="*/ 6627 w 10000"/>
                <a:gd name="connsiteY231" fmla="*/ 8523 h 10000"/>
                <a:gd name="connsiteX232" fmla="*/ 6623 w 10000"/>
                <a:gd name="connsiteY232" fmla="*/ 8649 h 10000"/>
                <a:gd name="connsiteX233" fmla="*/ 6537 w 10000"/>
                <a:gd name="connsiteY233" fmla="*/ 8704 h 10000"/>
                <a:gd name="connsiteX234" fmla="*/ 6428 w 10000"/>
                <a:gd name="connsiteY234" fmla="*/ 8989 h 10000"/>
                <a:gd name="connsiteX235" fmla="*/ 6582 w 10000"/>
                <a:gd name="connsiteY235" fmla="*/ 9001 h 10000"/>
                <a:gd name="connsiteX236" fmla="*/ 6672 w 10000"/>
                <a:gd name="connsiteY236" fmla="*/ 8879 h 10000"/>
                <a:gd name="connsiteX237" fmla="*/ 6769 w 10000"/>
                <a:gd name="connsiteY237" fmla="*/ 8912 h 10000"/>
                <a:gd name="connsiteX238" fmla="*/ 6814 w 10000"/>
                <a:gd name="connsiteY238" fmla="*/ 8786 h 10000"/>
                <a:gd name="connsiteX239" fmla="*/ 6877 w 10000"/>
                <a:gd name="connsiteY239" fmla="*/ 9001 h 10000"/>
                <a:gd name="connsiteX240" fmla="*/ 7060 w 10000"/>
                <a:gd name="connsiteY240" fmla="*/ 8994 h 10000"/>
                <a:gd name="connsiteX241" fmla="*/ 7217 w 10000"/>
                <a:gd name="connsiteY241" fmla="*/ 9362 h 10000"/>
                <a:gd name="connsiteX242" fmla="*/ 7232 w 10000"/>
                <a:gd name="connsiteY242" fmla="*/ 9675 h 10000"/>
                <a:gd name="connsiteX243" fmla="*/ 7176 w 10000"/>
                <a:gd name="connsiteY243" fmla="*/ 9692 h 10000"/>
                <a:gd name="connsiteX244" fmla="*/ 7187 w 10000"/>
                <a:gd name="connsiteY244" fmla="*/ 9780 h 10000"/>
                <a:gd name="connsiteX245" fmla="*/ 7423 w 10000"/>
                <a:gd name="connsiteY245" fmla="*/ 9900 h 10000"/>
                <a:gd name="connsiteX246" fmla="*/ 7741 w 10000"/>
                <a:gd name="connsiteY246" fmla="*/ 9565 h 10000"/>
                <a:gd name="connsiteX247" fmla="*/ 7879 w 10000"/>
                <a:gd name="connsiteY247" fmla="*/ 9176 h 10000"/>
                <a:gd name="connsiteX248" fmla="*/ 8107 w 10000"/>
                <a:gd name="connsiteY248" fmla="*/ 9023 h 10000"/>
                <a:gd name="connsiteX249" fmla="*/ 8182 w 10000"/>
                <a:gd name="connsiteY249" fmla="*/ 8841 h 10000"/>
                <a:gd name="connsiteX250" fmla="*/ 8268 w 10000"/>
                <a:gd name="connsiteY250" fmla="*/ 8786 h 10000"/>
                <a:gd name="connsiteX251" fmla="*/ 8320 w 10000"/>
                <a:gd name="connsiteY251" fmla="*/ 8512 h 10000"/>
                <a:gd name="connsiteX252" fmla="*/ 8542 w 10000"/>
                <a:gd name="connsiteY252" fmla="*/ 8617 h 10000"/>
                <a:gd name="connsiteX253" fmla="*/ 8672 w 10000"/>
                <a:gd name="connsiteY253" fmla="*/ 8474 h 10000"/>
                <a:gd name="connsiteX254" fmla="*/ 8855 w 10000"/>
                <a:gd name="connsiteY254" fmla="*/ 8343 h 10000"/>
                <a:gd name="connsiteX255" fmla="*/ 8781 w 10000"/>
                <a:gd name="connsiteY255" fmla="*/ 8128 h 10000"/>
                <a:gd name="connsiteX256" fmla="*/ 7708 w 10000"/>
                <a:gd name="connsiteY256" fmla="*/ 7991 h 10000"/>
                <a:gd name="connsiteX257" fmla="*/ 7682 w 10000"/>
                <a:gd name="connsiteY257" fmla="*/ 7904 h 10000"/>
                <a:gd name="connsiteX258" fmla="*/ 7607 w 10000"/>
                <a:gd name="connsiteY258" fmla="*/ 8002 h 10000"/>
                <a:gd name="connsiteX259" fmla="*/ 7715 w 10000"/>
                <a:gd name="connsiteY259" fmla="*/ 7761 h 10000"/>
                <a:gd name="connsiteX260" fmla="*/ 7674 w 10000"/>
                <a:gd name="connsiteY260" fmla="*/ 7717 h 10000"/>
                <a:gd name="connsiteX261" fmla="*/ 7554 w 10000"/>
                <a:gd name="connsiteY261" fmla="*/ 7915 h 10000"/>
                <a:gd name="connsiteX262" fmla="*/ 7618 w 10000"/>
                <a:gd name="connsiteY262" fmla="*/ 7712 h 10000"/>
                <a:gd name="connsiteX263" fmla="*/ 7532 w 10000"/>
                <a:gd name="connsiteY263" fmla="*/ 7767 h 10000"/>
                <a:gd name="connsiteX264" fmla="*/ 7419 w 10000"/>
                <a:gd name="connsiteY264" fmla="*/ 7717 h 10000"/>
                <a:gd name="connsiteX265" fmla="*/ 7333 w 10000"/>
                <a:gd name="connsiteY265" fmla="*/ 7794 h 10000"/>
                <a:gd name="connsiteX266" fmla="*/ 7240 w 10000"/>
                <a:gd name="connsiteY266" fmla="*/ 7728 h 10000"/>
                <a:gd name="connsiteX267" fmla="*/ 7087 w 10000"/>
                <a:gd name="connsiteY267" fmla="*/ 7717 h 10000"/>
                <a:gd name="connsiteX268" fmla="*/ 7090 w 10000"/>
                <a:gd name="connsiteY268" fmla="*/ 7547 h 10000"/>
                <a:gd name="connsiteX269" fmla="*/ 7229 w 10000"/>
                <a:gd name="connsiteY269" fmla="*/ 7662 h 10000"/>
                <a:gd name="connsiteX270" fmla="*/ 7273 w 10000"/>
                <a:gd name="connsiteY270" fmla="*/ 7541 h 10000"/>
                <a:gd name="connsiteX271" fmla="*/ 7236 w 10000"/>
                <a:gd name="connsiteY271" fmla="*/ 7410 h 10000"/>
                <a:gd name="connsiteX272" fmla="*/ 7341 w 10000"/>
                <a:gd name="connsiteY272" fmla="*/ 7547 h 10000"/>
                <a:gd name="connsiteX273" fmla="*/ 7483 w 10000"/>
                <a:gd name="connsiteY273" fmla="*/ 7536 h 10000"/>
                <a:gd name="connsiteX274" fmla="*/ 7506 w 10000"/>
                <a:gd name="connsiteY274" fmla="*/ 7685 h 10000"/>
                <a:gd name="connsiteX275" fmla="*/ 7547 w 10000"/>
                <a:gd name="connsiteY275" fmla="*/ 7685 h 10000"/>
                <a:gd name="connsiteX276" fmla="*/ 7558 w 10000"/>
                <a:gd name="connsiteY276" fmla="*/ 7415 h 10000"/>
                <a:gd name="connsiteX277" fmla="*/ 7607 w 10000"/>
                <a:gd name="connsiteY277" fmla="*/ 7585 h 10000"/>
                <a:gd name="connsiteX278" fmla="*/ 7693 w 10000"/>
                <a:gd name="connsiteY278" fmla="*/ 7590 h 10000"/>
                <a:gd name="connsiteX279" fmla="*/ 7629 w 10000"/>
                <a:gd name="connsiteY279" fmla="*/ 7333 h 10000"/>
                <a:gd name="connsiteX280" fmla="*/ 7786 w 10000"/>
                <a:gd name="connsiteY280" fmla="*/ 7240 h 10000"/>
                <a:gd name="connsiteX281" fmla="*/ 7779 w 10000"/>
                <a:gd name="connsiteY281" fmla="*/ 6987 h 10000"/>
                <a:gd name="connsiteX282" fmla="*/ 7887 w 10000"/>
                <a:gd name="connsiteY282" fmla="*/ 7081 h 10000"/>
                <a:gd name="connsiteX283" fmla="*/ 7906 w 10000"/>
                <a:gd name="connsiteY283" fmla="*/ 7015 h 10000"/>
                <a:gd name="connsiteX284" fmla="*/ 7775 w 10000"/>
                <a:gd name="connsiteY284" fmla="*/ 6735 h 10000"/>
                <a:gd name="connsiteX285" fmla="*/ 7950 w 10000"/>
                <a:gd name="connsiteY285" fmla="*/ 6894 h 10000"/>
                <a:gd name="connsiteX286" fmla="*/ 8171 w 10000"/>
                <a:gd name="connsiteY286" fmla="*/ 6511 h 10000"/>
                <a:gd name="connsiteX287" fmla="*/ 8384 w 10000"/>
                <a:gd name="connsiteY287" fmla="*/ 6483 h 10000"/>
                <a:gd name="connsiteX288" fmla="*/ 8429 w 10000"/>
                <a:gd name="connsiteY28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75 w 10000"/>
                <a:gd name="connsiteY12" fmla="*/ 2259 h 10000"/>
                <a:gd name="connsiteX13" fmla="*/ 9656 w 10000"/>
                <a:gd name="connsiteY13" fmla="*/ 2024 h 10000"/>
                <a:gd name="connsiteX14" fmla="*/ 9663 w 10000"/>
                <a:gd name="connsiteY14" fmla="*/ 1810 h 10000"/>
                <a:gd name="connsiteX15" fmla="*/ 9143 w 10000"/>
                <a:gd name="connsiteY15" fmla="*/ 1838 h 10000"/>
                <a:gd name="connsiteX16" fmla="*/ 9091 w 10000"/>
                <a:gd name="connsiteY16" fmla="*/ 1712 h 10000"/>
                <a:gd name="connsiteX17" fmla="*/ 9020 w 10000"/>
                <a:gd name="connsiteY17" fmla="*/ 1728 h 10000"/>
                <a:gd name="connsiteX18" fmla="*/ 7569 w 10000"/>
                <a:gd name="connsiteY18" fmla="*/ 1873 h 10000"/>
                <a:gd name="connsiteX19" fmla="*/ 7165 w 10000"/>
                <a:gd name="connsiteY19" fmla="*/ 1996 h 10000"/>
                <a:gd name="connsiteX20" fmla="*/ 6892 w 10000"/>
                <a:gd name="connsiteY20" fmla="*/ 1827 h 10000"/>
                <a:gd name="connsiteX21" fmla="*/ 6922 w 10000"/>
                <a:gd name="connsiteY21" fmla="*/ 1728 h 10000"/>
                <a:gd name="connsiteX22" fmla="*/ 6765 w 10000"/>
                <a:gd name="connsiteY22" fmla="*/ 1398 h 10000"/>
                <a:gd name="connsiteX23" fmla="*/ 6799 w 10000"/>
                <a:gd name="connsiteY23" fmla="*/ 1256 h 10000"/>
                <a:gd name="connsiteX24" fmla="*/ 6728 w 10000"/>
                <a:gd name="connsiteY24" fmla="*/ 1229 h 10000"/>
                <a:gd name="connsiteX25" fmla="*/ 6657 w 10000"/>
                <a:gd name="connsiteY25" fmla="*/ 1311 h 10000"/>
                <a:gd name="connsiteX26" fmla="*/ 6593 w 10000"/>
                <a:gd name="connsiteY26" fmla="*/ 1114 h 10000"/>
                <a:gd name="connsiteX27" fmla="*/ 6391 w 10000"/>
                <a:gd name="connsiteY27" fmla="*/ 1311 h 10000"/>
                <a:gd name="connsiteX28" fmla="*/ 6309 w 10000"/>
                <a:gd name="connsiteY28" fmla="*/ 1223 h 10000"/>
                <a:gd name="connsiteX29" fmla="*/ 6126 w 10000"/>
                <a:gd name="connsiteY29" fmla="*/ 1273 h 10000"/>
                <a:gd name="connsiteX30" fmla="*/ 6144 w 10000"/>
                <a:gd name="connsiteY30" fmla="*/ 1125 h 10000"/>
                <a:gd name="connsiteX31" fmla="*/ 6073 w 10000"/>
                <a:gd name="connsiteY31" fmla="*/ 1119 h 10000"/>
                <a:gd name="connsiteX32" fmla="*/ 6040 w 10000"/>
                <a:gd name="connsiteY32" fmla="*/ 910 h 10000"/>
                <a:gd name="connsiteX33" fmla="*/ 5942 w 10000"/>
                <a:gd name="connsiteY33" fmla="*/ 795 h 10000"/>
                <a:gd name="connsiteX34" fmla="*/ 6144 w 10000"/>
                <a:gd name="connsiteY34" fmla="*/ 620 h 10000"/>
                <a:gd name="connsiteX35" fmla="*/ 5901 w 10000"/>
                <a:gd name="connsiteY35" fmla="*/ 395 h 10000"/>
                <a:gd name="connsiteX36" fmla="*/ 5853 w 10000"/>
                <a:gd name="connsiteY36" fmla="*/ 142 h 10000"/>
                <a:gd name="connsiteX37" fmla="*/ 5741 w 10000"/>
                <a:gd name="connsiteY37" fmla="*/ 110 h 10000"/>
                <a:gd name="connsiteX38" fmla="*/ 5647 w 10000"/>
                <a:gd name="connsiteY38" fmla="*/ 0 h 10000"/>
                <a:gd name="connsiteX39" fmla="*/ 5547 w 10000"/>
                <a:gd name="connsiteY39" fmla="*/ 120 h 10000"/>
                <a:gd name="connsiteX40" fmla="*/ 5377 w 10000"/>
                <a:gd name="connsiteY40" fmla="*/ 110 h 10000"/>
                <a:gd name="connsiteX41" fmla="*/ 5232 w 10000"/>
                <a:gd name="connsiteY41" fmla="*/ 351 h 10000"/>
                <a:gd name="connsiteX42" fmla="*/ 4952 w 10000"/>
                <a:gd name="connsiteY42" fmla="*/ 329 h 10000"/>
                <a:gd name="connsiteX43" fmla="*/ 4884 w 10000"/>
                <a:gd name="connsiteY43" fmla="*/ 680 h 10000"/>
                <a:gd name="connsiteX44" fmla="*/ 4701 w 10000"/>
                <a:gd name="connsiteY44" fmla="*/ 707 h 10000"/>
                <a:gd name="connsiteX45" fmla="*/ 4795 w 10000"/>
                <a:gd name="connsiteY45" fmla="*/ 844 h 10000"/>
                <a:gd name="connsiteX46" fmla="*/ 4739 w 10000"/>
                <a:gd name="connsiteY46" fmla="*/ 899 h 10000"/>
                <a:gd name="connsiteX47" fmla="*/ 4612 w 10000"/>
                <a:gd name="connsiteY47" fmla="*/ 894 h 10000"/>
                <a:gd name="connsiteX48" fmla="*/ 4439 w 10000"/>
                <a:gd name="connsiteY48" fmla="*/ 1026 h 10000"/>
                <a:gd name="connsiteX49" fmla="*/ 4252 w 10000"/>
                <a:gd name="connsiteY49" fmla="*/ 1668 h 10000"/>
                <a:gd name="connsiteX50" fmla="*/ 4308 w 10000"/>
                <a:gd name="connsiteY50" fmla="*/ 2090 h 10000"/>
                <a:gd name="connsiteX51" fmla="*/ 4121 w 10000"/>
                <a:gd name="connsiteY51" fmla="*/ 1865 h 10000"/>
                <a:gd name="connsiteX52" fmla="*/ 3849 w 10000"/>
                <a:gd name="connsiteY52" fmla="*/ 1991 h 10000"/>
                <a:gd name="connsiteX53" fmla="*/ 3822 w 10000"/>
                <a:gd name="connsiteY53" fmla="*/ 1931 h 10000"/>
                <a:gd name="connsiteX54" fmla="*/ 3695 w 10000"/>
                <a:gd name="connsiteY54" fmla="*/ 2002 h 10000"/>
                <a:gd name="connsiteX55" fmla="*/ 3621 w 10000"/>
                <a:gd name="connsiteY55" fmla="*/ 2144 h 10000"/>
                <a:gd name="connsiteX56" fmla="*/ 3561 w 10000"/>
                <a:gd name="connsiteY56" fmla="*/ 1909 h 10000"/>
                <a:gd name="connsiteX57" fmla="*/ 3478 w 10000"/>
                <a:gd name="connsiteY57" fmla="*/ 1843 h 10000"/>
                <a:gd name="connsiteX58" fmla="*/ 3444 w 10000"/>
                <a:gd name="connsiteY58" fmla="*/ 1964 h 10000"/>
                <a:gd name="connsiteX59" fmla="*/ 3332 w 10000"/>
                <a:gd name="connsiteY59" fmla="*/ 1996 h 10000"/>
                <a:gd name="connsiteX60" fmla="*/ 3272 w 10000"/>
                <a:gd name="connsiteY60" fmla="*/ 2161 h 10000"/>
                <a:gd name="connsiteX61" fmla="*/ 3235 w 10000"/>
                <a:gd name="connsiteY61" fmla="*/ 2013 h 10000"/>
                <a:gd name="connsiteX62" fmla="*/ 3123 w 10000"/>
                <a:gd name="connsiteY62" fmla="*/ 2024 h 10000"/>
                <a:gd name="connsiteX63" fmla="*/ 3078 w 10000"/>
                <a:gd name="connsiteY63" fmla="*/ 2128 h 10000"/>
                <a:gd name="connsiteX64" fmla="*/ 3011 w 10000"/>
                <a:gd name="connsiteY64" fmla="*/ 1975 h 10000"/>
                <a:gd name="connsiteX65" fmla="*/ 2895 w 10000"/>
                <a:gd name="connsiteY65" fmla="*/ 2117 h 10000"/>
                <a:gd name="connsiteX66" fmla="*/ 2783 w 10000"/>
                <a:gd name="connsiteY66" fmla="*/ 2106 h 10000"/>
                <a:gd name="connsiteX67" fmla="*/ 2779 w 10000"/>
                <a:gd name="connsiteY67" fmla="*/ 2276 h 10000"/>
                <a:gd name="connsiteX68" fmla="*/ 2727 w 10000"/>
                <a:gd name="connsiteY68" fmla="*/ 2144 h 10000"/>
                <a:gd name="connsiteX69" fmla="*/ 2559 w 10000"/>
                <a:gd name="connsiteY69" fmla="*/ 2155 h 10000"/>
                <a:gd name="connsiteX70" fmla="*/ 2438 w 10000"/>
                <a:gd name="connsiteY70" fmla="*/ 1980 h 10000"/>
                <a:gd name="connsiteX71" fmla="*/ 2293 w 10000"/>
                <a:gd name="connsiteY71" fmla="*/ 2073 h 10000"/>
                <a:gd name="connsiteX72" fmla="*/ 2143 w 10000"/>
                <a:gd name="connsiteY72" fmla="*/ 1958 h 10000"/>
                <a:gd name="connsiteX73" fmla="*/ 2057 w 10000"/>
                <a:gd name="connsiteY73" fmla="*/ 2035 h 10000"/>
                <a:gd name="connsiteX74" fmla="*/ 1975 w 10000"/>
                <a:gd name="connsiteY74" fmla="*/ 1947 h 10000"/>
                <a:gd name="connsiteX75" fmla="*/ 1852 w 10000"/>
                <a:gd name="connsiteY75" fmla="*/ 1936 h 10000"/>
                <a:gd name="connsiteX76" fmla="*/ 1669 w 10000"/>
                <a:gd name="connsiteY76" fmla="*/ 1925 h 10000"/>
                <a:gd name="connsiteX77" fmla="*/ 1444 w 10000"/>
                <a:gd name="connsiteY77" fmla="*/ 1991 h 10000"/>
                <a:gd name="connsiteX78" fmla="*/ 1205 w 10000"/>
                <a:gd name="connsiteY78" fmla="*/ 2062 h 10000"/>
                <a:gd name="connsiteX79" fmla="*/ 921 w 10000"/>
                <a:gd name="connsiteY79" fmla="*/ 2166 h 10000"/>
                <a:gd name="connsiteX80" fmla="*/ 797 w 10000"/>
                <a:gd name="connsiteY80" fmla="*/ 2496 h 10000"/>
                <a:gd name="connsiteX81" fmla="*/ 603 w 10000"/>
                <a:gd name="connsiteY81" fmla="*/ 2501 h 10000"/>
                <a:gd name="connsiteX82" fmla="*/ 540 w 10000"/>
                <a:gd name="connsiteY82" fmla="*/ 2687 h 10000"/>
                <a:gd name="connsiteX83" fmla="*/ 558 w 10000"/>
                <a:gd name="connsiteY83" fmla="*/ 2764 h 10000"/>
                <a:gd name="connsiteX84" fmla="*/ 577 w 10000"/>
                <a:gd name="connsiteY84" fmla="*/ 2868 h 10000"/>
                <a:gd name="connsiteX85" fmla="*/ 577 w 10000"/>
                <a:gd name="connsiteY85" fmla="*/ 2868 h 10000"/>
                <a:gd name="connsiteX86" fmla="*/ 577 w 10000"/>
                <a:gd name="connsiteY86" fmla="*/ 2896 h 10000"/>
                <a:gd name="connsiteX87" fmla="*/ 682 w 10000"/>
                <a:gd name="connsiteY87" fmla="*/ 3116 h 10000"/>
                <a:gd name="connsiteX88" fmla="*/ 786 w 10000"/>
                <a:gd name="connsiteY88" fmla="*/ 3351 h 10000"/>
                <a:gd name="connsiteX89" fmla="*/ 921 w 10000"/>
                <a:gd name="connsiteY89" fmla="*/ 3488 h 10000"/>
                <a:gd name="connsiteX90" fmla="*/ 876 w 10000"/>
                <a:gd name="connsiteY90" fmla="*/ 3548 h 10000"/>
                <a:gd name="connsiteX91" fmla="*/ 805 w 10000"/>
                <a:gd name="connsiteY91" fmla="*/ 3603 h 10000"/>
                <a:gd name="connsiteX92" fmla="*/ 887 w 10000"/>
                <a:gd name="connsiteY92" fmla="*/ 3697 h 10000"/>
                <a:gd name="connsiteX93" fmla="*/ 876 w 10000"/>
                <a:gd name="connsiteY93" fmla="*/ 4053 h 10000"/>
                <a:gd name="connsiteX94" fmla="*/ 693 w 10000"/>
                <a:gd name="connsiteY94" fmla="*/ 4124 h 10000"/>
                <a:gd name="connsiteX95" fmla="*/ 498 w 10000"/>
                <a:gd name="connsiteY95" fmla="*/ 4531 h 10000"/>
                <a:gd name="connsiteX96" fmla="*/ 371 w 10000"/>
                <a:gd name="connsiteY96" fmla="*/ 4936 h 10000"/>
                <a:gd name="connsiteX97" fmla="*/ 195 w 10000"/>
                <a:gd name="connsiteY97" fmla="*/ 5260 h 10000"/>
                <a:gd name="connsiteX98" fmla="*/ 270 w 10000"/>
                <a:gd name="connsiteY98" fmla="*/ 5517 h 10000"/>
                <a:gd name="connsiteX99" fmla="*/ 277 w 10000"/>
                <a:gd name="connsiteY99" fmla="*/ 5732 h 10000"/>
                <a:gd name="connsiteX100" fmla="*/ 400 w 10000"/>
                <a:gd name="connsiteY100" fmla="*/ 5841 h 10000"/>
                <a:gd name="connsiteX101" fmla="*/ 382 w 10000"/>
                <a:gd name="connsiteY101" fmla="*/ 5945 h 10000"/>
                <a:gd name="connsiteX102" fmla="*/ 202 w 10000"/>
                <a:gd name="connsiteY102" fmla="*/ 5852 h 10000"/>
                <a:gd name="connsiteX103" fmla="*/ 124 w 10000"/>
                <a:gd name="connsiteY103" fmla="*/ 6099 h 10000"/>
                <a:gd name="connsiteX104" fmla="*/ 105 w 10000"/>
                <a:gd name="connsiteY104" fmla="*/ 6346 h 10000"/>
                <a:gd name="connsiteX105" fmla="*/ 1 w 10000"/>
                <a:gd name="connsiteY105" fmla="*/ 6571 h 10000"/>
                <a:gd name="connsiteX106" fmla="*/ 19 w 10000"/>
                <a:gd name="connsiteY106" fmla="*/ 6779 h 10000"/>
                <a:gd name="connsiteX107" fmla="*/ 90 w 10000"/>
                <a:gd name="connsiteY107" fmla="*/ 6828 h 10000"/>
                <a:gd name="connsiteX108" fmla="*/ 154 w 10000"/>
                <a:gd name="connsiteY108" fmla="*/ 6960 h 10000"/>
                <a:gd name="connsiteX109" fmla="*/ 240 w 10000"/>
                <a:gd name="connsiteY109" fmla="*/ 6943 h 10000"/>
                <a:gd name="connsiteX110" fmla="*/ 292 w 10000"/>
                <a:gd name="connsiteY110" fmla="*/ 7076 h 10000"/>
                <a:gd name="connsiteX111" fmla="*/ 445 w 10000"/>
                <a:gd name="connsiteY111" fmla="*/ 7103 h 10000"/>
                <a:gd name="connsiteX112" fmla="*/ 453 w 10000"/>
                <a:gd name="connsiteY112" fmla="*/ 7251 h 10000"/>
                <a:gd name="connsiteX113" fmla="*/ 494 w 10000"/>
                <a:gd name="connsiteY113" fmla="*/ 7278 h 10000"/>
                <a:gd name="connsiteX114" fmla="*/ 525 w 10000"/>
                <a:gd name="connsiteY114" fmla="*/ 7174 h 10000"/>
                <a:gd name="connsiteX115" fmla="*/ 581 w 10000"/>
                <a:gd name="connsiteY115" fmla="*/ 7196 h 10000"/>
                <a:gd name="connsiteX116" fmla="*/ 644 w 10000"/>
                <a:gd name="connsiteY116" fmla="*/ 6992 h 10000"/>
                <a:gd name="connsiteX117" fmla="*/ 820 w 10000"/>
                <a:gd name="connsiteY117" fmla="*/ 7174 h 10000"/>
                <a:gd name="connsiteX118" fmla="*/ 1283 w 10000"/>
                <a:gd name="connsiteY118" fmla="*/ 7163 h 10000"/>
                <a:gd name="connsiteX119" fmla="*/ 1466 w 10000"/>
                <a:gd name="connsiteY119" fmla="*/ 7092 h 10000"/>
                <a:gd name="connsiteX120" fmla="*/ 1766 w 10000"/>
                <a:gd name="connsiteY120" fmla="*/ 7344 h 10000"/>
                <a:gd name="connsiteX121" fmla="*/ 1956 w 10000"/>
                <a:gd name="connsiteY121" fmla="*/ 7087 h 10000"/>
                <a:gd name="connsiteX122" fmla="*/ 2382 w 10000"/>
                <a:gd name="connsiteY122" fmla="*/ 6861 h 10000"/>
                <a:gd name="connsiteX123" fmla="*/ 2536 w 10000"/>
                <a:gd name="connsiteY123" fmla="*/ 6489 h 10000"/>
                <a:gd name="connsiteX124" fmla="*/ 2648 w 10000"/>
                <a:gd name="connsiteY124" fmla="*/ 6439 h 10000"/>
                <a:gd name="connsiteX125" fmla="*/ 2648 w 10000"/>
                <a:gd name="connsiteY125" fmla="*/ 6379 h 10000"/>
                <a:gd name="connsiteX126" fmla="*/ 2693 w 10000"/>
                <a:gd name="connsiteY126" fmla="*/ 6379 h 10000"/>
                <a:gd name="connsiteX127" fmla="*/ 2682 w 10000"/>
                <a:gd name="connsiteY127" fmla="*/ 6230 h 10000"/>
                <a:gd name="connsiteX128" fmla="*/ 2820 w 10000"/>
                <a:gd name="connsiteY128" fmla="*/ 6285 h 10000"/>
                <a:gd name="connsiteX129" fmla="*/ 2839 w 10000"/>
                <a:gd name="connsiteY129" fmla="*/ 6159 h 10000"/>
                <a:gd name="connsiteX130" fmla="*/ 2921 w 10000"/>
                <a:gd name="connsiteY130" fmla="*/ 6230 h 10000"/>
                <a:gd name="connsiteX131" fmla="*/ 2981 w 10000"/>
                <a:gd name="connsiteY131" fmla="*/ 6126 h 10000"/>
                <a:gd name="connsiteX132" fmla="*/ 3078 w 10000"/>
                <a:gd name="connsiteY132" fmla="*/ 6154 h 10000"/>
                <a:gd name="connsiteX133" fmla="*/ 3164 w 10000"/>
                <a:gd name="connsiteY133" fmla="*/ 6055 h 10000"/>
                <a:gd name="connsiteX134" fmla="*/ 3328 w 10000"/>
                <a:gd name="connsiteY134" fmla="*/ 6192 h 10000"/>
                <a:gd name="connsiteX135" fmla="*/ 3411 w 10000"/>
                <a:gd name="connsiteY135" fmla="*/ 6197 h 10000"/>
                <a:gd name="connsiteX136" fmla="*/ 3437 w 10000"/>
                <a:gd name="connsiteY136" fmla="*/ 6307 h 10000"/>
                <a:gd name="connsiteX137" fmla="*/ 3591 w 10000"/>
                <a:gd name="connsiteY137" fmla="*/ 6236 h 10000"/>
                <a:gd name="connsiteX138" fmla="*/ 3576 w 10000"/>
                <a:gd name="connsiteY138" fmla="*/ 6357 h 10000"/>
                <a:gd name="connsiteX139" fmla="*/ 3632 w 10000"/>
                <a:gd name="connsiteY139" fmla="*/ 6341 h 10000"/>
                <a:gd name="connsiteX140" fmla="*/ 3699 w 10000"/>
                <a:gd name="connsiteY140" fmla="*/ 6428 h 10000"/>
                <a:gd name="connsiteX141" fmla="*/ 3703 w 10000"/>
                <a:gd name="connsiteY141" fmla="*/ 6301 h 10000"/>
                <a:gd name="connsiteX142" fmla="*/ 3882 w 10000"/>
                <a:gd name="connsiteY142" fmla="*/ 6341 h 10000"/>
                <a:gd name="connsiteX143" fmla="*/ 3946 w 10000"/>
                <a:gd name="connsiteY143" fmla="*/ 6511 h 10000"/>
                <a:gd name="connsiteX144" fmla="*/ 4047 w 10000"/>
                <a:gd name="connsiteY144" fmla="*/ 6494 h 10000"/>
                <a:gd name="connsiteX145" fmla="*/ 4091 w 10000"/>
                <a:gd name="connsiteY145" fmla="*/ 6417 h 10000"/>
                <a:gd name="connsiteX146" fmla="*/ 4192 w 10000"/>
                <a:gd name="connsiteY146" fmla="*/ 6735 h 10000"/>
                <a:gd name="connsiteX147" fmla="*/ 4155 w 10000"/>
                <a:gd name="connsiteY147" fmla="*/ 6987 h 10000"/>
                <a:gd name="connsiteX148" fmla="*/ 4207 w 10000"/>
                <a:gd name="connsiteY148" fmla="*/ 7114 h 10000"/>
                <a:gd name="connsiteX149" fmla="*/ 4278 w 10000"/>
                <a:gd name="connsiteY149" fmla="*/ 7119 h 10000"/>
                <a:gd name="connsiteX150" fmla="*/ 4387 w 10000"/>
                <a:gd name="connsiteY150" fmla="*/ 7256 h 10000"/>
                <a:gd name="connsiteX151" fmla="*/ 4431 w 10000"/>
                <a:gd name="connsiteY151" fmla="*/ 7152 h 10000"/>
                <a:gd name="connsiteX152" fmla="*/ 4480 w 10000"/>
                <a:gd name="connsiteY152" fmla="*/ 7322 h 10000"/>
                <a:gd name="connsiteX153" fmla="*/ 4541 w 10000"/>
                <a:gd name="connsiteY153" fmla="*/ 7662 h 10000"/>
                <a:gd name="connsiteX154" fmla="*/ 4720 w 10000"/>
                <a:gd name="connsiteY154" fmla="*/ 7739 h 10000"/>
                <a:gd name="connsiteX155" fmla="*/ 4761 w 10000"/>
                <a:gd name="connsiteY155" fmla="*/ 8183 h 10000"/>
                <a:gd name="connsiteX156" fmla="*/ 4914 w 10000"/>
                <a:gd name="connsiteY156" fmla="*/ 8276 h 10000"/>
                <a:gd name="connsiteX157" fmla="*/ 4757 w 10000"/>
                <a:gd name="connsiteY157" fmla="*/ 8370 h 10000"/>
                <a:gd name="connsiteX158" fmla="*/ 4705 w 10000"/>
                <a:gd name="connsiteY158" fmla="*/ 8260 h 10000"/>
                <a:gd name="connsiteX159" fmla="*/ 4645 w 10000"/>
                <a:gd name="connsiteY159" fmla="*/ 8403 h 10000"/>
                <a:gd name="connsiteX160" fmla="*/ 4491 w 10000"/>
                <a:gd name="connsiteY160" fmla="*/ 8287 h 10000"/>
                <a:gd name="connsiteX161" fmla="*/ 4405 w 10000"/>
                <a:gd name="connsiteY161" fmla="*/ 8452 h 10000"/>
                <a:gd name="connsiteX162" fmla="*/ 4226 w 10000"/>
                <a:gd name="connsiteY162" fmla="*/ 8331 h 10000"/>
                <a:gd name="connsiteX163" fmla="*/ 4312 w 10000"/>
                <a:gd name="connsiteY163" fmla="*/ 8699 h 10000"/>
                <a:gd name="connsiteX164" fmla="*/ 4304 w 10000"/>
                <a:gd name="connsiteY164" fmla="*/ 8967 h 10000"/>
                <a:gd name="connsiteX165" fmla="*/ 4189 w 10000"/>
                <a:gd name="connsiteY165" fmla="*/ 9088 h 10000"/>
                <a:gd name="connsiteX166" fmla="*/ 4226 w 10000"/>
                <a:gd name="connsiteY166" fmla="*/ 9193 h 10000"/>
                <a:gd name="connsiteX167" fmla="*/ 4065 w 10000"/>
                <a:gd name="connsiteY167" fmla="*/ 9412 h 10000"/>
                <a:gd name="connsiteX168" fmla="*/ 4129 w 10000"/>
                <a:gd name="connsiteY168" fmla="*/ 9647 h 10000"/>
                <a:gd name="connsiteX169" fmla="*/ 3972 w 10000"/>
                <a:gd name="connsiteY169" fmla="*/ 9681 h 10000"/>
                <a:gd name="connsiteX170" fmla="*/ 3931 w 10000"/>
                <a:gd name="connsiteY170" fmla="*/ 9741 h 10000"/>
                <a:gd name="connsiteX171" fmla="*/ 3998 w 10000"/>
                <a:gd name="connsiteY171" fmla="*/ 9785 h 10000"/>
                <a:gd name="connsiteX172" fmla="*/ 4118 w 10000"/>
                <a:gd name="connsiteY172" fmla="*/ 9944 h 10000"/>
                <a:gd name="connsiteX173" fmla="*/ 4312 w 10000"/>
                <a:gd name="connsiteY173" fmla="*/ 9999 h 10000"/>
                <a:gd name="connsiteX174" fmla="*/ 4319 w 10000"/>
                <a:gd name="connsiteY174" fmla="*/ 9851 h 10000"/>
                <a:gd name="connsiteX175" fmla="*/ 4387 w 10000"/>
                <a:gd name="connsiteY175" fmla="*/ 9856 h 10000"/>
                <a:gd name="connsiteX176" fmla="*/ 4675 w 10000"/>
                <a:gd name="connsiteY176" fmla="*/ 9603 h 10000"/>
                <a:gd name="connsiteX177" fmla="*/ 4866 w 10000"/>
                <a:gd name="connsiteY177" fmla="*/ 9845 h 10000"/>
                <a:gd name="connsiteX178" fmla="*/ 4866 w 10000"/>
                <a:gd name="connsiteY178" fmla="*/ 9862 h 10000"/>
                <a:gd name="connsiteX179" fmla="*/ 4896 w 10000"/>
                <a:gd name="connsiteY179" fmla="*/ 9703 h 10000"/>
                <a:gd name="connsiteX180" fmla="*/ 4843 w 10000"/>
                <a:gd name="connsiteY180" fmla="*/ 9570 h 10000"/>
                <a:gd name="connsiteX181" fmla="*/ 4776 w 10000"/>
                <a:gd name="connsiteY181" fmla="*/ 9549 h 10000"/>
                <a:gd name="connsiteX182" fmla="*/ 4821 w 10000"/>
                <a:gd name="connsiteY182" fmla="*/ 9466 h 10000"/>
                <a:gd name="connsiteX183" fmla="*/ 4806 w 10000"/>
                <a:gd name="connsiteY183" fmla="*/ 9444 h 10000"/>
                <a:gd name="connsiteX184" fmla="*/ 4750 w 10000"/>
                <a:gd name="connsiteY184" fmla="*/ 9439 h 10000"/>
                <a:gd name="connsiteX185" fmla="*/ 4720 w 10000"/>
                <a:gd name="connsiteY185" fmla="*/ 9121 h 10000"/>
                <a:gd name="connsiteX186" fmla="*/ 4761 w 10000"/>
                <a:gd name="connsiteY186" fmla="*/ 9105 h 10000"/>
                <a:gd name="connsiteX187" fmla="*/ 4783 w 10000"/>
                <a:gd name="connsiteY187" fmla="*/ 9253 h 10000"/>
                <a:gd name="connsiteX188" fmla="*/ 4836 w 10000"/>
                <a:gd name="connsiteY188" fmla="*/ 9384 h 10000"/>
                <a:gd name="connsiteX189" fmla="*/ 4881 w 10000"/>
                <a:gd name="connsiteY189" fmla="*/ 9302 h 10000"/>
                <a:gd name="connsiteX190" fmla="*/ 4869 w 10000"/>
                <a:gd name="connsiteY190" fmla="*/ 9220 h 10000"/>
                <a:gd name="connsiteX191" fmla="*/ 4940 w 10000"/>
                <a:gd name="connsiteY191" fmla="*/ 9203 h 10000"/>
                <a:gd name="connsiteX192" fmla="*/ 4903 w 10000"/>
                <a:gd name="connsiteY192" fmla="*/ 9034 h 10000"/>
                <a:gd name="connsiteX193" fmla="*/ 5000 w 10000"/>
                <a:gd name="connsiteY193" fmla="*/ 9061 h 10000"/>
                <a:gd name="connsiteX194" fmla="*/ 5004 w 10000"/>
                <a:gd name="connsiteY194" fmla="*/ 8972 h 10000"/>
                <a:gd name="connsiteX195" fmla="*/ 5041 w 10000"/>
                <a:gd name="connsiteY195" fmla="*/ 9039 h 10000"/>
                <a:gd name="connsiteX196" fmla="*/ 5206 w 10000"/>
                <a:gd name="connsiteY196" fmla="*/ 8781 h 10000"/>
                <a:gd name="connsiteX197" fmla="*/ 5112 w 10000"/>
                <a:gd name="connsiteY197" fmla="*/ 8584 h 10000"/>
                <a:gd name="connsiteX198" fmla="*/ 4937 w 10000"/>
                <a:gd name="connsiteY198" fmla="*/ 8425 h 10000"/>
                <a:gd name="connsiteX199" fmla="*/ 5037 w 10000"/>
                <a:gd name="connsiteY199" fmla="*/ 8370 h 10000"/>
                <a:gd name="connsiteX200" fmla="*/ 5183 w 10000"/>
                <a:gd name="connsiteY200" fmla="*/ 8633 h 10000"/>
                <a:gd name="connsiteX201" fmla="*/ 5292 w 10000"/>
                <a:gd name="connsiteY201" fmla="*/ 8199 h 10000"/>
                <a:gd name="connsiteX202" fmla="*/ 5299 w 10000"/>
                <a:gd name="connsiteY202" fmla="*/ 8030 h 10000"/>
                <a:gd name="connsiteX203" fmla="*/ 5482 w 10000"/>
                <a:gd name="connsiteY203" fmla="*/ 7942 h 10000"/>
                <a:gd name="connsiteX204" fmla="*/ 5550 w 10000"/>
                <a:gd name="connsiteY204" fmla="*/ 7607 h 10000"/>
                <a:gd name="connsiteX205" fmla="*/ 5561 w 10000"/>
                <a:gd name="connsiteY205" fmla="*/ 7734 h 10000"/>
                <a:gd name="connsiteX206" fmla="*/ 5677 w 10000"/>
                <a:gd name="connsiteY206" fmla="*/ 7596 h 10000"/>
                <a:gd name="connsiteX207" fmla="*/ 5759 w 10000"/>
                <a:gd name="connsiteY207" fmla="*/ 7579 h 10000"/>
                <a:gd name="connsiteX208" fmla="*/ 5842 w 10000"/>
                <a:gd name="connsiteY208" fmla="*/ 7207 h 10000"/>
                <a:gd name="connsiteX209" fmla="*/ 5916 w 10000"/>
                <a:gd name="connsiteY209" fmla="*/ 7486 h 10000"/>
                <a:gd name="connsiteX210" fmla="*/ 6137 w 10000"/>
                <a:gd name="connsiteY210" fmla="*/ 7563 h 10000"/>
                <a:gd name="connsiteX211" fmla="*/ 5969 w 10000"/>
                <a:gd name="connsiteY211" fmla="*/ 7618 h 10000"/>
                <a:gd name="connsiteX212" fmla="*/ 5954 w 10000"/>
                <a:gd name="connsiteY212" fmla="*/ 7679 h 10000"/>
                <a:gd name="connsiteX213" fmla="*/ 5786 w 10000"/>
                <a:gd name="connsiteY213" fmla="*/ 7690 h 10000"/>
                <a:gd name="connsiteX214" fmla="*/ 5700 w 10000"/>
                <a:gd name="connsiteY214" fmla="*/ 7723 h 10000"/>
                <a:gd name="connsiteX215" fmla="*/ 5767 w 10000"/>
                <a:gd name="connsiteY215" fmla="*/ 7772 h 10000"/>
                <a:gd name="connsiteX216" fmla="*/ 5827 w 10000"/>
                <a:gd name="connsiteY216" fmla="*/ 7756 h 10000"/>
                <a:gd name="connsiteX217" fmla="*/ 5991 w 10000"/>
                <a:gd name="connsiteY217" fmla="*/ 7789 h 10000"/>
                <a:gd name="connsiteX218" fmla="*/ 5804 w 10000"/>
                <a:gd name="connsiteY218" fmla="*/ 7964 h 10000"/>
                <a:gd name="connsiteX219" fmla="*/ 5872 w 10000"/>
                <a:gd name="connsiteY219" fmla="*/ 8008 h 10000"/>
                <a:gd name="connsiteX220" fmla="*/ 6043 w 10000"/>
                <a:gd name="connsiteY220" fmla="*/ 7958 h 10000"/>
                <a:gd name="connsiteX221" fmla="*/ 6275 w 10000"/>
                <a:gd name="connsiteY221" fmla="*/ 8101 h 10000"/>
                <a:gd name="connsiteX222" fmla="*/ 6575 w 10000"/>
                <a:gd name="connsiteY222" fmla="*/ 7909 h 10000"/>
                <a:gd name="connsiteX223" fmla="*/ 6870 w 10000"/>
                <a:gd name="connsiteY223" fmla="*/ 7887 h 10000"/>
                <a:gd name="connsiteX224" fmla="*/ 6915 w 10000"/>
                <a:gd name="connsiteY224" fmla="*/ 7745 h 10000"/>
                <a:gd name="connsiteX225" fmla="*/ 6993 w 10000"/>
                <a:gd name="connsiteY225" fmla="*/ 7958 h 10000"/>
                <a:gd name="connsiteX226" fmla="*/ 7075 w 10000"/>
                <a:gd name="connsiteY226" fmla="*/ 7986 h 10000"/>
                <a:gd name="connsiteX227" fmla="*/ 7045 w 10000"/>
                <a:gd name="connsiteY227" fmla="*/ 8134 h 10000"/>
                <a:gd name="connsiteX228" fmla="*/ 6788 w 10000"/>
                <a:gd name="connsiteY228" fmla="*/ 8281 h 10000"/>
                <a:gd name="connsiteX229" fmla="*/ 6769 w 10000"/>
                <a:gd name="connsiteY229" fmla="*/ 8386 h 10000"/>
                <a:gd name="connsiteX230" fmla="*/ 6627 w 10000"/>
                <a:gd name="connsiteY230" fmla="*/ 8523 h 10000"/>
                <a:gd name="connsiteX231" fmla="*/ 6623 w 10000"/>
                <a:gd name="connsiteY231" fmla="*/ 8649 h 10000"/>
                <a:gd name="connsiteX232" fmla="*/ 6537 w 10000"/>
                <a:gd name="connsiteY232" fmla="*/ 8704 h 10000"/>
                <a:gd name="connsiteX233" fmla="*/ 6428 w 10000"/>
                <a:gd name="connsiteY233" fmla="*/ 8989 h 10000"/>
                <a:gd name="connsiteX234" fmla="*/ 6582 w 10000"/>
                <a:gd name="connsiteY234" fmla="*/ 9001 h 10000"/>
                <a:gd name="connsiteX235" fmla="*/ 6672 w 10000"/>
                <a:gd name="connsiteY235" fmla="*/ 8879 h 10000"/>
                <a:gd name="connsiteX236" fmla="*/ 6769 w 10000"/>
                <a:gd name="connsiteY236" fmla="*/ 8912 h 10000"/>
                <a:gd name="connsiteX237" fmla="*/ 6814 w 10000"/>
                <a:gd name="connsiteY237" fmla="*/ 8786 h 10000"/>
                <a:gd name="connsiteX238" fmla="*/ 6877 w 10000"/>
                <a:gd name="connsiteY238" fmla="*/ 9001 h 10000"/>
                <a:gd name="connsiteX239" fmla="*/ 7060 w 10000"/>
                <a:gd name="connsiteY239" fmla="*/ 8994 h 10000"/>
                <a:gd name="connsiteX240" fmla="*/ 7217 w 10000"/>
                <a:gd name="connsiteY240" fmla="*/ 9362 h 10000"/>
                <a:gd name="connsiteX241" fmla="*/ 7232 w 10000"/>
                <a:gd name="connsiteY241" fmla="*/ 9675 h 10000"/>
                <a:gd name="connsiteX242" fmla="*/ 7176 w 10000"/>
                <a:gd name="connsiteY242" fmla="*/ 9692 h 10000"/>
                <a:gd name="connsiteX243" fmla="*/ 7187 w 10000"/>
                <a:gd name="connsiteY243" fmla="*/ 9780 h 10000"/>
                <a:gd name="connsiteX244" fmla="*/ 7423 w 10000"/>
                <a:gd name="connsiteY244" fmla="*/ 9900 h 10000"/>
                <a:gd name="connsiteX245" fmla="*/ 7741 w 10000"/>
                <a:gd name="connsiteY245" fmla="*/ 9565 h 10000"/>
                <a:gd name="connsiteX246" fmla="*/ 7879 w 10000"/>
                <a:gd name="connsiteY246" fmla="*/ 9176 h 10000"/>
                <a:gd name="connsiteX247" fmla="*/ 8107 w 10000"/>
                <a:gd name="connsiteY247" fmla="*/ 9023 h 10000"/>
                <a:gd name="connsiteX248" fmla="*/ 8182 w 10000"/>
                <a:gd name="connsiteY248" fmla="*/ 8841 h 10000"/>
                <a:gd name="connsiteX249" fmla="*/ 8268 w 10000"/>
                <a:gd name="connsiteY249" fmla="*/ 8786 h 10000"/>
                <a:gd name="connsiteX250" fmla="*/ 8320 w 10000"/>
                <a:gd name="connsiteY250" fmla="*/ 8512 h 10000"/>
                <a:gd name="connsiteX251" fmla="*/ 8542 w 10000"/>
                <a:gd name="connsiteY251" fmla="*/ 8617 h 10000"/>
                <a:gd name="connsiteX252" fmla="*/ 8672 w 10000"/>
                <a:gd name="connsiteY252" fmla="*/ 8474 h 10000"/>
                <a:gd name="connsiteX253" fmla="*/ 8855 w 10000"/>
                <a:gd name="connsiteY253" fmla="*/ 8343 h 10000"/>
                <a:gd name="connsiteX254" fmla="*/ 8781 w 10000"/>
                <a:gd name="connsiteY254" fmla="*/ 8128 h 10000"/>
                <a:gd name="connsiteX255" fmla="*/ 7708 w 10000"/>
                <a:gd name="connsiteY255" fmla="*/ 7991 h 10000"/>
                <a:gd name="connsiteX256" fmla="*/ 7682 w 10000"/>
                <a:gd name="connsiteY256" fmla="*/ 7904 h 10000"/>
                <a:gd name="connsiteX257" fmla="*/ 7607 w 10000"/>
                <a:gd name="connsiteY257" fmla="*/ 8002 h 10000"/>
                <a:gd name="connsiteX258" fmla="*/ 7715 w 10000"/>
                <a:gd name="connsiteY258" fmla="*/ 7761 h 10000"/>
                <a:gd name="connsiteX259" fmla="*/ 7674 w 10000"/>
                <a:gd name="connsiteY259" fmla="*/ 7717 h 10000"/>
                <a:gd name="connsiteX260" fmla="*/ 7554 w 10000"/>
                <a:gd name="connsiteY260" fmla="*/ 7915 h 10000"/>
                <a:gd name="connsiteX261" fmla="*/ 7618 w 10000"/>
                <a:gd name="connsiteY261" fmla="*/ 7712 h 10000"/>
                <a:gd name="connsiteX262" fmla="*/ 7532 w 10000"/>
                <a:gd name="connsiteY262" fmla="*/ 7767 h 10000"/>
                <a:gd name="connsiteX263" fmla="*/ 7419 w 10000"/>
                <a:gd name="connsiteY263" fmla="*/ 7717 h 10000"/>
                <a:gd name="connsiteX264" fmla="*/ 7333 w 10000"/>
                <a:gd name="connsiteY264" fmla="*/ 7794 h 10000"/>
                <a:gd name="connsiteX265" fmla="*/ 7240 w 10000"/>
                <a:gd name="connsiteY265" fmla="*/ 7728 h 10000"/>
                <a:gd name="connsiteX266" fmla="*/ 7087 w 10000"/>
                <a:gd name="connsiteY266" fmla="*/ 7717 h 10000"/>
                <a:gd name="connsiteX267" fmla="*/ 7090 w 10000"/>
                <a:gd name="connsiteY267" fmla="*/ 7547 h 10000"/>
                <a:gd name="connsiteX268" fmla="*/ 7229 w 10000"/>
                <a:gd name="connsiteY268" fmla="*/ 7662 h 10000"/>
                <a:gd name="connsiteX269" fmla="*/ 7273 w 10000"/>
                <a:gd name="connsiteY269" fmla="*/ 7541 h 10000"/>
                <a:gd name="connsiteX270" fmla="*/ 7236 w 10000"/>
                <a:gd name="connsiteY270" fmla="*/ 7410 h 10000"/>
                <a:gd name="connsiteX271" fmla="*/ 7341 w 10000"/>
                <a:gd name="connsiteY271" fmla="*/ 7547 h 10000"/>
                <a:gd name="connsiteX272" fmla="*/ 7483 w 10000"/>
                <a:gd name="connsiteY272" fmla="*/ 7536 h 10000"/>
                <a:gd name="connsiteX273" fmla="*/ 7506 w 10000"/>
                <a:gd name="connsiteY273" fmla="*/ 7685 h 10000"/>
                <a:gd name="connsiteX274" fmla="*/ 7547 w 10000"/>
                <a:gd name="connsiteY274" fmla="*/ 7685 h 10000"/>
                <a:gd name="connsiteX275" fmla="*/ 7558 w 10000"/>
                <a:gd name="connsiteY275" fmla="*/ 7415 h 10000"/>
                <a:gd name="connsiteX276" fmla="*/ 7607 w 10000"/>
                <a:gd name="connsiteY276" fmla="*/ 7585 h 10000"/>
                <a:gd name="connsiteX277" fmla="*/ 7693 w 10000"/>
                <a:gd name="connsiteY277" fmla="*/ 7590 h 10000"/>
                <a:gd name="connsiteX278" fmla="*/ 7629 w 10000"/>
                <a:gd name="connsiteY278" fmla="*/ 7333 h 10000"/>
                <a:gd name="connsiteX279" fmla="*/ 7786 w 10000"/>
                <a:gd name="connsiteY279" fmla="*/ 7240 h 10000"/>
                <a:gd name="connsiteX280" fmla="*/ 7779 w 10000"/>
                <a:gd name="connsiteY280" fmla="*/ 6987 h 10000"/>
                <a:gd name="connsiteX281" fmla="*/ 7887 w 10000"/>
                <a:gd name="connsiteY281" fmla="*/ 7081 h 10000"/>
                <a:gd name="connsiteX282" fmla="*/ 7906 w 10000"/>
                <a:gd name="connsiteY282" fmla="*/ 7015 h 10000"/>
                <a:gd name="connsiteX283" fmla="*/ 7775 w 10000"/>
                <a:gd name="connsiteY283" fmla="*/ 6735 h 10000"/>
                <a:gd name="connsiteX284" fmla="*/ 7950 w 10000"/>
                <a:gd name="connsiteY284" fmla="*/ 6894 h 10000"/>
                <a:gd name="connsiteX285" fmla="*/ 8171 w 10000"/>
                <a:gd name="connsiteY285" fmla="*/ 6511 h 10000"/>
                <a:gd name="connsiteX286" fmla="*/ 8384 w 10000"/>
                <a:gd name="connsiteY286" fmla="*/ 6483 h 10000"/>
                <a:gd name="connsiteX287" fmla="*/ 8429 w 10000"/>
                <a:gd name="connsiteY28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75 w 10000"/>
                <a:gd name="connsiteY11" fmla="*/ 2259 h 10000"/>
                <a:gd name="connsiteX12" fmla="*/ 9656 w 10000"/>
                <a:gd name="connsiteY12" fmla="*/ 2024 h 10000"/>
                <a:gd name="connsiteX13" fmla="*/ 9663 w 10000"/>
                <a:gd name="connsiteY13" fmla="*/ 1810 h 10000"/>
                <a:gd name="connsiteX14" fmla="*/ 9143 w 10000"/>
                <a:gd name="connsiteY14" fmla="*/ 1838 h 10000"/>
                <a:gd name="connsiteX15" fmla="*/ 9091 w 10000"/>
                <a:gd name="connsiteY15" fmla="*/ 1712 h 10000"/>
                <a:gd name="connsiteX16" fmla="*/ 9020 w 10000"/>
                <a:gd name="connsiteY16" fmla="*/ 1728 h 10000"/>
                <a:gd name="connsiteX17" fmla="*/ 7569 w 10000"/>
                <a:gd name="connsiteY17" fmla="*/ 1873 h 10000"/>
                <a:gd name="connsiteX18" fmla="*/ 7165 w 10000"/>
                <a:gd name="connsiteY18" fmla="*/ 1996 h 10000"/>
                <a:gd name="connsiteX19" fmla="*/ 6892 w 10000"/>
                <a:gd name="connsiteY19" fmla="*/ 1827 h 10000"/>
                <a:gd name="connsiteX20" fmla="*/ 6922 w 10000"/>
                <a:gd name="connsiteY20" fmla="*/ 1728 h 10000"/>
                <a:gd name="connsiteX21" fmla="*/ 6765 w 10000"/>
                <a:gd name="connsiteY21" fmla="*/ 1398 h 10000"/>
                <a:gd name="connsiteX22" fmla="*/ 6799 w 10000"/>
                <a:gd name="connsiteY22" fmla="*/ 1256 h 10000"/>
                <a:gd name="connsiteX23" fmla="*/ 6728 w 10000"/>
                <a:gd name="connsiteY23" fmla="*/ 1229 h 10000"/>
                <a:gd name="connsiteX24" fmla="*/ 6657 w 10000"/>
                <a:gd name="connsiteY24" fmla="*/ 1311 h 10000"/>
                <a:gd name="connsiteX25" fmla="*/ 6593 w 10000"/>
                <a:gd name="connsiteY25" fmla="*/ 1114 h 10000"/>
                <a:gd name="connsiteX26" fmla="*/ 6391 w 10000"/>
                <a:gd name="connsiteY26" fmla="*/ 1311 h 10000"/>
                <a:gd name="connsiteX27" fmla="*/ 6309 w 10000"/>
                <a:gd name="connsiteY27" fmla="*/ 1223 h 10000"/>
                <a:gd name="connsiteX28" fmla="*/ 6126 w 10000"/>
                <a:gd name="connsiteY28" fmla="*/ 1273 h 10000"/>
                <a:gd name="connsiteX29" fmla="*/ 6144 w 10000"/>
                <a:gd name="connsiteY29" fmla="*/ 1125 h 10000"/>
                <a:gd name="connsiteX30" fmla="*/ 6073 w 10000"/>
                <a:gd name="connsiteY30" fmla="*/ 1119 h 10000"/>
                <a:gd name="connsiteX31" fmla="*/ 6040 w 10000"/>
                <a:gd name="connsiteY31" fmla="*/ 910 h 10000"/>
                <a:gd name="connsiteX32" fmla="*/ 5942 w 10000"/>
                <a:gd name="connsiteY32" fmla="*/ 795 h 10000"/>
                <a:gd name="connsiteX33" fmla="*/ 6144 w 10000"/>
                <a:gd name="connsiteY33" fmla="*/ 620 h 10000"/>
                <a:gd name="connsiteX34" fmla="*/ 5901 w 10000"/>
                <a:gd name="connsiteY34" fmla="*/ 395 h 10000"/>
                <a:gd name="connsiteX35" fmla="*/ 5853 w 10000"/>
                <a:gd name="connsiteY35" fmla="*/ 142 h 10000"/>
                <a:gd name="connsiteX36" fmla="*/ 5741 w 10000"/>
                <a:gd name="connsiteY36" fmla="*/ 110 h 10000"/>
                <a:gd name="connsiteX37" fmla="*/ 5647 w 10000"/>
                <a:gd name="connsiteY37" fmla="*/ 0 h 10000"/>
                <a:gd name="connsiteX38" fmla="*/ 5547 w 10000"/>
                <a:gd name="connsiteY38" fmla="*/ 120 h 10000"/>
                <a:gd name="connsiteX39" fmla="*/ 5377 w 10000"/>
                <a:gd name="connsiteY39" fmla="*/ 110 h 10000"/>
                <a:gd name="connsiteX40" fmla="*/ 5232 w 10000"/>
                <a:gd name="connsiteY40" fmla="*/ 351 h 10000"/>
                <a:gd name="connsiteX41" fmla="*/ 4952 w 10000"/>
                <a:gd name="connsiteY41" fmla="*/ 329 h 10000"/>
                <a:gd name="connsiteX42" fmla="*/ 4884 w 10000"/>
                <a:gd name="connsiteY42" fmla="*/ 680 h 10000"/>
                <a:gd name="connsiteX43" fmla="*/ 4701 w 10000"/>
                <a:gd name="connsiteY43" fmla="*/ 707 h 10000"/>
                <a:gd name="connsiteX44" fmla="*/ 4795 w 10000"/>
                <a:gd name="connsiteY44" fmla="*/ 844 h 10000"/>
                <a:gd name="connsiteX45" fmla="*/ 4739 w 10000"/>
                <a:gd name="connsiteY45" fmla="*/ 899 h 10000"/>
                <a:gd name="connsiteX46" fmla="*/ 4612 w 10000"/>
                <a:gd name="connsiteY46" fmla="*/ 894 h 10000"/>
                <a:gd name="connsiteX47" fmla="*/ 4439 w 10000"/>
                <a:gd name="connsiteY47" fmla="*/ 1026 h 10000"/>
                <a:gd name="connsiteX48" fmla="*/ 4252 w 10000"/>
                <a:gd name="connsiteY48" fmla="*/ 1668 h 10000"/>
                <a:gd name="connsiteX49" fmla="*/ 4308 w 10000"/>
                <a:gd name="connsiteY49" fmla="*/ 2090 h 10000"/>
                <a:gd name="connsiteX50" fmla="*/ 4121 w 10000"/>
                <a:gd name="connsiteY50" fmla="*/ 1865 h 10000"/>
                <a:gd name="connsiteX51" fmla="*/ 3849 w 10000"/>
                <a:gd name="connsiteY51" fmla="*/ 1991 h 10000"/>
                <a:gd name="connsiteX52" fmla="*/ 3822 w 10000"/>
                <a:gd name="connsiteY52" fmla="*/ 1931 h 10000"/>
                <a:gd name="connsiteX53" fmla="*/ 3695 w 10000"/>
                <a:gd name="connsiteY53" fmla="*/ 2002 h 10000"/>
                <a:gd name="connsiteX54" fmla="*/ 3621 w 10000"/>
                <a:gd name="connsiteY54" fmla="*/ 2144 h 10000"/>
                <a:gd name="connsiteX55" fmla="*/ 3561 w 10000"/>
                <a:gd name="connsiteY55" fmla="*/ 1909 h 10000"/>
                <a:gd name="connsiteX56" fmla="*/ 3478 w 10000"/>
                <a:gd name="connsiteY56" fmla="*/ 1843 h 10000"/>
                <a:gd name="connsiteX57" fmla="*/ 3444 w 10000"/>
                <a:gd name="connsiteY57" fmla="*/ 1964 h 10000"/>
                <a:gd name="connsiteX58" fmla="*/ 3332 w 10000"/>
                <a:gd name="connsiteY58" fmla="*/ 1996 h 10000"/>
                <a:gd name="connsiteX59" fmla="*/ 3272 w 10000"/>
                <a:gd name="connsiteY59" fmla="*/ 2161 h 10000"/>
                <a:gd name="connsiteX60" fmla="*/ 3235 w 10000"/>
                <a:gd name="connsiteY60" fmla="*/ 2013 h 10000"/>
                <a:gd name="connsiteX61" fmla="*/ 3123 w 10000"/>
                <a:gd name="connsiteY61" fmla="*/ 2024 h 10000"/>
                <a:gd name="connsiteX62" fmla="*/ 3078 w 10000"/>
                <a:gd name="connsiteY62" fmla="*/ 2128 h 10000"/>
                <a:gd name="connsiteX63" fmla="*/ 3011 w 10000"/>
                <a:gd name="connsiteY63" fmla="*/ 1975 h 10000"/>
                <a:gd name="connsiteX64" fmla="*/ 2895 w 10000"/>
                <a:gd name="connsiteY64" fmla="*/ 2117 h 10000"/>
                <a:gd name="connsiteX65" fmla="*/ 2783 w 10000"/>
                <a:gd name="connsiteY65" fmla="*/ 2106 h 10000"/>
                <a:gd name="connsiteX66" fmla="*/ 2779 w 10000"/>
                <a:gd name="connsiteY66" fmla="*/ 2276 h 10000"/>
                <a:gd name="connsiteX67" fmla="*/ 2727 w 10000"/>
                <a:gd name="connsiteY67" fmla="*/ 2144 h 10000"/>
                <a:gd name="connsiteX68" fmla="*/ 2559 w 10000"/>
                <a:gd name="connsiteY68" fmla="*/ 2155 h 10000"/>
                <a:gd name="connsiteX69" fmla="*/ 2438 w 10000"/>
                <a:gd name="connsiteY69" fmla="*/ 1980 h 10000"/>
                <a:gd name="connsiteX70" fmla="*/ 2293 w 10000"/>
                <a:gd name="connsiteY70" fmla="*/ 2073 h 10000"/>
                <a:gd name="connsiteX71" fmla="*/ 2143 w 10000"/>
                <a:gd name="connsiteY71" fmla="*/ 1958 h 10000"/>
                <a:gd name="connsiteX72" fmla="*/ 2057 w 10000"/>
                <a:gd name="connsiteY72" fmla="*/ 2035 h 10000"/>
                <a:gd name="connsiteX73" fmla="*/ 1975 w 10000"/>
                <a:gd name="connsiteY73" fmla="*/ 1947 h 10000"/>
                <a:gd name="connsiteX74" fmla="*/ 1852 w 10000"/>
                <a:gd name="connsiteY74" fmla="*/ 1936 h 10000"/>
                <a:gd name="connsiteX75" fmla="*/ 1669 w 10000"/>
                <a:gd name="connsiteY75" fmla="*/ 1925 h 10000"/>
                <a:gd name="connsiteX76" fmla="*/ 1444 w 10000"/>
                <a:gd name="connsiteY76" fmla="*/ 1991 h 10000"/>
                <a:gd name="connsiteX77" fmla="*/ 1205 w 10000"/>
                <a:gd name="connsiteY77" fmla="*/ 2062 h 10000"/>
                <a:gd name="connsiteX78" fmla="*/ 921 w 10000"/>
                <a:gd name="connsiteY78" fmla="*/ 2166 h 10000"/>
                <a:gd name="connsiteX79" fmla="*/ 797 w 10000"/>
                <a:gd name="connsiteY79" fmla="*/ 2496 h 10000"/>
                <a:gd name="connsiteX80" fmla="*/ 603 w 10000"/>
                <a:gd name="connsiteY80" fmla="*/ 2501 h 10000"/>
                <a:gd name="connsiteX81" fmla="*/ 540 w 10000"/>
                <a:gd name="connsiteY81" fmla="*/ 2687 h 10000"/>
                <a:gd name="connsiteX82" fmla="*/ 558 w 10000"/>
                <a:gd name="connsiteY82" fmla="*/ 2764 h 10000"/>
                <a:gd name="connsiteX83" fmla="*/ 577 w 10000"/>
                <a:gd name="connsiteY83" fmla="*/ 2868 h 10000"/>
                <a:gd name="connsiteX84" fmla="*/ 577 w 10000"/>
                <a:gd name="connsiteY84" fmla="*/ 2868 h 10000"/>
                <a:gd name="connsiteX85" fmla="*/ 577 w 10000"/>
                <a:gd name="connsiteY85" fmla="*/ 2896 h 10000"/>
                <a:gd name="connsiteX86" fmla="*/ 682 w 10000"/>
                <a:gd name="connsiteY86" fmla="*/ 3116 h 10000"/>
                <a:gd name="connsiteX87" fmla="*/ 786 w 10000"/>
                <a:gd name="connsiteY87" fmla="*/ 3351 h 10000"/>
                <a:gd name="connsiteX88" fmla="*/ 921 w 10000"/>
                <a:gd name="connsiteY88" fmla="*/ 3488 h 10000"/>
                <a:gd name="connsiteX89" fmla="*/ 876 w 10000"/>
                <a:gd name="connsiteY89" fmla="*/ 3548 h 10000"/>
                <a:gd name="connsiteX90" fmla="*/ 805 w 10000"/>
                <a:gd name="connsiteY90" fmla="*/ 3603 h 10000"/>
                <a:gd name="connsiteX91" fmla="*/ 887 w 10000"/>
                <a:gd name="connsiteY91" fmla="*/ 3697 h 10000"/>
                <a:gd name="connsiteX92" fmla="*/ 876 w 10000"/>
                <a:gd name="connsiteY92" fmla="*/ 4053 h 10000"/>
                <a:gd name="connsiteX93" fmla="*/ 693 w 10000"/>
                <a:gd name="connsiteY93" fmla="*/ 4124 h 10000"/>
                <a:gd name="connsiteX94" fmla="*/ 498 w 10000"/>
                <a:gd name="connsiteY94" fmla="*/ 4531 h 10000"/>
                <a:gd name="connsiteX95" fmla="*/ 371 w 10000"/>
                <a:gd name="connsiteY95" fmla="*/ 4936 h 10000"/>
                <a:gd name="connsiteX96" fmla="*/ 195 w 10000"/>
                <a:gd name="connsiteY96" fmla="*/ 5260 h 10000"/>
                <a:gd name="connsiteX97" fmla="*/ 270 w 10000"/>
                <a:gd name="connsiteY97" fmla="*/ 5517 h 10000"/>
                <a:gd name="connsiteX98" fmla="*/ 277 w 10000"/>
                <a:gd name="connsiteY98" fmla="*/ 5732 h 10000"/>
                <a:gd name="connsiteX99" fmla="*/ 400 w 10000"/>
                <a:gd name="connsiteY99" fmla="*/ 5841 h 10000"/>
                <a:gd name="connsiteX100" fmla="*/ 382 w 10000"/>
                <a:gd name="connsiteY100" fmla="*/ 5945 h 10000"/>
                <a:gd name="connsiteX101" fmla="*/ 202 w 10000"/>
                <a:gd name="connsiteY101" fmla="*/ 5852 h 10000"/>
                <a:gd name="connsiteX102" fmla="*/ 124 w 10000"/>
                <a:gd name="connsiteY102" fmla="*/ 6099 h 10000"/>
                <a:gd name="connsiteX103" fmla="*/ 105 w 10000"/>
                <a:gd name="connsiteY103" fmla="*/ 6346 h 10000"/>
                <a:gd name="connsiteX104" fmla="*/ 1 w 10000"/>
                <a:gd name="connsiteY104" fmla="*/ 6571 h 10000"/>
                <a:gd name="connsiteX105" fmla="*/ 19 w 10000"/>
                <a:gd name="connsiteY105" fmla="*/ 6779 h 10000"/>
                <a:gd name="connsiteX106" fmla="*/ 90 w 10000"/>
                <a:gd name="connsiteY106" fmla="*/ 6828 h 10000"/>
                <a:gd name="connsiteX107" fmla="*/ 154 w 10000"/>
                <a:gd name="connsiteY107" fmla="*/ 6960 h 10000"/>
                <a:gd name="connsiteX108" fmla="*/ 240 w 10000"/>
                <a:gd name="connsiteY108" fmla="*/ 6943 h 10000"/>
                <a:gd name="connsiteX109" fmla="*/ 292 w 10000"/>
                <a:gd name="connsiteY109" fmla="*/ 7076 h 10000"/>
                <a:gd name="connsiteX110" fmla="*/ 445 w 10000"/>
                <a:gd name="connsiteY110" fmla="*/ 7103 h 10000"/>
                <a:gd name="connsiteX111" fmla="*/ 453 w 10000"/>
                <a:gd name="connsiteY111" fmla="*/ 7251 h 10000"/>
                <a:gd name="connsiteX112" fmla="*/ 494 w 10000"/>
                <a:gd name="connsiteY112" fmla="*/ 7278 h 10000"/>
                <a:gd name="connsiteX113" fmla="*/ 525 w 10000"/>
                <a:gd name="connsiteY113" fmla="*/ 7174 h 10000"/>
                <a:gd name="connsiteX114" fmla="*/ 581 w 10000"/>
                <a:gd name="connsiteY114" fmla="*/ 7196 h 10000"/>
                <a:gd name="connsiteX115" fmla="*/ 644 w 10000"/>
                <a:gd name="connsiteY115" fmla="*/ 6992 h 10000"/>
                <a:gd name="connsiteX116" fmla="*/ 820 w 10000"/>
                <a:gd name="connsiteY116" fmla="*/ 7174 h 10000"/>
                <a:gd name="connsiteX117" fmla="*/ 1283 w 10000"/>
                <a:gd name="connsiteY117" fmla="*/ 7163 h 10000"/>
                <a:gd name="connsiteX118" fmla="*/ 1466 w 10000"/>
                <a:gd name="connsiteY118" fmla="*/ 7092 h 10000"/>
                <a:gd name="connsiteX119" fmla="*/ 1766 w 10000"/>
                <a:gd name="connsiteY119" fmla="*/ 7344 h 10000"/>
                <a:gd name="connsiteX120" fmla="*/ 1956 w 10000"/>
                <a:gd name="connsiteY120" fmla="*/ 7087 h 10000"/>
                <a:gd name="connsiteX121" fmla="*/ 2382 w 10000"/>
                <a:gd name="connsiteY121" fmla="*/ 6861 h 10000"/>
                <a:gd name="connsiteX122" fmla="*/ 2536 w 10000"/>
                <a:gd name="connsiteY122" fmla="*/ 6489 h 10000"/>
                <a:gd name="connsiteX123" fmla="*/ 2648 w 10000"/>
                <a:gd name="connsiteY123" fmla="*/ 6439 h 10000"/>
                <a:gd name="connsiteX124" fmla="*/ 2648 w 10000"/>
                <a:gd name="connsiteY124" fmla="*/ 6379 h 10000"/>
                <a:gd name="connsiteX125" fmla="*/ 2693 w 10000"/>
                <a:gd name="connsiteY125" fmla="*/ 6379 h 10000"/>
                <a:gd name="connsiteX126" fmla="*/ 2682 w 10000"/>
                <a:gd name="connsiteY126" fmla="*/ 6230 h 10000"/>
                <a:gd name="connsiteX127" fmla="*/ 2820 w 10000"/>
                <a:gd name="connsiteY127" fmla="*/ 6285 h 10000"/>
                <a:gd name="connsiteX128" fmla="*/ 2839 w 10000"/>
                <a:gd name="connsiteY128" fmla="*/ 6159 h 10000"/>
                <a:gd name="connsiteX129" fmla="*/ 2921 w 10000"/>
                <a:gd name="connsiteY129" fmla="*/ 6230 h 10000"/>
                <a:gd name="connsiteX130" fmla="*/ 2981 w 10000"/>
                <a:gd name="connsiteY130" fmla="*/ 6126 h 10000"/>
                <a:gd name="connsiteX131" fmla="*/ 3078 w 10000"/>
                <a:gd name="connsiteY131" fmla="*/ 6154 h 10000"/>
                <a:gd name="connsiteX132" fmla="*/ 3164 w 10000"/>
                <a:gd name="connsiteY132" fmla="*/ 6055 h 10000"/>
                <a:gd name="connsiteX133" fmla="*/ 3328 w 10000"/>
                <a:gd name="connsiteY133" fmla="*/ 6192 h 10000"/>
                <a:gd name="connsiteX134" fmla="*/ 3411 w 10000"/>
                <a:gd name="connsiteY134" fmla="*/ 6197 h 10000"/>
                <a:gd name="connsiteX135" fmla="*/ 3437 w 10000"/>
                <a:gd name="connsiteY135" fmla="*/ 6307 h 10000"/>
                <a:gd name="connsiteX136" fmla="*/ 3591 w 10000"/>
                <a:gd name="connsiteY136" fmla="*/ 6236 h 10000"/>
                <a:gd name="connsiteX137" fmla="*/ 3576 w 10000"/>
                <a:gd name="connsiteY137" fmla="*/ 6357 h 10000"/>
                <a:gd name="connsiteX138" fmla="*/ 3632 w 10000"/>
                <a:gd name="connsiteY138" fmla="*/ 6341 h 10000"/>
                <a:gd name="connsiteX139" fmla="*/ 3699 w 10000"/>
                <a:gd name="connsiteY139" fmla="*/ 6428 h 10000"/>
                <a:gd name="connsiteX140" fmla="*/ 3703 w 10000"/>
                <a:gd name="connsiteY140" fmla="*/ 6301 h 10000"/>
                <a:gd name="connsiteX141" fmla="*/ 3882 w 10000"/>
                <a:gd name="connsiteY141" fmla="*/ 6341 h 10000"/>
                <a:gd name="connsiteX142" fmla="*/ 3946 w 10000"/>
                <a:gd name="connsiteY142" fmla="*/ 6511 h 10000"/>
                <a:gd name="connsiteX143" fmla="*/ 4047 w 10000"/>
                <a:gd name="connsiteY143" fmla="*/ 6494 h 10000"/>
                <a:gd name="connsiteX144" fmla="*/ 4091 w 10000"/>
                <a:gd name="connsiteY144" fmla="*/ 6417 h 10000"/>
                <a:gd name="connsiteX145" fmla="*/ 4192 w 10000"/>
                <a:gd name="connsiteY145" fmla="*/ 6735 h 10000"/>
                <a:gd name="connsiteX146" fmla="*/ 4155 w 10000"/>
                <a:gd name="connsiteY146" fmla="*/ 6987 h 10000"/>
                <a:gd name="connsiteX147" fmla="*/ 4207 w 10000"/>
                <a:gd name="connsiteY147" fmla="*/ 7114 h 10000"/>
                <a:gd name="connsiteX148" fmla="*/ 4278 w 10000"/>
                <a:gd name="connsiteY148" fmla="*/ 7119 h 10000"/>
                <a:gd name="connsiteX149" fmla="*/ 4387 w 10000"/>
                <a:gd name="connsiteY149" fmla="*/ 7256 h 10000"/>
                <a:gd name="connsiteX150" fmla="*/ 4431 w 10000"/>
                <a:gd name="connsiteY150" fmla="*/ 7152 h 10000"/>
                <a:gd name="connsiteX151" fmla="*/ 4480 w 10000"/>
                <a:gd name="connsiteY151" fmla="*/ 7322 h 10000"/>
                <a:gd name="connsiteX152" fmla="*/ 4541 w 10000"/>
                <a:gd name="connsiteY152" fmla="*/ 7662 h 10000"/>
                <a:gd name="connsiteX153" fmla="*/ 4720 w 10000"/>
                <a:gd name="connsiteY153" fmla="*/ 7739 h 10000"/>
                <a:gd name="connsiteX154" fmla="*/ 4761 w 10000"/>
                <a:gd name="connsiteY154" fmla="*/ 8183 h 10000"/>
                <a:gd name="connsiteX155" fmla="*/ 4914 w 10000"/>
                <a:gd name="connsiteY155" fmla="*/ 8276 h 10000"/>
                <a:gd name="connsiteX156" fmla="*/ 4757 w 10000"/>
                <a:gd name="connsiteY156" fmla="*/ 8370 h 10000"/>
                <a:gd name="connsiteX157" fmla="*/ 4705 w 10000"/>
                <a:gd name="connsiteY157" fmla="*/ 8260 h 10000"/>
                <a:gd name="connsiteX158" fmla="*/ 4645 w 10000"/>
                <a:gd name="connsiteY158" fmla="*/ 8403 h 10000"/>
                <a:gd name="connsiteX159" fmla="*/ 4491 w 10000"/>
                <a:gd name="connsiteY159" fmla="*/ 8287 h 10000"/>
                <a:gd name="connsiteX160" fmla="*/ 4405 w 10000"/>
                <a:gd name="connsiteY160" fmla="*/ 8452 h 10000"/>
                <a:gd name="connsiteX161" fmla="*/ 4226 w 10000"/>
                <a:gd name="connsiteY161" fmla="*/ 8331 h 10000"/>
                <a:gd name="connsiteX162" fmla="*/ 4312 w 10000"/>
                <a:gd name="connsiteY162" fmla="*/ 8699 h 10000"/>
                <a:gd name="connsiteX163" fmla="*/ 4304 w 10000"/>
                <a:gd name="connsiteY163" fmla="*/ 8967 h 10000"/>
                <a:gd name="connsiteX164" fmla="*/ 4189 w 10000"/>
                <a:gd name="connsiteY164" fmla="*/ 9088 h 10000"/>
                <a:gd name="connsiteX165" fmla="*/ 4226 w 10000"/>
                <a:gd name="connsiteY165" fmla="*/ 9193 h 10000"/>
                <a:gd name="connsiteX166" fmla="*/ 4065 w 10000"/>
                <a:gd name="connsiteY166" fmla="*/ 9412 h 10000"/>
                <a:gd name="connsiteX167" fmla="*/ 4129 w 10000"/>
                <a:gd name="connsiteY167" fmla="*/ 9647 h 10000"/>
                <a:gd name="connsiteX168" fmla="*/ 3972 w 10000"/>
                <a:gd name="connsiteY168" fmla="*/ 9681 h 10000"/>
                <a:gd name="connsiteX169" fmla="*/ 3931 w 10000"/>
                <a:gd name="connsiteY169" fmla="*/ 9741 h 10000"/>
                <a:gd name="connsiteX170" fmla="*/ 3998 w 10000"/>
                <a:gd name="connsiteY170" fmla="*/ 9785 h 10000"/>
                <a:gd name="connsiteX171" fmla="*/ 4118 w 10000"/>
                <a:gd name="connsiteY171" fmla="*/ 9944 h 10000"/>
                <a:gd name="connsiteX172" fmla="*/ 4312 w 10000"/>
                <a:gd name="connsiteY172" fmla="*/ 9999 h 10000"/>
                <a:gd name="connsiteX173" fmla="*/ 4319 w 10000"/>
                <a:gd name="connsiteY173" fmla="*/ 9851 h 10000"/>
                <a:gd name="connsiteX174" fmla="*/ 4387 w 10000"/>
                <a:gd name="connsiteY174" fmla="*/ 9856 h 10000"/>
                <a:gd name="connsiteX175" fmla="*/ 4675 w 10000"/>
                <a:gd name="connsiteY175" fmla="*/ 9603 h 10000"/>
                <a:gd name="connsiteX176" fmla="*/ 4866 w 10000"/>
                <a:gd name="connsiteY176" fmla="*/ 9845 h 10000"/>
                <a:gd name="connsiteX177" fmla="*/ 4866 w 10000"/>
                <a:gd name="connsiteY177" fmla="*/ 9862 h 10000"/>
                <a:gd name="connsiteX178" fmla="*/ 4896 w 10000"/>
                <a:gd name="connsiteY178" fmla="*/ 9703 h 10000"/>
                <a:gd name="connsiteX179" fmla="*/ 4843 w 10000"/>
                <a:gd name="connsiteY179" fmla="*/ 9570 h 10000"/>
                <a:gd name="connsiteX180" fmla="*/ 4776 w 10000"/>
                <a:gd name="connsiteY180" fmla="*/ 9549 h 10000"/>
                <a:gd name="connsiteX181" fmla="*/ 4821 w 10000"/>
                <a:gd name="connsiteY181" fmla="*/ 9466 h 10000"/>
                <a:gd name="connsiteX182" fmla="*/ 4806 w 10000"/>
                <a:gd name="connsiteY182" fmla="*/ 9444 h 10000"/>
                <a:gd name="connsiteX183" fmla="*/ 4750 w 10000"/>
                <a:gd name="connsiteY183" fmla="*/ 9439 h 10000"/>
                <a:gd name="connsiteX184" fmla="*/ 4720 w 10000"/>
                <a:gd name="connsiteY184" fmla="*/ 9121 h 10000"/>
                <a:gd name="connsiteX185" fmla="*/ 4761 w 10000"/>
                <a:gd name="connsiteY185" fmla="*/ 9105 h 10000"/>
                <a:gd name="connsiteX186" fmla="*/ 4783 w 10000"/>
                <a:gd name="connsiteY186" fmla="*/ 9253 h 10000"/>
                <a:gd name="connsiteX187" fmla="*/ 4836 w 10000"/>
                <a:gd name="connsiteY187" fmla="*/ 9384 h 10000"/>
                <a:gd name="connsiteX188" fmla="*/ 4881 w 10000"/>
                <a:gd name="connsiteY188" fmla="*/ 9302 h 10000"/>
                <a:gd name="connsiteX189" fmla="*/ 4869 w 10000"/>
                <a:gd name="connsiteY189" fmla="*/ 9220 h 10000"/>
                <a:gd name="connsiteX190" fmla="*/ 4940 w 10000"/>
                <a:gd name="connsiteY190" fmla="*/ 9203 h 10000"/>
                <a:gd name="connsiteX191" fmla="*/ 4903 w 10000"/>
                <a:gd name="connsiteY191" fmla="*/ 9034 h 10000"/>
                <a:gd name="connsiteX192" fmla="*/ 5000 w 10000"/>
                <a:gd name="connsiteY192" fmla="*/ 9061 h 10000"/>
                <a:gd name="connsiteX193" fmla="*/ 5004 w 10000"/>
                <a:gd name="connsiteY193" fmla="*/ 8972 h 10000"/>
                <a:gd name="connsiteX194" fmla="*/ 5041 w 10000"/>
                <a:gd name="connsiteY194" fmla="*/ 9039 h 10000"/>
                <a:gd name="connsiteX195" fmla="*/ 5206 w 10000"/>
                <a:gd name="connsiteY195" fmla="*/ 8781 h 10000"/>
                <a:gd name="connsiteX196" fmla="*/ 5112 w 10000"/>
                <a:gd name="connsiteY196" fmla="*/ 8584 h 10000"/>
                <a:gd name="connsiteX197" fmla="*/ 4937 w 10000"/>
                <a:gd name="connsiteY197" fmla="*/ 8425 h 10000"/>
                <a:gd name="connsiteX198" fmla="*/ 5037 w 10000"/>
                <a:gd name="connsiteY198" fmla="*/ 8370 h 10000"/>
                <a:gd name="connsiteX199" fmla="*/ 5183 w 10000"/>
                <a:gd name="connsiteY199" fmla="*/ 8633 h 10000"/>
                <a:gd name="connsiteX200" fmla="*/ 5292 w 10000"/>
                <a:gd name="connsiteY200" fmla="*/ 8199 h 10000"/>
                <a:gd name="connsiteX201" fmla="*/ 5299 w 10000"/>
                <a:gd name="connsiteY201" fmla="*/ 8030 h 10000"/>
                <a:gd name="connsiteX202" fmla="*/ 5482 w 10000"/>
                <a:gd name="connsiteY202" fmla="*/ 7942 h 10000"/>
                <a:gd name="connsiteX203" fmla="*/ 5550 w 10000"/>
                <a:gd name="connsiteY203" fmla="*/ 7607 h 10000"/>
                <a:gd name="connsiteX204" fmla="*/ 5561 w 10000"/>
                <a:gd name="connsiteY204" fmla="*/ 7734 h 10000"/>
                <a:gd name="connsiteX205" fmla="*/ 5677 w 10000"/>
                <a:gd name="connsiteY205" fmla="*/ 7596 h 10000"/>
                <a:gd name="connsiteX206" fmla="*/ 5759 w 10000"/>
                <a:gd name="connsiteY206" fmla="*/ 7579 h 10000"/>
                <a:gd name="connsiteX207" fmla="*/ 5842 w 10000"/>
                <a:gd name="connsiteY207" fmla="*/ 7207 h 10000"/>
                <a:gd name="connsiteX208" fmla="*/ 5916 w 10000"/>
                <a:gd name="connsiteY208" fmla="*/ 7486 h 10000"/>
                <a:gd name="connsiteX209" fmla="*/ 6137 w 10000"/>
                <a:gd name="connsiteY209" fmla="*/ 7563 h 10000"/>
                <a:gd name="connsiteX210" fmla="*/ 5969 w 10000"/>
                <a:gd name="connsiteY210" fmla="*/ 7618 h 10000"/>
                <a:gd name="connsiteX211" fmla="*/ 5954 w 10000"/>
                <a:gd name="connsiteY211" fmla="*/ 7679 h 10000"/>
                <a:gd name="connsiteX212" fmla="*/ 5786 w 10000"/>
                <a:gd name="connsiteY212" fmla="*/ 7690 h 10000"/>
                <a:gd name="connsiteX213" fmla="*/ 5700 w 10000"/>
                <a:gd name="connsiteY213" fmla="*/ 7723 h 10000"/>
                <a:gd name="connsiteX214" fmla="*/ 5767 w 10000"/>
                <a:gd name="connsiteY214" fmla="*/ 7772 h 10000"/>
                <a:gd name="connsiteX215" fmla="*/ 5827 w 10000"/>
                <a:gd name="connsiteY215" fmla="*/ 7756 h 10000"/>
                <a:gd name="connsiteX216" fmla="*/ 5991 w 10000"/>
                <a:gd name="connsiteY216" fmla="*/ 7789 h 10000"/>
                <a:gd name="connsiteX217" fmla="*/ 5804 w 10000"/>
                <a:gd name="connsiteY217" fmla="*/ 7964 h 10000"/>
                <a:gd name="connsiteX218" fmla="*/ 5872 w 10000"/>
                <a:gd name="connsiteY218" fmla="*/ 8008 h 10000"/>
                <a:gd name="connsiteX219" fmla="*/ 6043 w 10000"/>
                <a:gd name="connsiteY219" fmla="*/ 7958 h 10000"/>
                <a:gd name="connsiteX220" fmla="*/ 6275 w 10000"/>
                <a:gd name="connsiteY220" fmla="*/ 8101 h 10000"/>
                <a:gd name="connsiteX221" fmla="*/ 6575 w 10000"/>
                <a:gd name="connsiteY221" fmla="*/ 7909 h 10000"/>
                <a:gd name="connsiteX222" fmla="*/ 6870 w 10000"/>
                <a:gd name="connsiteY222" fmla="*/ 7887 h 10000"/>
                <a:gd name="connsiteX223" fmla="*/ 6915 w 10000"/>
                <a:gd name="connsiteY223" fmla="*/ 7745 h 10000"/>
                <a:gd name="connsiteX224" fmla="*/ 6993 w 10000"/>
                <a:gd name="connsiteY224" fmla="*/ 7958 h 10000"/>
                <a:gd name="connsiteX225" fmla="*/ 7075 w 10000"/>
                <a:gd name="connsiteY225" fmla="*/ 7986 h 10000"/>
                <a:gd name="connsiteX226" fmla="*/ 7045 w 10000"/>
                <a:gd name="connsiteY226" fmla="*/ 8134 h 10000"/>
                <a:gd name="connsiteX227" fmla="*/ 6788 w 10000"/>
                <a:gd name="connsiteY227" fmla="*/ 8281 h 10000"/>
                <a:gd name="connsiteX228" fmla="*/ 6769 w 10000"/>
                <a:gd name="connsiteY228" fmla="*/ 8386 h 10000"/>
                <a:gd name="connsiteX229" fmla="*/ 6627 w 10000"/>
                <a:gd name="connsiteY229" fmla="*/ 8523 h 10000"/>
                <a:gd name="connsiteX230" fmla="*/ 6623 w 10000"/>
                <a:gd name="connsiteY230" fmla="*/ 8649 h 10000"/>
                <a:gd name="connsiteX231" fmla="*/ 6537 w 10000"/>
                <a:gd name="connsiteY231" fmla="*/ 8704 h 10000"/>
                <a:gd name="connsiteX232" fmla="*/ 6428 w 10000"/>
                <a:gd name="connsiteY232" fmla="*/ 8989 h 10000"/>
                <a:gd name="connsiteX233" fmla="*/ 6582 w 10000"/>
                <a:gd name="connsiteY233" fmla="*/ 9001 h 10000"/>
                <a:gd name="connsiteX234" fmla="*/ 6672 w 10000"/>
                <a:gd name="connsiteY234" fmla="*/ 8879 h 10000"/>
                <a:gd name="connsiteX235" fmla="*/ 6769 w 10000"/>
                <a:gd name="connsiteY235" fmla="*/ 8912 h 10000"/>
                <a:gd name="connsiteX236" fmla="*/ 6814 w 10000"/>
                <a:gd name="connsiteY236" fmla="*/ 8786 h 10000"/>
                <a:gd name="connsiteX237" fmla="*/ 6877 w 10000"/>
                <a:gd name="connsiteY237" fmla="*/ 9001 h 10000"/>
                <a:gd name="connsiteX238" fmla="*/ 7060 w 10000"/>
                <a:gd name="connsiteY238" fmla="*/ 8994 h 10000"/>
                <a:gd name="connsiteX239" fmla="*/ 7217 w 10000"/>
                <a:gd name="connsiteY239" fmla="*/ 9362 h 10000"/>
                <a:gd name="connsiteX240" fmla="*/ 7232 w 10000"/>
                <a:gd name="connsiteY240" fmla="*/ 9675 h 10000"/>
                <a:gd name="connsiteX241" fmla="*/ 7176 w 10000"/>
                <a:gd name="connsiteY241" fmla="*/ 9692 h 10000"/>
                <a:gd name="connsiteX242" fmla="*/ 7187 w 10000"/>
                <a:gd name="connsiteY242" fmla="*/ 9780 h 10000"/>
                <a:gd name="connsiteX243" fmla="*/ 7423 w 10000"/>
                <a:gd name="connsiteY243" fmla="*/ 9900 h 10000"/>
                <a:gd name="connsiteX244" fmla="*/ 7741 w 10000"/>
                <a:gd name="connsiteY244" fmla="*/ 9565 h 10000"/>
                <a:gd name="connsiteX245" fmla="*/ 7879 w 10000"/>
                <a:gd name="connsiteY245" fmla="*/ 9176 h 10000"/>
                <a:gd name="connsiteX246" fmla="*/ 8107 w 10000"/>
                <a:gd name="connsiteY246" fmla="*/ 9023 h 10000"/>
                <a:gd name="connsiteX247" fmla="*/ 8182 w 10000"/>
                <a:gd name="connsiteY247" fmla="*/ 8841 h 10000"/>
                <a:gd name="connsiteX248" fmla="*/ 8268 w 10000"/>
                <a:gd name="connsiteY248" fmla="*/ 8786 h 10000"/>
                <a:gd name="connsiteX249" fmla="*/ 8320 w 10000"/>
                <a:gd name="connsiteY249" fmla="*/ 8512 h 10000"/>
                <a:gd name="connsiteX250" fmla="*/ 8542 w 10000"/>
                <a:gd name="connsiteY250" fmla="*/ 8617 h 10000"/>
                <a:gd name="connsiteX251" fmla="*/ 8672 w 10000"/>
                <a:gd name="connsiteY251" fmla="*/ 8474 h 10000"/>
                <a:gd name="connsiteX252" fmla="*/ 8855 w 10000"/>
                <a:gd name="connsiteY252" fmla="*/ 8343 h 10000"/>
                <a:gd name="connsiteX253" fmla="*/ 8781 w 10000"/>
                <a:gd name="connsiteY253" fmla="*/ 8128 h 10000"/>
                <a:gd name="connsiteX254" fmla="*/ 7708 w 10000"/>
                <a:gd name="connsiteY254" fmla="*/ 7991 h 10000"/>
                <a:gd name="connsiteX255" fmla="*/ 7682 w 10000"/>
                <a:gd name="connsiteY255" fmla="*/ 7904 h 10000"/>
                <a:gd name="connsiteX256" fmla="*/ 7607 w 10000"/>
                <a:gd name="connsiteY256" fmla="*/ 8002 h 10000"/>
                <a:gd name="connsiteX257" fmla="*/ 7715 w 10000"/>
                <a:gd name="connsiteY257" fmla="*/ 7761 h 10000"/>
                <a:gd name="connsiteX258" fmla="*/ 7674 w 10000"/>
                <a:gd name="connsiteY258" fmla="*/ 7717 h 10000"/>
                <a:gd name="connsiteX259" fmla="*/ 7554 w 10000"/>
                <a:gd name="connsiteY259" fmla="*/ 7915 h 10000"/>
                <a:gd name="connsiteX260" fmla="*/ 7618 w 10000"/>
                <a:gd name="connsiteY260" fmla="*/ 7712 h 10000"/>
                <a:gd name="connsiteX261" fmla="*/ 7532 w 10000"/>
                <a:gd name="connsiteY261" fmla="*/ 7767 h 10000"/>
                <a:gd name="connsiteX262" fmla="*/ 7419 w 10000"/>
                <a:gd name="connsiteY262" fmla="*/ 7717 h 10000"/>
                <a:gd name="connsiteX263" fmla="*/ 7333 w 10000"/>
                <a:gd name="connsiteY263" fmla="*/ 7794 h 10000"/>
                <a:gd name="connsiteX264" fmla="*/ 7240 w 10000"/>
                <a:gd name="connsiteY264" fmla="*/ 7728 h 10000"/>
                <a:gd name="connsiteX265" fmla="*/ 7087 w 10000"/>
                <a:gd name="connsiteY265" fmla="*/ 7717 h 10000"/>
                <a:gd name="connsiteX266" fmla="*/ 7090 w 10000"/>
                <a:gd name="connsiteY266" fmla="*/ 7547 h 10000"/>
                <a:gd name="connsiteX267" fmla="*/ 7229 w 10000"/>
                <a:gd name="connsiteY267" fmla="*/ 7662 h 10000"/>
                <a:gd name="connsiteX268" fmla="*/ 7273 w 10000"/>
                <a:gd name="connsiteY268" fmla="*/ 7541 h 10000"/>
                <a:gd name="connsiteX269" fmla="*/ 7236 w 10000"/>
                <a:gd name="connsiteY269" fmla="*/ 7410 h 10000"/>
                <a:gd name="connsiteX270" fmla="*/ 7341 w 10000"/>
                <a:gd name="connsiteY270" fmla="*/ 7547 h 10000"/>
                <a:gd name="connsiteX271" fmla="*/ 7483 w 10000"/>
                <a:gd name="connsiteY271" fmla="*/ 7536 h 10000"/>
                <a:gd name="connsiteX272" fmla="*/ 7506 w 10000"/>
                <a:gd name="connsiteY272" fmla="*/ 7685 h 10000"/>
                <a:gd name="connsiteX273" fmla="*/ 7547 w 10000"/>
                <a:gd name="connsiteY273" fmla="*/ 7685 h 10000"/>
                <a:gd name="connsiteX274" fmla="*/ 7558 w 10000"/>
                <a:gd name="connsiteY274" fmla="*/ 7415 h 10000"/>
                <a:gd name="connsiteX275" fmla="*/ 7607 w 10000"/>
                <a:gd name="connsiteY275" fmla="*/ 7585 h 10000"/>
                <a:gd name="connsiteX276" fmla="*/ 7693 w 10000"/>
                <a:gd name="connsiteY276" fmla="*/ 7590 h 10000"/>
                <a:gd name="connsiteX277" fmla="*/ 7629 w 10000"/>
                <a:gd name="connsiteY277" fmla="*/ 7333 h 10000"/>
                <a:gd name="connsiteX278" fmla="*/ 7786 w 10000"/>
                <a:gd name="connsiteY278" fmla="*/ 7240 h 10000"/>
                <a:gd name="connsiteX279" fmla="*/ 7779 w 10000"/>
                <a:gd name="connsiteY279" fmla="*/ 6987 h 10000"/>
                <a:gd name="connsiteX280" fmla="*/ 7887 w 10000"/>
                <a:gd name="connsiteY280" fmla="*/ 7081 h 10000"/>
                <a:gd name="connsiteX281" fmla="*/ 7906 w 10000"/>
                <a:gd name="connsiteY281" fmla="*/ 7015 h 10000"/>
                <a:gd name="connsiteX282" fmla="*/ 7775 w 10000"/>
                <a:gd name="connsiteY282" fmla="*/ 6735 h 10000"/>
                <a:gd name="connsiteX283" fmla="*/ 7950 w 10000"/>
                <a:gd name="connsiteY283" fmla="*/ 6894 h 10000"/>
                <a:gd name="connsiteX284" fmla="*/ 8171 w 10000"/>
                <a:gd name="connsiteY284" fmla="*/ 6511 h 10000"/>
                <a:gd name="connsiteX285" fmla="*/ 8384 w 10000"/>
                <a:gd name="connsiteY285" fmla="*/ 6483 h 10000"/>
                <a:gd name="connsiteX286" fmla="*/ 8429 w 10000"/>
                <a:gd name="connsiteY28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775 w 10000"/>
                <a:gd name="connsiteY10" fmla="*/ 2259 h 10000"/>
                <a:gd name="connsiteX11" fmla="*/ 9656 w 10000"/>
                <a:gd name="connsiteY11" fmla="*/ 2024 h 10000"/>
                <a:gd name="connsiteX12" fmla="*/ 9663 w 10000"/>
                <a:gd name="connsiteY12" fmla="*/ 1810 h 10000"/>
                <a:gd name="connsiteX13" fmla="*/ 9143 w 10000"/>
                <a:gd name="connsiteY13" fmla="*/ 1838 h 10000"/>
                <a:gd name="connsiteX14" fmla="*/ 9091 w 10000"/>
                <a:gd name="connsiteY14" fmla="*/ 1712 h 10000"/>
                <a:gd name="connsiteX15" fmla="*/ 9020 w 10000"/>
                <a:gd name="connsiteY15" fmla="*/ 1728 h 10000"/>
                <a:gd name="connsiteX16" fmla="*/ 7569 w 10000"/>
                <a:gd name="connsiteY16" fmla="*/ 1873 h 10000"/>
                <a:gd name="connsiteX17" fmla="*/ 7165 w 10000"/>
                <a:gd name="connsiteY17" fmla="*/ 1996 h 10000"/>
                <a:gd name="connsiteX18" fmla="*/ 6892 w 10000"/>
                <a:gd name="connsiteY18" fmla="*/ 1827 h 10000"/>
                <a:gd name="connsiteX19" fmla="*/ 6922 w 10000"/>
                <a:gd name="connsiteY19" fmla="*/ 1728 h 10000"/>
                <a:gd name="connsiteX20" fmla="*/ 6765 w 10000"/>
                <a:gd name="connsiteY20" fmla="*/ 1398 h 10000"/>
                <a:gd name="connsiteX21" fmla="*/ 6799 w 10000"/>
                <a:gd name="connsiteY21" fmla="*/ 1256 h 10000"/>
                <a:gd name="connsiteX22" fmla="*/ 6728 w 10000"/>
                <a:gd name="connsiteY22" fmla="*/ 1229 h 10000"/>
                <a:gd name="connsiteX23" fmla="*/ 6657 w 10000"/>
                <a:gd name="connsiteY23" fmla="*/ 1311 h 10000"/>
                <a:gd name="connsiteX24" fmla="*/ 6593 w 10000"/>
                <a:gd name="connsiteY24" fmla="*/ 1114 h 10000"/>
                <a:gd name="connsiteX25" fmla="*/ 6391 w 10000"/>
                <a:gd name="connsiteY25" fmla="*/ 1311 h 10000"/>
                <a:gd name="connsiteX26" fmla="*/ 6309 w 10000"/>
                <a:gd name="connsiteY26" fmla="*/ 1223 h 10000"/>
                <a:gd name="connsiteX27" fmla="*/ 6126 w 10000"/>
                <a:gd name="connsiteY27" fmla="*/ 1273 h 10000"/>
                <a:gd name="connsiteX28" fmla="*/ 6144 w 10000"/>
                <a:gd name="connsiteY28" fmla="*/ 1125 h 10000"/>
                <a:gd name="connsiteX29" fmla="*/ 6073 w 10000"/>
                <a:gd name="connsiteY29" fmla="*/ 1119 h 10000"/>
                <a:gd name="connsiteX30" fmla="*/ 6040 w 10000"/>
                <a:gd name="connsiteY30" fmla="*/ 910 h 10000"/>
                <a:gd name="connsiteX31" fmla="*/ 5942 w 10000"/>
                <a:gd name="connsiteY31" fmla="*/ 795 h 10000"/>
                <a:gd name="connsiteX32" fmla="*/ 6144 w 10000"/>
                <a:gd name="connsiteY32" fmla="*/ 620 h 10000"/>
                <a:gd name="connsiteX33" fmla="*/ 5901 w 10000"/>
                <a:gd name="connsiteY33" fmla="*/ 395 h 10000"/>
                <a:gd name="connsiteX34" fmla="*/ 5853 w 10000"/>
                <a:gd name="connsiteY34" fmla="*/ 142 h 10000"/>
                <a:gd name="connsiteX35" fmla="*/ 5741 w 10000"/>
                <a:gd name="connsiteY35" fmla="*/ 110 h 10000"/>
                <a:gd name="connsiteX36" fmla="*/ 5647 w 10000"/>
                <a:gd name="connsiteY36" fmla="*/ 0 h 10000"/>
                <a:gd name="connsiteX37" fmla="*/ 5547 w 10000"/>
                <a:gd name="connsiteY37" fmla="*/ 120 h 10000"/>
                <a:gd name="connsiteX38" fmla="*/ 5377 w 10000"/>
                <a:gd name="connsiteY38" fmla="*/ 110 h 10000"/>
                <a:gd name="connsiteX39" fmla="*/ 5232 w 10000"/>
                <a:gd name="connsiteY39" fmla="*/ 351 h 10000"/>
                <a:gd name="connsiteX40" fmla="*/ 4952 w 10000"/>
                <a:gd name="connsiteY40" fmla="*/ 329 h 10000"/>
                <a:gd name="connsiteX41" fmla="*/ 4884 w 10000"/>
                <a:gd name="connsiteY41" fmla="*/ 680 h 10000"/>
                <a:gd name="connsiteX42" fmla="*/ 4701 w 10000"/>
                <a:gd name="connsiteY42" fmla="*/ 707 h 10000"/>
                <a:gd name="connsiteX43" fmla="*/ 4795 w 10000"/>
                <a:gd name="connsiteY43" fmla="*/ 844 h 10000"/>
                <a:gd name="connsiteX44" fmla="*/ 4739 w 10000"/>
                <a:gd name="connsiteY44" fmla="*/ 899 h 10000"/>
                <a:gd name="connsiteX45" fmla="*/ 4612 w 10000"/>
                <a:gd name="connsiteY45" fmla="*/ 894 h 10000"/>
                <a:gd name="connsiteX46" fmla="*/ 4439 w 10000"/>
                <a:gd name="connsiteY46" fmla="*/ 1026 h 10000"/>
                <a:gd name="connsiteX47" fmla="*/ 4252 w 10000"/>
                <a:gd name="connsiteY47" fmla="*/ 1668 h 10000"/>
                <a:gd name="connsiteX48" fmla="*/ 4308 w 10000"/>
                <a:gd name="connsiteY48" fmla="*/ 2090 h 10000"/>
                <a:gd name="connsiteX49" fmla="*/ 4121 w 10000"/>
                <a:gd name="connsiteY49" fmla="*/ 1865 h 10000"/>
                <a:gd name="connsiteX50" fmla="*/ 3849 w 10000"/>
                <a:gd name="connsiteY50" fmla="*/ 1991 h 10000"/>
                <a:gd name="connsiteX51" fmla="*/ 3822 w 10000"/>
                <a:gd name="connsiteY51" fmla="*/ 1931 h 10000"/>
                <a:gd name="connsiteX52" fmla="*/ 3695 w 10000"/>
                <a:gd name="connsiteY52" fmla="*/ 2002 h 10000"/>
                <a:gd name="connsiteX53" fmla="*/ 3621 w 10000"/>
                <a:gd name="connsiteY53" fmla="*/ 2144 h 10000"/>
                <a:gd name="connsiteX54" fmla="*/ 3561 w 10000"/>
                <a:gd name="connsiteY54" fmla="*/ 1909 h 10000"/>
                <a:gd name="connsiteX55" fmla="*/ 3478 w 10000"/>
                <a:gd name="connsiteY55" fmla="*/ 1843 h 10000"/>
                <a:gd name="connsiteX56" fmla="*/ 3444 w 10000"/>
                <a:gd name="connsiteY56" fmla="*/ 1964 h 10000"/>
                <a:gd name="connsiteX57" fmla="*/ 3332 w 10000"/>
                <a:gd name="connsiteY57" fmla="*/ 1996 h 10000"/>
                <a:gd name="connsiteX58" fmla="*/ 3272 w 10000"/>
                <a:gd name="connsiteY58" fmla="*/ 2161 h 10000"/>
                <a:gd name="connsiteX59" fmla="*/ 3235 w 10000"/>
                <a:gd name="connsiteY59" fmla="*/ 2013 h 10000"/>
                <a:gd name="connsiteX60" fmla="*/ 3123 w 10000"/>
                <a:gd name="connsiteY60" fmla="*/ 2024 h 10000"/>
                <a:gd name="connsiteX61" fmla="*/ 3078 w 10000"/>
                <a:gd name="connsiteY61" fmla="*/ 2128 h 10000"/>
                <a:gd name="connsiteX62" fmla="*/ 3011 w 10000"/>
                <a:gd name="connsiteY62" fmla="*/ 1975 h 10000"/>
                <a:gd name="connsiteX63" fmla="*/ 2895 w 10000"/>
                <a:gd name="connsiteY63" fmla="*/ 2117 h 10000"/>
                <a:gd name="connsiteX64" fmla="*/ 2783 w 10000"/>
                <a:gd name="connsiteY64" fmla="*/ 2106 h 10000"/>
                <a:gd name="connsiteX65" fmla="*/ 2779 w 10000"/>
                <a:gd name="connsiteY65" fmla="*/ 2276 h 10000"/>
                <a:gd name="connsiteX66" fmla="*/ 2727 w 10000"/>
                <a:gd name="connsiteY66" fmla="*/ 2144 h 10000"/>
                <a:gd name="connsiteX67" fmla="*/ 2559 w 10000"/>
                <a:gd name="connsiteY67" fmla="*/ 2155 h 10000"/>
                <a:gd name="connsiteX68" fmla="*/ 2438 w 10000"/>
                <a:gd name="connsiteY68" fmla="*/ 1980 h 10000"/>
                <a:gd name="connsiteX69" fmla="*/ 2293 w 10000"/>
                <a:gd name="connsiteY69" fmla="*/ 2073 h 10000"/>
                <a:gd name="connsiteX70" fmla="*/ 2143 w 10000"/>
                <a:gd name="connsiteY70" fmla="*/ 1958 h 10000"/>
                <a:gd name="connsiteX71" fmla="*/ 2057 w 10000"/>
                <a:gd name="connsiteY71" fmla="*/ 2035 h 10000"/>
                <a:gd name="connsiteX72" fmla="*/ 1975 w 10000"/>
                <a:gd name="connsiteY72" fmla="*/ 1947 h 10000"/>
                <a:gd name="connsiteX73" fmla="*/ 1852 w 10000"/>
                <a:gd name="connsiteY73" fmla="*/ 1936 h 10000"/>
                <a:gd name="connsiteX74" fmla="*/ 1669 w 10000"/>
                <a:gd name="connsiteY74" fmla="*/ 1925 h 10000"/>
                <a:gd name="connsiteX75" fmla="*/ 1444 w 10000"/>
                <a:gd name="connsiteY75" fmla="*/ 1991 h 10000"/>
                <a:gd name="connsiteX76" fmla="*/ 1205 w 10000"/>
                <a:gd name="connsiteY76" fmla="*/ 2062 h 10000"/>
                <a:gd name="connsiteX77" fmla="*/ 921 w 10000"/>
                <a:gd name="connsiteY77" fmla="*/ 2166 h 10000"/>
                <a:gd name="connsiteX78" fmla="*/ 797 w 10000"/>
                <a:gd name="connsiteY78" fmla="*/ 2496 h 10000"/>
                <a:gd name="connsiteX79" fmla="*/ 603 w 10000"/>
                <a:gd name="connsiteY79" fmla="*/ 2501 h 10000"/>
                <a:gd name="connsiteX80" fmla="*/ 540 w 10000"/>
                <a:gd name="connsiteY80" fmla="*/ 2687 h 10000"/>
                <a:gd name="connsiteX81" fmla="*/ 558 w 10000"/>
                <a:gd name="connsiteY81" fmla="*/ 2764 h 10000"/>
                <a:gd name="connsiteX82" fmla="*/ 577 w 10000"/>
                <a:gd name="connsiteY82" fmla="*/ 2868 h 10000"/>
                <a:gd name="connsiteX83" fmla="*/ 577 w 10000"/>
                <a:gd name="connsiteY83" fmla="*/ 2868 h 10000"/>
                <a:gd name="connsiteX84" fmla="*/ 577 w 10000"/>
                <a:gd name="connsiteY84" fmla="*/ 2896 h 10000"/>
                <a:gd name="connsiteX85" fmla="*/ 682 w 10000"/>
                <a:gd name="connsiteY85" fmla="*/ 3116 h 10000"/>
                <a:gd name="connsiteX86" fmla="*/ 786 w 10000"/>
                <a:gd name="connsiteY86" fmla="*/ 3351 h 10000"/>
                <a:gd name="connsiteX87" fmla="*/ 921 w 10000"/>
                <a:gd name="connsiteY87" fmla="*/ 3488 h 10000"/>
                <a:gd name="connsiteX88" fmla="*/ 876 w 10000"/>
                <a:gd name="connsiteY88" fmla="*/ 3548 h 10000"/>
                <a:gd name="connsiteX89" fmla="*/ 805 w 10000"/>
                <a:gd name="connsiteY89" fmla="*/ 3603 h 10000"/>
                <a:gd name="connsiteX90" fmla="*/ 887 w 10000"/>
                <a:gd name="connsiteY90" fmla="*/ 3697 h 10000"/>
                <a:gd name="connsiteX91" fmla="*/ 876 w 10000"/>
                <a:gd name="connsiteY91" fmla="*/ 4053 h 10000"/>
                <a:gd name="connsiteX92" fmla="*/ 693 w 10000"/>
                <a:gd name="connsiteY92" fmla="*/ 4124 h 10000"/>
                <a:gd name="connsiteX93" fmla="*/ 498 w 10000"/>
                <a:gd name="connsiteY93" fmla="*/ 4531 h 10000"/>
                <a:gd name="connsiteX94" fmla="*/ 371 w 10000"/>
                <a:gd name="connsiteY94" fmla="*/ 4936 h 10000"/>
                <a:gd name="connsiteX95" fmla="*/ 195 w 10000"/>
                <a:gd name="connsiteY95" fmla="*/ 5260 h 10000"/>
                <a:gd name="connsiteX96" fmla="*/ 270 w 10000"/>
                <a:gd name="connsiteY96" fmla="*/ 5517 h 10000"/>
                <a:gd name="connsiteX97" fmla="*/ 277 w 10000"/>
                <a:gd name="connsiteY97" fmla="*/ 5732 h 10000"/>
                <a:gd name="connsiteX98" fmla="*/ 400 w 10000"/>
                <a:gd name="connsiteY98" fmla="*/ 5841 h 10000"/>
                <a:gd name="connsiteX99" fmla="*/ 382 w 10000"/>
                <a:gd name="connsiteY99" fmla="*/ 5945 h 10000"/>
                <a:gd name="connsiteX100" fmla="*/ 202 w 10000"/>
                <a:gd name="connsiteY100" fmla="*/ 5852 h 10000"/>
                <a:gd name="connsiteX101" fmla="*/ 124 w 10000"/>
                <a:gd name="connsiteY101" fmla="*/ 6099 h 10000"/>
                <a:gd name="connsiteX102" fmla="*/ 105 w 10000"/>
                <a:gd name="connsiteY102" fmla="*/ 6346 h 10000"/>
                <a:gd name="connsiteX103" fmla="*/ 1 w 10000"/>
                <a:gd name="connsiteY103" fmla="*/ 6571 h 10000"/>
                <a:gd name="connsiteX104" fmla="*/ 19 w 10000"/>
                <a:gd name="connsiteY104" fmla="*/ 6779 h 10000"/>
                <a:gd name="connsiteX105" fmla="*/ 90 w 10000"/>
                <a:gd name="connsiteY105" fmla="*/ 6828 h 10000"/>
                <a:gd name="connsiteX106" fmla="*/ 154 w 10000"/>
                <a:gd name="connsiteY106" fmla="*/ 6960 h 10000"/>
                <a:gd name="connsiteX107" fmla="*/ 240 w 10000"/>
                <a:gd name="connsiteY107" fmla="*/ 6943 h 10000"/>
                <a:gd name="connsiteX108" fmla="*/ 292 w 10000"/>
                <a:gd name="connsiteY108" fmla="*/ 7076 h 10000"/>
                <a:gd name="connsiteX109" fmla="*/ 445 w 10000"/>
                <a:gd name="connsiteY109" fmla="*/ 7103 h 10000"/>
                <a:gd name="connsiteX110" fmla="*/ 453 w 10000"/>
                <a:gd name="connsiteY110" fmla="*/ 7251 h 10000"/>
                <a:gd name="connsiteX111" fmla="*/ 494 w 10000"/>
                <a:gd name="connsiteY111" fmla="*/ 7278 h 10000"/>
                <a:gd name="connsiteX112" fmla="*/ 525 w 10000"/>
                <a:gd name="connsiteY112" fmla="*/ 7174 h 10000"/>
                <a:gd name="connsiteX113" fmla="*/ 581 w 10000"/>
                <a:gd name="connsiteY113" fmla="*/ 7196 h 10000"/>
                <a:gd name="connsiteX114" fmla="*/ 644 w 10000"/>
                <a:gd name="connsiteY114" fmla="*/ 6992 h 10000"/>
                <a:gd name="connsiteX115" fmla="*/ 820 w 10000"/>
                <a:gd name="connsiteY115" fmla="*/ 7174 h 10000"/>
                <a:gd name="connsiteX116" fmla="*/ 1283 w 10000"/>
                <a:gd name="connsiteY116" fmla="*/ 7163 h 10000"/>
                <a:gd name="connsiteX117" fmla="*/ 1466 w 10000"/>
                <a:gd name="connsiteY117" fmla="*/ 7092 h 10000"/>
                <a:gd name="connsiteX118" fmla="*/ 1766 w 10000"/>
                <a:gd name="connsiteY118" fmla="*/ 7344 h 10000"/>
                <a:gd name="connsiteX119" fmla="*/ 1956 w 10000"/>
                <a:gd name="connsiteY119" fmla="*/ 7087 h 10000"/>
                <a:gd name="connsiteX120" fmla="*/ 2382 w 10000"/>
                <a:gd name="connsiteY120" fmla="*/ 6861 h 10000"/>
                <a:gd name="connsiteX121" fmla="*/ 2536 w 10000"/>
                <a:gd name="connsiteY121" fmla="*/ 6489 h 10000"/>
                <a:gd name="connsiteX122" fmla="*/ 2648 w 10000"/>
                <a:gd name="connsiteY122" fmla="*/ 6439 h 10000"/>
                <a:gd name="connsiteX123" fmla="*/ 2648 w 10000"/>
                <a:gd name="connsiteY123" fmla="*/ 6379 h 10000"/>
                <a:gd name="connsiteX124" fmla="*/ 2693 w 10000"/>
                <a:gd name="connsiteY124" fmla="*/ 6379 h 10000"/>
                <a:gd name="connsiteX125" fmla="*/ 2682 w 10000"/>
                <a:gd name="connsiteY125" fmla="*/ 6230 h 10000"/>
                <a:gd name="connsiteX126" fmla="*/ 2820 w 10000"/>
                <a:gd name="connsiteY126" fmla="*/ 6285 h 10000"/>
                <a:gd name="connsiteX127" fmla="*/ 2839 w 10000"/>
                <a:gd name="connsiteY127" fmla="*/ 6159 h 10000"/>
                <a:gd name="connsiteX128" fmla="*/ 2921 w 10000"/>
                <a:gd name="connsiteY128" fmla="*/ 6230 h 10000"/>
                <a:gd name="connsiteX129" fmla="*/ 2981 w 10000"/>
                <a:gd name="connsiteY129" fmla="*/ 6126 h 10000"/>
                <a:gd name="connsiteX130" fmla="*/ 3078 w 10000"/>
                <a:gd name="connsiteY130" fmla="*/ 6154 h 10000"/>
                <a:gd name="connsiteX131" fmla="*/ 3164 w 10000"/>
                <a:gd name="connsiteY131" fmla="*/ 6055 h 10000"/>
                <a:gd name="connsiteX132" fmla="*/ 3328 w 10000"/>
                <a:gd name="connsiteY132" fmla="*/ 6192 h 10000"/>
                <a:gd name="connsiteX133" fmla="*/ 3411 w 10000"/>
                <a:gd name="connsiteY133" fmla="*/ 6197 h 10000"/>
                <a:gd name="connsiteX134" fmla="*/ 3437 w 10000"/>
                <a:gd name="connsiteY134" fmla="*/ 6307 h 10000"/>
                <a:gd name="connsiteX135" fmla="*/ 3591 w 10000"/>
                <a:gd name="connsiteY135" fmla="*/ 6236 h 10000"/>
                <a:gd name="connsiteX136" fmla="*/ 3576 w 10000"/>
                <a:gd name="connsiteY136" fmla="*/ 6357 h 10000"/>
                <a:gd name="connsiteX137" fmla="*/ 3632 w 10000"/>
                <a:gd name="connsiteY137" fmla="*/ 6341 h 10000"/>
                <a:gd name="connsiteX138" fmla="*/ 3699 w 10000"/>
                <a:gd name="connsiteY138" fmla="*/ 6428 h 10000"/>
                <a:gd name="connsiteX139" fmla="*/ 3703 w 10000"/>
                <a:gd name="connsiteY139" fmla="*/ 6301 h 10000"/>
                <a:gd name="connsiteX140" fmla="*/ 3882 w 10000"/>
                <a:gd name="connsiteY140" fmla="*/ 6341 h 10000"/>
                <a:gd name="connsiteX141" fmla="*/ 3946 w 10000"/>
                <a:gd name="connsiteY141" fmla="*/ 6511 h 10000"/>
                <a:gd name="connsiteX142" fmla="*/ 4047 w 10000"/>
                <a:gd name="connsiteY142" fmla="*/ 6494 h 10000"/>
                <a:gd name="connsiteX143" fmla="*/ 4091 w 10000"/>
                <a:gd name="connsiteY143" fmla="*/ 6417 h 10000"/>
                <a:gd name="connsiteX144" fmla="*/ 4192 w 10000"/>
                <a:gd name="connsiteY144" fmla="*/ 6735 h 10000"/>
                <a:gd name="connsiteX145" fmla="*/ 4155 w 10000"/>
                <a:gd name="connsiteY145" fmla="*/ 6987 h 10000"/>
                <a:gd name="connsiteX146" fmla="*/ 4207 w 10000"/>
                <a:gd name="connsiteY146" fmla="*/ 7114 h 10000"/>
                <a:gd name="connsiteX147" fmla="*/ 4278 w 10000"/>
                <a:gd name="connsiteY147" fmla="*/ 7119 h 10000"/>
                <a:gd name="connsiteX148" fmla="*/ 4387 w 10000"/>
                <a:gd name="connsiteY148" fmla="*/ 7256 h 10000"/>
                <a:gd name="connsiteX149" fmla="*/ 4431 w 10000"/>
                <a:gd name="connsiteY149" fmla="*/ 7152 h 10000"/>
                <a:gd name="connsiteX150" fmla="*/ 4480 w 10000"/>
                <a:gd name="connsiteY150" fmla="*/ 7322 h 10000"/>
                <a:gd name="connsiteX151" fmla="*/ 4541 w 10000"/>
                <a:gd name="connsiteY151" fmla="*/ 7662 h 10000"/>
                <a:gd name="connsiteX152" fmla="*/ 4720 w 10000"/>
                <a:gd name="connsiteY152" fmla="*/ 7739 h 10000"/>
                <a:gd name="connsiteX153" fmla="*/ 4761 w 10000"/>
                <a:gd name="connsiteY153" fmla="*/ 8183 h 10000"/>
                <a:gd name="connsiteX154" fmla="*/ 4914 w 10000"/>
                <a:gd name="connsiteY154" fmla="*/ 8276 h 10000"/>
                <a:gd name="connsiteX155" fmla="*/ 4757 w 10000"/>
                <a:gd name="connsiteY155" fmla="*/ 8370 h 10000"/>
                <a:gd name="connsiteX156" fmla="*/ 4705 w 10000"/>
                <a:gd name="connsiteY156" fmla="*/ 8260 h 10000"/>
                <a:gd name="connsiteX157" fmla="*/ 4645 w 10000"/>
                <a:gd name="connsiteY157" fmla="*/ 8403 h 10000"/>
                <a:gd name="connsiteX158" fmla="*/ 4491 w 10000"/>
                <a:gd name="connsiteY158" fmla="*/ 8287 h 10000"/>
                <a:gd name="connsiteX159" fmla="*/ 4405 w 10000"/>
                <a:gd name="connsiteY159" fmla="*/ 8452 h 10000"/>
                <a:gd name="connsiteX160" fmla="*/ 4226 w 10000"/>
                <a:gd name="connsiteY160" fmla="*/ 8331 h 10000"/>
                <a:gd name="connsiteX161" fmla="*/ 4312 w 10000"/>
                <a:gd name="connsiteY161" fmla="*/ 8699 h 10000"/>
                <a:gd name="connsiteX162" fmla="*/ 4304 w 10000"/>
                <a:gd name="connsiteY162" fmla="*/ 8967 h 10000"/>
                <a:gd name="connsiteX163" fmla="*/ 4189 w 10000"/>
                <a:gd name="connsiteY163" fmla="*/ 9088 h 10000"/>
                <a:gd name="connsiteX164" fmla="*/ 4226 w 10000"/>
                <a:gd name="connsiteY164" fmla="*/ 9193 h 10000"/>
                <a:gd name="connsiteX165" fmla="*/ 4065 w 10000"/>
                <a:gd name="connsiteY165" fmla="*/ 9412 h 10000"/>
                <a:gd name="connsiteX166" fmla="*/ 4129 w 10000"/>
                <a:gd name="connsiteY166" fmla="*/ 9647 h 10000"/>
                <a:gd name="connsiteX167" fmla="*/ 3972 w 10000"/>
                <a:gd name="connsiteY167" fmla="*/ 9681 h 10000"/>
                <a:gd name="connsiteX168" fmla="*/ 3931 w 10000"/>
                <a:gd name="connsiteY168" fmla="*/ 9741 h 10000"/>
                <a:gd name="connsiteX169" fmla="*/ 3998 w 10000"/>
                <a:gd name="connsiteY169" fmla="*/ 9785 h 10000"/>
                <a:gd name="connsiteX170" fmla="*/ 4118 w 10000"/>
                <a:gd name="connsiteY170" fmla="*/ 9944 h 10000"/>
                <a:gd name="connsiteX171" fmla="*/ 4312 w 10000"/>
                <a:gd name="connsiteY171" fmla="*/ 9999 h 10000"/>
                <a:gd name="connsiteX172" fmla="*/ 4319 w 10000"/>
                <a:gd name="connsiteY172" fmla="*/ 9851 h 10000"/>
                <a:gd name="connsiteX173" fmla="*/ 4387 w 10000"/>
                <a:gd name="connsiteY173" fmla="*/ 9856 h 10000"/>
                <a:gd name="connsiteX174" fmla="*/ 4675 w 10000"/>
                <a:gd name="connsiteY174" fmla="*/ 9603 h 10000"/>
                <a:gd name="connsiteX175" fmla="*/ 4866 w 10000"/>
                <a:gd name="connsiteY175" fmla="*/ 9845 h 10000"/>
                <a:gd name="connsiteX176" fmla="*/ 4866 w 10000"/>
                <a:gd name="connsiteY176" fmla="*/ 9862 h 10000"/>
                <a:gd name="connsiteX177" fmla="*/ 4896 w 10000"/>
                <a:gd name="connsiteY177" fmla="*/ 9703 h 10000"/>
                <a:gd name="connsiteX178" fmla="*/ 4843 w 10000"/>
                <a:gd name="connsiteY178" fmla="*/ 9570 h 10000"/>
                <a:gd name="connsiteX179" fmla="*/ 4776 w 10000"/>
                <a:gd name="connsiteY179" fmla="*/ 9549 h 10000"/>
                <a:gd name="connsiteX180" fmla="*/ 4821 w 10000"/>
                <a:gd name="connsiteY180" fmla="*/ 9466 h 10000"/>
                <a:gd name="connsiteX181" fmla="*/ 4806 w 10000"/>
                <a:gd name="connsiteY181" fmla="*/ 9444 h 10000"/>
                <a:gd name="connsiteX182" fmla="*/ 4750 w 10000"/>
                <a:gd name="connsiteY182" fmla="*/ 9439 h 10000"/>
                <a:gd name="connsiteX183" fmla="*/ 4720 w 10000"/>
                <a:gd name="connsiteY183" fmla="*/ 9121 h 10000"/>
                <a:gd name="connsiteX184" fmla="*/ 4761 w 10000"/>
                <a:gd name="connsiteY184" fmla="*/ 9105 h 10000"/>
                <a:gd name="connsiteX185" fmla="*/ 4783 w 10000"/>
                <a:gd name="connsiteY185" fmla="*/ 9253 h 10000"/>
                <a:gd name="connsiteX186" fmla="*/ 4836 w 10000"/>
                <a:gd name="connsiteY186" fmla="*/ 9384 h 10000"/>
                <a:gd name="connsiteX187" fmla="*/ 4881 w 10000"/>
                <a:gd name="connsiteY187" fmla="*/ 9302 h 10000"/>
                <a:gd name="connsiteX188" fmla="*/ 4869 w 10000"/>
                <a:gd name="connsiteY188" fmla="*/ 9220 h 10000"/>
                <a:gd name="connsiteX189" fmla="*/ 4940 w 10000"/>
                <a:gd name="connsiteY189" fmla="*/ 9203 h 10000"/>
                <a:gd name="connsiteX190" fmla="*/ 4903 w 10000"/>
                <a:gd name="connsiteY190" fmla="*/ 9034 h 10000"/>
                <a:gd name="connsiteX191" fmla="*/ 5000 w 10000"/>
                <a:gd name="connsiteY191" fmla="*/ 9061 h 10000"/>
                <a:gd name="connsiteX192" fmla="*/ 5004 w 10000"/>
                <a:gd name="connsiteY192" fmla="*/ 8972 h 10000"/>
                <a:gd name="connsiteX193" fmla="*/ 5041 w 10000"/>
                <a:gd name="connsiteY193" fmla="*/ 9039 h 10000"/>
                <a:gd name="connsiteX194" fmla="*/ 5206 w 10000"/>
                <a:gd name="connsiteY194" fmla="*/ 8781 h 10000"/>
                <a:gd name="connsiteX195" fmla="*/ 5112 w 10000"/>
                <a:gd name="connsiteY195" fmla="*/ 8584 h 10000"/>
                <a:gd name="connsiteX196" fmla="*/ 4937 w 10000"/>
                <a:gd name="connsiteY196" fmla="*/ 8425 h 10000"/>
                <a:gd name="connsiteX197" fmla="*/ 5037 w 10000"/>
                <a:gd name="connsiteY197" fmla="*/ 8370 h 10000"/>
                <a:gd name="connsiteX198" fmla="*/ 5183 w 10000"/>
                <a:gd name="connsiteY198" fmla="*/ 8633 h 10000"/>
                <a:gd name="connsiteX199" fmla="*/ 5292 w 10000"/>
                <a:gd name="connsiteY199" fmla="*/ 8199 h 10000"/>
                <a:gd name="connsiteX200" fmla="*/ 5299 w 10000"/>
                <a:gd name="connsiteY200" fmla="*/ 8030 h 10000"/>
                <a:gd name="connsiteX201" fmla="*/ 5482 w 10000"/>
                <a:gd name="connsiteY201" fmla="*/ 7942 h 10000"/>
                <a:gd name="connsiteX202" fmla="*/ 5550 w 10000"/>
                <a:gd name="connsiteY202" fmla="*/ 7607 h 10000"/>
                <a:gd name="connsiteX203" fmla="*/ 5561 w 10000"/>
                <a:gd name="connsiteY203" fmla="*/ 7734 h 10000"/>
                <a:gd name="connsiteX204" fmla="*/ 5677 w 10000"/>
                <a:gd name="connsiteY204" fmla="*/ 7596 h 10000"/>
                <a:gd name="connsiteX205" fmla="*/ 5759 w 10000"/>
                <a:gd name="connsiteY205" fmla="*/ 7579 h 10000"/>
                <a:gd name="connsiteX206" fmla="*/ 5842 w 10000"/>
                <a:gd name="connsiteY206" fmla="*/ 7207 h 10000"/>
                <a:gd name="connsiteX207" fmla="*/ 5916 w 10000"/>
                <a:gd name="connsiteY207" fmla="*/ 7486 h 10000"/>
                <a:gd name="connsiteX208" fmla="*/ 6137 w 10000"/>
                <a:gd name="connsiteY208" fmla="*/ 7563 h 10000"/>
                <a:gd name="connsiteX209" fmla="*/ 5969 w 10000"/>
                <a:gd name="connsiteY209" fmla="*/ 7618 h 10000"/>
                <a:gd name="connsiteX210" fmla="*/ 5954 w 10000"/>
                <a:gd name="connsiteY210" fmla="*/ 7679 h 10000"/>
                <a:gd name="connsiteX211" fmla="*/ 5786 w 10000"/>
                <a:gd name="connsiteY211" fmla="*/ 7690 h 10000"/>
                <a:gd name="connsiteX212" fmla="*/ 5700 w 10000"/>
                <a:gd name="connsiteY212" fmla="*/ 7723 h 10000"/>
                <a:gd name="connsiteX213" fmla="*/ 5767 w 10000"/>
                <a:gd name="connsiteY213" fmla="*/ 7772 h 10000"/>
                <a:gd name="connsiteX214" fmla="*/ 5827 w 10000"/>
                <a:gd name="connsiteY214" fmla="*/ 7756 h 10000"/>
                <a:gd name="connsiteX215" fmla="*/ 5991 w 10000"/>
                <a:gd name="connsiteY215" fmla="*/ 7789 h 10000"/>
                <a:gd name="connsiteX216" fmla="*/ 5804 w 10000"/>
                <a:gd name="connsiteY216" fmla="*/ 7964 h 10000"/>
                <a:gd name="connsiteX217" fmla="*/ 5872 w 10000"/>
                <a:gd name="connsiteY217" fmla="*/ 8008 h 10000"/>
                <a:gd name="connsiteX218" fmla="*/ 6043 w 10000"/>
                <a:gd name="connsiteY218" fmla="*/ 7958 h 10000"/>
                <a:gd name="connsiteX219" fmla="*/ 6275 w 10000"/>
                <a:gd name="connsiteY219" fmla="*/ 8101 h 10000"/>
                <a:gd name="connsiteX220" fmla="*/ 6575 w 10000"/>
                <a:gd name="connsiteY220" fmla="*/ 7909 h 10000"/>
                <a:gd name="connsiteX221" fmla="*/ 6870 w 10000"/>
                <a:gd name="connsiteY221" fmla="*/ 7887 h 10000"/>
                <a:gd name="connsiteX222" fmla="*/ 6915 w 10000"/>
                <a:gd name="connsiteY222" fmla="*/ 7745 h 10000"/>
                <a:gd name="connsiteX223" fmla="*/ 6993 w 10000"/>
                <a:gd name="connsiteY223" fmla="*/ 7958 h 10000"/>
                <a:gd name="connsiteX224" fmla="*/ 7075 w 10000"/>
                <a:gd name="connsiteY224" fmla="*/ 7986 h 10000"/>
                <a:gd name="connsiteX225" fmla="*/ 7045 w 10000"/>
                <a:gd name="connsiteY225" fmla="*/ 8134 h 10000"/>
                <a:gd name="connsiteX226" fmla="*/ 6788 w 10000"/>
                <a:gd name="connsiteY226" fmla="*/ 8281 h 10000"/>
                <a:gd name="connsiteX227" fmla="*/ 6769 w 10000"/>
                <a:gd name="connsiteY227" fmla="*/ 8386 h 10000"/>
                <a:gd name="connsiteX228" fmla="*/ 6627 w 10000"/>
                <a:gd name="connsiteY228" fmla="*/ 8523 h 10000"/>
                <a:gd name="connsiteX229" fmla="*/ 6623 w 10000"/>
                <a:gd name="connsiteY229" fmla="*/ 8649 h 10000"/>
                <a:gd name="connsiteX230" fmla="*/ 6537 w 10000"/>
                <a:gd name="connsiteY230" fmla="*/ 8704 h 10000"/>
                <a:gd name="connsiteX231" fmla="*/ 6428 w 10000"/>
                <a:gd name="connsiteY231" fmla="*/ 8989 h 10000"/>
                <a:gd name="connsiteX232" fmla="*/ 6582 w 10000"/>
                <a:gd name="connsiteY232" fmla="*/ 9001 h 10000"/>
                <a:gd name="connsiteX233" fmla="*/ 6672 w 10000"/>
                <a:gd name="connsiteY233" fmla="*/ 8879 h 10000"/>
                <a:gd name="connsiteX234" fmla="*/ 6769 w 10000"/>
                <a:gd name="connsiteY234" fmla="*/ 8912 h 10000"/>
                <a:gd name="connsiteX235" fmla="*/ 6814 w 10000"/>
                <a:gd name="connsiteY235" fmla="*/ 8786 h 10000"/>
                <a:gd name="connsiteX236" fmla="*/ 6877 w 10000"/>
                <a:gd name="connsiteY236" fmla="*/ 9001 h 10000"/>
                <a:gd name="connsiteX237" fmla="*/ 7060 w 10000"/>
                <a:gd name="connsiteY237" fmla="*/ 8994 h 10000"/>
                <a:gd name="connsiteX238" fmla="*/ 7217 w 10000"/>
                <a:gd name="connsiteY238" fmla="*/ 9362 h 10000"/>
                <a:gd name="connsiteX239" fmla="*/ 7232 w 10000"/>
                <a:gd name="connsiteY239" fmla="*/ 9675 h 10000"/>
                <a:gd name="connsiteX240" fmla="*/ 7176 w 10000"/>
                <a:gd name="connsiteY240" fmla="*/ 9692 h 10000"/>
                <a:gd name="connsiteX241" fmla="*/ 7187 w 10000"/>
                <a:gd name="connsiteY241" fmla="*/ 9780 h 10000"/>
                <a:gd name="connsiteX242" fmla="*/ 7423 w 10000"/>
                <a:gd name="connsiteY242" fmla="*/ 9900 h 10000"/>
                <a:gd name="connsiteX243" fmla="*/ 7741 w 10000"/>
                <a:gd name="connsiteY243" fmla="*/ 9565 h 10000"/>
                <a:gd name="connsiteX244" fmla="*/ 7879 w 10000"/>
                <a:gd name="connsiteY244" fmla="*/ 9176 h 10000"/>
                <a:gd name="connsiteX245" fmla="*/ 8107 w 10000"/>
                <a:gd name="connsiteY245" fmla="*/ 9023 h 10000"/>
                <a:gd name="connsiteX246" fmla="*/ 8182 w 10000"/>
                <a:gd name="connsiteY246" fmla="*/ 8841 h 10000"/>
                <a:gd name="connsiteX247" fmla="*/ 8268 w 10000"/>
                <a:gd name="connsiteY247" fmla="*/ 8786 h 10000"/>
                <a:gd name="connsiteX248" fmla="*/ 8320 w 10000"/>
                <a:gd name="connsiteY248" fmla="*/ 8512 h 10000"/>
                <a:gd name="connsiteX249" fmla="*/ 8542 w 10000"/>
                <a:gd name="connsiteY249" fmla="*/ 8617 h 10000"/>
                <a:gd name="connsiteX250" fmla="*/ 8672 w 10000"/>
                <a:gd name="connsiteY250" fmla="*/ 8474 h 10000"/>
                <a:gd name="connsiteX251" fmla="*/ 8855 w 10000"/>
                <a:gd name="connsiteY251" fmla="*/ 8343 h 10000"/>
                <a:gd name="connsiteX252" fmla="*/ 8781 w 10000"/>
                <a:gd name="connsiteY252" fmla="*/ 8128 h 10000"/>
                <a:gd name="connsiteX253" fmla="*/ 7708 w 10000"/>
                <a:gd name="connsiteY253" fmla="*/ 7991 h 10000"/>
                <a:gd name="connsiteX254" fmla="*/ 7682 w 10000"/>
                <a:gd name="connsiteY254" fmla="*/ 7904 h 10000"/>
                <a:gd name="connsiteX255" fmla="*/ 7607 w 10000"/>
                <a:gd name="connsiteY255" fmla="*/ 8002 h 10000"/>
                <a:gd name="connsiteX256" fmla="*/ 7715 w 10000"/>
                <a:gd name="connsiteY256" fmla="*/ 7761 h 10000"/>
                <a:gd name="connsiteX257" fmla="*/ 7674 w 10000"/>
                <a:gd name="connsiteY257" fmla="*/ 7717 h 10000"/>
                <a:gd name="connsiteX258" fmla="*/ 7554 w 10000"/>
                <a:gd name="connsiteY258" fmla="*/ 7915 h 10000"/>
                <a:gd name="connsiteX259" fmla="*/ 7618 w 10000"/>
                <a:gd name="connsiteY259" fmla="*/ 7712 h 10000"/>
                <a:gd name="connsiteX260" fmla="*/ 7532 w 10000"/>
                <a:gd name="connsiteY260" fmla="*/ 7767 h 10000"/>
                <a:gd name="connsiteX261" fmla="*/ 7419 w 10000"/>
                <a:gd name="connsiteY261" fmla="*/ 7717 h 10000"/>
                <a:gd name="connsiteX262" fmla="*/ 7333 w 10000"/>
                <a:gd name="connsiteY262" fmla="*/ 7794 h 10000"/>
                <a:gd name="connsiteX263" fmla="*/ 7240 w 10000"/>
                <a:gd name="connsiteY263" fmla="*/ 7728 h 10000"/>
                <a:gd name="connsiteX264" fmla="*/ 7087 w 10000"/>
                <a:gd name="connsiteY264" fmla="*/ 7717 h 10000"/>
                <a:gd name="connsiteX265" fmla="*/ 7090 w 10000"/>
                <a:gd name="connsiteY265" fmla="*/ 7547 h 10000"/>
                <a:gd name="connsiteX266" fmla="*/ 7229 w 10000"/>
                <a:gd name="connsiteY266" fmla="*/ 7662 h 10000"/>
                <a:gd name="connsiteX267" fmla="*/ 7273 w 10000"/>
                <a:gd name="connsiteY267" fmla="*/ 7541 h 10000"/>
                <a:gd name="connsiteX268" fmla="*/ 7236 w 10000"/>
                <a:gd name="connsiteY268" fmla="*/ 7410 h 10000"/>
                <a:gd name="connsiteX269" fmla="*/ 7341 w 10000"/>
                <a:gd name="connsiteY269" fmla="*/ 7547 h 10000"/>
                <a:gd name="connsiteX270" fmla="*/ 7483 w 10000"/>
                <a:gd name="connsiteY270" fmla="*/ 7536 h 10000"/>
                <a:gd name="connsiteX271" fmla="*/ 7506 w 10000"/>
                <a:gd name="connsiteY271" fmla="*/ 7685 h 10000"/>
                <a:gd name="connsiteX272" fmla="*/ 7547 w 10000"/>
                <a:gd name="connsiteY272" fmla="*/ 7685 h 10000"/>
                <a:gd name="connsiteX273" fmla="*/ 7558 w 10000"/>
                <a:gd name="connsiteY273" fmla="*/ 7415 h 10000"/>
                <a:gd name="connsiteX274" fmla="*/ 7607 w 10000"/>
                <a:gd name="connsiteY274" fmla="*/ 7585 h 10000"/>
                <a:gd name="connsiteX275" fmla="*/ 7693 w 10000"/>
                <a:gd name="connsiteY275" fmla="*/ 7590 h 10000"/>
                <a:gd name="connsiteX276" fmla="*/ 7629 w 10000"/>
                <a:gd name="connsiteY276" fmla="*/ 7333 h 10000"/>
                <a:gd name="connsiteX277" fmla="*/ 7786 w 10000"/>
                <a:gd name="connsiteY277" fmla="*/ 7240 h 10000"/>
                <a:gd name="connsiteX278" fmla="*/ 7779 w 10000"/>
                <a:gd name="connsiteY278" fmla="*/ 6987 h 10000"/>
                <a:gd name="connsiteX279" fmla="*/ 7887 w 10000"/>
                <a:gd name="connsiteY279" fmla="*/ 7081 h 10000"/>
                <a:gd name="connsiteX280" fmla="*/ 7906 w 10000"/>
                <a:gd name="connsiteY280" fmla="*/ 7015 h 10000"/>
                <a:gd name="connsiteX281" fmla="*/ 7775 w 10000"/>
                <a:gd name="connsiteY281" fmla="*/ 6735 h 10000"/>
                <a:gd name="connsiteX282" fmla="*/ 7950 w 10000"/>
                <a:gd name="connsiteY282" fmla="*/ 6894 h 10000"/>
                <a:gd name="connsiteX283" fmla="*/ 8171 w 10000"/>
                <a:gd name="connsiteY283" fmla="*/ 6511 h 10000"/>
                <a:gd name="connsiteX284" fmla="*/ 8384 w 10000"/>
                <a:gd name="connsiteY284" fmla="*/ 6483 h 10000"/>
                <a:gd name="connsiteX285" fmla="*/ 8429 w 10000"/>
                <a:gd name="connsiteY28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775 w 10000"/>
                <a:gd name="connsiteY9" fmla="*/ 2259 h 10000"/>
                <a:gd name="connsiteX10" fmla="*/ 9656 w 10000"/>
                <a:gd name="connsiteY10" fmla="*/ 2024 h 10000"/>
                <a:gd name="connsiteX11" fmla="*/ 9663 w 10000"/>
                <a:gd name="connsiteY11" fmla="*/ 1810 h 10000"/>
                <a:gd name="connsiteX12" fmla="*/ 9143 w 10000"/>
                <a:gd name="connsiteY12" fmla="*/ 1838 h 10000"/>
                <a:gd name="connsiteX13" fmla="*/ 9091 w 10000"/>
                <a:gd name="connsiteY13" fmla="*/ 1712 h 10000"/>
                <a:gd name="connsiteX14" fmla="*/ 9020 w 10000"/>
                <a:gd name="connsiteY14" fmla="*/ 1728 h 10000"/>
                <a:gd name="connsiteX15" fmla="*/ 7569 w 10000"/>
                <a:gd name="connsiteY15" fmla="*/ 1873 h 10000"/>
                <a:gd name="connsiteX16" fmla="*/ 7165 w 10000"/>
                <a:gd name="connsiteY16" fmla="*/ 1996 h 10000"/>
                <a:gd name="connsiteX17" fmla="*/ 6892 w 10000"/>
                <a:gd name="connsiteY17" fmla="*/ 1827 h 10000"/>
                <a:gd name="connsiteX18" fmla="*/ 6922 w 10000"/>
                <a:gd name="connsiteY18" fmla="*/ 1728 h 10000"/>
                <a:gd name="connsiteX19" fmla="*/ 6765 w 10000"/>
                <a:gd name="connsiteY19" fmla="*/ 1398 h 10000"/>
                <a:gd name="connsiteX20" fmla="*/ 6799 w 10000"/>
                <a:gd name="connsiteY20" fmla="*/ 1256 h 10000"/>
                <a:gd name="connsiteX21" fmla="*/ 6728 w 10000"/>
                <a:gd name="connsiteY21" fmla="*/ 1229 h 10000"/>
                <a:gd name="connsiteX22" fmla="*/ 6657 w 10000"/>
                <a:gd name="connsiteY22" fmla="*/ 1311 h 10000"/>
                <a:gd name="connsiteX23" fmla="*/ 6593 w 10000"/>
                <a:gd name="connsiteY23" fmla="*/ 1114 h 10000"/>
                <a:gd name="connsiteX24" fmla="*/ 6391 w 10000"/>
                <a:gd name="connsiteY24" fmla="*/ 1311 h 10000"/>
                <a:gd name="connsiteX25" fmla="*/ 6309 w 10000"/>
                <a:gd name="connsiteY25" fmla="*/ 1223 h 10000"/>
                <a:gd name="connsiteX26" fmla="*/ 6126 w 10000"/>
                <a:gd name="connsiteY26" fmla="*/ 1273 h 10000"/>
                <a:gd name="connsiteX27" fmla="*/ 6144 w 10000"/>
                <a:gd name="connsiteY27" fmla="*/ 1125 h 10000"/>
                <a:gd name="connsiteX28" fmla="*/ 6073 w 10000"/>
                <a:gd name="connsiteY28" fmla="*/ 1119 h 10000"/>
                <a:gd name="connsiteX29" fmla="*/ 6040 w 10000"/>
                <a:gd name="connsiteY29" fmla="*/ 910 h 10000"/>
                <a:gd name="connsiteX30" fmla="*/ 5942 w 10000"/>
                <a:gd name="connsiteY30" fmla="*/ 795 h 10000"/>
                <a:gd name="connsiteX31" fmla="*/ 6144 w 10000"/>
                <a:gd name="connsiteY31" fmla="*/ 620 h 10000"/>
                <a:gd name="connsiteX32" fmla="*/ 5901 w 10000"/>
                <a:gd name="connsiteY32" fmla="*/ 395 h 10000"/>
                <a:gd name="connsiteX33" fmla="*/ 5853 w 10000"/>
                <a:gd name="connsiteY33" fmla="*/ 142 h 10000"/>
                <a:gd name="connsiteX34" fmla="*/ 5741 w 10000"/>
                <a:gd name="connsiteY34" fmla="*/ 110 h 10000"/>
                <a:gd name="connsiteX35" fmla="*/ 5647 w 10000"/>
                <a:gd name="connsiteY35" fmla="*/ 0 h 10000"/>
                <a:gd name="connsiteX36" fmla="*/ 5547 w 10000"/>
                <a:gd name="connsiteY36" fmla="*/ 120 h 10000"/>
                <a:gd name="connsiteX37" fmla="*/ 5377 w 10000"/>
                <a:gd name="connsiteY37" fmla="*/ 110 h 10000"/>
                <a:gd name="connsiteX38" fmla="*/ 5232 w 10000"/>
                <a:gd name="connsiteY38" fmla="*/ 351 h 10000"/>
                <a:gd name="connsiteX39" fmla="*/ 4952 w 10000"/>
                <a:gd name="connsiteY39" fmla="*/ 329 h 10000"/>
                <a:gd name="connsiteX40" fmla="*/ 4884 w 10000"/>
                <a:gd name="connsiteY40" fmla="*/ 680 h 10000"/>
                <a:gd name="connsiteX41" fmla="*/ 4701 w 10000"/>
                <a:gd name="connsiteY41" fmla="*/ 707 h 10000"/>
                <a:gd name="connsiteX42" fmla="*/ 4795 w 10000"/>
                <a:gd name="connsiteY42" fmla="*/ 844 h 10000"/>
                <a:gd name="connsiteX43" fmla="*/ 4739 w 10000"/>
                <a:gd name="connsiteY43" fmla="*/ 899 h 10000"/>
                <a:gd name="connsiteX44" fmla="*/ 4612 w 10000"/>
                <a:gd name="connsiteY44" fmla="*/ 894 h 10000"/>
                <a:gd name="connsiteX45" fmla="*/ 4439 w 10000"/>
                <a:gd name="connsiteY45" fmla="*/ 1026 h 10000"/>
                <a:gd name="connsiteX46" fmla="*/ 4252 w 10000"/>
                <a:gd name="connsiteY46" fmla="*/ 1668 h 10000"/>
                <a:gd name="connsiteX47" fmla="*/ 4308 w 10000"/>
                <a:gd name="connsiteY47" fmla="*/ 2090 h 10000"/>
                <a:gd name="connsiteX48" fmla="*/ 4121 w 10000"/>
                <a:gd name="connsiteY48" fmla="*/ 1865 h 10000"/>
                <a:gd name="connsiteX49" fmla="*/ 3849 w 10000"/>
                <a:gd name="connsiteY49" fmla="*/ 1991 h 10000"/>
                <a:gd name="connsiteX50" fmla="*/ 3822 w 10000"/>
                <a:gd name="connsiteY50" fmla="*/ 1931 h 10000"/>
                <a:gd name="connsiteX51" fmla="*/ 3695 w 10000"/>
                <a:gd name="connsiteY51" fmla="*/ 2002 h 10000"/>
                <a:gd name="connsiteX52" fmla="*/ 3621 w 10000"/>
                <a:gd name="connsiteY52" fmla="*/ 2144 h 10000"/>
                <a:gd name="connsiteX53" fmla="*/ 3561 w 10000"/>
                <a:gd name="connsiteY53" fmla="*/ 1909 h 10000"/>
                <a:gd name="connsiteX54" fmla="*/ 3478 w 10000"/>
                <a:gd name="connsiteY54" fmla="*/ 1843 h 10000"/>
                <a:gd name="connsiteX55" fmla="*/ 3444 w 10000"/>
                <a:gd name="connsiteY55" fmla="*/ 1964 h 10000"/>
                <a:gd name="connsiteX56" fmla="*/ 3332 w 10000"/>
                <a:gd name="connsiteY56" fmla="*/ 1996 h 10000"/>
                <a:gd name="connsiteX57" fmla="*/ 3272 w 10000"/>
                <a:gd name="connsiteY57" fmla="*/ 2161 h 10000"/>
                <a:gd name="connsiteX58" fmla="*/ 3235 w 10000"/>
                <a:gd name="connsiteY58" fmla="*/ 2013 h 10000"/>
                <a:gd name="connsiteX59" fmla="*/ 3123 w 10000"/>
                <a:gd name="connsiteY59" fmla="*/ 2024 h 10000"/>
                <a:gd name="connsiteX60" fmla="*/ 3078 w 10000"/>
                <a:gd name="connsiteY60" fmla="*/ 2128 h 10000"/>
                <a:gd name="connsiteX61" fmla="*/ 3011 w 10000"/>
                <a:gd name="connsiteY61" fmla="*/ 1975 h 10000"/>
                <a:gd name="connsiteX62" fmla="*/ 2895 w 10000"/>
                <a:gd name="connsiteY62" fmla="*/ 2117 h 10000"/>
                <a:gd name="connsiteX63" fmla="*/ 2783 w 10000"/>
                <a:gd name="connsiteY63" fmla="*/ 2106 h 10000"/>
                <a:gd name="connsiteX64" fmla="*/ 2779 w 10000"/>
                <a:gd name="connsiteY64" fmla="*/ 2276 h 10000"/>
                <a:gd name="connsiteX65" fmla="*/ 2727 w 10000"/>
                <a:gd name="connsiteY65" fmla="*/ 2144 h 10000"/>
                <a:gd name="connsiteX66" fmla="*/ 2559 w 10000"/>
                <a:gd name="connsiteY66" fmla="*/ 2155 h 10000"/>
                <a:gd name="connsiteX67" fmla="*/ 2438 w 10000"/>
                <a:gd name="connsiteY67" fmla="*/ 1980 h 10000"/>
                <a:gd name="connsiteX68" fmla="*/ 2293 w 10000"/>
                <a:gd name="connsiteY68" fmla="*/ 2073 h 10000"/>
                <a:gd name="connsiteX69" fmla="*/ 2143 w 10000"/>
                <a:gd name="connsiteY69" fmla="*/ 1958 h 10000"/>
                <a:gd name="connsiteX70" fmla="*/ 2057 w 10000"/>
                <a:gd name="connsiteY70" fmla="*/ 2035 h 10000"/>
                <a:gd name="connsiteX71" fmla="*/ 1975 w 10000"/>
                <a:gd name="connsiteY71" fmla="*/ 1947 h 10000"/>
                <a:gd name="connsiteX72" fmla="*/ 1852 w 10000"/>
                <a:gd name="connsiteY72" fmla="*/ 1936 h 10000"/>
                <a:gd name="connsiteX73" fmla="*/ 1669 w 10000"/>
                <a:gd name="connsiteY73" fmla="*/ 1925 h 10000"/>
                <a:gd name="connsiteX74" fmla="*/ 1444 w 10000"/>
                <a:gd name="connsiteY74" fmla="*/ 1991 h 10000"/>
                <a:gd name="connsiteX75" fmla="*/ 1205 w 10000"/>
                <a:gd name="connsiteY75" fmla="*/ 2062 h 10000"/>
                <a:gd name="connsiteX76" fmla="*/ 921 w 10000"/>
                <a:gd name="connsiteY76" fmla="*/ 2166 h 10000"/>
                <a:gd name="connsiteX77" fmla="*/ 797 w 10000"/>
                <a:gd name="connsiteY77" fmla="*/ 2496 h 10000"/>
                <a:gd name="connsiteX78" fmla="*/ 603 w 10000"/>
                <a:gd name="connsiteY78" fmla="*/ 2501 h 10000"/>
                <a:gd name="connsiteX79" fmla="*/ 540 w 10000"/>
                <a:gd name="connsiteY79" fmla="*/ 2687 h 10000"/>
                <a:gd name="connsiteX80" fmla="*/ 558 w 10000"/>
                <a:gd name="connsiteY80" fmla="*/ 2764 h 10000"/>
                <a:gd name="connsiteX81" fmla="*/ 577 w 10000"/>
                <a:gd name="connsiteY81" fmla="*/ 2868 h 10000"/>
                <a:gd name="connsiteX82" fmla="*/ 577 w 10000"/>
                <a:gd name="connsiteY82" fmla="*/ 2868 h 10000"/>
                <a:gd name="connsiteX83" fmla="*/ 577 w 10000"/>
                <a:gd name="connsiteY83" fmla="*/ 2896 h 10000"/>
                <a:gd name="connsiteX84" fmla="*/ 682 w 10000"/>
                <a:gd name="connsiteY84" fmla="*/ 3116 h 10000"/>
                <a:gd name="connsiteX85" fmla="*/ 786 w 10000"/>
                <a:gd name="connsiteY85" fmla="*/ 3351 h 10000"/>
                <a:gd name="connsiteX86" fmla="*/ 921 w 10000"/>
                <a:gd name="connsiteY86" fmla="*/ 3488 h 10000"/>
                <a:gd name="connsiteX87" fmla="*/ 876 w 10000"/>
                <a:gd name="connsiteY87" fmla="*/ 3548 h 10000"/>
                <a:gd name="connsiteX88" fmla="*/ 805 w 10000"/>
                <a:gd name="connsiteY88" fmla="*/ 3603 h 10000"/>
                <a:gd name="connsiteX89" fmla="*/ 887 w 10000"/>
                <a:gd name="connsiteY89" fmla="*/ 3697 h 10000"/>
                <a:gd name="connsiteX90" fmla="*/ 876 w 10000"/>
                <a:gd name="connsiteY90" fmla="*/ 4053 h 10000"/>
                <a:gd name="connsiteX91" fmla="*/ 693 w 10000"/>
                <a:gd name="connsiteY91" fmla="*/ 4124 h 10000"/>
                <a:gd name="connsiteX92" fmla="*/ 498 w 10000"/>
                <a:gd name="connsiteY92" fmla="*/ 4531 h 10000"/>
                <a:gd name="connsiteX93" fmla="*/ 371 w 10000"/>
                <a:gd name="connsiteY93" fmla="*/ 4936 h 10000"/>
                <a:gd name="connsiteX94" fmla="*/ 195 w 10000"/>
                <a:gd name="connsiteY94" fmla="*/ 5260 h 10000"/>
                <a:gd name="connsiteX95" fmla="*/ 270 w 10000"/>
                <a:gd name="connsiteY95" fmla="*/ 5517 h 10000"/>
                <a:gd name="connsiteX96" fmla="*/ 277 w 10000"/>
                <a:gd name="connsiteY96" fmla="*/ 5732 h 10000"/>
                <a:gd name="connsiteX97" fmla="*/ 400 w 10000"/>
                <a:gd name="connsiteY97" fmla="*/ 5841 h 10000"/>
                <a:gd name="connsiteX98" fmla="*/ 382 w 10000"/>
                <a:gd name="connsiteY98" fmla="*/ 5945 h 10000"/>
                <a:gd name="connsiteX99" fmla="*/ 202 w 10000"/>
                <a:gd name="connsiteY99" fmla="*/ 5852 h 10000"/>
                <a:gd name="connsiteX100" fmla="*/ 124 w 10000"/>
                <a:gd name="connsiteY100" fmla="*/ 6099 h 10000"/>
                <a:gd name="connsiteX101" fmla="*/ 105 w 10000"/>
                <a:gd name="connsiteY101" fmla="*/ 6346 h 10000"/>
                <a:gd name="connsiteX102" fmla="*/ 1 w 10000"/>
                <a:gd name="connsiteY102" fmla="*/ 6571 h 10000"/>
                <a:gd name="connsiteX103" fmla="*/ 19 w 10000"/>
                <a:gd name="connsiteY103" fmla="*/ 6779 h 10000"/>
                <a:gd name="connsiteX104" fmla="*/ 90 w 10000"/>
                <a:gd name="connsiteY104" fmla="*/ 6828 h 10000"/>
                <a:gd name="connsiteX105" fmla="*/ 154 w 10000"/>
                <a:gd name="connsiteY105" fmla="*/ 6960 h 10000"/>
                <a:gd name="connsiteX106" fmla="*/ 240 w 10000"/>
                <a:gd name="connsiteY106" fmla="*/ 6943 h 10000"/>
                <a:gd name="connsiteX107" fmla="*/ 292 w 10000"/>
                <a:gd name="connsiteY107" fmla="*/ 7076 h 10000"/>
                <a:gd name="connsiteX108" fmla="*/ 445 w 10000"/>
                <a:gd name="connsiteY108" fmla="*/ 7103 h 10000"/>
                <a:gd name="connsiteX109" fmla="*/ 453 w 10000"/>
                <a:gd name="connsiteY109" fmla="*/ 7251 h 10000"/>
                <a:gd name="connsiteX110" fmla="*/ 494 w 10000"/>
                <a:gd name="connsiteY110" fmla="*/ 7278 h 10000"/>
                <a:gd name="connsiteX111" fmla="*/ 525 w 10000"/>
                <a:gd name="connsiteY111" fmla="*/ 7174 h 10000"/>
                <a:gd name="connsiteX112" fmla="*/ 581 w 10000"/>
                <a:gd name="connsiteY112" fmla="*/ 7196 h 10000"/>
                <a:gd name="connsiteX113" fmla="*/ 644 w 10000"/>
                <a:gd name="connsiteY113" fmla="*/ 6992 h 10000"/>
                <a:gd name="connsiteX114" fmla="*/ 820 w 10000"/>
                <a:gd name="connsiteY114" fmla="*/ 7174 h 10000"/>
                <a:gd name="connsiteX115" fmla="*/ 1283 w 10000"/>
                <a:gd name="connsiteY115" fmla="*/ 7163 h 10000"/>
                <a:gd name="connsiteX116" fmla="*/ 1466 w 10000"/>
                <a:gd name="connsiteY116" fmla="*/ 7092 h 10000"/>
                <a:gd name="connsiteX117" fmla="*/ 1766 w 10000"/>
                <a:gd name="connsiteY117" fmla="*/ 7344 h 10000"/>
                <a:gd name="connsiteX118" fmla="*/ 1956 w 10000"/>
                <a:gd name="connsiteY118" fmla="*/ 7087 h 10000"/>
                <a:gd name="connsiteX119" fmla="*/ 2382 w 10000"/>
                <a:gd name="connsiteY119" fmla="*/ 6861 h 10000"/>
                <a:gd name="connsiteX120" fmla="*/ 2536 w 10000"/>
                <a:gd name="connsiteY120" fmla="*/ 6489 h 10000"/>
                <a:gd name="connsiteX121" fmla="*/ 2648 w 10000"/>
                <a:gd name="connsiteY121" fmla="*/ 6439 h 10000"/>
                <a:gd name="connsiteX122" fmla="*/ 2648 w 10000"/>
                <a:gd name="connsiteY122" fmla="*/ 6379 h 10000"/>
                <a:gd name="connsiteX123" fmla="*/ 2693 w 10000"/>
                <a:gd name="connsiteY123" fmla="*/ 6379 h 10000"/>
                <a:gd name="connsiteX124" fmla="*/ 2682 w 10000"/>
                <a:gd name="connsiteY124" fmla="*/ 6230 h 10000"/>
                <a:gd name="connsiteX125" fmla="*/ 2820 w 10000"/>
                <a:gd name="connsiteY125" fmla="*/ 6285 h 10000"/>
                <a:gd name="connsiteX126" fmla="*/ 2839 w 10000"/>
                <a:gd name="connsiteY126" fmla="*/ 6159 h 10000"/>
                <a:gd name="connsiteX127" fmla="*/ 2921 w 10000"/>
                <a:gd name="connsiteY127" fmla="*/ 6230 h 10000"/>
                <a:gd name="connsiteX128" fmla="*/ 2981 w 10000"/>
                <a:gd name="connsiteY128" fmla="*/ 6126 h 10000"/>
                <a:gd name="connsiteX129" fmla="*/ 3078 w 10000"/>
                <a:gd name="connsiteY129" fmla="*/ 6154 h 10000"/>
                <a:gd name="connsiteX130" fmla="*/ 3164 w 10000"/>
                <a:gd name="connsiteY130" fmla="*/ 6055 h 10000"/>
                <a:gd name="connsiteX131" fmla="*/ 3328 w 10000"/>
                <a:gd name="connsiteY131" fmla="*/ 6192 h 10000"/>
                <a:gd name="connsiteX132" fmla="*/ 3411 w 10000"/>
                <a:gd name="connsiteY132" fmla="*/ 6197 h 10000"/>
                <a:gd name="connsiteX133" fmla="*/ 3437 w 10000"/>
                <a:gd name="connsiteY133" fmla="*/ 6307 h 10000"/>
                <a:gd name="connsiteX134" fmla="*/ 3591 w 10000"/>
                <a:gd name="connsiteY134" fmla="*/ 6236 h 10000"/>
                <a:gd name="connsiteX135" fmla="*/ 3576 w 10000"/>
                <a:gd name="connsiteY135" fmla="*/ 6357 h 10000"/>
                <a:gd name="connsiteX136" fmla="*/ 3632 w 10000"/>
                <a:gd name="connsiteY136" fmla="*/ 6341 h 10000"/>
                <a:gd name="connsiteX137" fmla="*/ 3699 w 10000"/>
                <a:gd name="connsiteY137" fmla="*/ 6428 h 10000"/>
                <a:gd name="connsiteX138" fmla="*/ 3703 w 10000"/>
                <a:gd name="connsiteY138" fmla="*/ 6301 h 10000"/>
                <a:gd name="connsiteX139" fmla="*/ 3882 w 10000"/>
                <a:gd name="connsiteY139" fmla="*/ 6341 h 10000"/>
                <a:gd name="connsiteX140" fmla="*/ 3946 w 10000"/>
                <a:gd name="connsiteY140" fmla="*/ 6511 h 10000"/>
                <a:gd name="connsiteX141" fmla="*/ 4047 w 10000"/>
                <a:gd name="connsiteY141" fmla="*/ 6494 h 10000"/>
                <a:gd name="connsiteX142" fmla="*/ 4091 w 10000"/>
                <a:gd name="connsiteY142" fmla="*/ 6417 h 10000"/>
                <a:gd name="connsiteX143" fmla="*/ 4192 w 10000"/>
                <a:gd name="connsiteY143" fmla="*/ 6735 h 10000"/>
                <a:gd name="connsiteX144" fmla="*/ 4155 w 10000"/>
                <a:gd name="connsiteY144" fmla="*/ 6987 h 10000"/>
                <a:gd name="connsiteX145" fmla="*/ 4207 w 10000"/>
                <a:gd name="connsiteY145" fmla="*/ 7114 h 10000"/>
                <a:gd name="connsiteX146" fmla="*/ 4278 w 10000"/>
                <a:gd name="connsiteY146" fmla="*/ 7119 h 10000"/>
                <a:gd name="connsiteX147" fmla="*/ 4387 w 10000"/>
                <a:gd name="connsiteY147" fmla="*/ 7256 h 10000"/>
                <a:gd name="connsiteX148" fmla="*/ 4431 w 10000"/>
                <a:gd name="connsiteY148" fmla="*/ 7152 h 10000"/>
                <a:gd name="connsiteX149" fmla="*/ 4480 w 10000"/>
                <a:gd name="connsiteY149" fmla="*/ 7322 h 10000"/>
                <a:gd name="connsiteX150" fmla="*/ 4541 w 10000"/>
                <a:gd name="connsiteY150" fmla="*/ 7662 h 10000"/>
                <a:gd name="connsiteX151" fmla="*/ 4720 w 10000"/>
                <a:gd name="connsiteY151" fmla="*/ 7739 h 10000"/>
                <a:gd name="connsiteX152" fmla="*/ 4761 w 10000"/>
                <a:gd name="connsiteY152" fmla="*/ 8183 h 10000"/>
                <a:gd name="connsiteX153" fmla="*/ 4914 w 10000"/>
                <a:gd name="connsiteY153" fmla="*/ 8276 h 10000"/>
                <a:gd name="connsiteX154" fmla="*/ 4757 w 10000"/>
                <a:gd name="connsiteY154" fmla="*/ 8370 h 10000"/>
                <a:gd name="connsiteX155" fmla="*/ 4705 w 10000"/>
                <a:gd name="connsiteY155" fmla="*/ 8260 h 10000"/>
                <a:gd name="connsiteX156" fmla="*/ 4645 w 10000"/>
                <a:gd name="connsiteY156" fmla="*/ 8403 h 10000"/>
                <a:gd name="connsiteX157" fmla="*/ 4491 w 10000"/>
                <a:gd name="connsiteY157" fmla="*/ 8287 h 10000"/>
                <a:gd name="connsiteX158" fmla="*/ 4405 w 10000"/>
                <a:gd name="connsiteY158" fmla="*/ 8452 h 10000"/>
                <a:gd name="connsiteX159" fmla="*/ 4226 w 10000"/>
                <a:gd name="connsiteY159" fmla="*/ 8331 h 10000"/>
                <a:gd name="connsiteX160" fmla="*/ 4312 w 10000"/>
                <a:gd name="connsiteY160" fmla="*/ 8699 h 10000"/>
                <a:gd name="connsiteX161" fmla="*/ 4304 w 10000"/>
                <a:gd name="connsiteY161" fmla="*/ 8967 h 10000"/>
                <a:gd name="connsiteX162" fmla="*/ 4189 w 10000"/>
                <a:gd name="connsiteY162" fmla="*/ 9088 h 10000"/>
                <a:gd name="connsiteX163" fmla="*/ 4226 w 10000"/>
                <a:gd name="connsiteY163" fmla="*/ 9193 h 10000"/>
                <a:gd name="connsiteX164" fmla="*/ 4065 w 10000"/>
                <a:gd name="connsiteY164" fmla="*/ 9412 h 10000"/>
                <a:gd name="connsiteX165" fmla="*/ 4129 w 10000"/>
                <a:gd name="connsiteY165" fmla="*/ 9647 h 10000"/>
                <a:gd name="connsiteX166" fmla="*/ 3972 w 10000"/>
                <a:gd name="connsiteY166" fmla="*/ 9681 h 10000"/>
                <a:gd name="connsiteX167" fmla="*/ 3931 w 10000"/>
                <a:gd name="connsiteY167" fmla="*/ 9741 h 10000"/>
                <a:gd name="connsiteX168" fmla="*/ 3998 w 10000"/>
                <a:gd name="connsiteY168" fmla="*/ 9785 h 10000"/>
                <a:gd name="connsiteX169" fmla="*/ 4118 w 10000"/>
                <a:gd name="connsiteY169" fmla="*/ 9944 h 10000"/>
                <a:gd name="connsiteX170" fmla="*/ 4312 w 10000"/>
                <a:gd name="connsiteY170" fmla="*/ 9999 h 10000"/>
                <a:gd name="connsiteX171" fmla="*/ 4319 w 10000"/>
                <a:gd name="connsiteY171" fmla="*/ 9851 h 10000"/>
                <a:gd name="connsiteX172" fmla="*/ 4387 w 10000"/>
                <a:gd name="connsiteY172" fmla="*/ 9856 h 10000"/>
                <a:gd name="connsiteX173" fmla="*/ 4675 w 10000"/>
                <a:gd name="connsiteY173" fmla="*/ 9603 h 10000"/>
                <a:gd name="connsiteX174" fmla="*/ 4866 w 10000"/>
                <a:gd name="connsiteY174" fmla="*/ 9845 h 10000"/>
                <a:gd name="connsiteX175" fmla="*/ 4866 w 10000"/>
                <a:gd name="connsiteY175" fmla="*/ 9862 h 10000"/>
                <a:gd name="connsiteX176" fmla="*/ 4896 w 10000"/>
                <a:gd name="connsiteY176" fmla="*/ 9703 h 10000"/>
                <a:gd name="connsiteX177" fmla="*/ 4843 w 10000"/>
                <a:gd name="connsiteY177" fmla="*/ 9570 h 10000"/>
                <a:gd name="connsiteX178" fmla="*/ 4776 w 10000"/>
                <a:gd name="connsiteY178" fmla="*/ 9549 h 10000"/>
                <a:gd name="connsiteX179" fmla="*/ 4821 w 10000"/>
                <a:gd name="connsiteY179" fmla="*/ 9466 h 10000"/>
                <a:gd name="connsiteX180" fmla="*/ 4806 w 10000"/>
                <a:gd name="connsiteY180" fmla="*/ 9444 h 10000"/>
                <a:gd name="connsiteX181" fmla="*/ 4750 w 10000"/>
                <a:gd name="connsiteY181" fmla="*/ 9439 h 10000"/>
                <a:gd name="connsiteX182" fmla="*/ 4720 w 10000"/>
                <a:gd name="connsiteY182" fmla="*/ 9121 h 10000"/>
                <a:gd name="connsiteX183" fmla="*/ 4761 w 10000"/>
                <a:gd name="connsiteY183" fmla="*/ 9105 h 10000"/>
                <a:gd name="connsiteX184" fmla="*/ 4783 w 10000"/>
                <a:gd name="connsiteY184" fmla="*/ 9253 h 10000"/>
                <a:gd name="connsiteX185" fmla="*/ 4836 w 10000"/>
                <a:gd name="connsiteY185" fmla="*/ 9384 h 10000"/>
                <a:gd name="connsiteX186" fmla="*/ 4881 w 10000"/>
                <a:gd name="connsiteY186" fmla="*/ 9302 h 10000"/>
                <a:gd name="connsiteX187" fmla="*/ 4869 w 10000"/>
                <a:gd name="connsiteY187" fmla="*/ 9220 h 10000"/>
                <a:gd name="connsiteX188" fmla="*/ 4940 w 10000"/>
                <a:gd name="connsiteY188" fmla="*/ 9203 h 10000"/>
                <a:gd name="connsiteX189" fmla="*/ 4903 w 10000"/>
                <a:gd name="connsiteY189" fmla="*/ 9034 h 10000"/>
                <a:gd name="connsiteX190" fmla="*/ 5000 w 10000"/>
                <a:gd name="connsiteY190" fmla="*/ 9061 h 10000"/>
                <a:gd name="connsiteX191" fmla="*/ 5004 w 10000"/>
                <a:gd name="connsiteY191" fmla="*/ 8972 h 10000"/>
                <a:gd name="connsiteX192" fmla="*/ 5041 w 10000"/>
                <a:gd name="connsiteY192" fmla="*/ 9039 h 10000"/>
                <a:gd name="connsiteX193" fmla="*/ 5206 w 10000"/>
                <a:gd name="connsiteY193" fmla="*/ 8781 h 10000"/>
                <a:gd name="connsiteX194" fmla="*/ 5112 w 10000"/>
                <a:gd name="connsiteY194" fmla="*/ 8584 h 10000"/>
                <a:gd name="connsiteX195" fmla="*/ 4937 w 10000"/>
                <a:gd name="connsiteY195" fmla="*/ 8425 h 10000"/>
                <a:gd name="connsiteX196" fmla="*/ 5037 w 10000"/>
                <a:gd name="connsiteY196" fmla="*/ 8370 h 10000"/>
                <a:gd name="connsiteX197" fmla="*/ 5183 w 10000"/>
                <a:gd name="connsiteY197" fmla="*/ 8633 h 10000"/>
                <a:gd name="connsiteX198" fmla="*/ 5292 w 10000"/>
                <a:gd name="connsiteY198" fmla="*/ 8199 h 10000"/>
                <a:gd name="connsiteX199" fmla="*/ 5299 w 10000"/>
                <a:gd name="connsiteY199" fmla="*/ 8030 h 10000"/>
                <a:gd name="connsiteX200" fmla="*/ 5482 w 10000"/>
                <a:gd name="connsiteY200" fmla="*/ 7942 h 10000"/>
                <a:gd name="connsiteX201" fmla="*/ 5550 w 10000"/>
                <a:gd name="connsiteY201" fmla="*/ 7607 h 10000"/>
                <a:gd name="connsiteX202" fmla="*/ 5561 w 10000"/>
                <a:gd name="connsiteY202" fmla="*/ 7734 h 10000"/>
                <a:gd name="connsiteX203" fmla="*/ 5677 w 10000"/>
                <a:gd name="connsiteY203" fmla="*/ 7596 h 10000"/>
                <a:gd name="connsiteX204" fmla="*/ 5759 w 10000"/>
                <a:gd name="connsiteY204" fmla="*/ 7579 h 10000"/>
                <a:gd name="connsiteX205" fmla="*/ 5842 w 10000"/>
                <a:gd name="connsiteY205" fmla="*/ 7207 h 10000"/>
                <a:gd name="connsiteX206" fmla="*/ 5916 w 10000"/>
                <a:gd name="connsiteY206" fmla="*/ 7486 h 10000"/>
                <a:gd name="connsiteX207" fmla="*/ 6137 w 10000"/>
                <a:gd name="connsiteY207" fmla="*/ 7563 h 10000"/>
                <a:gd name="connsiteX208" fmla="*/ 5969 w 10000"/>
                <a:gd name="connsiteY208" fmla="*/ 7618 h 10000"/>
                <a:gd name="connsiteX209" fmla="*/ 5954 w 10000"/>
                <a:gd name="connsiteY209" fmla="*/ 7679 h 10000"/>
                <a:gd name="connsiteX210" fmla="*/ 5786 w 10000"/>
                <a:gd name="connsiteY210" fmla="*/ 7690 h 10000"/>
                <a:gd name="connsiteX211" fmla="*/ 5700 w 10000"/>
                <a:gd name="connsiteY211" fmla="*/ 7723 h 10000"/>
                <a:gd name="connsiteX212" fmla="*/ 5767 w 10000"/>
                <a:gd name="connsiteY212" fmla="*/ 7772 h 10000"/>
                <a:gd name="connsiteX213" fmla="*/ 5827 w 10000"/>
                <a:gd name="connsiteY213" fmla="*/ 7756 h 10000"/>
                <a:gd name="connsiteX214" fmla="*/ 5991 w 10000"/>
                <a:gd name="connsiteY214" fmla="*/ 7789 h 10000"/>
                <a:gd name="connsiteX215" fmla="*/ 5804 w 10000"/>
                <a:gd name="connsiteY215" fmla="*/ 7964 h 10000"/>
                <a:gd name="connsiteX216" fmla="*/ 5872 w 10000"/>
                <a:gd name="connsiteY216" fmla="*/ 8008 h 10000"/>
                <a:gd name="connsiteX217" fmla="*/ 6043 w 10000"/>
                <a:gd name="connsiteY217" fmla="*/ 7958 h 10000"/>
                <a:gd name="connsiteX218" fmla="*/ 6275 w 10000"/>
                <a:gd name="connsiteY218" fmla="*/ 8101 h 10000"/>
                <a:gd name="connsiteX219" fmla="*/ 6575 w 10000"/>
                <a:gd name="connsiteY219" fmla="*/ 7909 h 10000"/>
                <a:gd name="connsiteX220" fmla="*/ 6870 w 10000"/>
                <a:gd name="connsiteY220" fmla="*/ 7887 h 10000"/>
                <a:gd name="connsiteX221" fmla="*/ 6915 w 10000"/>
                <a:gd name="connsiteY221" fmla="*/ 7745 h 10000"/>
                <a:gd name="connsiteX222" fmla="*/ 6993 w 10000"/>
                <a:gd name="connsiteY222" fmla="*/ 7958 h 10000"/>
                <a:gd name="connsiteX223" fmla="*/ 7075 w 10000"/>
                <a:gd name="connsiteY223" fmla="*/ 7986 h 10000"/>
                <a:gd name="connsiteX224" fmla="*/ 7045 w 10000"/>
                <a:gd name="connsiteY224" fmla="*/ 8134 h 10000"/>
                <a:gd name="connsiteX225" fmla="*/ 6788 w 10000"/>
                <a:gd name="connsiteY225" fmla="*/ 8281 h 10000"/>
                <a:gd name="connsiteX226" fmla="*/ 6769 w 10000"/>
                <a:gd name="connsiteY226" fmla="*/ 8386 h 10000"/>
                <a:gd name="connsiteX227" fmla="*/ 6627 w 10000"/>
                <a:gd name="connsiteY227" fmla="*/ 8523 h 10000"/>
                <a:gd name="connsiteX228" fmla="*/ 6623 w 10000"/>
                <a:gd name="connsiteY228" fmla="*/ 8649 h 10000"/>
                <a:gd name="connsiteX229" fmla="*/ 6537 w 10000"/>
                <a:gd name="connsiteY229" fmla="*/ 8704 h 10000"/>
                <a:gd name="connsiteX230" fmla="*/ 6428 w 10000"/>
                <a:gd name="connsiteY230" fmla="*/ 8989 h 10000"/>
                <a:gd name="connsiteX231" fmla="*/ 6582 w 10000"/>
                <a:gd name="connsiteY231" fmla="*/ 9001 h 10000"/>
                <a:gd name="connsiteX232" fmla="*/ 6672 w 10000"/>
                <a:gd name="connsiteY232" fmla="*/ 8879 h 10000"/>
                <a:gd name="connsiteX233" fmla="*/ 6769 w 10000"/>
                <a:gd name="connsiteY233" fmla="*/ 8912 h 10000"/>
                <a:gd name="connsiteX234" fmla="*/ 6814 w 10000"/>
                <a:gd name="connsiteY234" fmla="*/ 8786 h 10000"/>
                <a:gd name="connsiteX235" fmla="*/ 6877 w 10000"/>
                <a:gd name="connsiteY235" fmla="*/ 9001 h 10000"/>
                <a:gd name="connsiteX236" fmla="*/ 7060 w 10000"/>
                <a:gd name="connsiteY236" fmla="*/ 8994 h 10000"/>
                <a:gd name="connsiteX237" fmla="*/ 7217 w 10000"/>
                <a:gd name="connsiteY237" fmla="*/ 9362 h 10000"/>
                <a:gd name="connsiteX238" fmla="*/ 7232 w 10000"/>
                <a:gd name="connsiteY238" fmla="*/ 9675 h 10000"/>
                <a:gd name="connsiteX239" fmla="*/ 7176 w 10000"/>
                <a:gd name="connsiteY239" fmla="*/ 9692 h 10000"/>
                <a:gd name="connsiteX240" fmla="*/ 7187 w 10000"/>
                <a:gd name="connsiteY240" fmla="*/ 9780 h 10000"/>
                <a:gd name="connsiteX241" fmla="*/ 7423 w 10000"/>
                <a:gd name="connsiteY241" fmla="*/ 9900 h 10000"/>
                <a:gd name="connsiteX242" fmla="*/ 7741 w 10000"/>
                <a:gd name="connsiteY242" fmla="*/ 9565 h 10000"/>
                <a:gd name="connsiteX243" fmla="*/ 7879 w 10000"/>
                <a:gd name="connsiteY243" fmla="*/ 9176 h 10000"/>
                <a:gd name="connsiteX244" fmla="*/ 8107 w 10000"/>
                <a:gd name="connsiteY244" fmla="*/ 9023 h 10000"/>
                <a:gd name="connsiteX245" fmla="*/ 8182 w 10000"/>
                <a:gd name="connsiteY245" fmla="*/ 8841 h 10000"/>
                <a:gd name="connsiteX246" fmla="*/ 8268 w 10000"/>
                <a:gd name="connsiteY246" fmla="*/ 8786 h 10000"/>
                <a:gd name="connsiteX247" fmla="*/ 8320 w 10000"/>
                <a:gd name="connsiteY247" fmla="*/ 8512 h 10000"/>
                <a:gd name="connsiteX248" fmla="*/ 8542 w 10000"/>
                <a:gd name="connsiteY248" fmla="*/ 8617 h 10000"/>
                <a:gd name="connsiteX249" fmla="*/ 8672 w 10000"/>
                <a:gd name="connsiteY249" fmla="*/ 8474 h 10000"/>
                <a:gd name="connsiteX250" fmla="*/ 8855 w 10000"/>
                <a:gd name="connsiteY250" fmla="*/ 8343 h 10000"/>
                <a:gd name="connsiteX251" fmla="*/ 8781 w 10000"/>
                <a:gd name="connsiteY251" fmla="*/ 8128 h 10000"/>
                <a:gd name="connsiteX252" fmla="*/ 7708 w 10000"/>
                <a:gd name="connsiteY252" fmla="*/ 7991 h 10000"/>
                <a:gd name="connsiteX253" fmla="*/ 7682 w 10000"/>
                <a:gd name="connsiteY253" fmla="*/ 7904 h 10000"/>
                <a:gd name="connsiteX254" fmla="*/ 7607 w 10000"/>
                <a:gd name="connsiteY254" fmla="*/ 8002 h 10000"/>
                <a:gd name="connsiteX255" fmla="*/ 7715 w 10000"/>
                <a:gd name="connsiteY255" fmla="*/ 7761 h 10000"/>
                <a:gd name="connsiteX256" fmla="*/ 7674 w 10000"/>
                <a:gd name="connsiteY256" fmla="*/ 7717 h 10000"/>
                <a:gd name="connsiteX257" fmla="*/ 7554 w 10000"/>
                <a:gd name="connsiteY257" fmla="*/ 7915 h 10000"/>
                <a:gd name="connsiteX258" fmla="*/ 7618 w 10000"/>
                <a:gd name="connsiteY258" fmla="*/ 7712 h 10000"/>
                <a:gd name="connsiteX259" fmla="*/ 7532 w 10000"/>
                <a:gd name="connsiteY259" fmla="*/ 7767 h 10000"/>
                <a:gd name="connsiteX260" fmla="*/ 7419 w 10000"/>
                <a:gd name="connsiteY260" fmla="*/ 7717 h 10000"/>
                <a:gd name="connsiteX261" fmla="*/ 7333 w 10000"/>
                <a:gd name="connsiteY261" fmla="*/ 7794 h 10000"/>
                <a:gd name="connsiteX262" fmla="*/ 7240 w 10000"/>
                <a:gd name="connsiteY262" fmla="*/ 7728 h 10000"/>
                <a:gd name="connsiteX263" fmla="*/ 7087 w 10000"/>
                <a:gd name="connsiteY263" fmla="*/ 7717 h 10000"/>
                <a:gd name="connsiteX264" fmla="*/ 7090 w 10000"/>
                <a:gd name="connsiteY264" fmla="*/ 7547 h 10000"/>
                <a:gd name="connsiteX265" fmla="*/ 7229 w 10000"/>
                <a:gd name="connsiteY265" fmla="*/ 7662 h 10000"/>
                <a:gd name="connsiteX266" fmla="*/ 7273 w 10000"/>
                <a:gd name="connsiteY266" fmla="*/ 7541 h 10000"/>
                <a:gd name="connsiteX267" fmla="*/ 7236 w 10000"/>
                <a:gd name="connsiteY267" fmla="*/ 7410 h 10000"/>
                <a:gd name="connsiteX268" fmla="*/ 7341 w 10000"/>
                <a:gd name="connsiteY268" fmla="*/ 7547 h 10000"/>
                <a:gd name="connsiteX269" fmla="*/ 7483 w 10000"/>
                <a:gd name="connsiteY269" fmla="*/ 7536 h 10000"/>
                <a:gd name="connsiteX270" fmla="*/ 7506 w 10000"/>
                <a:gd name="connsiteY270" fmla="*/ 7685 h 10000"/>
                <a:gd name="connsiteX271" fmla="*/ 7547 w 10000"/>
                <a:gd name="connsiteY271" fmla="*/ 7685 h 10000"/>
                <a:gd name="connsiteX272" fmla="*/ 7558 w 10000"/>
                <a:gd name="connsiteY272" fmla="*/ 7415 h 10000"/>
                <a:gd name="connsiteX273" fmla="*/ 7607 w 10000"/>
                <a:gd name="connsiteY273" fmla="*/ 7585 h 10000"/>
                <a:gd name="connsiteX274" fmla="*/ 7693 w 10000"/>
                <a:gd name="connsiteY274" fmla="*/ 7590 h 10000"/>
                <a:gd name="connsiteX275" fmla="*/ 7629 w 10000"/>
                <a:gd name="connsiteY275" fmla="*/ 7333 h 10000"/>
                <a:gd name="connsiteX276" fmla="*/ 7786 w 10000"/>
                <a:gd name="connsiteY276" fmla="*/ 7240 h 10000"/>
                <a:gd name="connsiteX277" fmla="*/ 7779 w 10000"/>
                <a:gd name="connsiteY277" fmla="*/ 6987 h 10000"/>
                <a:gd name="connsiteX278" fmla="*/ 7887 w 10000"/>
                <a:gd name="connsiteY278" fmla="*/ 7081 h 10000"/>
                <a:gd name="connsiteX279" fmla="*/ 7906 w 10000"/>
                <a:gd name="connsiteY279" fmla="*/ 7015 h 10000"/>
                <a:gd name="connsiteX280" fmla="*/ 7775 w 10000"/>
                <a:gd name="connsiteY280" fmla="*/ 6735 h 10000"/>
                <a:gd name="connsiteX281" fmla="*/ 7950 w 10000"/>
                <a:gd name="connsiteY281" fmla="*/ 6894 h 10000"/>
                <a:gd name="connsiteX282" fmla="*/ 8171 w 10000"/>
                <a:gd name="connsiteY282" fmla="*/ 6511 h 10000"/>
                <a:gd name="connsiteX283" fmla="*/ 8384 w 10000"/>
                <a:gd name="connsiteY283" fmla="*/ 6483 h 10000"/>
                <a:gd name="connsiteX284" fmla="*/ 8429 w 10000"/>
                <a:gd name="connsiteY28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775 w 10000"/>
                <a:gd name="connsiteY8" fmla="*/ 2259 h 10000"/>
                <a:gd name="connsiteX9" fmla="*/ 9656 w 10000"/>
                <a:gd name="connsiteY9" fmla="*/ 2024 h 10000"/>
                <a:gd name="connsiteX10" fmla="*/ 9663 w 10000"/>
                <a:gd name="connsiteY10" fmla="*/ 1810 h 10000"/>
                <a:gd name="connsiteX11" fmla="*/ 9143 w 10000"/>
                <a:gd name="connsiteY11" fmla="*/ 1838 h 10000"/>
                <a:gd name="connsiteX12" fmla="*/ 9091 w 10000"/>
                <a:gd name="connsiteY12" fmla="*/ 1712 h 10000"/>
                <a:gd name="connsiteX13" fmla="*/ 9020 w 10000"/>
                <a:gd name="connsiteY13" fmla="*/ 1728 h 10000"/>
                <a:gd name="connsiteX14" fmla="*/ 7569 w 10000"/>
                <a:gd name="connsiteY14" fmla="*/ 1873 h 10000"/>
                <a:gd name="connsiteX15" fmla="*/ 7165 w 10000"/>
                <a:gd name="connsiteY15" fmla="*/ 1996 h 10000"/>
                <a:gd name="connsiteX16" fmla="*/ 6892 w 10000"/>
                <a:gd name="connsiteY16" fmla="*/ 1827 h 10000"/>
                <a:gd name="connsiteX17" fmla="*/ 6922 w 10000"/>
                <a:gd name="connsiteY17" fmla="*/ 1728 h 10000"/>
                <a:gd name="connsiteX18" fmla="*/ 6765 w 10000"/>
                <a:gd name="connsiteY18" fmla="*/ 1398 h 10000"/>
                <a:gd name="connsiteX19" fmla="*/ 6799 w 10000"/>
                <a:gd name="connsiteY19" fmla="*/ 1256 h 10000"/>
                <a:gd name="connsiteX20" fmla="*/ 6728 w 10000"/>
                <a:gd name="connsiteY20" fmla="*/ 1229 h 10000"/>
                <a:gd name="connsiteX21" fmla="*/ 6657 w 10000"/>
                <a:gd name="connsiteY21" fmla="*/ 1311 h 10000"/>
                <a:gd name="connsiteX22" fmla="*/ 6593 w 10000"/>
                <a:gd name="connsiteY22" fmla="*/ 1114 h 10000"/>
                <a:gd name="connsiteX23" fmla="*/ 6391 w 10000"/>
                <a:gd name="connsiteY23" fmla="*/ 1311 h 10000"/>
                <a:gd name="connsiteX24" fmla="*/ 6309 w 10000"/>
                <a:gd name="connsiteY24" fmla="*/ 1223 h 10000"/>
                <a:gd name="connsiteX25" fmla="*/ 6126 w 10000"/>
                <a:gd name="connsiteY25" fmla="*/ 1273 h 10000"/>
                <a:gd name="connsiteX26" fmla="*/ 6144 w 10000"/>
                <a:gd name="connsiteY26" fmla="*/ 1125 h 10000"/>
                <a:gd name="connsiteX27" fmla="*/ 6073 w 10000"/>
                <a:gd name="connsiteY27" fmla="*/ 1119 h 10000"/>
                <a:gd name="connsiteX28" fmla="*/ 6040 w 10000"/>
                <a:gd name="connsiteY28" fmla="*/ 910 h 10000"/>
                <a:gd name="connsiteX29" fmla="*/ 5942 w 10000"/>
                <a:gd name="connsiteY29" fmla="*/ 795 h 10000"/>
                <a:gd name="connsiteX30" fmla="*/ 6144 w 10000"/>
                <a:gd name="connsiteY30" fmla="*/ 620 h 10000"/>
                <a:gd name="connsiteX31" fmla="*/ 5901 w 10000"/>
                <a:gd name="connsiteY31" fmla="*/ 395 h 10000"/>
                <a:gd name="connsiteX32" fmla="*/ 5853 w 10000"/>
                <a:gd name="connsiteY32" fmla="*/ 142 h 10000"/>
                <a:gd name="connsiteX33" fmla="*/ 5741 w 10000"/>
                <a:gd name="connsiteY33" fmla="*/ 110 h 10000"/>
                <a:gd name="connsiteX34" fmla="*/ 5647 w 10000"/>
                <a:gd name="connsiteY34" fmla="*/ 0 h 10000"/>
                <a:gd name="connsiteX35" fmla="*/ 5547 w 10000"/>
                <a:gd name="connsiteY35" fmla="*/ 120 h 10000"/>
                <a:gd name="connsiteX36" fmla="*/ 5377 w 10000"/>
                <a:gd name="connsiteY36" fmla="*/ 110 h 10000"/>
                <a:gd name="connsiteX37" fmla="*/ 5232 w 10000"/>
                <a:gd name="connsiteY37" fmla="*/ 351 h 10000"/>
                <a:gd name="connsiteX38" fmla="*/ 4952 w 10000"/>
                <a:gd name="connsiteY38" fmla="*/ 329 h 10000"/>
                <a:gd name="connsiteX39" fmla="*/ 4884 w 10000"/>
                <a:gd name="connsiteY39" fmla="*/ 680 h 10000"/>
                <a:gd name="connsiteX40" fmla="*/ 4701 w 10000"/>
                <a:gd name="connsiteY40" fmla="*/ 707 h 10000"/>
                <a:gd name="connsiteX41" fmla="*/ 4795 w 10000"/>
                <a:gd name="connsiteY41" fmla="*/ 844 h 10000"/>
                <a:gd name="connsiteX42" fmla="*/ 4739 w 10000"/>
                <a:gd name="connsiteY42" fmla="*/ 899 h 10000"/>
                <a:gd name="connsiteX43" fmla="*/ 4612 w 10000"/>
                <a:gd name="connsiteY43" fmla="*/ 894 h 10000"/>
                <a:gd name="connsiteX44" fmla="*/ 4439 w 10000"/>
                <a:gd name="connsiteY44" fmla="*/ 1026 h 10000"/>
                <a:gd name="connsiteX45" fmla="*/ 4252 w 10000"/>
                <a:gd name="connsiteY45" fmla="*/ 1668 h 10000"/>
                <a:gd name="connsiteX46" fmla="*/ 4308 w 10000"/>
                <a:gd name="connsiteY46" fmla="*/ 2090 h 10000"/>
                <a:gd name="connsiteX47" fmla="*/ 4121 w 10000"/>
                <a:gd name="connsiteY47" fmla="*/ 1865 h 10000"/>
                <a:gd name="connsiteX48" fmla="*/ 3849 w 10000"/>
                <a:gd name="connsiteY48" fmla="*/ 1991 h 10000"/>
                <a:gd name="connsiteX49" fmla="*/ 3822 w 10000"/>
                <a:gd name="connsiteY49" fmla="*/ 1931 h 10000"/>
                <a:gd name="connsiteX50" fmla="*/ 3695 w 10000"/>
                <a:gd name="connsiteY50" fmla="*/ 2002 h 10000"/>
                <a:gd name="connsiteX51" fmla="*/ 3621 w 10000"/>
                <a:gd name="connsiteY51" fmla="*/ 2144 h 10000"/>
                <a:gd name="connsiteX52" fmla="*/ 3561 w 10000"/>
                <a:gd name="connsiteY52" fmla="*/ 1909 h 10000"/>
                <a:gd name="connsiteX53" fmla="*/ 3478 w 10000"/>
                <a:gd name="connsiteY53" fmla="*/ 1843 h 10000"/>
                <a:gd name="connsiteX54" fmla="*/ 3444 w 10000"/>
                <a:gd name="connsiteY54" fmla="*/ 1964 h 10000"/>
                <a:gd name="connsiteX55" fmla="*/ 3332 w 10000"/>
                <a:gd name="connsiteY55" fmla="*/ 1996 h 10000"/>
                <a:gd name="connsiteX56" fmla="*/ 3272 w 10000"/>
                <a:gd name="connsiteY56" fmla="*/ 2161 h 10000"/>
                <a:gd name="connsiteX57" fmla="*/ 3235 w 10000"/>
                <a:gd name="connsiteY57" fmla="*/ 2013 h 10000"/>
                <a:gd name="connsiteX58" fmla="*/ 3123 w 10000"/>
                <a:gd name="connsiteY58" fmla="*/ 2024 h 10000"/>
                <a:gd name="connsiteX59" fmla="*/ 3078 w 10000"/>
                <a:gd name="connsiteY59" fmla="*/ 2128 h 10000"/>
                <a:gd name="connsiteX60" fmla="*/ 3011 w 10000"/>
                <a:gd name="connsiteY60" fmla="*/ 1975 h 10000"/>
                <a:gd name="connsiteX61" fmla="*/ 2895 w 10000"/>
                <a:gd name="connsiteY61" fmla="*/ 2117 h 10000"/>
                <a:gd name="connsiteX62" fmla="*/ 2783 w 10000"/>
                <a:gd name="connsiteY62" fmla="*/ 2106 h 10000"/>
                <a:gd name="connsiteX63" fmla="*/ 2779 w 10000"/>
                <a:gd name="connsiteY63" fmla="*/ 2276 h 10000"/>
                <a:gd name="connsiteX64" fmla="*/ 2727 w 10000"/>
                <a:gd name="connsiteY64" fmla="*/ 2144 h 10000"/>
                <a:gd name="connsiteX65" fmla="*/ 2559 w 10000"/>
                <a:gd name="connsiteY65" fmla="*/ 2155 h 10000"/>
                <a:gd name="connsiteX66" fmla="*/ 2438 w 10000"/>
                <a:gd name="connsiteY66" fmla="*/ 1980 h 10000"/>
                <a:gd name="connsiteX67" fmla="*/ 2293 w 10000"/>
                <a:gd name="connsiteY67" fmla="*/ 2073 h 10000"/>
                <a:gd name="connsiteX68" fmla="*/ 2143 w 10000"/>
                <a:gd name="connsiteY68" fmla="*/ 1958 h 10000"/>
                <a:gd name="connsiteX69" fmla="*/ 2057 w 10000"/>
                <a:gd name="connsiteY69" fmla="*/ 2035 h 10000"/>
                <a:gd name="connsiteX70" fmla="*/ 1975 w 10000"/>
                <a:gd name="connsiteY70" fmla="*/ 1947 h 10000"/>
                <a:gd name="connsiteX71" fmla="*/ 1852 w 10000"/>
                <a:gd name="connsiteY71" fmla="*/ 1936 h 10000"/>
                <a:gd name="connsiteX72" fmla="*/ 1669 w 10000"/>
                <a:gd name="connsiteY72" fmla="*/ 1925 h 10000"/>
                <a:gd name="connsiteX73" fmla="*/ 1444 w 10000"/>
                <a:gd name="connsiteY73" fmla="*/ 1991 h 10000"/>
                <a:gd name="connsiteX74" fmla="*/ 1205 w 10000"/>
                <a:gd name="connsiteY74" fmla="*/ 2062 h 10000"/>
                <a:gd name="connsiteX75" fmla="*/ 921 w 10000"/>
                <a:gd name="connsiteY75" fmla="*/ 2166 h 10000"/>
                <a:gd name="connsiteX76" fmla="*/ 797 w 10000"/>
                <a:gd name="connsiteY76" fmla="*/ 2496 h 10000"/>
                <a:gd name="connsiteX77" fmla="*/ 603 w 10000"/>
                <a:gd name="connsiteY77" fmla="*/ 2501 h 10000"/>
                <a:gd name="connsiteX78" fmla="*/ 540 w 10000"/>
                <a:gd name="connsiteY78" fmla="*/ 2687 h 10000"/>
                <a:gd name="connsiteX79" fmla="*/ 558 w 10000"/>
                <a:gd name="connsiteY79" fmla="*/ 2764 h 10000"/>
                <a:gd name="connsiteX80" fmla="*/ 577 w 10000"/>
                <a:gd name="connsiteY80" fmla="*/ 2868 h 10000"/>
                <a:gd name="connsiteX81" fmla="*/ 577 w 10000"/>
                <a:gd name="connsiteY81" fmla="*/ 2868 h 10000"/>
                <a:gd name="connsiteX82" fmla="*/ 577 w 10000"/>
                <a:gd name="connsiteY82" fmla="*/ 2896 h 10000"/>
                <a:gd name="connsiteX83" fmla="*/ 682 w 10000"/>
                <a:gd name="connsiteY83" fmla="*/ 3116 h 10000"/>
                <a:gd name="connsiteX84" fmla="*/ 786 w 10000"/>
                <a:gd name="connsiteY84" fmla="*/ 3351 h 10000"/>
                <a:gd name="connsiteX85" fmla="*/ 921 w 10000"/>
                <a:gd name="connsiteY85" fmla="*/ 3488 h 10000"/>
                <a:gd name="connsiteX86" fmla="*/ 876 w 10000"/>
                <a:gd name="connsiteY86" fmla="*/ 3548 h 10000"/>
                <a:gd name="connsiteX87" fmla="*/ 805 w 10000"/>
                <a:gd name="connsiteY87" fmla="*/ 3603 h 10000"/>
                <a:gd name="connsiteX88" fmla="*/ 887 w 10000"/>
                <a:gd name="connsiteY88" fmla="*/ 3697 h 10000"/>
                <a:gd name="connsiteX89" fmla="*/ 876 w 10000"/>
                <a:gd name="connsiteY89" fmla="*/ 4053 h 10000"/>
                <a:gd name="connsiteX90" fmla="*/ 693 w 10000"/>
                <a:gd name="connsiteY90" fmla="*/ 4124 h 10000"/>
                <a:gd name="connsiteX91" fmla="*/ 498 w 10000"/>
                <a:gd name="connsiteY91" fmla="*/ 4531 h 10000"/>
                <a:gd name="connsiteX92" fmla="*/ 371 w 10000"/>
                <a:gd name="connsiteY92" fmla="*/ 4936 h 10000"/>
                <a:gd name="connsiteX93" fmla="*/ 195 w 10000"/>
                <a:gd name="connsiteY93" fmla="*/ 5260 h 10000"/>
                <a:gd name="connsiteX94" fmla="*/ 270 w 10000"/>
                <a:gd name="connsiteY94" fmla="*/ 5517 h 10000"/>
                <a:gd name="connsiteX95" fmla="*/ 277 w 10000"/>
                <a:gd name="connsiteY95" fmla="*/ 5732 h 10000"/>
                <a:gd name="connsiteX96" fmla="*/ 400 w 10000"/>
                <a:gd name="connsiteY96" fmla="*/ 5841 h 10000"/>
                <a:gd name="connsiteX97" fmla="*/ 382 w 10000"/>
                <a:gd name="connsiteY97" fmla="*/ 5945 h 10000"/>
                <a:gd name="connsiteX98" fmla="*/ 202 w 10000"/>
                <a:gd name="connsiteY98" fmla="*/ 5852 h 10000"/>
                <a:gd name="connsiteX99" fmla="*/ 124 w 10000"/>
                <a:gd name="connsiteY99" fmla="*/ 6099 h 10000"/>
                <a:gd name="connsiteX100" fmla="*/ 105 w 10000"/>
                <a:gd name="connsiteY100" fmla="*/ 6346 h 10000"/>
                <a:gd name="connsiteX101" fmla="*/ 1 w 10000"/>
                <a:gd name="connsiteY101" fmla="*/ 6571 h 10000"/>
                <a:gd name="connsiteX102" fmla="*/ 19 w 10000"/>
                <a:gd name="connsiteY102" fmla="*/ 6779 h 10000"/>
                <a:gd name="connsiteX103" fmla="*/ 90 w 10000"/>
                <a:gd name="connsiteY103" fmla="*/ 6828 h 10000"/>
                <a:gd name="connsiteX104" fmla="*/ 154 w 10000"/>
                <a:gd name="connsiteY104" fmla="*/ 6960 h 10000"/>
                <a:gd name="connsiteX105" fmla="*/ 240 w 10000"/>
                <a:gd name="connsiteY105" fmla="*/ 6943 h 10000"/>
                <a:gd name="connsiteX106" fmla="*/ 292 w 10000"/>
                <a:gd name="connsiteY106" fmla="*/ 7076 h 10000"/>
                <a:gd name="connsiteX107" fmla="*/ 445 w 10000"/>
                <a:gd name="connsiteY107" fmla="*/ 7103 h 10000"/>
                <a:gd name="connsiteX108" fmla="*/ 453 w 10000"/>
                <a:gd name="connsiteY108" fmla="*/ 7251 h 10000"/>
                <a:gd name="connsiteX109" fmla="*/ 494 w 10000"/>
                <a:gd name="connsiteY109" fmla="*/ 7278 h 10000"/>
                <a:gd name="connsiteX110" fmla="*/ 525 w 10000"/>
                <a:gd name="connsiteY110" fmla="*/ 7174 h 10000"/>
                <a:gd name="connsiteX111" fmla="*/ 581 w 10000"/>
                <a:gd name="connsiteY111" fmla="*/ 7196 h 10000"/>
                <a:gd name="connsiteX112" fmla="*/ 644 w 10000"/>
                <a:gd name="connsiteY112" fmla="*/ 6992 h 10000"/>
                <a:gd name="connsiteX113" fmla="*/ 820 w 10000"/>
                <a:gd name="connsiteY113" fmla="*/ 7174 h 10000"/>
                <a:gd name="connsiteX114" fmla="*/ 1283 w 10000"/>
                <a:gd name="connsiteY114" fmla="*/ 7163 h 10000"/>
                <a:gd name="connsiteX115" fmla="*/ 1466 w 10000"/>
                <a:gd name="connsiteY115" fmla="*/ 7092 h 10000"/>
                <a:gd name="connsiteX116" fmla="*/ 1766 w 10000"/>
                <a:gd name="connsiteY116" fmla="*/ 7344 h 10000"/>
                <a:gd name="connsiteX117" fmla="*/ 1956 w 10000"/>
                <a:gd name="connsiteY117" fmla="*/ 7087 h 10000"/>
                <a:gd name="connsiteX118" fmla="*/ 2382 w 10000"/>
                <a:gd name="connsiteY118" fmla="*/ 6861 h 10000"/>
                <a:gd name="connsiteX119" fmla="*/ 2536 w 10000"/>
                <a:gd name="connsiteY119" fmla="*/ 6489 h 10000"/>
                <a:gd name="connsiteX120" fmla="*/ 2648 w 10000"/>
                <a:gd name="connsiteY120" fmla="*/ 6439 h 10000"/>
                <a:gd name="connsiteX121" fmla="*/ 2648 w 10000"/>
                <a:gd name="connsiteY121" fmla="*/ 6379 h 10000"/>
                <a:gd name="connsiteX122" fmla="*/ 2693 w 10000"/>
                <a:gd name="connsiteY122" fmla="*/ 6379 h 10000"/>
                <a:gd name="connsiteX123" fmla="*/ 2682 w 10000"/>
                <a:gd name="connsiteY123" fmla="*/ 6230 h 10000"/>
                <a:gd name="connsiteX124" fmla="*/ 2820 w 10000"/>
                <a:gd name="connsiteY124" fmla="*/ 6285 h 10000"/>
                <a:gd name="connsiteX125" fmla="*/ 2839 w 10000"/>
                <a:gd name="connsiteY125" fmla="*/ 6159 h 10000"/>
                <a:gd name="connsiteX126" fmla="*/ 2921 w 10000"/>
                <a:gd name="connsiteY126" fmla="*/ 6230 h 10000"/>
                <a:gd name="connsiteX127" fmla="*/ 2981 w 10000"/>
                <a:gd name="connsiteY127" fmla="*/ 6126 h 10000"/>
                <a:gd name="connsiteX128" fmla="*/ 3078 w 10000"/>
                <a:gd name="connsiteY128" fmla="*/ 6154 h 10000"/>
                <a:gd name="connsiteX129" fmla="*/ 3164 w 10000"/>
                <a:gd name="connsiteY129" fmla="*/ 6055 h 10000"/>
                <a:gd name="connsiteX130" fmla="*/ 3328 w 10000"/>
                <a:gd name="connsiteY130" fmla="*/ 6192 h 10000"/>
                <a:gd name="connsiteX131" fmla="*/ 3411 w 10000"/>
                <a:gd name="connsiteY131" fmla="*/ 6197 h 10000"/>
                <a:gd name="connsiteX132" fmla="*/ 3437 w 10000"/>
                <a:gd name="connsiteY132" fmla="*/ 6307 h 10000"/>
                <a:gd name="connsiteX133" fmla="*/ 3591 w 10000"/>
                <a:gd name="connsiteY133" fmla="*/ 6236 h 10000"/>
                <a:gd name="connsiteX134" fmla="*/ 3576 w 10000"/>
                <a:gd name="connsiteY134" fmla="*/ 6357 h 10000"/>
                <a:gd name="connsiteX135" fmla="*/ 3632 w 10000"/>
                <a:gd name="connsiteY135" fmla="*/ 6341 h 10000"/>
                <a:gd name="connsiteX136" fmla="*/ 3699 w 10000"/>
                <a:gd name="connsiteY136" fmla="*/ 6428 h 10000"/>
                <a:gd name="connsiteX137" fmla="*/ 3703 w 10000"/>
                <a:gd name="connsiteY137" fmla="*/ 6301 h 10000"/>
                <a:gd name="connsiteX138" fmla="*/ 3882 w 10000"/>
                <a:gd name="connsiteY138" fmla="*/ 6341 h 10000"/>
                <a:gd name="connsiteX139" fmla="*/ 3946 w 10000"/>
                <a:gd name="connsiteY139" fmla="*/ 6511 h 10000"/>
                <a:gd name="connsiteX140" fmla="*/ 4047 w 10000"/>
                <a:gd name="connsiteY140" fmla="*/ 6494 h 10000"/>
                <a:gd name="connsiteX141" fmla="*/ 4091 w 10000"/>
                <a:gd name="connsiteY141" fmla="*/ 6417 h 10000"/>
                <a:gd name="connsiteX142" fmla="*/ 4192 w 10000"/>
                <a:gd name="connsiteY142" fmla="*/ 6735 h 10000"/>
                <a:gd name="connsiteX143" fmla="*/ 4155 w 10000"/>
                <a:gd name="connsiteY143" fmla="*/ 6987 h 10000"/>
                <a:gd name="connsiteX144" fmla="*/ 4207 w 10000"/>
                <a:gd name="connsiteY144" fmla="*/ 7114 h 10000"/>
                <a:gd name="connsiteX145" fmla="*/ 4278 w 10000"/>
                <a:gd name="connsiteY145" fmla="*/ 7119 h 10000"/>
                <a:gd name="connsiteX146" fmla="*/ 4387 w 10000"/>
                <a:gd name="connsiteY146" fmla="*/ 7256 h 10000"/>
                <a:gd name="connsiteX147" fmla="*/ 4431 w 10000"/>
                <a:gd name="connsiteY147" fmla="*/ 7152 h 10000"/>
                <a:gd name="connsiteX148" fmla="*/ 4480 w 10000"/>
                <a:gd name="connsiteY148" fmla="*/ 7322 h 10000"/>
                <a:gd name="connsiteX149" fmla="*/ 4541 w 10000"/>
                <a:gd name="connsiteY149" fmla="*/ 7662 h 10000"/>
                <a:gd name="connsiteX150" fmla="*/ 4720 w 10000"/>
                <a:gd name="connsiteY150" fmla="*/ 7739 h 10000"/>
                <a:gd name="connsiteX151" fmla="*/ 4761 w 10000"/>
                <a:gd name="connsiteY151" fmla="*/ 8183 h 10000"/>
                <a:gd name="connsiteX152" fmla="*/ 4914 w 10000"/>
                <a:gd name="connsiteY152" fmla="*/ 8276 h 10000"/>
                <a:gd name="connsiteX153" fmla="*/ 4757 w 10000"/>
                <a:gd name="connsiteY153" fmla="*/ 8370 h 10000"/>
                <a:gd name="connsiteX154" fmla="*/ 4705 w 10000"/>
                <a:gd name="connsiteY154" fmla="*/ 8260 h 10000"/>
                <a:gd name="connsiteX155" fmla="*/ 4645 w 10000"/>
                <a:gd name="connsiteY155" fmla="*/ 8403 h 10000"/>
                <a:gd name="connsiteX156" fmla="*/ 4491 w 10000"/>
                <a:gd name="connsiteY156" fmla="*/ 8287 h 10000"/>
                <a:gd name="connsiteX157" fmla="*/ 4405 w 10000"/>
                <a:gd name="connsiteY157" fmla="*/ 8452 h 10000"/>
                <a:gd name="connsiteX158" fmla="*/ 4226 w 10000"/>
                <a:gd name="connsiteY158" fmla="*/ 8331 h 10000"/>
                <a:gd name="connsiteX159" fmla="*/ 4312 w 10000"/>
                <a:gd name="connsiteY159" fmla="*/ 8699 h 10000"/>
                <a:gd name="connsiteX160" fmla="*/ 4304 w 10000"/>
                <a:gd name="connsiteY160" fmla="*/ 8967 h 10000"/>
                <a:gd name="connsiteX161" fmla="*/ 4189 w 10000"/>
                <a:gd name="connsiteY161" fmla="*/ 9088 h 10000"/>
                <a:gd name="connsiteX162" fmla="*/ 4226 w 10000"/>
                <a:gd name="connsiteY162" fmla="*/ 9193 h 10000"/>
                <a:gd name="connsiteX163" fmla="*/ 4065 w 10000"/>
                <a:gd name="connsiteY163" fmla="*/ 9412 h 10000"/>
                <a:gd name="connsiteX164" fmla="*/ 4129 w 10000"/>
                <a:gd name="connsiteY164" fmla="*/ 9647 h 10000"/>
                <a:gd name="connsiteX165" fmla="*/ 3972 w 10000"/>
                <a:gd name="connsiteY165" fmla="*/ 9681 h 10000"/>
                <a:gd name="connsiteX166" fmla="*/ 3931 w 10000"/>
                <a:gd name="connsiteY166" fmla="*/ 9741 h 10000"/>
                <a:gd name="connsiteX167" fmla="*/ 3998 w 10000"/>
                <a:gd name="connsiteY167" fmla="*/ 9785 h 10000"/>
                <a:gd name="connsiteX168" fmla="*/ 4118 w 10000"/>
                <a:gd name="connsiteY168" fmla="*/ 9944 h 10000"/>
                <a:gd name="connsiteX169" fmla="*/ 4312 w 10000"/>
                <a:gd name="connsiteY169" fmla="*/ 9999 h 10000"/>
                <a:gd name="connsiteX170" fmla="*/ 4319 w 10000"/>
                <a:gd name="connsiteY170" fmla="*/ 9851 h 10000"/>
                <a:gd name="connsiteX171" fmla="*/ 4387 w 10000"/>
                <a:gd name="connsiteY171" fmla="*/ 9856 h 10000"/>
                <a:gd name="connsiteX172" fmla="*/ 4675 w 10000"/>
                <a:gd name="connsiteY172" fmla="*/ 9603 h 10000"/>
                <a:gd name="connsiteX173" fmla="*/ 4866 w 10000"/>
                <a:gd name="connsiteY173" fmla="*/ 9845 h 10000"/>
                <a:gd name="connsiteX174" fmla="*/ 4866 w 10000"/>
                <a:gd name="connsiteY174" fmla="*/ 9862 h 10000"/>
                <a:gd name="connsiteX175" fmla="*/ 4896 w 10000"/>
                <a:gd name="connsiteY175" fmla="*/ 9703 h 10000"/>
                <a:gd name="connsiteX176" fmla="*/ 4843 w 10000"/>
                <a:gd name="connsiteY176" fmla="*/ 9570 h 10000"/>
                <a:gd name="connsiteX177" fmla="*/ 4776 w 10000"/>
                <a:gd name="connsiteY177" fmla="*/ 9549 h 10000"/>
                <a:gd name="connsiteX178" fmla="*/ 4821 w 10000"/>
                <a:gd name="connsiteY178" fmla="*/ 9466 h 10000"/>
                <a:gd name="connsiteX179" fmla="*/ 4806 w 10000"/>
                <a:gd name="connsiteY179" fmla="*/ 9444 h 10000"/>
                <a:gd name="connsiteX180" fmla="*/ 4750 w 10000"/>
                <a:gd name="connsiteY180" fmla="*/ 9439 h 10000"/>
                <a:gd name="connsiteX181" fmla="*/ 4720 w 10000"/>
                <a:gd name="connsiteY181" fmla="*/ 9121 h 10000"/>
                <a:gd name="connsiteX182" fmla="*/ 4761 w 10000"/>
                <a:gd name="connsiteY182" fmla="*/ 9105 h 10000"/>
                <a:gd name="connsiteX183" fmla="*/ 4783 w 10000"/>
                <a:gd name="connsiteY183" fmla="*/ 9253 h 10000"/>
                <a:gd name="connsiteX184" fmla="*/ 4836 w 10000"/>
                <a:gd name="connsiteY184" fmla="*/ 9384 h 10000"/>
                <a:gd name="connsiteX185" fmla="*/ 4881 w 10000"/>
                <a:gd name="connsiteY185" fmla="*/ 9302 h 10000"/>
                <a:gd name="connsiteX186" fmla="*/ 4869 w 10000"/>
                <a:gd name="connsiteY186" fmla="*/ 9220 h 10000"/>
                <a:gd name="connsiteX187" fmla="*/ 4940 w 10000"/>
                <a:gd name="connsiteY187" fmla="*/ 9203 h 10000"/>
                <a:gd name="connsiteX188" fmla="*/ 4903 w 10000"/>
                <a:gd name="connsiteY188" fmla="*/ 9034 h 10000"/>
                <a:gd name="connsiteX189" fmla="*/ 5000 w 10000"/>
                <a:gd name="connsiteY189" fmla="*/ 9061 h 10000"/>
                <a:gd name="connsiteX190" fmla="*/ 5004 w 10000"/>
                <a:gd name="connsiteY190" fmla="*/ 8972 h 10000"/>
                <a:gd name="connsiteX191" fmla="*/ 5041 w 10000"/>
                <a:gd name="connsiteY191" fmla="*/ 9039 h 10000"/>
                <a:gd name="connsiteX192" fmla="*/ 5206 w 10000"/>
                <a:gd name="connsiteY192" fmla="*/ 8781 h 10000"/>
                <a:gd name="connsiteX193" fmla="*/ 5112 w 10000"/>
                <a:gd name="connsiteY193" fmla="*/ 8584 h 10000"/>
                <a:gd name="connsiteX194" fmla="*/ 4937 w 10000"/>
                <a:gd name="connsiteY194" fmla="*/ 8425 h 10000"/>
                <a:gd name="connsiteX195" fmla="*/ 5037 w 10000"/>
                <a:gd name="connsiteY195" fmla="*/ 8370 h 10000"/>
                <a:gd name="connsiteX196" fmla="*/ 5183 w 10000"/>
                <a:gd name="connsiteY196" fmla="*/ 8633 h 10000"/>
                <a:gd name="connsiteX197" fmla="*/ 5292 w 10000"/>
                <a:gd name="connsiteY197" fmla="*/ 8199 h 10000"/>
                <a:gd name="connsiteX198" fmla="*/ 5299 w 10000"/>
                <a:gd name="connsiteY198" fmla="*/ 8030 h 10000"/>
                <a:gd name="connsiteX199" fmla="*/ 5482 w 10000"/>
                <a:gd name="connsiteY199" fmla="*/ 7942 h 10000"/>
                <a:gd name="connsiteX200" fmla="*/ 5550 w 10000"/>
                <a:gd name="connsiteY200" fmla="*/ 7607 h 10000"/>
                <a:gd name="connsiteX201" fmla="*/ 5561 w 10000"/>
                <a:gd name="connsiteY201" fmla="*/ 7734 h 10000"/>
                <a:gd name="connsiteX202" fmla="*/ 5677 w 10000"/>
                <a:gd name="connsiteY202" fmla="*/ 7596 h 10000"/>
                <a:gd name="connsiteX203" fmla="*/ 5759 w 10000"/>
                <a:gd name="connsiteY203" fmla="*/ 7579 h 10000"/>
                <a:gd name="connsiteX204" fmla="*/ 5842 w 10000"/>
                <a:gd name="connsiteY204" fmla="*/ 7207 h 10000"/>
                <a:gd name="connsiteX205" fmla="*/ 5916 w 10000"/>
                <a:gd name="connsiteY205" fmla="*/ 7486 h 10000"/>
                <a:gd name="connsiteX206" fmla="*/ 6137 w 10000"/>
                <a:gd name="connsiteY206" fmla="*/ 7563 h 10000"/>
                <a:gd name="connsiteX207" fmla="*/ 5969 w 10000"/>
                <a:gd name="connsiteY207" fmla="*/ 7618 h 10000"/>
                <a:gd name="connsiteX208" fmla="*/ 5954 w 10000"/>
                <a:gd name="connsiteY208" fmla="*/ 7679 h 10000"/>
                <a:gd name="connsiteX209" fmla="*/ 5786 w 10000"/>
                <a:gd name="connsiteY209" fmla="*/ 7690 h 10000"/>
                <a:gd name="connsiteX210" fmla="*/ 5700 w 10000"/>
                <a:gd name="connsiteY210" fmla="*/ 7723 h 10000"/>
                <a:gd name="connsiteX211" fmla="*/ 5767 w 10000"/>
                <a:gd name="connsiteY211" fmla="*/ 7772 h 10000"/>
                <a:gd name="connsiteX212" fmla="*/ 5827 w 10000"/>
                <a:gd name="connsiteY212" fmla="*/ 7756 h 10000"/>
                <a:gd name="connsiteX213" fmla="*/ 5991 w 10000"/>
                <a:gd name="connsiteY213" fmla="*/ 7789 h 10000"/>
                <a:gd name="connsiteX214" fmla="*/ 5804 w 10000"/>
                <a:gd name="connsiteY214" fmla="*/ 7964 h 10000"/>
                <a:gd name="connsiteX215" fmla="*/ 5872 w 10000"/>
                <a:gd name="connsiteY215" fmla="*/ 8008 h 10000"/>
                <a:gd name="connsiteX216" fmla="*/ 6043 w 10000"/>
                <a:gd name="connsiteY216" fmla="*/ 7958 h 10000"/>
                <a:gd name="connsiteX217" fmla="*/ 6275 w 10000"/>
                <a:gd name="connsiteY217" fmla="*/ 8101 h 10000"/>
                <a:gd name="connsiteX218" fmla="*/ 6575 w 10000"/>
                <a:gd name="connsiteY218" fmla="*/ 7909 h 10000"/>
                <a:gd name="connsiteX219" fmla="*/ 6870 w 10000"/>
                <a:gd name="connsiteY219" fmla="*/ 7887 h 10000"/>
                <a:gd name="connsiteX220" fmla="*/ 6915 w 10000"/>
                <a:gd name="connsiteY220" fmla="*/ 7745 h 10000"/>
                <a:gd name="connsiteX221" fmla="*/ 6993 w 10000"/>
                <a:gd name="connsiteY221" fmla="*/ 7958 h 10000"/>
                <a:gd name="connsiteX222" fmla="*/ 7075 w 10000"/>
                <a:gd name="connsiteY222" fmla="*/ 7986 h 10000"/>
                <a:gd name="connsiteX223" fmla="*/ 7045 w 10000"/>
                <a:gd name="connsiteY223" fmla="*/ 8134 h 10000"/>
                <a:gd name="connsiteX224" fmla="*/ 6788 w 10000"/>
                <a:gd name="connsiteY224" fmla="*/ 8281 h 10000"/>
                <a:gd name="connsiteX225" fmla="*/ 6769 w 10000"/>
                <a:gd name="connsiteY225" fmla="*/ 8386 h 10000"/>
                <a:gd name="connsiteX226" fmla="*/ 6627 w 10000"/>
                <a:gd name="connsiteY226" fmla="*/ 8523 h 10000"/>
                <a:gd name="connsiteX227" fmla="*/ 6623 w 10000"/>
                <a:gd name="connsiteY227" fmla="*/ 8649 h 10000"/>
                <a:gd name="connsiteX228" fmla="*/ 6537 w 10000"/>
                <a:gd name="connsiteY228" fmla="*/ 8704 h 10000"/>
                <a:gd name="connsiteX229" fmla="*/ 6428 w 10000"/>
                <a:gd name="connsiteY229" fmla="*/ 8989 h 10000"/>
                <a:gd name="connsiteX230" fmla="*/ 6582 w 10000"/>
                <a:gd name="connsiteY230" fmla="*/ 9001 h 10000"/>
                <a:gd name="connsiteX231" fmla="*/ 6672 w 10000"/>
                <a:gd name="connsiteY231" fmla="*/ 8879 h 10000"/>
                <a:gd name="connsiteX232" fmla="*/ 6769 w 10000"/>
                <a:gd name="connsiteY232" fmla="*/ 8912 h 10000"/>
                <a:gd name="connsiteX233" fmla="*/ 6814 w 10000"/>
                <a:gd name="connsiteY233" fmla="*/ 8786 h 10000"/>
                <a:gd name="connsiteX234" fmla="*/ 6877 w 10000"/>
                <a:gd name="connsiteY234" fmla="*/ 9001 h 10000"/>
                <a:gd name="connsiteX235" fmla="*/ 7060 w 10000"/>
                <a:gd name="connsiteY235" fmla="*/ 8994 h 10000"/>
                <a:gd name="connsiteX236" fmla="*/ 7217 w 10000"/>
                <a:gd name="connsiteY236" fmla="*/ 9362 h 10000"/>
                <a:gd name="connsiteX237" fmla="*/ 7232 w 10000"/>
                <a:gd name="connsiteY237" fmla="*/ 9675 h 10000"/>
                <a:gd name="connsiteX238" fmla="*/ 7176 w 10000"/>
                <a:gd name="connsiteY238" fmla="*/ 9692 h 10000"/>
                <a:gd name="connsiteX239" fmla="*/ 7187 w 10000"/>
                <a:gd name="connsiteY239" fmla="*/ 9780 h 10000"/>
                <a:gd name="connsiteX240" fmla="*/ 7423 w 10000"/>
                <a:gd name="connsiteY240" fmla="*/ 9900 h 10000"/>
                <a:gd name="connsiteX241" fmla="*/ 7741 w 10000"/>
                <a:gd name="connsiteY241" fmla="*/ 9565 h 10000"/>
                <a:gd name="connsiteX242" fmla="*/ 7879 w 10000"/>
                <a:gd name="connsiteY242" fmla="*/ 9176 h 10000"/>
                <a:gd name="connsiteX243" fmla="*/ 8107 w 10000"/>
                <a:gd name="connsiteY243" fmla="*/ 9023 h 10000"/>
                <a:gd name="connsiteX244" fmla="*/ 8182 w 10000"/>
                <a:gd name="connsiteY244" fmla="*/ 8841 h 10000"/>
                <a:gd name="connsiteX245" fmla="*/ 8268 w 10000"/>
                <a:gd name="connsiteY245" fmla="*/ 8786 h 10000"/>
                <a:gd name="connsiteX246" fmla="*/ 8320 w 10000"/>
                <a:gd name="connsiteY246" fmla="*/ 8512 h 10000"/>
                <a:gd name="connsiteX247" fmla="*/ 8542 w 10000"/>
                <a:gd name="connsiteY247" fmla="*/ 8617 h 10000"/>
                <a:gd name="connsiteX248" fmla="*/ 8672 w 10000"/>
                <a:gd name="connsiteY248" fmla="*/ 8474 h 10000"/>
                <a:gd name="connsiteX249" fmla="*/ 8855 w 10000"/>
                <a:gd name="connsiteY249" fmla="*/ 8343 h 10000"/>
                <a:gd name="connsiteX250" fmla="*/ 8781 w 10000"/>
                <a:gd name="connsiteY250" fmla="*/ 8128 h 10000"/>
                <a:gd name="connsiteX251" fmla="*/ 7708 w 10000"/>
                <a:gd name="connsiteY251" fmla="*/ 7991 h 10000"/>
                <a:gd name="connsiteX252" fmla="*/ 7682 w 10000"/>
                <a:gd name="connsiteY252" fmla="*/ 7904 h 10000"/>
                <a:gd name="connsiteX253" fmla="*/ 7607 w 10000"/>
                <a:gd name="connsiteY253" fmla="*/ 8002 h 10000"/>
                <a:gd name="connsiteX254" fmla="*/ 7715 w 10000"/>
                <a:gd name="connsiteY254" fmla="*/ 7761 h 10000"/>
                <a:gd name="connsiteX255" fmla="*/ 7674 w 10000"/>
                <a:gd name="connsiteY255" fmla="*/ 7717 h 10000"/>
                <a:gd name="connsiteX256" fmla="*/ 7554 w 10000"/>
                <a:gd name="connsiteY256" fmla="*/ 7915 h 10000"/>
                <a:gd name="connsiteX257" fmla="*/ 7618 w 10000"/>
                <a:gd name="connsiteY257" fmla="*/ 7712 h 10000"/>
                <a:gd name="connsiteX258" fmla="*/ 7532 w 10000"/>
                <a:gd name="connsiteY258" fmla="*/ 7767 h 10000"/>
                <a:gd name="connsiteX259" fmla="*/ 7419 w 10000"/>
                <a:gd name="connsiteY259" fmla="*/ 7717 h 10000"/>
                <a:gd name="connsiteX260" fmla="*/ 7333 w 10000"/>
                <a:gd name="connsiteY260" fmla="*/ 7794 h 10000"/>
                <a:gd name="connsiteX261" fmla="*/ 7240 w 10000"/>
                <a:gd name="connsiteY261" fmla="*/ 7728 h 10000"/>
                <a:gd name="connsiteX262" fmla="*/ 7087 w 10000"/>
                <a:gd name="connsiteY262" fmla="*/ 7717 h 10000"/>
                <a:gd name="connsiteX263" fmla="*/ 7090 w 10000"/>
                <a:gd name="connsiteY263" fmla="*/ 7547 h 10000"/>
                <a:gd name="connsiteX264" fmla="*/ 7229 w 10000"/>
                <a:gd name="connsiteY264" fmla="*/ 7662 h 10000"/>
                <a:gd name="connsiteX265" fmla="*/ 7273 w 10000"/>
                <a:gd name="connsiteY265" fmla="*/ 7541 h 10000"/>
                <a:gd name="connsiteX266" fmla="*/ 7236 w 10000"/>
                <a:gd name="connsiteY266" fmla="*/ 7410 h 10000"/>
                <a:gd name="connsiteX267" fmla="*/ 7341 w 10000"/>
                <a:gd name="connsiteY267" fmla="*/ 7547 h 10000"/>
                <a:gd name="connsiteX268" fmla="*/ 7483 w 10000"/>
                <a:gd name="connsiteY268" fmla="*/ 7536 h 10000"/>
                <a:gd name="connsiteX269" fmla="*/ 7506 w 10000"/>
                <a:gd name="connsiteY269" fmla="*/ 7685 h 10000"/>
                <a:gd name="connsiteX270" fmla="*/ 7547 w 10000"/>
                <a:gd name="connsiteY270" fmla="*/ 7685 h 10000"/>
                <a:gd name="connsiteX271" fmla="*/ 7558 w 10000"/>
                <a:gd name="connsiteY271" fmla="*/ 7415 h 10000"/>
                <a:gd name="connsiteX272" fmla="*/ 7607 w 10000"/>
                <a:gd name="connsiteY272" fmla="*/ 7585 h 10000"/>
                <a:gd name="connsiteX273" fmla="*/ 7693 w 10000"/>
                <a:gd name="connsiteY273" fmla="*/ 7590 h 10000"/>
                <a:gd name="connsiteX274" fmla="*/ 7629 w 10000"/>
                <a:gd name="connsiteY274" fmla="*/ 7333 h 10000"/>
                <a:gd name="connsiteX275" fmla="*/ 7786 w 10000"/>
                <a:gd name="connsiteY275" fmla="*/ 7240 h 10000"/>
                <a:gd name="connsiteX276" fmla="*/ 7779 w 10000"/>
                <a:gd name="connsiteY276" fmla="*/ 6987 h 10000"/>
                <a:gd name="connsiteX277" fmla="*/ 7887 w 10000"/>
                <a:gd name="connsiteY277" fmla="*/ 7081 h 10000"/>
                <a:gd name="connsiteX278" fmla="*/ 7906 w 10000"/>
                <a:gd name="connsiteY278" fmla="*/ 7015 h 10000"/>
                <a:gd name="connsiteX279" fmla="*/ 7775 w 10000"/>
                <a:gd name="connsiteY279" fmla="*/ 6735 h 10000"/>
                <a:gd name="connsiteX280" fmla="*/ 7950 w 10000"/>
                <a:gd name="connsiteY280" fmla="*/ 6894 h 10000"/>
                <a:gd name="connsiteX281" fmla="*/ 8171 w 10000"/>
                <a:gd name="connsiteY281" fmla="*/ 6511 h 10000"/>
                <a:gd name="connsiteX282" fmla="*/ 8384 w 10000"/>
                <a:gd name="connsiteY282" fmla="*/ 6483 h 10000"/>
                <a:gd name="connsiteX283" fmla="*/ 8429 w 10000"/>
                <a:gd name="connsiteY28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775 w 10000"/>
                <a:gd name="connsiteY7" fmla="*/ 2259 h 10000"/>
                <a:gd name="connsiteX8" fmla="*/ 9656 w 10000"/>
                <a:gd name="connsiteY8" fmla="*/ 2024 h 10000"/>
                <a:gd name="connsiteX9" fmla="*/ 9663 w 10000"/>
                <a:gd name="connsiteY9" fmla="*/ 1810 h 10000"/>
                <a:gd name="connsiteX10" fmla="*/ 9143 w 10000"/>
                <a:gd name="connsiteY10" fmla="*/ 1838 h 10000"/>
                <a:gd name="connsiteX11" fmla="*/ 9091 w 10000"/>
                <a:gd name="connsiteY11" fmla="*/ 1712 h 10000"/>
                <a:gd name="connsiteX12" fmla="*/ 9020 w 10000"/>
                <a:gd name="connsiteY12" fmla="*/ 1728 h 10000"/>
                <a:gd name="connsiteX13" fmla="*/ 7569 w 10000"/>
                <a:gd name="connsiteY13" fmla="*/ 1873 h 10000"/>
                <a:gd name="connsiteX14" fmla="*/ 7165 w 10000"/>
                <a:gd name="connsiteY14" fmla="*/ 1996 h 10000"/>
                <a:gd name="connsiteX15" fmla="*/ 6892 w 10000"/>
                <a:gd name="connsiteY15" fmla="*/ 1827 h 10000"/>
                <a:gd name="connsiteX16" fmla="*/ 6922 w 10000"/>
                <a:gd name="connsiteY16" fmla="*/ 1728 h 10000"/>
                <a:gd name="connsiteX17" fmla="*/ 6765 w 10000"/>
                <a:gd name="connsiteY17" fmla="*/ 1398 h 10000"/>
                <a:gd name="connsiteX18" fmla="*/ 6799 w 10000"/>
                <a:gd name="connsiteY18" fmla="*/ 1256 h 10000"/>
                <a:gd name="connsiteX19" fmla="*/ 6728 w 10000"/>
                <a:gd name="connsiteY19" fmla="*/ 1229 h 10000"/>
                <a:gd name="connsiteX20" fmla="*/ 6657 w 10000"/>
                <a:gd name="connsiteY20" fmla="*/ 1311 h 10000"/>
                <a:gd name="connsiteX21" fmla="*/ 6593 w 10000"/>
                <a:gd name="connsiteY21" fmla="*/ 1114 h 10000"/>
                <a:gd name="connsiteX22" fmla="*/ 6391 w 10000"/>
                <a:gd name="connsiteY22" fmla="*/ 1311 h 10000"/>
                <a:gd name="connsiteX23" fmla="*/ 6309 w 10000"/>
                <a:gd name="connsiteY23" fmla="*/ 1223 h 10000"/>
                <a:gd name="connsiteX24" fmla="*/ 6126 w 10000"/>
                <a:gd name="connsiteY24" fmla="*/ 1273 h 10000"/>
                <a:gd name="connsiteX25" fmla="*/ 6144 w 10000"/>
                <a:gd name="connsiteY25" fmla="*/ 1125 h 10000"/>
                <a:gd name="connsiteX26" fmla="*/ 6073 w 10000"/>
                <a:gd name="connsiteY26" fmla="*/ 1119 h 10000"/>
                <a:gd name="connsiteX27" fmla="*/ 6040 w 10000"/>
                <a:gd name="connsiteY27" fmla="*/ 910 h 10000"/>
                <a:gd name="connsiteX28" fmla="*/ 5942 w 10000"/>
                <a:gd name="connsiteY28" fmla="*/ 795 h 10000"/>
                <a:gd name="connsiteX29" fmla="*/ 6144 w 10000"/>
                <a:gd name="connsiteY29" fmla="*/ 620 h 10000"/>
                <a:gd name="connsiteX30" fmla="*/ 5901 w 10000"/>
                <a:gd name="connsiteY30" fmla="*/ 395 h 10000"/>
                <a:gd name="connsiteX31" fmla="*/ 5853 w 10000"/>
                <a:gd name="connsiteY31" fmla="*/ 142 h 10000"/>
                <a:gd name="connsiteX32" fmla="*/ 5741 w 10000"/>
                <a:gd name="connsiteY32" fmla="*/ 110 h 10000"/>
                <a:gd name="connsiteX33" fmla="*/ 5647 w 10000"/>
                <a:gd name="connsiteY33" fmla="*/ 0 h 10000"/>
                <a:gd name="connsiteX34" fmla="*/ 5547 w 10000"/>
                <a:gd name="connsiteY34" fmla="*/ 120 h 10000"/>
                <a:gd name="connsiteX35" fmla="*/ 5377 w 10000"/>
                <a:gd name="connsiteY35" fmla="*/ 110 h 10000"/>
                <a:gd name="connsiteX36" fmla="*/ 5232 w 10000"/>
                <a:gd name="connsiteY36" fmla="*/ 351 h 10000"/>
                <a:gd name="connsiteX37" fmla="*/ 4952 w 10000"/>
                <a:gd name="connsiteY37" fmla="*/ 329 h 10000"/>
                <a:gd name="connsiteX38" fmla="*/ 4884 w 10000"/>
                <a:gd name="connsiteY38" fmla="*/ 680 h 10000"/>
                <a:gd name="connsiteX39" fmla="*/ 4701 w 10000"/>
                <a:gd name="connsiteY39" fmla="*/ 707 h 10000"/>
                <a:gd name="connsiteX40" fmla="*/ 4795 w 10000"/>
                <a:gd name="connsiteY40" fmla="*/ 844 h 10000"/>
                <a:gd name="connsiteX41" fmla="*/ 4739 w 10000"/>
                <a:gd name="connsiteY41" fmla="*/ 899 h 10000"/>
                <a:gd name="connsiteX42" fmla="*/ 4612 w 10000"/>
                <a:gd name="connsiteY42" fmla="*/ 894 h 10000"/>
                <a:gd name="connsiteX43" fmla="*/ 4439 w 10000"/>
                <a:gd name="connsiteY43" fmla="*/ 1026 h 10000"/>
                <a:gd name="connsiteX44" fmla="*/ 4252 w 10000"/>
                <a:gd name="connsiteY44" fmla="*/ 1668 h 10000"/>
                <a:gd name="connsiteX45" fmla="*/ 4308 w 10000"/>
                <a:gd name="connsiteY45" fmla="*/ 2090 h 10000"/>
                <a:gd name="connsiteX46" fmla="*/ 4121 w 10000"/>
                <a:gd name="connsiteY46" fmla="*/ 1865 h 10000"/>
                <a:gd name="connsiteX47" fmla="*/ 3849 w 10000"/>
                <a:gd name="connsiteY47" fmla="*/ 1991 h 10000"/>
                <a:gd name="connsiteX48" fmla="*/ 3822 w 10000"/>
                <a:gd name="connsiteY48" fmla="*/ 1931 h 10000"/>
                <a:gd name="connsiteX49" fmla="*/ 3695 w 10000"/>
                <a:gd name="connsiteY49" fmla="*/ 2002 h 10000"/>
                <a:gd name="connsiteX50" fmla="*/ 3621 w 10000"/>
                <a:gd name="connsiteY50" fmla="*/ 2144 h 10000"/>
                <a:gd name="connsiteX51" fmla="*/ 3561 w 10000"/>
                <a:gd name="connsiteY51" fmla="*/ 1909 h 10000"/>
                <a:gd name="connsiteX52" fmla="*/ 3478 w 10000"/>
                <a:gd name="connsiteY52" fmla="*/ 1843 h 10000"/>
                <a:gd name="connsiteX53" fmla="*/ 3444 w 10000"/>
                <a:gd name="connsiteY53" fmla="*/ 1964 h 10000"/>
                <a:gd name="connsiteX54" fmla="*/ 3332 w 10000"/>
                <a:gd name="connsiteY54" fmla="*/ 1996 h 10000"/>
                <a:gd name="connsiteX55" fmla="*/ 3272 w 10000"/>
                <a:gd name="connsiteY55" fmla="*/ 2161 h 10000"/>
                <a:gd name="connsiteX56" fmla="*/ 3235 w 10000"/>
                <a:gd name="connsiteY56" fmla="*/ 2013 h 10000"/>
                <a:gd name="connsiteX57" fmla="*/ 3123 w 10000"/>
                <a:gd name="connsiteY57" fmla="*/ 2024 h 10000"/>
                <a:gd name="connsiteX58" fmla="*/ 3078 w 10000"/>
                <a:gd name="connsiteY58" fmla="*/ 2128 h 10000"/>
                <a:gd name="connsiteX59" fmla="*/ 3011 w 10000"/>
                <a:gd name="connsiteY59" fmla="*/ 1975 h 10000"/>
                <a:gd name="connsiteX60" fmla="*/ 2895 w 10000"/>
                <a:gd name="connsiteY60" fmla="*/ 2117 h 10000"/>
                <a:gd name="connsiteX61" fmla="*/ 2783 w 10000"/>
                <a:gd name="connsiteY61" fmla="*/ 2106 h 10000"/>
                <a:gd name="connsiteX62" fmla="*/ 2779 w 10000"/>
                <a:gd name="connsiteY62" fmla="*/ 2276 h 10000"/>
                <a:gd name="connsiteX63" fmla="*/ 2727 w 10000"/>
                <a:gd name="connsiteY63" fmla="*/ 2144 h 10000"/>
                <a:gd name="connsiteX64" fmla="*/ 2559 w 10000"/>
                <a:gd name="connsiteY64" fmla="*/ 2155 h 10000"/>
                <a:gd name="connsiteX65" fmla="*/ 2438 w 10000"/>
                <a:gd name="connsiteY65" fmla="*/ 1980 h 10000"/>
                <a:gd name="connsiteX66" fmla="*/ 2293 w 10000"/>
                <a:gd name="connsiteY66" fmla="*/ 2073 h 10000"/>
                <a:gd name="connsiteX67" fmla="*/ 2143 w 10000"/>
                <a:gd name="connsiteY67" fmla="*/ 1958 h 10000"/>
                <a:gd name="connsiteX68" fmla="*/ 2057 w 10000"/>
                <a:gd name="connsiteY68" fmla="*/ 2035 h 10000"/>
                <a:gd name="connsiteX69" fmla="*/ 1975 w 10000"/>
                <a:gd name="connsiteY69" fmla="*/ 1947 h 10000"/>
                <a:gd name="connsiteX70" fmla="*/ 1852 w 10000"/>
                <a:gd name="connsiteY70" fmla="*/ 1936 h 10000"/>
                <a:gd name="connsiteX71" fmla="*/ 1669 w 10000"/>
                <a:gd name="connsiteY71" fmla="*/ 1925 h 10000"/>
                <a:gd name="connsiteX72" fmla="*/ 1444 w 10000"/>
                <a:gd name="connsiteY72" fmla="*/ 1991 h 10000"/>
                <a:gd name="connsiteX73" fmla="*/ 1205 w 10000"/>
                <a:gd name="connsiteY73" fmla="*/ 2062 h 10000"/>
                <a:gd name="connsiteX74" fmla="*/ 921 w 10000"/>
                <a:gd name="connsiteY74" fmla="*/ 2166 h 10000"/>
                <a:gd name="connsiteX75" fmla="*/ 797 w 10000"/>
                <a:gd name="connsiteY75" fmla="*/ 2496 h 10000"/>
                <a:gd name="connsiteX76" fmla="*/ 603 w 10000"/>
                <a:gd name="connsiteY76" fmla="*/ 2501 h 10000"/>
                <a:gd name="connsiteX77" fmla="*/ 540 w 10000"/>
                <a:gd name="connsiteY77" fmla="*/ 2687 h 10000"/>
                <a:gd name="connsiteX78" fmla="*/ 558 w 10000"/>
                <a:gd name="connsiteY78" fmla="*/ 2764 h 10000"/>
                <a:gd name="connsiteX79" fmla="*/ 577 w 10000"/>
                <a:gd name="connsiteY79" fmla="*/ 2868 h 10000"/>
                <a:gd name="connsiteX80" fmla="*/ 577 w 10000"/>
                <a:gd name="connsiteY80" fmla="*/ 2868 h 10000"/>
                <a:gd name="connsiteX81" fmla="*/ 577 w 10000"/>
                <a:gd name="connsiteY81" fmla="*/ 2896 h 10000"/>
                <a:gd name="connsiteX82" fmla="*/ 682 w 10000"/>
                <a:gd name="connsiteY82" fmla="*/ 3116 h 10000"/>
                <a:gd name="connsiteX83" fmla="*/ 786 w 10000"/>
                <a:gd name="connsiteY83" fmla="*/ 3351 h 10000"/>
                <a:gd name="connsiteX84" fmla="*/ 921 w 10000"/>
                <a:gd name="connsiteY84" fmla="*/ 3488 h 10000"/>
                <a:gd name="connsiteX85" fmla="*/ 876 w 10000"/>
                <a:gd name="connsiteY85" fmla="*/ 3548 h 10000"/>
                <a:gd name="connsiteX86" fmla="*/ 805 w 10000"/>
                <a:gd name="connsiteY86" fmla="*/ 3603 h 10000"/>
                <a:gd name="connsiteX87" fmla="*/ 887 w 10000"/>
                <a:gd name="connsiteY87" fmla="*/ 3697 h 10000"/>
                <a:gd name="connsiteX88" fmla="*/ 876 w 10000"/>
                <a:gd name="connsiteY88" fmla="*/ 4053 h 10000"/>
                <a:gd name="connsiteX89" fmla="*/ 693 w 10000"/>
                <a:gd name="connsiteY89" fmla="*/ 4124 h 10000"/>
                <a:gd name="connsiteX90" fmla="*/ 498 w 10000"/>
                <a:gd name="connsiteY90" fmla="*/ 4531 h 10000"/>
                <a:gd name="connsiteX91" fmla="*/ 371 w 10000"/>
                <a:gd name="connsiteY91" fmla="*/ 4936 h 10000"/>
                <a:gd name="connsiteX92" fmla="*/ 195 w 10000"/>
                <a:gd name="connsiteY92" fmla="*/ 5260 h 10000"/>
                <a:gd name="connsiteX93" fmla="*/ 270 w 10000"/>
                <a:gd name="connsiteY93" fmla="*/ 5517 h 10000"/>
                <a:gd name="connsiteX94" fmla="*/ 277 w 10000"/>
                <a:gd name="connsiteY94" fmla="*/ 5732 h 10000"/>
                <a:gd name="connsiteX95" fmla="*/ 400 w 10000"/>
                <a:gd name="connsiteY95" fmla="*/ 5841 h 10000"/>
                <a:gd name="connsiteX96" fmla="*/ 382 w 10000"/>
                <a:gd name="connsiteY96" fmla="*/ 5945 h 10000"/>
                <a:gd name="connsiteX97" fmla="*/ 202 w 10000"/>
                <a:gd name="connsiteY97" fmla="*/ 5852 h 10000"/>
                <a:gd name="connsiteX98" fmla="*/ 124 w 10000"/>
                <a:gd name="connsiteY98" fmla="*/ 6099 h 10000"/>
                <a:gd name="connsiteX99" fmla="*/ 105 w 10000"/>
                <a:gd name="connsiteY99" fmla="*/ 6346 h 10000"/>
                <a:gd name="connsiteX100" fmla="*/ 1 w 10000"/>
                <a:gd name="connsiteY100" fmla="*/ 6571 h 10000"/>
                <a:gd name="connsiteX101" fmla="*/ 19 w 10000"/>
                <a:gd name="connsiteY101" fmla="*/ 6779 h 10000"/>
                <a:gd name="connsiteX102" fmla="*/ 90 w 10000"/>
                <a:gd name="connsiteY102" fmla="*/ 6828 h 10000"/>
                <a:gd name="connsiteX103" fmla="*/ 154 w 10000"/>
                <a:gd name="connsiteY103" fmla="*/ 6960 h 10000"/>
                <a:gd name="connsiteX104" fmla="*/ 240 w 10000"/>
                <a:gd name="connsiteY104" fmla="*/ 6943 h 10000"/>
                <a:gd name="connsiteX105" fmla="*/ 292 w 10000"/>
                <a:gd name="connsiteY105" fmla="*/ 7076 h 10000"/>
                <a:gd name="connsiteX106" fmla="*/ 445 w 10000"/>
                <a:gd name="connsiteY106" fmla="*/ 7103 h 10000"/>
                <a:gd name="connsiteX107" fmla="*/ 453 w 10000"/>
                <a:gd name="connsiteY107" fmla="*/ 7251 h 10000"/>
                <a:gd name="connsiteX108" fmla="*/ 494 w 10000"/>
                <a:gd name="connsiteY108" fmla="*/ 7278 h 10000"/>
                <a:gd name="connsiteX109" fmla="*/ 525 w 10000"/>
                <a:gd name="connsiteY109" fmla="*/ 7174 h 10000"/>
                <a:gd name="connsiteX110" fmla="*/ 581 w 10000"/>
                <a:gd name="connsiteY110" fmla="*/ 7196 h 10000"/>
                <a:gd name="connsiteX111" fmla="*/ 644 w 10000"/>
                <a:gd name="connsiteY111" fmla="*/ 6992 h 10000"/>
                <a:gd name="connsiteX112" fmla="*/ 820 w 10000"/>
                <a:gd name="connsiteY112" fmla="*/ 7174 h 10000"/>
                <a:gd name="connsiteX113" fmla="*/ 1283 w 10000"/>
                <a:gd name="connsiteY113" fmla="*/ 7163 h 10000"/>
                <a:gd name="connsiteX114" fmla="*/ 1466 w 10000"/>
                <a:gd name="connsiteY114" fmla="*/ 7092 h 10000"/>
                <a:gd name="connsiteX115" fmla="*/ 1766 w 10000"/>
                <a:gd name="connsiteY115" fmla="*/ 7344 h 10000"/>
                <a:gd name="connsiteX116" fmla="*/ 1956 w 10000"/>
                <a:gd name="connsiteY116" fmla="*/ 7087 h 10000"/>
                <a:gd name="connsiteX117" fmla="*/ 2382 w 10000"/>
                <a:gd name="connsiteY117" fmla="*/ 6861 h 10000"/>
                <a:gd name="connsiteX118" fmla="*/ 2536 w 10000"/>
                <a:gd name="connsiteY118" fmla="*/ 6489 h 10000"/>
                <a:gd name="connsiteX119" fmla="*/ 2648 w 10000"/>
                <a:gd name="connsiteY119" fmla="*/ 6439 h 10000"/>
                <a:gd name="connsiteX120" fmla="*/ 2648 w 10000"/>
                <a:gd name="connsiteY120" fmla="*/ 6379 h 10000"/>
                <a:gd name="connsiteX121" fmla="*/ 2693 w 10000"/>
                <a:gd name="connsiteY121" fmla="*/ 6379 h 10000"/>
                <a:gd name="connsiteX122" fmla="*/ 2682 w 10000"/>
                <a:gd name="connsiteY122" fmla="*/ 6230 h 10000"/>
                <a:gd name="connsiteX123" fmla="*/ 2820 w 10000"/>
                <a:gd name="connsiteY123" fmla="*/ 6285 h 10000"/>
                <a:gd name="connsiteX124" fmla="*/ 2839 w 10000"/>
                <a:gd name="connsiteY124" fmla="*/ 6159 h 10000"/>
                <a:gd name="connsiteX125" fmla="*/ 2921 w 10000"/>
                <a:gd name="connsiteY125" fmla="*/ 6230 h 10000"/>
                <a:gd name="connsiteX126" fmla="*/ 2981 w 10000"/>
                <a:gd name="connsiteY126" fmla="*/ 6126 h 10000"/>
                <a:gd name="connsiteX127" fmla="*/ 3078 w 10000"/>
                <a:gd name="connsiteY127" fmla="*/ 6154 h 10000"/>
                <a:gd name="connsiteX128" fmla="*/ 3164 w 10000"/>
                <a:gd name="connsiteY128" fmla="*/ 6055 h 10000"/>
                <a:gd name="connsiteX129" fmla="*/ 3328 w 10000"/>
                <a:gd name="connsiteY129" fmla="*/ 6192 h 10000"/>
                <a:gd name="connsiteX130" fmla="*/ 3411 w 10000"/>
                <a:gd name="connsiteY130" fmla="*/ 6197 h 10000"/>
                <a:gd name="connsiteX131" fmla="*/ 3437 w 10000"/>
                <a:gd name="connsiteY131" fmla="*/ 6307 h 10000"/>
                <a:gd name="connsiteX132" fmla="*/ 3591 w 10000"/>
                <a:gd name="connsiteY132" fmla="*/ 6236 h 10000"/>
                <a:gd name="connsiteX133" fmla="*/ 3576 w 10000"/>
                <a:gd name="connsiteY133" fmla="*/ 6357 h 10000"/>
                <a:gd name="connsiteX134" fmla="*/ 3632 w 10000"/>
                <a:gd name="connsiteY134" fmla="*/ 6341 h 10000"/>
                <a:gd name="connsiteX135" fmla="*/ 3699 w 10000"/>
                <a:gd name="connsiteY135" fmla="*/ 6428 h 10000"/>
                <a:gd name="connsiteX136" fmla="*/ 3703 w 10000"/>
                <a:gd name="connsiteY136" fmla="*/ 6301 h 10000"/>
                <a:gd name="connsiteX137" fmla="*/ 3882 w 10000"/>
                <a:gd name="connsiteY137" fmla="*/ 6341 h 10000"/>
                <a:gd name="connsiteX138" fmla="*/ 3946 w 10000"/>
                <a:gd name="connsiteY138" fmla="*/ 6511 h 10000"/>
                <a:gd name="connsiteX139" fmla="*/ 4047 w 10000"/>
                <a:gd name="connsiteY139" fmla="*/ 6494 h 10000"/>
                <a:gd name="connsiteX140" fmla="*/ 4091 w 10000"/>
                <a:gd name="connsiteY140" fmla="*/ 6417 h 10000"/>
                <a:gd name="connsiteX141" fmla="*/ 4192 w 10000"/>
                <a:gd name="connsiteY141" fmla="*/ 6735 h 10000"/>
                <a:gd name="connsiteX142" fmla="*/ 4155 w 10000"/>
                <a:gd name="connsiteY142" fmla="*/ 6987 h 10000"/>
                <a:gd name="connsiteX143" fmla="*/ 4207 w 10000"/>
                <a:gd name="connsiteY143" fmla="*/ 7114 h 10000"/>
                <a:gd name="connsiteX144" fmla="*/ 4278 w 10000"/>
                <a:gd name="connsiteY144" fmla="*/ 7119 h 10000"/>
                <a:gd name="connsiteX145" fmla="*/ 4387 w 10000"/>
                <a:gd name="connsiteY145" fmla="*/ 7256 h 10000"/>
                <a:gd name="connsiteX146" fmla="*/ 4431 w 10000"/>
                <a:gd name="connsiteY146" fmla="*/ 7152 h 10000"/>
                <a:gd name="connsiteX147" fmla="*/ 4480 w 10000"/>
                <a:gd name="connsiteY147" fmla="*/ 7322 h 10000"/>
                <a:gd name="connsiteX148" fmla="*/ 4541 w 10000"/>
                <a:gd name="connsiteY148" fmla="*/ 7662 h 10000"/>
                <a:gd name="connsiteX149" fmla="*/ 4720 w 10000"/>
                <a:gd name="connsiteY149" fmla="*/ 7739 h 10000"/>
                <a:gd name="connsiteX150" fmla="*/ 4761 w 10000"/>
                <a:gd name="connsiteY150" fmla="*/ 8183 h 10000"/>
                <a:gd name="connsiteX151" fmla="*/ 4914 w 10000"/>
                <a:gd name="connsiteY151" fmla="*/ 8276 h 10000"/>
                <a:gd name="connsiteX152" fmla="*/ 4757 w 10000"/>
                <a:gd name="connsiteY152" fmla="*/ 8370 h 10000"/>
                <a:gd name="connsiteX153" fmla="*/ 4705 w 10000"/>
                <a:gd name="connsiteY153" fmla="*/ 8260 h 10000"/>
                <a:gd name="connsiteX154" fmla="*/ 4645 w 10000"/>
                <a:gd name="connsiteY154" fmla="*/ 8403 h 10000"/>
                <a:gd name="connsiteX155" fmla="*/ 4491 w 10000"/>
                <a:gd name="connsiteY155" fmla="*/ 8287 h 10000"/>
                <a:gd name="connsiteX156" fmla="*/ 4405 w 10000"/>
                <a:gd name="connsiteY156" fmla="*/ 8452 h 10000"/>
                <a:gd name="connsiteX157" fmla="*/ 4226 w 10000"/>
                <a:gd name="connsiteY157" fmla="*/ 8331 h 10000"/>
                <a:gd name="connsiteX158" fmla="*/ 4312 w 10000"/>
                <a:gd name="connsiteY158" fmla="*/ 8699 h 10000"/>
                <a:gd name="connsiteX159" fmla="*/ 4304 w 10000"/>
                <a:gd name="connsiteY159" fmla="*/ 8967 h 10000"/>
                <a:gd name="connsiteX160" fmla="*/ 4189 w 10000"/>
                <a:gd name="connsiteY160" fmla="*/ 9088 h 10000"/>
                <a:gd name="connsiteX161" fmla="*/ 4226 w 10000"/>
                <a:gd name="connsiteY161" fmla="*/ 9193 h 10000"/>
                <a:gd name="connsiteX162" fmla="*/ 4065 w 10000"/>
                <a:gd name="connsiteY162" fmla="*/ 9412 h 10000"/>
                <a:gd name="connsiteX163" fmla="*/ 4129 w 10000"/>
                <a:gd name="connsiteY163" fmla="*/ 9647 h 10000"/>
                <a:gd name="connsiteX164" fmla="*/ 3972 w 10000"/>
                <a:gd name="connsiteY164" fmla="*/ 9681 h 10000"/>
                <a:gd name="connsiteX165" fmla="*/ 3931 w 10000"/>
                <a:gd name="connsiteY165" fmla="*/ 9741 h 10000"/>
                <a:gd name="connsiteX166" fmla="*/ 3998 w 10000"/>
                <a:gd name="connsiteY166" fmla="*/ 9785 h 10000"/>
                <a:gd name="connsiteX167" fmla="*/ 4118 w 10000"/>
                <a:gd name="connsiteY167" fmla="*/ 9944 h 10000"/>
                <a:gd name="connsiteX168" fmla="*/ 4312 w 10000"/>
                <a:gd name="connsiteY168" fmla="*/ 9999 h 10000"/>
                <a:gd name="connsiteX169" fmla="*/ 4319 w 10000"/>
                <a:gd name="connsiteY169" fmla="*/ 9851 h 10000"/>
                <a:gd name="connsiteX170" fmla="*/ 4387 w 10000"/>
                <a:gd name="connsiteY170" fmla="*/ 9856 h 10000"/>
                <a:gd name="connsiteX171" fmla="*/ 4675 w 10000"/>
                <a:gd name="connsiteY171" fmla="*/ 9603 h 10000"/>
                <a:gd name="connsiteX172" fmla="*/ 4866 w 10000"/>
                <a:gd name="connsiteY172" fmla="*/ 9845 h 10000"/>
                <a:gd name="connsiteX173" fmla="*/ 4866 w 10000"/>
                <a:gd name="connsiteY173" fmla="*/ 9862 h 10000"/>
                <a:gd name="connsiteX174" fmla="*/ 4896 w 10000"/>
                <a:gd name="connsiteY174" fmla="*/ 9703 h 10000"/>
                <a:gd name="connsiteX175" fmla="*/ 4843 w 10000"/>
                <a:gd name="connsiteY175" fmla="*/ 9570 h 10000"/>
                <a:gd name="connsiteX176" fmla="*/ 4776 w 10000"/>
                <a:gd name="connsiteY176" fmla="*/ 9549 h 10000"/>
                <a:gd name="connsiteX177" fmla="*/ 4821 w 10000"/>
                <a:gd name="connsiteY177" fmla="*/ 9466 h 10000"/>
                <a:gd name="connsiteX178" fmla="*/ 4806 w 10000"/>
                <a:gd name="connsiteY178" fmla="*/ 9444 h 10000"/>
                <a:gd name="connsiteX179" fmla="*/ 4750 w 10000"/>
                <a:gd name="connsiteY179" fmla="*/ 9439 h 10000"/>
                <a:gd name="connsiteX180" fmla="*/ 4720 w 10000"/>
                <a:gd name="connsiteY180" fmla="*/ 9121 h 10000"/>
                <a:gd name="connsiteX181" fmla="*/ 4761 w 10000"/>
                <a:gd name="connsiteY181" fmla="*/ 9105 h 10000"/>
                <a:gd name="connsiteX182" fmla="*/ 4783 w 10000"/>
                <a:gd name="connsiteY182" fmla="*/ 9253 h 10000"/>
                <a:gd name="connsiteX183" fmla="*/ 4836 w 10000"/>
                <a:gd name="connsiteY183" fmla="*/ 9384 h 10000"/>
                <a:gd name="connsiteX184" fmla="*/ 4881 w 10000"/>
                <a:gd name="connsiteY184" fmla="*/ 9302 h 10000"/>
                <a:gd name="connsiteX185" fmla="*/ 4869 w 10000"/>
                <a:gd name="connsiteY185" fmla="*/ 9220 h 10000"/>
                <a:gd name="connsiteX186" fmla="*/ 4940 w 10000"/>
                <a:gd name="connsiteY186" fmla="*/ 9203 h 10000"/>
                <a:gd name="connsiteX187" fmla="*/ 4903 w 10000"/>
                <a:gd name="connsiteY187" fmla="*/ 9034 h 10000"/>
                <a:gd name="connsiteX188" fmla="*/ 5000 w 10000"/>
                <a:gd name="connsiteY188" fmla="*/ 9061 h 10000"/>
                <a:gd name="connsiteX189" fmla="*/ 5004 w 10000"/>
                <a:gd name="connsiteY189" fmla="*/ 8972 h 10000"/>
                <a:gd name="connsiteX190" fmla="*/ 5041 w 10000"/>
                <a:gd name="connsiteY190" fmla="*/ 9039 h 10000"/>
                <a:gd name="connsiteX191" fmla="*/ 5206 w 10000"/>
                <a:gd name="connsiteY191" fmla="*/ 8781 h 10000"/>
                <a:gd name="connsiteX192" fmla="*/ 5112 w 10000"/>
                <a:gd name="connsiteY192" fmla="*/ 8584 h 10000"/>
                <a:gd name="connsiteX193" fmla="*/ 4937 w 10000"/>
                <a:gd name="connsiteY193" fmla="*/ 8425 h 10000"/>
                <a:gd name="connsiteX194" fmla="*/ 5037 w 10000"/>
                <a:gd name="connsiteY194" fmla="*/ 8370 h 10000"/>
                <a:gd name="connsiteX195" fmla="*/ 5183 w 10000"/>
                <a:gd name="connsiteY195" fmla="*/ 8633 h 10000"/>
                <a:gd name="connsiteX196" fmla="*/ 5292 w 10000"/>
                <a:gd name="connsiteY196" fmla="*/ 8199 h 10000"/>
                <a:gd name="connsiteX197" fmla="*/ 5299 w 10000"/>
                <a:gd name="connsiteY197" fmla="*/ 8030 h 10000"/>
                <a:gd name="connsiteX198" fmla="*/ 5482 w 10000"/>
                <a:gd name="connsiteY198" fmla="*/ 7942 h 10000"/>
                <a:gd name="connsiteX199" fmla="*/ 5550 w 10000"/>
                <a:gd name="connsiteY199" fmla="*/ 7607 h 10000"/>
                <a:gd name="connsiteX200" fmla="*/ 5561 w 10000"/>
                <a:gd name="connsiteY200" fmla="*/ 7734 h 10000"/>
                <a:gd name="connsiteX201" fmla="*/ 5677 w 10000"/>
                <a:gd name="connsiteY201" fmla="*/ 7596 h 10000"/>
                <a:gd name="connsiteX202" fmla="*/ 5759 w 10000"/>
                <a:gd name="connsiteY202" fmla="*/ 7579 h 10000"/>
                <a:gd name="connsiteX203" fmla="*/ 5842 w 10000"/>
                <a:gd name="connsiteY203" fmla="*/ 7207 h 10000"/>
                <a:gd name="connsiteX204" fmla="*/ 5916 w 10000"/>
                <a:gd name="connsiteY204" fmla="*/ 7486 h 10000"/>
                <a:gd name="connsiteX205" fmla="*/ 6137 w 10000"/>
                <a:gd name="connsiteY205" fmla="*/ 7563 h 10000"/>
                <a:gd name="connsiteX206" fmla="*/ 5969 w 10000"/>
                <a:gd name="connsiteY206" fmla="*/ 7618 h 10000"/>
                <a:gd name="connsiteX207" fmla="*/ 5954 w 10000"/>
                <a:gd name="connsiteY207" fmla="*/ 7679 h 10000"/>
                <a:gd name="connsiteX208" fmla="*/ 5786 w 10000"/>
                <a:gd name="connsiteY208" fmla="*/ 7690 h 10000"/>
                <a:gd name="connsiteX209" fmla="*/ 5700 w 10000"/>
                <a:gd name="connsiteY209" fmla="*/ 7723 h 10000"/>
                <a:gd name="connsiteX210" fmla="*/ 5767 w 10000"/>
                <a:gd name="connsiteY210" fmla="*/ 7772 h 10000"/>
                <a:gd name="connsiteX211" fmla="*/ 5827 w 10000"/>
                <a:gd name="connsiteY211" fmla="*/ 7756 h 10000"/>
                <a:gd name="connsiteX212" fmla="*/ 5991 w 10000"/>
                <a:gd name="connsiteY212" fmla="*/ 7789 h 10000"/>
                <a:gd name="connsiteX213" fmla="*/ 5804 w 10000"/>
                <a:gd name="connsiteY213" fmla="*/ 7964 h 10000"/>
                <a:gd name="connsiteX214" fmla="*/ 5872 w 10000"/>
                <a:gd name="connsiteY214" fmla="*/ 8008 h 10000"/>
                <a:gd name="connsiteX215" fmla="*/ 6043 w 10000"/>
                <a:gd name="connsiteY215" fmla="*/ 7958 h 10000"/>
                <a:gd name="connsiteX216" fmla="*/ 6275 w 10000"/>
                <a:gd name="connsiteY216" fmla="*/ 8101 h 10000"/>
                <a:gd name="connsiteX217" fmla="*/ 6575 w 10000"/>
                <a:gd name="connsiteY217" fmla="*/ 7909 h 10000"/>
                <a:gd name="connsiteX218" fmla="*/ 6870 w 10000"/>
                <a:gd name="connsiteY218" fmla="*/ 7887 h 10000"/>
                <a:gd name="connsiteX219" fmla="*/ 6915 w 10000"/>
                <a:gd name="connsiteY219" fmla="*/ 7745 h 10000"/>
                <a:gd name="connsiteX220" fmla="*/ 6993 w 10000"/>
                <a:gd name="connsiteY220" fmla="*/ 7958 h 10000"/>
                <a:gd name="connsiteX221" fmla="*/ 7075 w 10000"/>
                <a:gd name="connsiteY221" fmla="*/ 7986 h 10000"/>
                <a:gd name="connsiteX222" fmla="*/ 7045 w 10000"/>
                <a:gd name="connsiteY222" fmla="*/ 8134 h 10000"/>
                <a:gd name="connsiteX223" fmla="*/ 6788 w 10000"/>
                <a:gd name="connsiteY223" fmla="*/ 8281 h 10000"/>
                <a:gd name="connsiteX224" fmla="*/ 6769 w 10000"/>
                <a:gd name="connsiteY224" fmla="*/ 8386 h 10000"/>
                <a:gd name="connsiteX225" fmla="*/ 6627 w 10000"/>
                <a:gd name="connsiteY225" fmla="*/ 8523 h 10000"/>
                <a:gd name="connsiteX226" fmla="*/ 6623 w 10000"/>
                <a:gd name="connsiteY226" fmla="*/ 8649 h 10000"/>
                <a:gd name="connsiteX227" fmla="*/ 6537 w 10000"/>
                <a:gd name="connsiteY227" fmla="*/ 8704 h 10000"/>
                <a:gd name="connsiteX228" fmla="*/ 6428 w 10000"/>
                <a:gd name="connsiteY228" fmla="*/ 8989 h 10000"/>
                <a:gd name="connsiteX229" fmla="*/ 6582 w 10000"/>
                <a:gd name="connsiteY229" fmla="*/ 9001 h 10000"/>
                <a:gd name="connsiteX230" fmla="*/ 6672 w 10000"/>
                <a:gd name="connsiteY230" fmla="*/ 8879 h 10000"/>
                <a:gd name="connsiteX231" fmla="*/ 6769 w 10000"/>
                <a:gd name="connsiteY231" fmla="*/ 8912 h 10000"/>
                <a:gd name="connsiteX232" fmla="*/ 6814 w 10000"/>
                <a:gd name="connsiteY232" fmla="*/ 8786 h 10000"/>
                <a:gd name="connsiteX233" fmla="*/ 6877 w 10000"/>
                <a:gd name="connsiteY233" fmla="*/ 9001 h 10000"/>
                <a:gd name="connsiteX234" fmla="*/ 7060 w 10000"/>
                <a:gd name="connsiteY234" fmla="*/ 8994 h 10000"/>
                <a:gd name="connsiteX235" fmla="*/ 7217 w 10000"/>
                <a:gd name="connsiteY235" fmla="*/ 9362 h 10000"/>
                <a:gd name="connsiteX236" fmla="*/ 7232 w 10000"/>
                <a:gd name="connsiteY236" fmla="*/ 9675 h 10000"/>
                <a:gd name="connsiteX237" fmla="*/ 7176 w 10000"/>
                <a:gd name="connsiteY237" fmla="*/ 9692 h 10000"/>
                <a:gd name="connsiteX238" fmla="*/ 7187 w 10000"/>
                <a:gd name="connsiteY238" fmla="*/ 9780 h 10000"/>
                <a:gd name="connsiteX239" fmla="*/ 7423 w 10000"/>
                <a:gd name="connsiteY239" fmla="*/ 9900 h 10000"/>
                <a:gd name="connsiteX240" fmla="*/ 7741 w 10000"/>
                <a:gd name="connsiteY240" fmla="*/ 9565 h 10000"/>
                <a:gd name="connsiteX241" fmla="*/ 7879 w 10000"/>
                <a:gd name="connsiteY241" fmla="*/ 9176 h 10000"/>
                <a:gd name="connsiteX242" fmla="*/ 8107 w 10000"/>
                <a:gd name="connsiteY242" fmla="*/ 9023 h 10000"/>
                <a:gd name="connsiteX243" fmla="*/ 8182 w 10000"/>
                <a:gd name="connsiteY243" fmla="*/ 8841 h 10000"/>
                <a:gd name="connsiteX244" fmla="*/ 8268 w 10000"/>
                <a:gd name="connsiteY244" fmla="*/ 8786 h 10000"/>
                <a:gd name="connsiteX245" fmla="*/ 8320 w 10000"/>
                <a:gd name="connsiteY245" fmla="*/ 8512 h 10000"/>
                <a:gd name="connsiteX246" fmla="*/ 8542 w 10000"/>
                <a:gd name="connsiteY246" fmla="*/ 8617 h 10000"/>
                <a:gd name="connsiteX247" fmla="*/ 8672 w 10000"/>
                <a:gd name="connsiteY247" fmla="*/ 8474 h 10000"/>
                <a:gd name="connsiteX248" fmla="*/ 8855 w 10000"/>
                <a:gd name="connsiteY248" fmla="*/ 8343 h 10000"/>
                <a:gd name="connsiteX249" fmla="*/ 8781 w 10000"/>
                <a:gd name="connsiteY249" fmla="*/ 8128 h 10000"/>
                <a:gd name="connsiteX250" fmla="*/ 7708 w 10000"/>
                <a:gd name="connsiteY250" fmla="*/ 7991 h 10000"/>
                <a:gd name="connsiteX251" fmla="*/ 7682 w 10000"/>
                <a:gd name="connsiteY251" fmla="*/ 7904 h 10000"/>
                <a:gd name="connsiteX252" fmla="*/ 7607 w 10000"/>
                <a:gd name="connsiteY252" fmla="*/ 8002 h 10000"/>
                <a:gd name="connsiteX253" fmla="*/ 7715 w 10000"/>
                <a:gd name="connsiteY253" fmla="*/ 7761 h 10000"/>
                <a:gd name="connsiteX254" fmla="*/ 7674 w 10000"/>
                <a:gd name="connsiteY254" fmla="*/ 7717 h 10000"/>
                <a:gd name="connsiteX255" fmla="*/ 7554 w 10000"/>
                <a:gd name="connsiteY255" fmla="*/ 7915 h 10000"/>
                <a:gd name="connsiteX256" fmla="*/ 7618 w 10000"/>
                <a:gd name="connsiteY256" fmla="*/ 7712 h 10000"/>
                <a:gd name="connsiteX257" fmla="*/ 7532 w 10000"/>
                <a:gd name="connsiteY257" fmla="*/ 7767 h 10000"/>
                <a:gd name="connsiteX258" fmla="*/ 7419 w 10000"/>
                <a:gd name="connsiteY258" fmla="*/ 7717 h 10000"/>
                <a:gd name="connsiteX259" fmla="*/ 7333 w 10000"/>
                <a:gd name="connsiteY259" fmla="*/ 7794 h 10000"/>
                <a:gd name="connsiteX260" fmla="*/ 7240 w 10000"/>
                <a:gd name="connsiteY260" fmla="*/ 7728 h 10000"/>
                <a:gd name="connsiteX261" fmla="*/ 7087 w 10000"/>
                <a:gd name="connsiteY261" fmla="*/ 7717 h 10000"/>
                <a:gd name="connsiteX262" fmla="*/ 7090 w 10000"/>
                <a:gd name="connsiteY262" fmla="*/ 7547 h 10000"/>
                <a:gd name="connsiteX263" fmla="*/ 7229 w 10000"/>
                <a:gd name="connsiteY263" fmla="*/ 7662 h 10000"/>
                <a:gd name="connsiteX264" fmla="*/ 7273 w 10000"/>
                <a:gd name="connsiteY264" fmla="*/ 7541 h 10000"/>
                <a:gd name="connsiteX265" fmla="*/ 7236 w 10000"/>
                <a:gd name="connsiteY265" fmla="*/ 7410 h 10000"/>
                <a:gd name="connsiteX266" fmla="*/ 7341 w 10000"/>
                <a:gd name="connsiteY266" fmla="*/ 7547 h 10000"/>
                <a:gd name="connsiteX267" fmla="*/ 7483 w 10000"/>
                <a:gd name="connsiteY267" fmla="*/ 7536 h 10000"/>
                <a:gd name="connsiteX268" fmla="*/ 7506 w 10000"/>
                <a:gd name="connsiteY268" fmla="*/ 7685 h 10000"/>
                <a:gd name="connsiteX269" fmla="*/ 7547 w 10000"/>
                <a:gd name="connsiteY269" fmla="*/ 7685 h 10000"/>
                <a:gd name="connsiteX270" fmla="*/ 7558 w 10000"/>
                <a:gd name="connsiteY270" fmla="*/ 7415 h 10000"/>
                <a:gd name="connsiteX271" fmla="*/ 7607 w 10000"/>
                <a:gd name="connsiteY271" fmla="*/ 7585 h 10000"/>
                <a:gd name="connsiteX272" fmla="*/ 7693 w 10000"/>
                <a:gd name="connsiteY272" fmla="*/ 7590 h 10000"/>
                <a:gd name="connsiteX273" fmla="*/ 7629 w 10000"/>
                <a:gd name="connsiteY273" fmla="*/ 7333 h 10000"/>
                <a:gd name="connsiteX274" fmla="*/ 7786 w 10000"/>
                <a:gd name="connsiteY274" fmla="*/ 7240 h 10000"/>
                <a:gd name="connsiteX275" fmla="*/ 7779 w 10000"/>
                <a:gd name="connsiteY275" fmla="*/ 6987 h 10000"/>
                <a:gd name="connsiteX276" fmla="*/ 7887 w 10000"/>
                <a:gd name="connsiteY276" fmla="*/ 7081 h 10000"/>
                <a:gd name="connsiteX277" fmla="*/ 7906 w 10000"/>
                <a:gd name="connsiteY277" fmla="*/ 7015 h 10000"/>
                <a:gd name="connsiteX278" fmla="*/ 7775 w 10000"/>
                <a:gd name="connsiteY278" fmla="*/ 6735 h 10000"/>
                <a:gd name="connsiteX279" fmla="*/ 7950 w 10000"/>
                <a:gd name="connsiteY279" fmla="*/ 6894 h 10000"/>
                <a:gd name="connsiteX280" fmla="*/ 8171 w 10000"/>
                <a:gd name="connsiteY280" fmla="*/ 6511 h 10000"/>
                <a:gd name="connsiteX281" fmla="*/ 8384 w 10000"/>
                <a:gd name="connsiteY281" fmla="*/ 6483 h 10000"/>
                <a:gd name="connsiteX282" fmla="*/ 8429 w 10000"/>
                <a:gd name="connsiteY282" fmla="*/ 6363 h 10000"/>
                <a:gd name="connsiteX0" fmla="*/ 8429 w 10004"/>
                <a:gd name="connsiteY0" fmla="*/ 6363 h 10000"/>
                <a:gd name="connsiteX1" fmla="*/ 9266 w 10004"/>
                <a:gd name="connsiteY1" fmla="*/ 5079 h 10000"/>
                <a:gd name="connsiteX2" fmla="*/ 9307 w 10004"/>
                <a:gd name="connsiteY2" fmla="*/ 4640 h 10000"/>
                <a:gd name="connsiteX3" fmla="*/ 9468 w 10004"/>
                <a:gd name="connsiteY3" fmla="*/ 4465 h 10000"/>
                <a:gd name="connsiteX4" fmla="*/ 9544 w 10004"/>
                <a:gd name="connsiteY4" fmla="*/ 4239 h 10000"/>
                <a:gd name="connsiteX5" fmla="*/ 10000 w 10004"/>
                <a:gd name="connsiteY5" fmla="*/ 4037 h 10000"/>
                <a:gd name="connsiteX6" fmla="*/ 9775 w 10004"/>
                <a:gd name="connsiteY6" fmla="*/ 2259 h 10000"/>
                <a:gd name="connsiteX7" fmla="*/ 9656 w 10004"/>
                <a:gd name="connsiteY7" fmla="*/ 2024 h 10000"/>
                <a:gd name="connsiteX8" fmla="*/ 9663 w 10004"/>
                <a:gd name="connsiteY8" fmla="*/ 1810 h 10000"/>
                <a:gd name="connsiteX9" fmla="*/ 9143 w 10004"/>
                <a:gd name="connsiteY9" fmla="*/ 1838 h 10000"/>
                <a:gd name="connsiteX10" fmla="*/ 9091 w 10004"/>
                <a:gd name="connsiteY10" fmla="*/ 1712 h 10000"/>
                <a:gd name="connsiteX11" fmla="*/ 9020 w 10004"/>
                <a:gd name="connsiteY11" fmla="*/ 1728 h 10000"/>
                <a:gd name="connsiteX12" fmla="*/ 7569 w 10004"/>
                <a:gd name="connsiteY12" fmla="*/ 1873 h 10000"/>
                <a:gd name="connsiteX13" fmla="*/ 7165 w 10004"/>
                <a:gd name="connsiteY13" fmla="*/ 1996 h 10000"/>
                <a:gd name="connsiteX14" fmla="*/ 6892 w 10004"/>
                <a:gd name="connsiteY14" fmla="*/ 1827 h 10000"/>
                <a:gd name="connsiteX15" fmla="*/ 6922 w 10004"/>
                <a:gd name="connsiteY15" fmla="*/ 1728 h 10000"/>
                <a:gd name="connsiteX16" fmla="*/ 6765 w 10004"/>
                <a:gd name="connsiteY16" fmla="*/ 1398 h 10000"/>
                <a:gd name="connsiteX17" fmla="*/ 6799 w 10004"/>
                <a:gd name="connsiteY17" fmla="*/ 1256 h 10000"/>
                <a:gd name="connsiteX18" fmla="*/ 6728 w 10004"/>
                <a:gd name="connsiteY18" fmla="*/ 1229 h 10000"/>
                <a:gd name="connsiteX19" fmla="*/ 6657 w 10004"/>
                <a:gd name="connsiteY19" fmla="*/ 1311 h 10000"/>
                <a:gd name="connsiteX20" fmla="*/ 6593 w 10004"/>
                <a:gd name="connsiteY20" fmla="*/ 1114 h 10000"/>
                <a:gd name="connsiteX21" fmla="*/ 6391 w 10004"/>
                <a:gd name="connsiteY21" fmla="*/ 1311 h 10000"/>
                <a:gd name="connsiteX22" fmla="*/ 6309 w 10004"/>
                <a:gd name="connsiteY22" fmla="*/ 1223 h 10000"/>
                <a:gd name="connsiteX23" fmla="*/ 6126 w 10004"/>
                <a:gd name="connsiteY23" fmla="*/ 1273 h 10000"/>
                <a:gd name="connsiteX24" fmla="*/ 6144 w 10004"/>
                <a:gd name="connsiteY24" fmla="*/ 1125 h 10000"/>
                <a:gd name="connsiteX25" fmla="*/ 6073 w 10004"/>
                <a:gd name="connsiteY25" fmla="*/ 1119 h 10000"/>
                <a:gd name="connsiteX26" fmla="*/ 6040 w 10004"/>
                <a:gd name="connsiteY26" fmla="*/ 910 h 10000"/>
                <a:gd name="connsiteX27" fmla="*/ 5942 w 10004"/>
                <a:gd name="connsiteY27" fmla="*/ 795 h 10000"/>
                <a:gd name="connsiteX28" fmla="*/ 6144 w 10004"/>
                <a:gd name="connsiteY28" fmla="*/ 620 h 10000"/>
                <a:gd name="connsiteX29" fmla="*/ 5901 w 10004"/>
                <a:gd name="connsiteY29" fmla="*/ 395 h 10000"/>
                <a:gd name="connsiteX30" fmla="*/ 5853 w 10004"/>
                <a:gd name="connsiteY30" fmla="*/ 142 h 10000"/>
                <a:gd name="connsiteX31" fmla="*/ 5741 w 10004"/>
                <a:gd name="connsiteY31" fmla="*/ 110 h 10000"/>
                <a:gd name="connsiteX32" fmla="*/ 5647 w 10004"/>
                <a:gd name="connsiteY32" fmla="*/ 0 h 10000"/>
                <a:gd name="connsiteX33" fmla="*/ 5547 w 10004"/>
                <a:gd name="connsiteY33" fmla="*/ 120 h 10000"/>
                <a:gd name="connsiteX34" fmla="*/ 5377 w 10004"/>
                <a:gd name="connsiteY34" fmla="*/ 110 h 10000"/>
                <a:gd name="connsiteX35" fmla="*/ 5232 w 10004"/>
                <a:gd name="connsiteY35" fmla="*/ 351 h 10000"/>
                <a:gd name="connsiteX36" fmla="*/ 4952 w 10004"/>
                <a:gd name="connsiteY36" fmla="*/ 329 h 10000"/>
                <a:gd name="connsiteX37" fmla="*/ 4884 w 10004"/>
                <a:gd name="connsiteY37" fmla="*/ 680 h 10000"/>
                <a:gd name="connsiteX38" fmla="*/ 4701 w 10004"/>
                <a:gd name="connsiteY38" fmla="*/ 707 h 10000"/>
                <a:gd name="connsiteX39" fmla="*/ 4795 w 10004"/>
                <a:gd name="connsiteY39" fmla="*/ 844 h 10000"/>
                <a:gd name="connsiteX40" fmla="*/ 4739 w 10004"/>
                <a:gd name="connsiteY40" fmla="*/ 899 h 10000"/>
                <a:gd name="connsiteX41" fmla="*/ 4612 w 10004"/>
                <a:gd name="connsiteY41" fmla="*/ 894 h 10000"/>
                <a:gd name="connsiteX42" fmla="*/ 4439 w 10004"/>
                <a:gd name="connsiteY42" fmla="*/ 1026 h 10000"/>
                <a:gd name="connsiteX43" fmla="*/ 4252 w 10004"/>
                <a:gd name="connsiteY43" fmla="*/ 1668 h 10000"/>
                <a:gd name="connsiteX44" fmla="*/ 4308 w 10004"/>
                <a:gd name="connsiteY44" fmla="*/ 2090 h 10000"/>
                <a:gd name="connsiteX45" fmla="*/ 4121 w 10004"/>
                <a:gd name="connsiteY45" fmla="*/ 1865 h 10000"/>
                <a:gd name="connsiteX46" fmla="*/ 3849 w 10004"/>
                <a:gd name="connsiteY46" fmla="*/ 1991 h 10000"/>
                <a:gd name="connsiteX47" fmla="*/ 3822 w 10004"/>
                <a:gd name="connsiteY47" fmla="*/ 1931 h 10000"/>
                <a:gd name="connsiteX48" fmla="*/ 3695 w 10004"/>
                <a:gd name="connsiteY48" fmla="*/ 2002 h 10000"/>
                <a:gd name="connsiteX49" fmla="*/ 3621 w 10004"/>
                <a:gd name="connsiteY49" fmla="*/ 2144 h 10000"/>
                <a:gd name="connsiteX50" fmla="*/ 3561 w 10004"/>
                <a:gd name="connsiteY50" fmla="*/ 1909 h 10000"/>
                <a:gd name="connsiteX51" fmla="*/ 3478 w 10004"/>
                <a:gd name="connsiteY51" fmla="*/ 1843 h 10000"/>
                <a:gd name="connsiteX52" fmla="*/ 3444 w 10004"/>
                <a:gd name="connsiteY52" fmla="*/ 1964 h 10000"/>
                <a:gd name="connsiteX53" fmla="*/ 3332 w 10004"/>
                <a:gd name="connsiteY53" fmla="*/ 1996 h 10000"/>
                <a:gd name="connsiteX54" fmla="*/ 3272 w 10004"/>
                <a:gd name="connsiteY54" fmla="*/ 2161 h 10000"/>
                <a:gd name="connsiteX55" fmla="*/ 3235 w 10004"/>
                <a:gd name="connsiteY55" fmla="*/ 2013 h 10000"/>
                <a:gd name="connsiteX56" fmla="*/ 3123 w 10004"/>
                <a:gd name="connsiteY56" fmla="*/ 2024 h 10000"/>
                <a:gd name="connsiteX57" fmla="*/ 3078 w 10004"/>
                <a:gd name="connsiteY57" fmla="*/ 2128 h 10000"/>
                <a:gd name="connsiteX58" fmla="*/ 3011 w 10004"/>
                <a:gd name="connsiteY58" fmla="*/ 1975 h 10000"/>
                <a:gd name="connsiteX59" fmla="*/ 2895 w 10004"/>
                <a:gd name="connsiteY59" fmla="*/ 2117 h 10000"/>
                <a:gd name="connsiteX60" fmla="*/ 2783 w 10004"/>
                <a:gd name="connsiteY60" fmla="*/ 2106 h 10000"/>
                <a:gd name="connsiteX61" fmla="*/ 2779 w 10004"/>
                <a:gd name="connsiteY61" fmla="*/ 2276 h 10000"/>
                <a:gd name="connsiteX62" fmla="*/ 2727 w 10004"/>
                <a:gd name="connsiteY62" fmla="*/ 2144 h 10000"/>
                <a:gd name="connsiteX63" fmla="*/ 2559 w 10004"/>
                <a:gd name="connsiteY63" fmla="*/ 2155 h 10000"/>
                <a:gd name="connsiteX64" fmla="*/ 2438 w 10004"/>
                <a:gd name="connsiteY64" fmla="*/ 1980 h 10000"/>
                <a:gd name="connsiteX65" fmla="*/ 2293 w 10004"/>
                <a:gd name="connsiteY65" fmla="*/ 2073 h 10000"/>
                <a:gd name="connsiteX66" fmla="*/ 2143 w 10004"/>
                <a:gd name="connsiteY66" fmla="*/ 1958 h 10000"/>
                <a:gd name="connsiteX67" fmla="*/ 2057 w 10004"/>
                <a:gd name="connsiteY67" fmla="*/ 2035 h 10000"/>
                <a:gd name="connsiteX68" fmla="*/ 1975 w 10004"/>
                <a:gd name="connsiteY68" fmla="*/ 1947 h 10000"/>
                <a:gd name="connsiteX69" fmla="*/ 1852 w 10004"/>
                <a:gd name="connsiteY69" fmla="*/ 1936 h 10000"/>
                <a:gd name="connsiteX70" fmla="*/ 1669 w 10004"/>
                <a:gd name="connsiteY70" fmla="*/ 1925 h 10000"/>
                <a:gd name="connsiteX71" fmla="*/ 1444 w 10004"/>
                <a:gd name="connsiteY71" fmla="*/ 1991 h 10000"/>
                <a:gd name="connsiteX72" fmla="*/ 1205 w 10004"/>
                <a:gd name="connsiteY72" fmla="*/ 2062 h 10000"/>
                <a:gd name="connsiteX73" fmla="*/ 921 w 10004"/>
                <a:gd name="connsiteY73" fmla="*/ 2166 h 10000"/>
                <a:gd name="connsiteX74" fmla="*/ 797 w 10004"/>
                <a:gd name="connsiteY74" fmla="*/ 2496 h 10000"/>
                <a:gd name="connsiteX75" fmla="*/ 603 w 10004"/>
                <a:gd name="connsiteY75" fmla="*/ 2501 h 10000"/>
                <a:gd name="connsiteX76" fmla="*/ 540 w 10004"/>
                <a:gd name="connsiteY76" fmla="*/ 2687 h 10000"/>
                <a:gd name="connsiteX77" fmla="*/ 558 w 10004"/>
                <a:gd name="connsiteY77" fmla="*/ 2764 h 10000"/>
                <a:gd name="connsiteX78" fmla="*/ 577 w 10004"/>
                <a:gd name="connsiteY78" fmla="*/ 2868 h 10000"/>
                <a:gd name="connsiteX79" fmla="*/ 577 w 10004"/>
                <a:gd name="connsiteY79" fmla="*/ 2868 h 10000"/>
                <a:gd name="connsiteX80" fmla="*/ 577 w 10004"/>
                <a:gd name="connsiteY80" fmla="*/ 2896 h 10000"/>
                <a:gd name="connsiteX81" fmla="*/ 682 w 10004"/>
                <a:gd name="connsiteY81" fmla="*/ 3116 h 10000"/>
                <a:gd name="connsiteX82" fmla="*/ 786 w 10004"/>
                <a:gd name="connsiteY82" fmla="*/ 3351 h 10000"/>
                <a:gd name="connsiteX83" fmla="*/ 921 w 10004"/>
                <a:gd name="connsiteY83" fmla="*/ 3488 h 10000"/>
                <a:gd name="connsiteX84" fmla="*/ 876 w 10004"/>
                <a:gd name="connsiteY84" fmla="*/ 3548 h 10000"/>
                <a:gd name="connsiteX85" fmla="*/ 805 w 10004"/>
                <a:gd name="connsiteY85" fmla="*/ 3603 h 10000"/>
                <a:gd name="connsiteX86" fmla="*/ 887 w 10004"/>
                <a:gd name="connsiteY86" fmla="*/ 3697 h 10000"/>
                <a:gd name="connsiteX87" fmla="*/ 876 w 10004"/>
                <a:gd name="connsiteY87" fmla="*/ 4053 h 10000"/>
                <a:gd name="connsiteX88" fmla="*/ 693 w 10004"/>
                <a:gd name="connsiteY88" fmla="*/ 4124 h 10000"/>
                <a:gd name="connsiteX89" fmla="*/ 498 w 10004"/>
                <a:gd name="connsiteY89" fmla="*/ 4531 h 10000"/>
                <a:gd name="connsiteX90" fmla="*/ 371 w 10004"/>
                <a:gd name="connsiteY90" fmla="*/ 4936 h 10000"/>
                <a:gd name="connsiteX91" fmla="*/ 195 w 10004"/>
                <a:gd name="connsiteY91" fmla="*/ 5260 h 10000"/>
                <a:gd name="connsiteX92" fmla="*/ 270 w 10004"/>
                <a:gd name="connsiteY92" fmla="*/ 5517 h 10000"/>
                <a:gd name="connsiteX93" fmla="*/ 277 w 10004"/>
                <a:gd name="connsiteY93" fmla="*/ 5732 h 10000"/>
                <a:gd name="connsiteX94" fmla="*/ 400 w 10004"/>
                <a:gd name="connsiteY94" fmla="*/ 5841 h 10000"/>
                <a:gd name="connsiteX95" fmla="*/ 382 w 10004"/>
                <a:gd name="connsiteY95" fmla="*/ 5945 h 10000"/>
                <a:gd name="connsiteX96" fmla="*/ 202 w 10004"/>
                <a:gd name="connsiteY96" fmla="*/ 5852 h 10000"/>
                <a:gd name="connsiteX97" fmla="*/ 124 w 10004"/>
                <a:gd name="connsiteY97" fmla="*/ 6099 h 10000"/>
                <a:gd name="connsiteX98" fmla="*/ 105 w 10004"/>
                <a:gd name="connsiteY98" fmla="*/ 6346 h 10000"/>
                <a:gd name="connsiteX99" fmla="*/ 1 w 10004"/>
                <a:gd name="connsiteY99" fmla="*/ 6571 h 10000"/>
                <a:gd name="connsiteX100" fmla="*/ 19 w 10004"/>
                <a:gd name="connsiteY100" fmla="*/ 6779 h 10000"/>
                <a:gd name="connsiteX101" fmla="*/ 90 w 10004"/>
                <a:gd name="connsiteY101" fmla="*/ 6828 h 10000"/>
                <a:gd name="connsiteX102" fmla="*/ 154 w 10004"/>
                <a:gd name="connsiteY102" fmla="*/ 6960 h 10000"/>
                <a:gd name="connsiteX103" fmla="*/ 240 w 10004"/>
                <a:gd name="connsiteY103" fmla="*/ 6943 h 10000"/>
                <a:gd name="connsiteX104" fmla="*/ 292 w 10004"/>
                <a:gd name="connsiteY104" fmla="*/ 7076 h 10000"/>
                <a:gd name="connsiteX105" fmla="*/ 445 w 10004"/>
                <a:gd name="connsiteY105" fmla="*/ 7103 h 10000"/>
                <a:gd name="connsiteX106" fmla="*/ 453 w 10004"/>
                <a:gd name="connsiteY106" fmla="*/ 7251 h 10000"/>
                <a:gd name="connsiteX107" fmla="*/ 494 w 10004"/>
                <a:gd name="connsiteY107" fmla="*/ 7278 h 10000"/>
                <a:gd name="connsiteX108" fmla="*/ 525 w 10004"/>
                <a:gd name="connsiteY108" fmla="*/ 7174 h 10000"/>
                <a:gd name="connsiteX109" fmla="*/ 581 w 10004"/>
                <a:gd name="connsiteY109" fmla="*/ 7196 h 10000"/>
                <a:gd name="connsiteX110" fmla="*/ 644 w 10004"/>
                <a:gd name="connsiteY110" fmla="*/ 6992 h 10000"/>
                <a:gd name="connsiteX111" fmla="*/ 820 w 10004"/>
                <a:gd name="connsiteY111" fmla="*/ 7174 h 10000"/>
                <a:gd name="connsiteX112" fmla="*/ 1283 w 10004"/>
                <a:gd name="connsiteY112" fmla="*/ 7163 h 10000"/>
                <a:gd name="connsiteX113" fmla="*/ 1466 w 10004"/>
                <a:gd name="connsiteY113" fmla="*/ 7092 h 10000"/>
                <a:gd name="connsiteX114" fmla="*/ 1766 w 10004"/>
                <a:gd name="connsiteY114" fmla="*/ 7344 h 10000"/>
                <a:gd name="connsiteX115" fmla="*/ 1956 w 10004"/>
                <a:gd name="connsiteY115" fmla="*/ 7087 h 10000"/>
                <a:gd name="connsiteX116" fmla="*/ 2382 w 10004"/>
                <a:gd name="connsiteY116" fmla="*/ 6861 h 10000"/>
                <a:gd name="connsiteX117" fmla="*/ 2536 w 10004"/>
                <a:gd name="connsiteY117" fmla="*/ 6489 h 10000"/>
                <a:gd name="connsiteX118" fmla="*/ 2648 w 10004"/>
                <a:gd name="connsiteY118" fmla="*/ 6439 h 10000"/>
                <a:gd name="connsiteX119" fmla="*/ 2648 w 10004"/>
                <a:gd name="connsiteY119" fmla="*/ 6379 h 10000"/>
                <a:gd name="connsiteX120" fmla="*/ 2693 w 10004"/>
                <a:gd name="connsiteY120" fmla="*/ 6379 h 10000"/>
                <a:gd name="connsiteX121" fmla="*/ 2682 w 10004"/>
                <a:gd name="connsiteY121" fmla="*/ 6230 h 10000"/>
                <a:gd name="connsiteX122" fmla="*/ 2820 w 10004"/>
                <a:gd name="connsiteY122" fmla="*/ 6285 h 10000"/>
                <a:gd name="connsiteX123" fmla="*/ 2839 w 10004"/>
                <a:gd name="connsiteY123" fmla="*/ 6159 h 10000"/>
                <a:gd name="connsiteX124" fmla="*/ 2921 w 10004"/>
                <a:gd name="connsiteY124" fmla="*/ 6230 h 10000"/>
                <a:gd name="connsiteX125" fmla="*/ 2981 w 10004"/>
                <a:gd name="connsiteY125" fmla="*/ 6126 h 10000"/>
                <a:gd name="connsiteX126" fmla="*/ 3078 w 10004"/>
                <a:gd name="connsiteY126" fmla="*/ 6154 h 10000"/>
                <a:gd name="connsiteX127" fmla="*/ 3164 w 10004"/>
                <a:gd name="connsiteY127" fmla="*/ 6055 h 10000"/>
                <a:gd name="connsiteX128" fmla="*/ 3328 w 10004"/>
                <a:gd name="connsiteY128" fmla="*/ 6192 h 10000"/>
                <a:gd name="connsiteX129" fmla="*/ 3411 w 10004"/>
                <a:gd name="connsiteY129" fmla="*/ 6197 h 10000"/>
                <a:gd name="connsiteX130" fmla="*/ 3437 w 10004"/>
                <a:gd name="connsiteY130" fmla="*/ 6307 h 10000"/>
                <a:gd name="connsiteX131" fmla="*/ 3591 w 10004"/>
                <a:gd name="connsiteY131" fmla="*/ 6236 h 10000"/>
                <a:gd name="connsiteX132" fmla="*/ 3576 w 10004"/>
                <a:gd name="connsiteY132" fmla="*/ 6357 h 10000"/>
                <a:gd name="connsiteX133" fmla="*/ 3632 w 10004"/>
                <a:gd name="connsiteY133" fmla="*/ 6341 h 10000"/>
                <a:gd name="connsiteX134" fmla="*/ 3699 w 10004"/>
                <a:gd name="connsiteY134" fmla="*/ 6428 h 10000"/>
                <a:gd name="connsiteX135" fmla="*/ 3703 w 10004"/>
                <a:gd name="connsiteY135" fmla="*/ 6301 h 10000"/>
                <a:gd name="connsiteX136" fmla="*/ 3882 w 10004"/>
                <a:gd name="connsiteY136" fmla="*/ 6341 h 10000"/>
                <a:gd name="connsiteX137" fmla="*/ 3946 w 10004"/>
                <a:gd name="connsiteY137" fmla="*/ 6511 h 10000"/>
                <a:gd name="connsiteX138" fmla="*/ 4047 w 10004"/>
                <a:gd name="connsiteY138" fmla="*/ 6494 h 10000"/>
                <a:gd name="connsiteX139" fmla="*/ 4091 w 10004"/>
                <a:gd name="connsiteY139" fmla="*/ 6417 h 10000"/>
                <a:gd name="connsiteX140" fmla="*/ 4192 w 10004"/>
                <a:gd name="connsiteY140" fmla="*/ 6735 h 10000"/>
                <a:gd name="connsiteX141" fmla="*/ 4155 w 10004"/>
                <a:gd name="connsiteY141" fmla="*/ 6987 h 10000"/>
                <a:gd name="connsiteX142" fmla="*/ 4207 w 10004"/>
                <a:gd name="connsiteY142" fmla="*/ 7114 h 10000"/>
                <a:gd name="connsiteX143" fmla="*/ 4278 w 10004"/>
                <a:gd name="connsiteY143" fmla="*/ 7119 h 10000"/>
                <a:gd name="connsiteX144" fmla="*/ 4387 w 10004"/>
                <a:gd name="connsiteY144" fmla="*/ 7256 h 10000"/>
                <a:gd name="connsiteX145" fmla="*/ 4431 w 10004"/>
                <a:gd name="connsiteY145" fmla="*/ 7152 h 10000"/>
                <a:gd name="connsiteX146" fmla="*/ 4480 w 10004"/>
                <a:gd name="connsiteY146" fmla="*/ 7322 h 10000"/>
                <a:gd name="connsiteX147" fmla="*/ 4541 w 10004"/>
                <a:gd name="connsiteY147" fmla="*/ 7662 h 10000"/>
                <a:gd name="connsiteX148" fmla="*/ 4720 w 10004"/>
                <a:gd name="connsiteY148" fmla="*/ 7739 h 10000"/>
                <a:gd name="connsiteX149" fmla="*/ 4761 w 10004"/>
                <a:gd name="connsiteY149" fmla="*/ 8183 h 10000"/>
                <a:gd name="connsiteX150" fmla="*/ 4914 w 10004"/>
                <a:gd name="connsiteY150" fmla="*/ 8276 h 10000"/>
                <a:gd name="connsiteX151" fmla="*/ 4757 w 10004"/>
                <a:gd name="connsiteY151" fmla="*/ 8370 h 10000"/>
                <a:gd name="connsiteX152" fmla="*/ 4705 w 10004"/>
                <a:gd name="connsiteY152" fmla="*/ 8260 h 10000"/>
                <a:gd name="connsiteX153" fmla="*/ 4645 w 10004"/>
                <a:gd name="connsiteY153" fmla="*/ 8403 h 10000"/>
                <a:gd name="connsiteX154" fmla="*/ 4491 w 10004"/>
                <a:gd name="connsiteY154" fmla="*/ 8287 h 10000"/>
                <a:gd name="connsiteX155" fmla="*/ 4405 w 10004"/>
                <a:gd name="connsiteY155" fmla="*/ 8452 h 10000"/>
                <a:gd name="connsiteX156" fmla="*/ 4226 w 10004"/>
                <a:gd name="connsiteY156" fmla="*/ 8331 h 10000"/>
                <a:gd name="connsiteX157" fmla="*/ 4312 w 10004"/>
                <a:gd name="connsiteY157" fmla="*/ 8699 h 10000"/>
                <a:gd name="connsiteX158" fmla="*/ 4304 w 10004"/>
                <a:gd name="connsiteY158" fmla="*/ 8967 h 10000"/>
                <a:gd name="connsiteX159" fmla="*/ 4189 w 10004"/>
                <a:gd name="connsiteY159" fmla="*/ 9088 h 10000"/>
                <a:gd name="connsiteX160" fmla="*/ 4226 w 10004"/>
                <a:gd name="connsiteY160" fmla="*/ 9193 h 10000"/>
                <a:gd name="connsiteX161" fmla="*/ 4065 w 10004"/>
                <a:gd name="connsiteY161" fmla="*/ 9412 h 10000"/>
                <a:gd name="connsiteX162" fmla="*/ 4129 w 10004"/>
                <a:gd name="connsiteY162" fmla="*/ 9647 h 10000"/>
                <a:gd name="connsiteX163" fmla="*/ 3972 w 10004"/>
                <a:gd name="connsiteY163" fmla="*/ 9681 h 10000"/>
                <a:gd name="connsiteX164" fmla="*/ 3931 w 10004"/>
                <a:gd name="connsiteY164" fmla="*/ 9741 h 10000"/>
                <a:gd name="connsiteX165" fmla="*/ 3998 w 10004"/>
                <a:gd name="connsiteY165" fmla="*/ 9785 h 10000"/>
                <a:gd name="connsiteX166" fmla="*/ 4118 w 10004"/>
                <a:gd name="connsiteY166" fmla="*/ 9944 h 10000"/>
                <a:gd name="connsiteX167" fmla="*/ 4312 w 10004"/>
                <a:gd name="connsiteY167" fmla="*/ 9999 h 10000"/>
                <a:gd name="connsiteX168" fmla="*/ 4319 w 10004"/>
                <a:gd name="connsiteY168" fmla="*/ 9851 h 10000"/>
                <a:gd name="connsiteX169" fmla="*/ 4387 w 10004"/>
                <a:gd name="connsiteY169" fmla="*/ 9856 h 10000"/>
                <a:gd name="connsiteX170" fmla="*/ 4675 w 10004"/>
                <a:gd name="connsiteY170" fmla="*/ 9603 h 10000"/>
                <a:gd name="connsiteX171" fmla="*/ 4866 w 10004"/>
                <a:gd name="connsiteY171" fmla="*/ 9845 h 10000"/>
                <a:gd name="connsiteX172" fmla="*/ 4866 w 10004"/>
                <a:gd name="connsiteY172" fmla="*/ 9862 h 10000"/>
                <a:gd name="connsiteX173" fmla="*/ 4896 w 10004"/>
                <a:gd name="connsiteY173" fmla="*/ 9703 h 10000"/>
                <a:gd name="connsiteX174" fmla="*/ 4843 w 10004"/>
                <a:gd name="connsiteY174" fmla="*/ 9570 h 10000"/>
                <a:gd name="connsiteX175" fmla="*/ 4776 w 10004"/>
                <a:gd name="connsiteY175" fmla="*/ 9549 h 10000"/>
                <a:gd name="connsiteX176" fmla="*/ 4821 w 10004"/>
                <a:gd name="connsiteY176" fmla="*/ 9466 h 10000"/>
                <a:gd name="connsiteX177" fmla="*/ 4806 w 10004"/>
                <a:gd name="connsiteY177" fmla="*/ 9444 h 10000"/>
                <a:gd name="connsiteX178" fmla="*/ 4750 w 10004"/>
                <a:gd name="connsiteY178" fmla="*/ 9439 h 10000"/>
                <a:gd name="connsiteX179" fmla="*/ 4720 w 10004"/>
                <a:gd name="connsiteY179" fmla="*/ 9121 h 10000"/>
                <a:gd name="connsiteX180" fmla="*/ 4761 w 10004"/>
                <a:gd name="connsiteY180" fmla="*/ 9105 h 10000"/>
                <a:gd name="connsiteX181" fmla="*/ 4783 w 10004"/>
                <a:gd name="connsiteY181" fmla="*/ 9253 h 10000"/>
                <a:gd name="connsiteX182" fmla="*/ 4836 w 10004"/>
                <a:gd name="connsiteY182" fmla="*/ 9384 h 10000"/>
                <a:gd name="connsiteX183" fmla="*/ 4881 w 10004"/>
                <a:gd name="connsiteY183" fmla="*/ 9302 h 10000"/>
                <a:gd name="connsiteX184" fmla="*/ 4869 w 10004"/>
                <a:gd name="connsiteY184" fmla="*/ 9220 h 10000"/>
                <a:gd name="connsiteX185" fmla="*/ 4940 w 10004"/>
                <a:gd name="connsiteY185" fmla="*/ 9203 h 10000"/>
                <a:gd name="connsiteX186" fmla="*/ 4903 w 10004"/>
                <a:gd name="connsiteY186" fmla="*/ 9034 h 10000"/>
                <a:gd name="connsiteX187" fmla="*/ 5000 w 10004"/>
                <a:gd name="connsiteY187" fmla="*/ 9061 h 10000"/>
                <a:gd name="connsiteX188" fmla="*/ 5004 w 10004"/>
                <a:gd name="connsiteY188" fmla="*/ 8972 h 10000"/>
                <a:gd name="connsiteX189" fmla="*/ 5041 w 10004"/>
                <a:gd name="connsiteY189" fmla="*/ 9039 h 10000"/>
                <a:gd name="connsiteX190" fmla="*/ 5206 w 10004"/>
                <a:gd name="connsiteY190" fmla="*/ 8781 h 10000"/>
                <a:gd name="connsiteX191" fmla="*/ 5112 w 10004"/>
                <a:gd name="connsiteY191" fmla="*/ 8584 h 10000"/>
                <a:gd name="connsiteX192" fmla="*/ 4937 w 10004"/>
                <a:gd name="connsiteY192" fmla="*/ 8425 h 10000"/>
                <a:gd name="connsiteX193" fmla="*/ 5037 w 10004"/>
                <a:gd name="connsiteY193" fmla="*/ 8370 h 10000"/>
                <a:gd name="connsiteX194" fmla="*/ 5183 w 10004"/>
                <a:gd name="connsiteY194" fmla="*/ 8633 h 10000"/>
                <a:gd name="connsiteX195" fmla="*/ 5292 w 10004"/>
                <a:gd name="connsiteY195" fmla="*/ 8199 h 10000"/>
                <a:gd name="connsiteX196" fmla="*/ 5299 w 10004"/>
                <a:gd name="connsiteY196" fmla="*/ 8030 h 10000"/>
                <a:gd name="connsiteX197" fmla="*/ 5482 w 10004"/>
                <a:gd name="connsiteY197" fmla="*/ 7942 h 10000"/>
                <a:gd name="connsiteX198" fmla="*/ 5550 w 10004"/>
                <a:gd name="connsiteY198" fmla="*/ 7607 h 10000"/>
                <a:gd name="connsiteX199" fmla="*/ 5561 w 10004"/>
                <a:gd name="connsiteY199" fmla="*/ 7734 h 10000"/>
                <a:gd name="connsiteX200" fmla="*/ 5677 w 10004"/>
                <a:gd name="connsiteY200" fmla="*/ 7596 h 10000"/>
                <a:gd name="connsiteX201" fmla="*/ 5759 w 10004"/>
                <a:gd name="connsiteY201" fmla="*/ 7579 h 10000"/>
                <a:gd name="connsiteX202" fmla="*/ 5842 w 10004"/>
                <a:gd name="connsiteY202" fmla="*/ 7207 h 10000"/>
                <a:gd name="connsiteX203" fmla="*/ 5916 w 10004"/>
                <a:gd name="connsiteY203" fmla="*/ 7486 h 10000"/>
                <a:gd name="connsiteX204" fmla="*/ 6137 w 10004"/>
                <a:gd name="connsiteY204" fmla="*/ 7563 h 10000"/>
                <a:gd name="connsiteX205" fmla="*/ 5969 w 10004"/>
                <a:gd name="connsiteY205" fmla="*/ 7618 h 10000"/>
                <a:gd name="connsiteX206" fmla="*/ 5954 w 10004"/>
                <a:gd name="connsiteY206" fmla="*/ 7679 h 10000"/>
                <a:gd name="connsiteX207" fmla="*/ 5786 w 10004"/>
                <a:gd name="connsiteY207" fmla="*/ 7690 h 10000"/>
                <a:gd name="connsiteX208" fmla="*/ 5700 w 10004"/>
                <a:gd name="connsiteY208" fmla="*/ 7723 h 10000"/>
                <a:gd name="connsiteX209" fmla="*/ 5767 w 10004"/>
                <a:gd name="connsiteY209" fmla="*/ 7772 h 10000"/>
                <a:gd name="connsiteX210" fmla="*/ 5827 w 10004"/>
                <a:gd name="connsiteY210" fmla="*/ 7756 h 10000"/>
                <a:gd name="connsiteX211" fmla="*/ 5991 w 10004"/>
                <a:gd name="connsiteY211" fmla="*/ 7789 h 10000"/>
                <a:gd name="connsiteX212" fmla="*/ 5804 w 10004"/>
                <a:gd name="connsiteY212" fmla="*/ 7964 h 10000"/>
                <a:gd name="connsiteX213" fmla="*/ 5872 w 10004"/>
                <a:gd name="connsiteY213" fmla="*/ 8008 h 10000"/>
                <a:gd name="connsiteX214" fmla="*/ 6043 w 10004"/>
                <a:gd name="connsiteY214" fmla="*/ 7958 h 10000"/>
                <a:gd name="connsiteX215" fmla="*/ 6275 w 10004"/>
                <a:gd name="connsiteY215" fmla="*/ 8101 h 10000"/>
                <a:gd name="connsiteX216" fmla="*/ 6575 w 10004"/>
                <a:gd name="connsiteY216" fmla="*/ 7909 h 10000"/>
                <a:gd name="connsiteX217" fmla="*/ 6870 w 10004"/>
                <a:gd name="connsiteY217" fmla="*/ 7887 h 10000"/>
                <a:gd name="connsiteX218" fmla="*/ 6915 w 10004"/>
                <a:gd name="connsiteY218" fmla="*/ 7745 h 10000"/>
                <a:gd name="connsiteX219" fmla="*/ 6993 w 10004"/>
                <a:gd name="connsiteY219" fmla="*/ 7958 h 10000"/>
                <a:gd name="connsiteX220" fmla="*/ 7075 w 10004"/>
                <a:gd name="connsiteY220" fmla="*/ 7986 h 10000"/>
                <a:gd name="connsiteX221" fmla="*/ 7045 w 10004"/>
                <a:gd name="connsiteY221" fmla="*/ 8134 h 10000"/>
                <a:gd name="connsiteX222" fmla="*/ 6788 w 10004"/>
                <a:gd name="connsiteY222" fmla="*/ 8281 h 10000"/>
                <a:gd name="connsiteX223" fmla="*/ 6769 w 10004"/>
                <a:gd name="connsiteY223" fmla="*/ 8386 h 10000"/>
                <a:gd name="connsiteX224" fmla="*/ 6627 w 10004"/>
                <a:gd name="connsiteY224" fmla="*/ 8523 h 10000"/>
                <a:gd name="connsiteX225" fmla="*/ 6623 w 10004"/>
                <a:gd name="connsiteY225" fmla="*/ 8649 h 10000"/>
                <a:gd name="connsiteX226" fmla="*/ 6537 w 10004"/>
                <a:gd name="connsiteY226" fmla="*/ 8704 h 10000"/>
                <a:gd name="connsiteX227" fmla="*/ 6428 w 10004"/>
                <a:gd name="connsiteY227" fmla="*/ 8989 h 10000"/>
                <a:gd name="connsiteX228" fmla="*/ 6582 w 10004"/>
                <a:gd name="connsiteY228" fmla="*/ 9001 h 10000"/>
                <a:gd name="connsiteX229" fmla="*/ 6672 w 10004"/>
                <a:gd name="connsiteY229" fmla="*/ 8879 h 10000"/>
                <a:gd name="connsiteX230" fmla="*/ 6769 w 10004"/>
                <a:gd name="connsiteY230" fmla="*/ 8912 h 10000"/>
                <a:gd name="connsiteX231" fmla="*/ 6814 w 10004"/>
                <a:gd name="connsiteY231" fmla="*/ 8786 h 10000"/>
                <a:gd name="connsiteX232" fmla="*/ 6877 w 10004"/>
                <a:gd name="connsiteY232" fmla="*/ 9001 h 10000"/>
                <a:gd name="connsiteX233" fmla="*/ 7060 w 10004"/>
                <a:gd name="connsiteY233" fmla="*/ 8994 h 10000"/>
                <a:gd name="connsiteX234" fmla="*/ 7217 w 10004"/>
                <a:gd name="connsiteY234" fmla="*/ 9362 h 10000"/>
                <a:gd name="connsiteX235" fmla="*/ 7232 w 10004"/>
                <a:gd name="connsiteY235" fmla="*/ 9675 h 10000"/>
                <a:gd name="connsiteX236" fmla="*/ 7176 w 10004"/>
                <a:gd name="connsiteY236" fmla="*/ 9692 h 10000"/>
                <a:gd name="connsiteX237" fmla="*/ 7187 w 10004"/>
                <a:gd name="connsiteY237" fmla="*/ 9780 h 10000"/>
                <a:gd name="connsiteX238" fmla="*/ 7423 w 10004"/>
                <a:gd name="connsiteY238" fmla="*/ 9900 h 10000"/>
                <a:gd name="connsiteX239" fmla="*/ 7741 w 10004"/>
                <a:gd name="connsiteY239" fmla="*/ 9565 h 10000"/>
                <a:gd name="connsiteX240" fmla="*/ 7879 w 10004"/>
                <a:gd name="connsiteY240" fmla="*/ 9176 h 10000"/>
                <a:gd name="connsiteX241" fmla="*/ 8107 w 10004"/>
                <a:gd name="connsiteY241" fmla="*/ 9023 h 10000"/>
                <a:gd name="connsiteX242" fmla="*/ 8182 w 10004"/>
                <a:gd name="connsiteY242" fmla="*/ 8841 h 10000"/>
                <a:gd name="connsiteX243" fmla="*/ 8268 w 10004"/>
                <a:gd name="connsiteY243" fmla="*/ 8786 h 10000"/>
                <a:gd name="connsiteX244" fmla="*/ 8320 w 10004"/>
                <a:gd name="connsiteY244" fmla="*/ 8512 h 10000"/>
                <a:gd name="connsiteX245" fmla="*/ 8542 w 10004"/>
                <a:gd name="connsiteY245" fmla="*/ 8617 h 10000"/>
                <a:gd name="connsiteX246" fmla="*/ 8672 w 10004"/>
                <a:gd name="connsiteY246" fmla="*/ 8474 h 10000"/>
                <a:gd name="connsiteX247" fmla="*/ 8855 w 10004"/>
                <a:gd name="connsiteY247" fmla="*/ 8343 h 10000"/>
                <a:gd name="connsiteX248" fmla="*/ 8781 w 10004"/>
                <a:gd name="connsiteY248" fmla="*/ 8128 h 10000"/>
                <a:gd name="connsiteX249" fmla="*/ 7708 w 10004"/>
                <a:gd name="connsiteY249" fmla="*/ 7991 h 10000"/>
                <a:gd name="connsiteX250" fmla="*/ 7682 w 10004"/>
                <a:gd name="connsiteY250" fmla="*/ 7904 h 10000"/>
                <a:gd name="connsiteX251" fmla="*/ 7607 w 10004"/>
                <a:gd name="connsiteY251" fmla="*/ 8002 h 10000"/>
                <a:gd name="connsiteX252" fmla="*/ 7715 w 10004"/>
                <a:gd name="connsiteY252" fmla="*/ 7761 h 10000"/>
                <a:gd name="connsiteX253" fmla="*/ 7674 w 10004"/>
                <a:gd name="connsiteY253" fmla="*/ 7717 h 10000"/>
                <a:gd name="connsiteX254" fmla="*/ 7554 w 10004"/>
                <a:gd name="connsiteY254" fmla="*/ 7915 h 10000"/>
                <a:gd name="connsiteX255" fmla="*/ 7618 w 10004"/>
                <a:gd name="connsiteY255" fmla="*/ 7712 h 10000"/>
                <a:gd name="connsiteX256" fmla="*/ 7532 w 10004"/>
                <a:gd name="connsiteY256" fmla="*/ 7767 h 10000"/>
                <a:gd name="connsiteX257" fmla="*/ 7419 w 10004"/>
                <a:gd name="connsiteY257" fmla="*/ 7717 h 10000"/>
                <a:gd name="connsiteX258" fmla="*/ 7333 w 10004"/>
                <a:gd name="connsiteY258" fmla="*/ 7794 h 10000"/>
                <a:gd name="connsiteX259" fmla="*/ 7240 w 10004"/>
                <a:gd name="connsiteY259" fmla="*/ 7728 h 10000"/>
                <a:gd name="connsiteX260" fmla="*/ 7087 w 10004"/>
                <a:gd name="connsiteY260" fmla="*/ 7717 h 10000"/>
                <a:gd name="connsiteX261" fmla="*/ 7090 w 10004"/>
                <a:gd name="connsiteY261" fmla="*/ 7547 h 10000"/>
                <a:gd name="connsiteX262" fmla="*/ 7229 w 10004"/>
                <a:gd name="connsiteY262" fmla="*/ 7662 h 10000"/>
                <a:gd name="connsiteX263" fmla="*/ 7273 w 10004"/>
                <a:gd name="connsiteY263" fmla="*/ 7541 h 10000"/>
                <a:gd name="connsiteX264" fmla="*/ 7236 w 10004"/>
                <a:gd name="connsiteY264" fmla="*/ 7410 h 10000"/>
                <a:gd name="connsiteX265" fmla="*/ 7341 w 10004"/>
                <a:gd name="connsiteY265" fmla="*/ 7547 h 10000"/>
                <a:gd name="connsiteX266" fmla="*/ 7483 w 10004"/>
                <a:gd name="connsiteY266" fmla="*/ 7536 h 10000"/>
                <a:gd name="connsiteX267" fmla="*/ 7506 w 10004"/>
                <a:gd name="connsiteY267" fmla="*/ 7685 h 10000"/>
                <a:gd name="connsiteX268" fmla="*/ 7547 w 10004"/>
                <a:gd name="connsiteY268" fmla="*/ 7685 h 10000"/>
                <a:gd name="connsiteX269" fmla="*/ 7558 w 10004"/>
                <a:gd name="connsiteY269" fmla="*/ 7415 h 10000"/>
                <a:gd name="connsiteX270" fmla="*/ 7607 w 10004"/>
                <a:gd name="connsiteY270" fmla="*/ 7585 h 10000"/>
                <a:gd name="connsiteX271" fmla="*/ 7693 w 10004"/>
                <a:gd name="connsiteY271" fmla="*/ 7590 h 10000"/>
                <a:gd name="connsiteX272" fmla="*/ 7629 w 10004"/>
                <a:gd name="connsiteY272" fmla="*/ 7333 h 10000"/>
                <a:gd name="connsiteX273" fmla="*/ 7786 w 10004"/>
                <a:gd name="connsiteY273" fmla="*/ 7240 h 10000"/>
                <a:gd name="connsiteX274" fmla="*/ 7779 w 10004"/>
                <a:gd name="connsiteY274" fmla="*/ 6987 h 10000"/>
                <a:gd name="connsiteX275" fmla="*/ 7887 w 10004"/>
                <a:gd name="connsiteY275" fmla="*/ 7081 h 10000"/>
                <a:gd name="connsiteX276" fmla="*/ 7906 w 10004"/>
                <a:gd name="connsiteY276" fmla="*/ 7015 h 10000"/>
                <a:gd name="connsiteX277" fmla="*/ 7775 w 10004"/>
                <a:gd name="connsiteY277" fmla="*/ 6735 h 10000"/>
                <a:gd name="connsiteX278" fmla="*/ 7950 w 10004"/>
                <a:gd name="connsiteY278" fmla="*/ 6894 h 10000"/>
                <a:gd name="connsiteX279" fmla="*/ 8171 w 10004"/>
                <a:gd name="connsiteY279" fmla="*/ 6511 h 10000"/>
                <a:gd name="connsiteX280" fmla="*/ 8384 w 10004"/>
                <a:gd name="connsiteY280" fmla="*/ 6483 h 10000"/>
                <a:gd name="connsiteX281" fmla="*/ 8429 w 10004"/>
                <a:gd name="connsiteY281" fmla="*/ 6363 h 10000"/>
                <a:gd name="connsiteX0" fmla="*/ 8429 w 9775"/>
                <a:gd name="connsiteY0" fmla="*/ 6363 h 10000"/>
                <a:gd name="connsiteX1" fmla="*/ 9266 w 9775"/>
                <a:gd name="connsiteY1" fmla="*/ 5079 h 10000"/>
                <a:gd name="connsiteX2" fmla="*/ 9307 w 9775"/>
                <a:gd name="connsiteY2" fmla="*/ 4640 h 10000"/>
                <a:gd name="connsiteX3" fmla="*/ 9468 w 9775"/>
                <a:gd name="connsiteY3" fmla="*/ 4465 h 10000"/>
                <a:gd name="connsiteX4" fmla="*/ 9544 w 9775"/>
                <a:gd name="connsiteY4" fmla="*/ 4239 h 10000"/>
                <a:gd name="connsiteX5" fmla="*/ 9775 w 9775"/>
                <a:gd name="connsiteY5" fmla="*/ 2259 h 10000"/>
                <a:gd name="connsiteX6" fmla="*/ 9656 w 9775"/>
                <a:gd name="connsiteY6" fmla="*/ 2024 h 10000"/>
                <a:gd name="connsiteX7" fmla="*/ 9663 w 9775"/>
                <a:gd name="connsiteY7" fmla="*/ 1810 h 10000"/>
                <a:gd name="connsiteX8" fmla="*/ 9143 w 9775"/>
                <a:gd name="connsiteY8" fmla="*/ 1838 h 10000"/>
                <a:gd name="connsiteX9" fmla="*/ 9091 w 9775"/>
                <a:gd name="connsiteY9" fmla="*/ 1712 h 10000"/>
                <a:gd name="connsiteX10" fmla="*/ 9020 w 9775"/>
                <a:gd name="connsiteY10" fmla="*/ 1728 h 10000"/>
                <a:gd name="connsiteX11" fmla="*/ 7569 w 9775"/>
                <a:gd name="connsiteY11" fmla="*/ 1873 h 10000"/>
                <a:gd name="connsiteX12" fmla="*/ 7165 w 9775"/>
                <a:gd name="connsiteY12" fmla="*/ 1996 h 10000"/>
                <a:gd name="connsiteX13" fmla="*/ 6892 w 9775"/>
                <a:gd name="connsiteY13" fmla="*/ 1827 h 10000"/>
                <a:gd name="connsiteX14" fmla="*/ 6922 w 9775"/>
                <a:gd name="connsiteY14" fmla="*/ 1728 h 10000"/>
                <a:gd name="connsiteX15" fmla="*/ 6765 w 9775"/>
                <a:gd name="connsiteY15" fmla="*/ 1398 h 10000"/>
                <a:gd name="connsiteX16" fmla="*/ 6799 w 9775"/>
                <a:gd name="connsiteY16" fmla="*/ 1256 h 10000"/>
                <a:gd name="connsiteX17" fmla="*/ 6728 w 9775"/>
                <a:gd name="connsiteY17" fmla="*/ 1229 h 10000"/>
                <a:gd name="connsiteX18" fmla="*/ 6657 w 9775"/>
                <a:gd name="connsiteY18" fmla="*/ 1311 h 10000"/>
                <a:gd name="connsiteX19" fmla="*/ 6593 w 9775"/>
                <a:gd name="connsiteY19" fmla="*/ 1114 h 10000"/>
                <a:gd name="connsiteX20" fmla="*/ 6391 w 9775"/>
                <a:gd name="connsiteY20" fmla="*/ 1311 h 10000"/>
                <a:gd name="connsiteX21" fmla="*/ 6309 w 9775"/>
                <a:gd name="connsiteY21" fmla="*/ 1223 h 10000"/>
                <a:gd name="connsiteX22" fmla="*/ 6126 w 9775"/>
                <a:gd name="connsiteY22" fmla="*/ 1273 h 10000"/>
                <a:gd name="connsiteX23" fmla="*/ 6144 w 9775"/>
                <a:gd name="connsiteY23" fmla="*/ 1125 h 10000"/>
                <a:gd name="connsiteX24" fmla="*/ 6073 w 9775"/>
                <a:gd name="connsiteY24" fmla="*/ 1119 h 10000"/>
                <a:gd name="connsiteX25" fmla="*/ 6040 w 9775"/>
                <a:gd name="connsiteY25" fmla="*/ 910 h 10000"/>
                <a:gd name="connsiteX26" fmla="*/ 5942 w 9775"/>
                <a:gd name="connsiteY26" fmla="*/ 795 h 10000"/>
                <a:gd name="connsiteX27" fmla="*/ 6144 w 9775"/>
                <a:gd name="connsiteY27" fmla="*/ 620 h 10000"/>
                <a:gd name="connsiteX28" fmla="*/ 5901 w 9775"/>
                <a:gd name="connsiteY28" fmla="*/ 395 h 10000"/>
                <a:gd name="connsiteX29" fmla="*/ 5853 w 9775"/>
                <a:gd name="connsiteY29" fmla="*/ 142 h 10000"/>
                <a:gd name="connsiteX30" fmla="*/ 5741 w 9775"/>
                <a:gd name="connsiteY30" fmla="*/ 110 h 10000"/>
                <a:gd name="connsiteX31" fmla="*/ 5647 w 9775"/>
                <a:gd name="connsiteY31" fmla="*/ 0 h 10000"/>
                <a:gd name="connsiteX32" fmla="*/ 5547 w 9775"/>
                <a:gd name="connsiteY32" fmla="*/ 120 h 10000"/>
                <a:gd name="connsiteX33" fmla="*/ 5377 w 9775"/>
                <a:gd name="connsiteY33" fmla="*/ 110 h 10000"/>
                <a:gd name="connsiteX34" fmla="*/ 5232 w 9775"/>
                <a:gd name="connsiteY34" fmla="*/ 351 h 10000"/>
                <a:gd name="connsiteX35" fmla="*/ 4952 w 9775"/>
                <a:gd name="connsiteY35" fmla="*/ 329 h 10000"/>
                <a:gd name="connsiteX36" fmla="*/ 4884 w 9775"/>
                <a:gd name="connsiteY36" fmla="*/ 680 h 10000"/>
                <a:gd name="connsiteX37" fmla="*/ 4701 w 9775"/>
                <a:gd name="connsiteY37" fmla="*/ 707 h 10000"/>
                <a:gd name="connsiteX38" fmla="*/ 4795 w 9775"/>
                <a:gd name="connsiteY38" fmla="*/ 844 h 10000"/>
                <a:gd name="connsiteX39" fmla="*/ 4739 w 9775"/>
                <a:gd name="connsiteY39" fmla="*/ 899 h 10000"/>
                <a:gd name="connsiteX40" fmla="*/ 4612 w 9775"/>
                <a:gd name="connsiteY40" fmla="*/ 894 h 10000"/>
                <a:gd name="connsiteX41" fmla="*/ 4439 w 9775"/>
                <a:gd name="connsiteY41" fmla="*/ 1026 h 10000"/>
                <a:gd name="connsiteX42" fmla="*/ 4252 w 9775"/>
                <a:gd name="connsiteY42" fmla="*/ 1668 h 10000"/>
                <a:gd name="connsiteX43" fmla="*/ 4308 w 9775"/>
                <a:gd name="connsiteY43" fmla="*/ 2090 h 10000"/>
                <a:gd name="connsiteX44" fmla="*/ 4121 w 9775"/>
                <a:gd name="connsiteY44" fmla="*/ 1865 h 10000"/>
                <a:gd name="connsiteX45" fmla="*/ 3849 w 9775"/>
                <a:gd name="connsiteY45" fmla="*/ 1991 h 10000"/>
                <a:gd name="connsiteX46" fmla="*/ 3822 w 9775"/>
                <a:gd name="connsiteY46" fmla="*/ 1931 h 10000"/>
                <a:gd name="connsiteX47" fmla="*/ 3695 w 9775"/>
                <a:gd name="connsiteY47" fmla="*/ 2002 h 10000"/>
                <a:gd name="connsiteX48" fmla="*/ 3621 w 9775"/>
                <a:gd name="connsiteY48" fmla="*/ 2144 h 10000"/>
                <a:gd name="connsiteX49" fmla="*/ 3561 w 9775"/>
                <a:gd name="connsiteY49" fmla="*/ 1909 h 10000"/>
                <a:gd name="connsiteX50" fmla="*/ 3478 w 9775"/>
                <a:gd name="connsiteY50" fmla="*/ 1843 h 10000"/>
                <a:gd name="connsiteX51" fmla="*/ 3444 w 9775"/>
                <a:gd name="connsiteY51" fmla="*/ 1964 h 10000"/>
                <a:gd name="connsiteX52" fmla="*/ 3332 w 9775"/>
                <a:gd name="connsiteY52" fmla="*/ 1996 h 10000"/>
                <a:gd name="connsiteX53" fmla="*/ 3272 w 9775"/>
                <a:gd name="connsiteY53" fmla="*/ 2161 h 10000"/>
                <a:gd name="connsiteX54" fmla="*/ 3235 w 9775"/>
                <a:gd name="connsiteY54" fmla="*/ 2013 h 10000"/>
                <a:gd name="connsiteX55" fmla="*/ 3123 w 9775"/>
                <a:gd name="connsiteY55" fmla="*/ 2024 h 10000"/>
                <a:gd name="connsiteX56" fmla="*/ 3078 w 9775"/>
                <a:gd name="connsiteY56" fmla="*/ 2128 h 10000"/>
                <a:gd name="connsiteX57" fmla="*/ 3011 w 9775"/>
                <a:gd name="connsiteY57" fmla="*/ 1975 h 10000"/>
                <a:gd name="connsiteX58" fmla="*/ 2895 w 9775"/>
                <a:gd name="connsiteY58" fmla="*/ 2117 h 10000"/>
                <a:gd name="connsiteX59" fmla="*/ 2783 w 9775"/>
                <a:gd name="connsiteY59" fmla="*/ 2106 h 10000"/>
                <a:gd name="connsiteX60" fmla="*/ 2779 w 9775"/>
                <a:gd name="connsiteY60" fmla="*/ 2276 h 10000"/>
                <a:gd name="connsiteX61" fmla="*/ 2727 w 9775"/>
                <a:gd name="connsiteY61" fmla="*/ 2144 h 10000"/>
                <a:gd name="connsiteX62" fmla="*/ 2559 w 9775"/>
                <a:gd name="connsiteY62" fmla="*/ 2155 h 10000"/>
                <a:gd name="connsiteX63" fmla="*/ 2438 w 9775"/>
                <a:gd name="connsiteY63" fmla="*/ 1980 h 10000"/>
                <a:gd name="connsiteX64" fmla="*/ 2293 w 9775"/>
                <a:gd name="connsiteY64" fmla="*/ 2073 h 10000"/>
                <a:gd name="connsiteX65" fmla="*/ 2143 w 9775"/>
                <a:gd name="connsiteY65" fmla="*/ 1958 h 10000"/>
                <a:gd name="connsiteX66" fmla="*/ 2057 w 9775"/>
                <a:gd name="connsiteY66" fmla="*/ 2035 h 10000"/>
                <a:gd name="connsiteX67" fmla="*/ 1975 w 9775"/>
                <a:gd name="connsiteY67" fmla="*/ 1947 h 10000"/>
                <a:gd name="connsiteX68" fmla="*/ 1852 w 9775"/>
                <a:gd name="connsiteY68" fmla="*/ 1936 h 10000"/>
                <a:gd name="connsiteX69" fmla="*/ 1669 w 9775"/>
                <a:gd name="connsiteY69" fmla="*/ 1925 h 10000"/>
                <a:gd name="connsiteX70" fmla="*/ 1444 w 9775"/>
                <a:gd name="connsiteY70" fmla="*/ 1991 h 10000"/>
                <a:gd name="connsiteX71" fmla="*/ 1205 w 9775"/>
                <a:gd name="connsiteY71" fmla="*/ 2062 h 10000"/>
                <a:gd name="connsiteX72" fmla="*/ 921 w 9775"/>
                <a:gd name="connsiteY72" fmla="*/ 2166 h 10000"/>
                <a:gd name="connsiteX73" fmla="*/ 797 w 9775"/>
                <a:gd name="connsiteY73" fmla="*/ 2496 h 10000"/>
                <a:gd name="connsiteX74" fmla="*/ 603 w 9775"/>
                <a:gd name="connsiteY74" fmla="*/ 2501 h 10000"/>
                <a:gd name="connsiteX75" fmla="*/ 540 w 9775"/>
                <a:gd name="connsiteY75" fmla="*/ 2687 h 10000"/>
                <a:gd name="connsiteX76" fmla="*/ 558 w 9775"/>
                <a:gd name="connsiteY76" fmla="*/ 2764 h 10000"/>
                <a:gd name="connsiteX77" fmla="*/ 577 w 9775"/>
                <a:gd name="connsiteY77" fmla="*/ 2868 h 10000"/>
                <a:gd name="connsiteX78" fmla="*/ 577 w 9775"/>
                <a:gd name="connsiteY78" fmla="*/ 2868 h 10000"/>
                <a:gd name="connsiteX79" fmla="*/ 577 w 9775"/>
                <a:gd name="connsiteY79" fmla="*/ 2896 h 10000"/>
                <a:gd name="connsiteX80" fmla="*/ 682 w 9775"/>
                <a:gd name="connsiteY80" fmla="*/ 3116 h 10000"/>
                <a:gd name="connsiteX81" fmla="*/ 786 w 9775"/>
                <a:gd name="connsiteY81" fmla="*/ 3351 h 10000"/>
                <a:gd name="connsiteX82" fmla="*/ 921 w 9775"/>
                <a:gd name="connsiteY82" fmla="*/ 3488 h 10000"/>
                <a:gd name="connsiteX83" fmla="*/ 876 w 9775"/>
                <a:gd name="connsiteY83" fmla="*/ 3548 h 10000"/>
                <a:gd name="connsiteX84" fmla="*/ 805 w 9775"/>
                <a:gd name="connsiteY84" fmla="*/ 3603 h 10000"/>
                <a:gd name="connsiteX85" fmla="*/ 887 w 9775"/>
                <a:gd name="connsiteY85" fmla="*/ 3697 h 10000"/>
                <a:gd name="connsiteX86" fmla="*/ 876 w 9775"/>
                <a:gd name="connsiteY86" fmla="*/ 4053 h 10000"/>
                <a:gd name="connsiteX87" fmla="*/ 693 w 9775"/>
                <a:gd name="connsiteY87" fmla="*/ 4124 h 10000"/>
                <a:gd name="connsiteX88" fmla="*/ 498 w 9775"/>
                <a:gd name="connsiteY88" fmla="*/ 4531 h 10000"/>
                <a:gd name="connsiteX89" fmla="*/ 371 w 9775"/>
                <a:gd name="connsiteY89" fmla="*/ 4936 h 10000"/>
                <a:gd name="connsiteX90" fmla="*/ 195 w 9775"/>
                <a:gd name="connsiteY90" fmla="*/ 5260 h 10000"/>
                <a:gd name="connsiteX91" fmla="*/ 270 w 9775"/>
                <a:gd name="connsiteY91" fmla="*/ 5517 h 10000"/>
                <a:gd name="connsiteX92" fmla="*/ 277 w 9775"/>
                <a:gd name="connsiteY92" fmla="*/ 5732 h 10000"/>
                <a:gd name="connsiteX93" fmla="*/ 400 w 9775"/>
                <a:gd name="connsiteY93" fmla="*/ 5841 h 10000"/>
                <a:gd name="connsiteX94" fmla="*/ 382 w 9775"/>
                <a:gd name="connsiteY94" fmla="*/ 5945 h 10000"/>
                <a:gd name="connsiteX95" fmla="*/ 202 w 9775"/>
                <a:gd name="connsiteY95" fmla="*/ 5852 h 10000"/>
                <a:gd name="connsiteX96" fmla="*/ 124 w 9775"/>
                <a:gd name="connsiteY96" fmla="*/ 6099 h 10000"/>
                <a:gd name="connsiteX97" fmla="*/ 105 w 9775"/>
                <a:gd name="connsiteY97" fmla="*/ 6346 h 10000"/>
                <a:gd name="connsiteX98" fmla="*/ 1 w 9775"/>
                <a:gd name="connsiteY98" fmla="*/ 6571 h 10000"/>
                <a:gd name="connsiteX99" fmla="*/ 19 w 9775"/>
                <a:gd name="connsiteY99" fmla="*/ 6779 h 10000"/>
                <a:gd name="connsiteX100" fmla="*/ 90 w 9775"/>
                <a:gd name="connsiteY100" fmla="*/ 6828 h 10000"/>
                <a:gd name="connsiteX101" fmla="*/ 154 w 9775"/>
                <a:gd name="connsiteY101" fmla="*/ 6960 h 10000"/>
                <a:gd name="connsiteX102" fmla="*/ 240 w 9775"/>
                <a:gd name="connsiteY102" fmla="*/ 6943 h 10000"/>
                <a:gd name="connsiteX103" fmla="*/ 292 w 9775"/>
                <a:gd name="connsiteY103" fmla="*/ 7076 h 10000"/>
                <a:gd name="connsiteX104" fmla="*/ 445 w 9775"/>
                <a:gd name="connsiteY104" fmla="*/ 7103 h 10000"/>
                <a:gd name="connsiteX105" fmla="*/ 453 w 9775"/>
                <a:gd name="connsiteY105" fmla="*/ 7251 h 10000"/>
                <a:gd name="connsiteX106" fmla="*/ 494 w 9775"/>
                <a:gd name="connsiteY106" fmla="*/ 7278 h 10000"/>
                <a:gd name="connsiteX107" fmla="*/ 525 w 9775"/>
                <a:gd name="connsiteY107" fmla="*/ 7174 h 10000"/>
                <a:gd name="connsiteX108" fmla="*/ 581 w 9775"/>
                <a:gd name="connsiteY108" fmla="*/ 7196 h 10000"/>
                <a:gd name="connsiteX109" fmla="*/ 644 w 9775"/>
                <a:gd name="connsiteY109" fmla="*/ 6992 h 10000"/>
                <a:gd name="connsiteX110" fmla="*/ 820 w 9775"/>
                <a:gd name="connsiteY110" fmla="*/ 7174 h 10000"/>
                <a:gd name="connsiteX111" fmla="*/ 1283 w 9775"/>
                <a:gd name="connsiteY111" fmla="*/ 7163 h 10000"/>
                <a:gd name="connsiteX112" fmla="*/ 1466 w 9775"/>
                <a:gd name="connsiteY112" fmla="*/ 7092 h 10000"/>
                <a:gd name="connsiteX113" fmla="*/ 1766 w 9775"/>
                <a:gd name="connsiteY113" fmla="*/ 7344 h 10000"/>
                <a:gd name="connsiteX114" fmla="*/ 1956 w 9775"/>
                <a:gd name="connsiteY114" fmla="*/ 7087 h 10000"/>
                <a:gd name="connsiteX115" fmla="*/ 2382 w 9775"/>
                <a:gd name="connsiteY115" fmla="*/ 6861 h 10000"/>
                <a:gd name="connsiteX116" fmla="*/ 2536 w 9775"/>
                <a:gd name="connsiteY116" fmla="*/ 6489 h 10000"/>
                <a:gd name="connsiteX117" fmla="*/ 2648 w 9775"/>
                <a:gd name="connsiteY117" fmla="*/ 6439 h 10000"/>
                <a:gd name="connsiteX118" fmla="*/ 2648 w 9775"/>
                <a:gd name="connsiteY118" fmla="*/ 6379 h 10000"/>
                <a:gd name="connsiteX119" fmla="*/ 2693 w 9775"/>
                <a:gd name="connsiteY119" fmla="*/ 6379 h 10000"/>
                <a:gd name="connsiteX120" fmla="*/ 2682 w 9775"/>
                <a:gd name="connsiteY120" fmla="*/ 6230 h 10000"/>
                <a:gd name="connsiteX121" fmla="*/ 2820 w 9775"/>
                <a:gd name="connsiteY121" fmla="*/ 6285 h 10000"/>
                <a:gd name="connsiteX122" fmla="*/ 2839 w 9775"/>
                <a:gd name="connsiteY122" fmla="*/ 6159 h 10000"/>
                <a:gd name="connsiteX123" fmla="*/ 2921 w 9775"/>
                <a:gd name="connsiteY123" fmla="*/ 6230 h 10000"/>
                <a:gd name="connsiteX124" fmla="*/ 2981 w 9775"/>
                <a:gd name="connsiteY124" fmla="*/ 6126 h 10000"/>
                <a:gd name="connsiteX125" fmla="*/ 3078 w 9775"/>
                <a:gd name="connsiteY125" fmla="*/ 6154 h 10000"/>
                <a:gd name="connsiteX126" fmla="*/ 3164 w 9775"/>
                <a:gd name="connsiteY126" fmla="*/ 6055 h 10000"/>
                <a:gd name="connsiteX127" fmla="*/ 3328 w 9775"/>
                <a:gd name="connsiteY127" fmla="*/ 6192 h 10000"/>
                <a:gd name="connsiteX128" fmla="*/ 3411 w 9775"/>
                <a:gd name="connsiteY128" fmla="*/ 6197 h 10000"/>
                <a:gd name="connsiteX129" fmla="*/ 3437 w 9775"/>
                <a:gd name="connsiteY129" fmla="*/ 6307 h 10000"/>
                <a:gd name="connsiteX130" fmla="*/ 3591 w 9775"/>
                <a:gd name="connsiteY130" fmla="*/ 6236 h 10000"/>
                <a:gd name="connsiteX131" fmla="*/ 3576 w 9775"/>
                <a:gd name="connsiteY131" fmla="*/ 6357 h 10000"/>
                <a:gd name="connsiteX132" fmla="*/ 3632 w 9775"/>
                <a:gd name="connsiteY132" fmla="*/ 6341 h 10000"/>
                <a:gd name="connsiteX133" fmla="*/ 3699 w 9775"/>
                <a:gd name="connsiteY133" fmla="*/ 6428 h 10000"/>
                <a:gd name="connsiteX134" fmla="*/ 3703 w 9775"/>
                <a:gd name="connsiteY134" fmla="*/ 6301 h 10000"/>
                <a:gd name="connsiteX135" fmla="*/ 3882 w 9775"/>
                <a:gd name="connsiteY135" fmla="*/ 6341 h 10000"/>
                <a:gd name="connsiteX136" fmla="*/ 3946 w 9775"/>
                <a:gd name="connsiteY136" fmla="*/ 6511 h 10000"/>
                <a:gd name="connsiteX137" fmla="*/ 4047 w 9775"/>
                <a:gd name="connsiteY137" fmla="*/ 6494 h 10000"/>
                <a:gd name="connsiteX138" fmla="*/ 4091 w 9775"/>
                <a:gd name="connsiteY138" fmla="*/ 6417 h 10000"/>
                <a:gd name="connsiteX139" fmla="*/ 4192 w 9775"/>
                <a:gd name="connsiteY139" fmla="*/ 6735 h 10000"/>
                <a:gd name="connsiteX140" fmla="*/ 4155 w 9775"/>
                <a:gd name="connsiteY140" fmla="*/ 6987 h 10000"/>
                <a:gd name="connsiteX141" fmla="*/ 4207 w 9775"/>
                <a:gd name="connsiteY141" fmla="*/ 7114 h 10000"/>
                <a:gd name="connsiteX142" fmla="*/ 4278 w 9775"/>
                <a:gd name="connsiteY142" fmla="*/ 7119 h 10000"/>
                <a:gd name="connsiteX143" fmla="*/ 4387 w 9775"/>
                <a:gd name="connsiteY143" fmla="*/ 7256 h 10000"/>
                <a:gd name="connsiteX144" fmla="*/ 4431 w 9775"/>
                <a:gd name="connsiteY144" fmla="*/ 7152 h 10000"/>
                <a:gd name="connsiteX145" fmla="*/ 4480 w 9775"/>
                <a:gd name="connsiteY145" fmla="*/ 7322 h 10000"/>
                <a:gd name="connsiteX146" fmla="*/ 4541 w 9775"/>
                <a:gd name="connsiteY146" fmla="*/ 7662 h 10000"/>
                <a:gd name="connsiteX147" fmla="*/ 4720 w 9775"/>
                <a:gd name="connsiteY147" fmla="*/ 7739 h 10000"/>
                <a:gd name="connsiteX148" fmla="*/ 4761 w 9775"/>
                <a:gd name="connsiteY148" fmla="*/ 8183 h 10000"/>
                <a:gd name="connsiteX149" fmla="*/ 4914 w 9775"/>
                <a:gd name="connsiteY149" fmla="*/ 8276 h 10000"/>
                <a:gd name="connsiteX150" fmla="*/ 4757 w 9775"/>
                <a:gd name="connsiteY150" fmla="*/ 8370 h 10000"/>
                <a:gd name="connsiteX151" fmla="*/ 4705 w 9775"/>
                <a:gd name="connsiteY151" fmla="*/ 8260 h 10000"/>
                <a:gd name="connsiteX152" fmla="*/ 4645 w 9775"/>
                <a:gd name="connsiteY152" fmla="*/ 8403 h 10000"/>
                <a:gd name="connsiteX153" fmla="*/ 4491 w 9775"/>
                <a:gd name="connsiteY153" fmla="*/ 8287 h 10000"/>
                <a:gd name="connsiteX154" fmla="*/ 4405 w 9775"/>
                <a:gd name="connsiteY154" fmla="*/ 8452 h 10000"/>
                <a:gd name="connsiteX155" fmla="*/ 4226 w 9775"/>
                <a:gd name="connsiteY155" fmla="*/ 8331 h 10000"/>
                <a:gd name="connsiteX156" fmla="*/ 4312 w 9775"/>
                <a:gd name="connsiteY156" fmla="*/ 8699 h 10000"/>
                <a:gd name="connsiteX157" fmla="*/ 4304 w 9775"/>
                <a:gd name="connsiteY157" fmla="*/ 8967 h 10000"/>
                <a:gd name="connsiteX158" fmla="*/ 4189 w 9775"/>
                <a:gd name="connsiteY158" fmla="*/ 9088 h 10000"/>
                <a:gd name="connsiteX159" fmla="*/ 4226 w 9775"/>
                <a:gd name="connsiteY159" fmla="*/ 9193 h 10000"/>
                <a:gd name="connsiteX160" fmla="*/ 4065 w 9775"/>
                <a:gd name="connsiteY160" fmla="*/ 9412 h 10000"/>
                <a:gd name="connsiteX161" fmla="*/ 4129 w 9775"/>
                <a:gd name="connsiteY161" fmla="*/ 9647 h 10000"/>
                <a:gd name="connsiteX162" fmla="*/ 3972 w 9775"/>
                <a:gd name="connsiteY162" fmla="*/ 9681 h 10000"/>
                <a:gd name="connsiteX163" fmla="*/ 3931 w 9775"/>
                <a:gd name="connsiteY163" fmla="*/ 9741 h 10000"/>
                <a:gd name="connsiteX164" fmla="*/ 3998 w 9775"/>
                <a:gd name="connsiteY164" fmla="*/ 9785 h 10000"/>
                <a:gd name="connsiteX165" fmla="*/ 4118 w 9775"/>
                <a:gd name="connsiteY165" fmla="*/ 9944 h 10000"/>
                <a:gd name="connsiteX166" fmla="*/ 4312 w 9775"/>
                <a:gd name="connsiteY166" fmla="*/ 9999 h 10000"/>
                <a:gd name="connsiteX167" fmla="*/ 4319 w 9775"/>
                <a:gd name="connsiteY167" fmla="*/ 9851 h 10000"/>
                <a:gd name="connsiteX168" fmla="*/ 4387 w 9775"/>
                <a:gd name="connsiteY168" fmla="*/ 9856 h 10000"/>
                <a:gd name="connsiteX169" fmla="*/ 4675 w 9775"/>
                <a:gd name="connsiteY169" fmla="*/ 9603 h 10000"/>
                <a:gd name="connsiteX170" fmla="*/ 4866 w 9775"/>
                <a:gd name="connsiteY170" fmla="*/ 9845 h 10000"/>
                <a:gd name="connsiteX171" fmla="*/ 4866 w 9775"/>
                <a:gd name="connsiteY171" fmla="*/ 9862 h 10000"/>
                <a:gd name="connsiteX172" fmla="*/ 4896 w 9775"/>
                <a:gd name="connsiteY172" fmla="*/ 9703 h 10000"/>
                <a:gd name="connsiteX173" fmla="*/ 4843 w 9775"/>
                <a:gd name="connsiteY173" fmla="*/ 9570 h 10000"/>
                <a:gd name="connsiteX174" fmla="*/ 4776 w 9775"/>
                <a:gd name="connsiteY174" fmla="*/ 9549 h 10000"/>
                <a:gd name="connsiteX175" fmla="*/ 4821 w 9775"/>
                <a:gd name="connsiteY175" fmla="*/ 9466 h 10000"/>
                <a:gd name="connsiteX176" fmla="*/ 4806 w 9775"/>
                <a:gd name="connsiteY176" fmla="*/ 9444 h 10000"/>
                <a:gd name="connsiteX177" fmla="*/ 4750 w 9775"/>
                <a:gd name="connsiteY177" fmla="*/ 9439 h 10000"/>
                <a:gd name="connsiteX178" fmla="*/ 4720 w 9775"/>
                <a:gd name="connsiteY178" fmla="*/ 9121 h 10000"/>
                <a:gd name="connsiteX179" fmla="*/ 4761 w 9775"/>
                <a:gd name="connsiteY179" fmla="*/ 9105 h 10000"/>
                <a:gd name="connsiteX180" fmla="*/ 4783 w 9775"/>
                <a:gd name="connsiteY180" fmla="*/ 9253 h 10000"/>
                <a:gd name="connsiteX181" fmla="*/ 4836 w 9775"/>
                <a:gd name="connsiteY181" fmla="*/ 9384 h 10000"/>
                <a:gd name="connsiteX182" fmla="*/ 4881 w 9775"/>
                <a:gd name="connsiteY182" fmla="*/ 9302 h 10000"/>
                <a:gd name="connsiteX183" fmla="*/ 4869 w 9775"/>
                <a:gd name="connsiteY183" fmla="*/ 9220 h 10000"/>
                <a:gd name="connsiteX184" fmla="*/ 4940 w 9775"/>
                <a:gd name="connsiteY184" fmla="*/ 9203 h 10000"/>
                <a:gd name="connsiteX185" fmla="*/ 4903 w 9775"/>
                <a:gd name="connsiteY185" fmla="*/ 9034 h 10000"/>
                <a:gd name="connsiteX186" fmla="*/ 5000 w 9775"/>
                <a:gd name="connsiteY186" fmla="*/ 9061 h 10000"/>
                <a:gd name="connsiteX187" fmla="*/ 5004 w 9775"/>
                <a:gd name="connsiteY187" fmla="*/ 8972 h 10000"/>
                <a:gd name="connsiteX188" fmla="*/ 5041 w 9775"/>
                <a:gd name="connsiteY188" fmla="*/ 9039 h 10000"/>
                <a:gd name="connsiteX189" fmla="*/ 5206 w 9775"/>
                <a:gd name="connsiteY189" fmla="*/ 8781 h 10000"/>
                <a:gd name="connsiteX190" fmla="*/ 5112 w 9775"/>
                <a:gd name="connsiteY190" fmla="*/ 8584 h 10000"/>
                <a:gd name="connsiteX191" fmla="*/ 4937 w 9775"/>
                <a:gd name="connsiteY191" fmla="*/ 8425 h 10000"/>
                <a:gd name="connsiteX192" fmla="*/ 5037 w 9775"/>
                <a:gd name="connsiteY192" fmla="*/ 8370 h 10000"/>
                <a:gd name="connsiteX193" fmla="*/ 5183 w 9775"/>
                <a:gd name="connsiteY193" fmla="*/ 8633 h 10000"/>
                <a:gd name="connsiteX194" fmla="*/ 5292 w 9775"/>
                <a:gd name="connsiteY194" fmla="*/ 8199 h 10000"/>
                <a:gd name="connsiteX195" fmla="*/ 5299 w 9775"/>
                <a:gd name="connsiteY195" fmla="*/ 8030 h 10000"/>
                <a:gd name="connsiteX196" fmla="*/ 5482 w 9775"/>
                <a:gd name="connsiteY196" fmla="*/ 7942 h 10000"/>
                <a:gd name="connsiteX197" fmla="*/ 5550 w 9775"/>
                <a:gd name="connsiteY197" fmla="*/ 7607 h 10000"/>
                <a:gd name="connsiteX198" fmla="*/ 5561 w 9775"/>
                <a:gd name="connsiteY198" fmla="*/ 7734 h 10000"/>
                <a:gd name="connsiteX199" fmla="*/ 5677 w 9775"/>
                <a:gd name="connsiteY199" fmla="*/ 7596 h 10000"/>
                <a:gd name="connsiteX200" fmla="*/ 5759 w 9775"/>
                <a:gd name="connsiteY200" fmla="*/ 7579 h 10000"/>
                <a:gd name="connsiteX201" fmla="*/ 5842 w 9775"/>
                <a:gd name="connsiteY201" fmla="*/ 7207 h 10000"/>
                <a:gd name="connsiteX202" fmla="*/ 5916 w 9775"/>
                <a:gd name="connsiteY202" fmla="*/ 7486 h 10000"/>
                <a:gd name="connsiteX203" fmla="*/ 6137 w 9775"/>
                <a:gd name="connsiteY203" fmla="*/ 7563 h 10000"/>
                <a:gd name="connsiteX204" fmla="*/ 5969 w 9775"/>
                <a:gd name="connsiteY204" fmla="*/ 7618 h 10000"/>
                <a:gd name="connsiteX205" fmla="*/ 5954 w 9775"/>
                <a:gd name="connsiteY205" fmla="*/ 7679 h 10000"/>
                <a:gd name="connsiteX206" fmla="*/ 5786 w 9775"/>
                <a:gd name="connsiteY206" fmla="*/ 7690 h 10000"/>
                <a:gd name="connsiteX207" fmla="*/ 5700 w 9775"/>
                <a:gd name="connsiteY207" fmla="*/ 7723 h 10000"/>
                <a:gd name="connsiteX208" fmla="*/ 5767 w 9775"/>
                <a:gd name="connsiteY208" fmla="*/ 7772 h 10000"/>
                <a:gd name="connsiteX209" fmla="*/ 5827 w 9775"/>
                <a:gd name="connsiteY209" fmla="*/ 7756 h 10000"/>
                <a:gd name="connsiteX210" fmla="*/ 5991 w 9775"/>
                <a:gd name="connsiteY210" fmla="*/ 7789 h 10000"/>
                <a:gd name="connsiteX211" fmla="*/ 5804 w 9775"/>
                <a:gd name="connsiteY211" fmla="*/ 7964 h 10000"/>
                <a:gd name="connsiteX212" fmla="*/ 5872 w 9775"/>
                <a:gd name="connsiteY212" fmla="*/ 8008 h 10000"/>
                <a:gd name="connsiteX213" fmla="*/ 6043 w 9775"/>
                <a:gd name="connsiteY213" fmla="*/ 7958 h 10000"/>
                <a:gd name="connsiteX214" fmla="*/ 6275 w 9775"/>
                <a:gd name="connsiteY214" fmla="*/ 8101 h 10000"/>
                <a:gd name="connsiteX215" fmla="*/ 6575 w 9775"/>
                <a:gd name="connsiteY215" fmla="*/ 7909 h 10000"/>
                <a:gd name="connsiteX216" fmla="*/ 6870 w 9775"/>
                <a:gd name="connsiteY216" fmla="*/ 7887 h 10000"/>
                <a:gd name="connsiteX217" fmla="*/ 6915 w 9775"/>
                <a:gd name="connsiteY217" fmla="*/ 7745 h 10000"/>
                <a:gd name="connsiteX218" fmla="*/ 6993 w 9775"/>
                <a:gd name="connsiteY218" fmla="*/ 7958 h 10000"/>
                <a:gd name="connsiteX219" fmla="*/ 7075 w 9775"/>
                <a:gd name="connsiteY219" fmla="*/ 7986 h 10000"/>
                <a:gd name="connsiteX220" fmla="*/ 7045 w 9775"/>
                <a:gd name="connsiteY220" fmla="*/ 8134 h 10000"/>
                <a:gd name="connsiteX221" fmla="*/ 6788 w 9775"/>
                <a:gd name="connsiteY221" fmla="*/ 8281 h 10000"/>
                <a:gd name="connsiteX222" fmla="*/ 6769 w 9775"/>
                <a:gd name="connsiteY222" fmla="*/ 8386 h 10000"/>
                <a:gd name="connsiteX223" fmla="*/ 6627 w 9775"/>
                <a:gd name="connsiteY223" fmla="*/ 8523 h 10000"/>
                <a:gd name="connsiteX224" fmla="*/ 6623 w 9775"/>
                <a:gd name="connsiteY224" fmla="*/ 8649 h 10000"/>
                <a:gd name="connsiteX225" fmla="*/ 6537 w 9775"/>
                <a:gd name="connsiteY225" fmla="*/ 8704 h 10000"/>
                <a:gd name="connsiteX226" fmla="*/ 6428 w 9775"/>
                <a:gd name="connsiteY226" fmla="*/ 8989 h 10000"/>
                <a:gd name="connsiteX227" fmla="*/ 6582 w 9775"/>
                <a:gd name="connsiteY227" fmla="*/ 9001 h 10000"/>
                <a:gd name="connsiteX228" fmla="*/ 6672 w 9775"/>
                <a:gd name="connsiteY228" fmla="*/ 8879 h 10000"/>
                <a:gd name="connsiteX229" fmla="*/ 6769 w 9775"/>
                <a:gd name="connsiteY229" fmla="*/ 8912 h 10000"/>
                <a:gd name="connsiteX230" fmla="*/ 6814 w 9775"/>
                <a:gd name="connsiteY230" fmla="*/ 8786 h 10000"/>
                <a:gd name="connsiteX231" fmla="*/ 6877 w 9775"/>
                <a:gd name="connsiteY231" fmla="*/ 9001 h 10000"/>
                <a:gd name="connsiteX232" fmla="*/ 7060 w 9775"/>
                <a:gd name="connsiteY232" fmla="*/ 8994 h 10000"/>
                <a:gd name="connsiteX233" fmla="*/ 7217 w 9775"/>
                <a:gd name="connsiteY233" fmla="*/ 9362 h 10000"/>
                <a:gd name="connsiteX234" fmla="*/ 7232 w 9775"/>
                <a:gd name="connsiteY234" fmla="*/ 9675 h 10000"/>
                <a:gd name="connsiteX235" fmla="*/ 7176 w 9775"/>
                <a:gd name="connsiteY235" fmla="*/ 9692 h 10000"/>
                <a:gd name="connsiteX236" fmla="*/ 7187 w 9775"/>
                <a:gd name="connsiteY236" fmla="*/ 9780 h 10000"/>
                <a:gd name="connsiteX237" fmla="*/ 7423 w 9775"/>
                <a:gd name="connsiteY237" fmla="*/ 9900 h 10000"/>
                <a:gd name="connsiteX238" fmla="*/ 7741 w 9775"/>
                <a:gd name="connsiteY238" fmla="*/ 9565 h 10000"/>
                <a:gd name="connsiteX239" fmla="*/ 7879 w 9775"/>
                <a:gd name="connsiteY239" fmla="*/ 9176 h 10000"/>
                <a:gd name="connsiteX240" fmla="*/ 8107 w 9775"/>
                <a:gd name="connsiteY240" fmla="*/ 9023 h 10000"/>
                <a:gd name="connsiteX241" fmla="*/ 8182 w 9775"/>
                <a:gd name="connsiteY241" fmla="*/ 8841 h 10000"/>
                <a:gd name="connsiteX242" fmla="*/ 8268 w 9775"/>
                <a:gd name="connsiteY242" fmla="*/ 8786 h 10000"/>
                <a:gd name="connsiteX243" fmla="*/ 8320 w 9775"/>
                <a:gd name="connsiteY243" fmla="*/ 8512 h 10000"/>
                <a:gd name="connsiteX244" fmla="*/ 8542 w 9775"/>
                <a:gd name="connsiteY244" fmla="*/ 8617 h 10000"/>
                <a:gd name="connsiteX245" fmla="*/ 8672 w 9775"/>
                <a:gd name="connsiteY245" fmla="*/ 8474 h 10000"/>
                <a:gd name="connsiteX246" fmla="*/ 8855 w 9775"/>
                <a:gd name="connsiteY246" fmla="*/ 8343 h 10000"/>
                <a:gd name="connsiteX247" fmla="*/ 8781 w 9775"/>
                <a:gd name="connsiteY247" fmla="*/ 8128 h 10000"/>
                <a:gd name="connsiteX248" fmla="*/ 7708 w 9775"/>
                <a:gd name="connsiteY248" fmla="*/ 7991 h 10000"/>
                <a:gd name="connsiteX249" fmla="*/ 7682 w 9775"/>
                <a:gd name="connsiteY249" fmla="*/ 7904 h 10000"/>
                <a:gd name="connsiteX250" fmla="*/ 7607 w 9775"/>
                <a:gd name="connsiteY250" fmla="*/ 8002 h 10000"/>
                <a:gd name="connsiteX251" fmla="*/ 7715 w 9775"/>
                <a:gd name="connsiteY251" fmla="*/ 7761 h 10000"/>
                <a:gd name="connsiteX252" fmla="*/ 7674 w 9775"/>
                <a:gd name="connsiteY252" fmla="*/ 7717 h 10000"/>
                <a:gd name="connsiteX253" fmla="*/ 7554 w 9775"/>
                <a:gd name="connsiteY253" fmla="*/ 7915 h 10000"/>
                <a:gd name="connsiteX254" fmla="*/ 7618 w 9775"/>
                <a:gd name="connsiteY254" fmla="*/ 7712 h 10000"/>
                <a:gd name="connsiteX255" fmla="*/ 7532 w 9775"/>
                <a:gd name="connsiteY255" fmla="*/ 7767 h 10000"/>
                <a:gd name="connsiteX256" fmla="*/ 7419 w 9775"/>
                <a:gd name="connsiteY256" fmla="*/ 7717 h 10000"/>
                <a:gd name="connsiteX257" fmla="*/ 7333 w 9775"/>
                <a:gd name="connsiteY257" fmla="*/ 7794 h 10000"/>
                <a:gd name="connsiteX258" fmla="*/ 7240 w 9775"/>
                <a:gd name="connsiteY258" fmla="*/ 7728 h 10000"/>
                <a:gd name="connsiteX259" fmla="*/ 7087 w 9775"/>
                <a:gd name="connsiteY259" fmla="*/ 7717 h 10000"/>
                <a:gd name="connsiteX260" fmla="*/ 7090 w 9775"/>
                <a:gd name="connsiteY260" fmla="*/ 7547 h 10000"/>
                <a:gd name="connsiteX261" fmla="*/ 7229 w 9775"/>
                <a:gd name="connsiteY261" fmla="*/ 7662 h 10000"/>
                <a:gd name="connsiteX262" fmla="*/ 7273 w 9775"/>
                <a:gd name="connsiteY262" fmla="*/ 7541 h 10000"/>
                <a:gd name="connsiteX263" fmla="*/ 7236 w 9775"/>
                <a:gd name="connsiteY263" fmla="*/ 7410 h 10000"/>
                <a:gd name="connsiteX264" fmla="*/ 7341 w 9775"/>
                <a:gd name="connsiteY264" fmla="*/ 7547 h 10000"/>
                <a:gd name="connsiteX265" fmla="*/ 7483 w 9775"/>
                <a:gd name="connsiteY265" fmla="*/ 7536 h 10000"/>
                <a:gd name="connsiteX266" fmla="*/ 7506 w 9775"/>
                <a:gd name="connsiteY266" fmla="*/ 7685 h 10000"/>
                <a:gd name="connsiteX267" fmla="*/ 7547 w 9775"/>
                <a:gd name="connsiteY267" fmla="*/ 7685 h 10000"/>
                <a:gd name="connsiteX268" fmla="*/ 7558 w 9775"/>
                <a:gd name="connsiteY268" fmla="*/ 7415 h 10000"/>
                <a:gd name="connsiteX269" fmla="*/ 7607 w 9775"/>
                <a:gd name="connsiteY269" fmla="*/ 7585 h 10000"/>
                <a:gd name="connsiteX270" fmla="*/ 7693 w 9775"/>
                <a:gd name="connsiteY270" fmla="*/ 7590 h 10000"/>
                <a:gd name="connsiteX271" fmla="*/ 7629 w 9775"/>
                <a:gd name="connsiteY271" fmla="*/ 7333 h 10000"/>
                <a:gd name="connsiteX272" fmla="*/ 7786 w 9775"/>
                <a:gd name="connsiteY272" fmla="*/ 7240 h 10000"/>
                <a:gd name="connsiteX273" fmla="*/ 7779 w 9775"/>
                <a:gd name="connsiteY273" fmla="*/ 6987 h 10000"/>
                <a:gd name="connsiteX274" fmla="*/ 7887 w 9775"/>
                <a:gd name="connsiteY274" fmla="*/ 7081 h 10000"/>
                <a:gd name="connsiteX275" fmla="*/ 7906 w 9775"/>
                <a:gd name="connsiteY275" fmla="*/ 7015 h 10000"/>
                <a:gd name="connsiteX276" fmla="*/ 7775 w 9775"/>
                <a:gd name="connsiteY276" fmla="*/ 6735 h 10000"/>
                <a:gd name="connsiteX277" fmla="*/ 7950 w 9775"/>
                <a:gd name="connsiteY277" fmla="*/ 6894 h 10000"/>
                <a:gd name="connsiteX278" fmla="*/ 8171 w 9775"/>
                <a:gd name="connsiteY278" fmla="*/ 6511 h 10000"/>
                <a:gd name="connsiteX279" fmla="*/ 8384 w 9775"/>
                <a:gd name="connsiteY279" fmla="*/ 6483 h 10000"/>
                <a:gd name="connsiteX280" fmla="*/ 8429 w 9775"/>
                <a:gd name="connsiteY280" fmla="*/ 6363 h 10000"/>
                <a:gd name="connsiteX0" fmla="*/ 8623 w 10000"/>
                <a:gd name="connsiteY0" fmla="*/ 6363 h 10000"/>
                <a:gd name="connsiteX1" fmla="*/ 9479 w 10000"/>
                <a:gd name="connsiteY1" fmla="*/ 5079 h 10000"/>
                <a:gd name="connsiteX2" fmla="*/ 9521 w 10000"/>
                <a:gd name="connsiteY2" fmla="*/ 4640 h 10000"/>
                <a:gd name="connsiteX3" fmla="*/ 9686 w 10000"/>
                <a:gd name="connsiteY3" fmla="*/ 4465 h 10000"/>
                <a:gd name="connsiteX4" fmla="*/ 10000 w 10000"/>
                <a:gd name="connsiteY4" fmla="*/ 2259 h 10000"/>
                <a:gd name="connsiteX5" fmla="*/ 9878 w 10000"/>
                <a:gd name="connsiteY5" fmla="*/ 2024 h 10000"/>
                <a:gd name="connsiteX6" fmla="*/ 9885 w 10000"/>
                <a:gd name="connsiteY6" fmla="*/ 1810 h 10000"/>
                <a:gd name="connsiteX7" fmla="*/ 9353 w 10000"/>
                <a:gd name="connsiteY7" fmla="*/ 1838 h 10000"/>
                <a:gd name="connsiteX8" fmla="*/ 9300 w 10000"/>
                <a:gd name="connsiteY8" fmla="*/ 1712 h 10000"/>
                <a:gd name="connsiteX9" fmla="*/ 9228 w 10000"/>
                <a:gd name="connsiteY9" fmla="*/ 1728 h 10000"/>
                <a:gd name="connsiteX10" fmla="*/ 7743 w 10000"/>
                <a:gd name="connsiteY10" fmla="*/ 1873 h 10000"/>
                <a:gd name="connsiteX11" fmla="*/ 7330 w 10000"/>
                <a:gd name="connsiteY11" fmla="*/ 1996 h 10000"/>
                <a:gd name="connsiteX12" fmla="*/ 7051 w 10000"/>
                <a:gd name="connsiteY12" fmla="*/ 1827 h 10000"/>
                <a:gd name="connsiteX13" fmla="*/ 7081 w 10000"/>
                <a:gd name="connsiteY13" fmla="*/ 1728 h 10000"/>
                <a:gd name="connsiteX14" fmla="*/ 6921 w 10000"/>
                <a:gd name="connsiteY14" fmla="*/ 1398 h 10000"/>
                <a:gd name="connsiteX15" fmla="*/ 6955 w 10000"/>
                <a:gd name="connsiteY15" fmla="*/ 1256 h 10000"/>
                <a:gd name="connsiteX16" fmla="*/ 6883 w 10000"/>
                <a:gd name="connsiteY16" fmla="*/ 1229 h 10000"/>
                <a:gd name="connsiteX17" fmla="*/ 6810 w 10000"/>
                <a:gd name="connsiteY17" fmla="*/ 1311 h 10000"/>
                <a:gd name="connsiteX18" fmla="*/ 6745 w 10000"/>
                <a:gd name="connsiteY18" fmla="*/ 1114 h 10000"/>
                <a:gd name="connsiteX19" fmla="*/ 6538 w 10000"/>
                <a:gd name="connsiteY19" fmla="*/ 1311 h 10000"/>
                <a:gd name="connsiteX20" fmla="*/ 6454 w 10000"/>
                <a:gd name="connsiteY20" fmla="*/ 1223 h 10000"/>
                <a:gd name="connsiteX21" fmla="*/ 6267 w 10000"/>
                <a:gd name="connsiteY21" fmla="*/ 1273 h 10000"/>
                <a:gd name="connsiteX22" fmla="*/ 6285 w 10000"/>
                <a:gd name="connsiteY22" fmla="*/ 1125 h 10000"/>
                <a:gd name="connsiteX23" fmla="*/ 6213 w 10000"/>
                <a:gd name="connsiteY23" fmla="*/ 1119 h 10000"/>
                <a:gd name="connsiteX24" fmla="*/ 6179 w 10000"/>
                <a:gd name="connsiteY24" fmla="*/ 910 h 10000"/>
                <a:gd name="connsiteX25" fmla="*/ 6079 w 10000"/>
                <a:gd name="connsiteY25" fmla="*/ 795 h 10000"/>
                <a:gd name="connsiteX26" fmla="*/ 6285 w 10000"/>
                <a:gd name="connsiteY26" fmla="*/ 620 h 10000"/>
                <a:gd name="connsiteX27" fmla="*/ 6037 w 10000"/>
                <a:gd name="connsiteY27" fmla="*/ 395 h 10000"/>
                <a:gd name="connsiteX28" fmla="*/ 5988 w 10000"/>
                <a:gd name="connsiteY28" fmla="*/ 142 h 10000"/>
                <a:gd name="connsiteX29" fmla="*/ 5873 w 10000"/>
                <a:gd name="connsiteY29" fmla="*/ 110 h 10000"/>
                <a:gd name="connsiteX30" fmla="*/ 5777 w 10000"/>
                <a:gd name="connsiteY30" fmla="*/ 0 h 10000"/>
                <a:gd name="connsiteX31" fmla="*/ 5675 w 10000"/>
                <a:gd name="connsiteY31" fmla="*/ 120 h 10000"/>
                <a:gd name="connsiteX32" fmla="*/ 5501 w 10000"/>
                <a:gd name="connsiteY32" fmla="*/ 110 h 10000"/>
                <a:gd name="connsiteX33" fmla="*/ 5352 w 10000"/>
                <a:gd name="connsiteY33" fmla="*/ 351 h 10000"/>
                <a:gd name="connsiteX34" fmla="*/ 5066 w 10000"/>
                <a:gd name="connsiteY34" fmla="*/ 329 h 10000"/>
                <a:gd name="connsiteX35" fmla="*/ 4996 w 10000"/>
                <a:gd name="connsiteY35" fmla="*/ 680 h 10000"/>
                <a:gd name="connsiteX36" fmla="*/ 4809 w 10000"/>
                <a:gd name="connsiteY36" fmla="*/ 707 h 10000"/>
                <a:gd name="connsiteX37" fmla="*/ 4905 w 10000"/>
                <a:gd name="connsiteY37" fmla="*/ 844 h 10000"/>
                <a:gd name="connsiteX38" fmla="*/ 4848 w 10000"/>
                <a:gd name="connsiteY38" fmla="*/ 899 h 10000"/>
                <a:gd name="connsiteX39" fmla="*/ 4718 w 10000"/>
                <a:gd name="connsiteY39" fmla="*/ 894 h 10000"/>
                <a:gd name="connsiteX40" fmla="*/ 4541 w 10000"/>
                <a:gd name="connsiteY40" fmla="*/ 1026 h 10000"/>
                <a:gd name="connsiteX41" fmla="*/ 4350 w 10000"/>
                <a:gd name="connsiteY41" fmla="*/ 1668 h 10000"/>
                <a:gd name="connsiteX42" fmla="*/ 4407 w 10000"/>
                <a:gd name="connsiteY42" fmla="*/ 2090 h 10000"/>
                <a:gd name="connsiteX43" fmla="*/ 4216 w 10000"/>
                <a:gd name="connsiteY43" fmla="*/ 1865 h 10000"/>
                <a:gd name="connsiteX44" fmla="*/ 3938 w 10000"/>
                <a:gd name="connsiteY44" fmla="*/ 1991 h 10000"/>
                <a:gd name="connsiteX45" fmla="*/ 3910 w 10000"/>
                <a:gd name="connsiteY45" fmla="*/ 1931 h 10000"/>
                <a:gd name="connsiteX46" fmla="*/ 3780 w 10000"/>
                <a:gd name="connsiteY46" fmla="*/ 2002 h 10000"/>
                <a:gd name="connsiteX47" fmla="*/ 3704 w 10000"/>
                <a:gd name="connsiteY47" fmla="*/ 2144 h 10000"/>
                <a:gd name="connsiteX48" fmla="*/ 3643 w 10000"/>
                <a:gd name="connsiteY48" fmla="*/ 1909 h 10000"/>
                <a:gd name="connsiteX49" fmla="*/ 3558 w 10000"/>
                <a:gd name="connsiteY49" fmla="*/ 1843 h 10000"/>
                <a:gd name="connsiteX50" fmla="*/ 3523 w 10000"/>
                <a:gd name="connsiteY50" fmla="*/ 1964 h 10000"/>
                <a:gd name="connsiteX51" fmla="*/ 3409 w 10000"/>
                <a:gd name="connsiteY51" fmla="*/ 1996 h 10000"/>
                <a:gd name="connsiteX52" fmla="*/ 3347 w 10000"/>
                <a:gd name="connsiteY52" fmla="*/ 2161 h 10000"/>
                <a:gd name="connsiteX53" fmla="*/ 3309 w 10000"/>
                <a:gd name="connsiteY53" fmla="*/ 2013 h 10000"/>
                <a:gd name="connsiteX54" fmla="*/ 3195 w 10000"/>
                <a:gd name="connsiteY54" fmla="*/ 2024 h 10000"/>
                <a:gd name="connsiteX55" fmla="*/ 3149 w 10000"/>
                <a:gd name="connsiteY55" fmla="*/ 2128 h 10000"/>
                <a:gd name="connsiteX56" fmla="*/ 3080 w 10000"/>
                <a:gd name="connsiteY56" fmla="*/ 1975 h 10000"/>
                <a:gd name="connsiteX57" fmla="*/ 2962 w 10000"/>
                <a:gd name="connsiteY57" fmla="*/ 2117 h 10000"/>
                <a:gd name="connsiteX58" fmla="*/ 2847 w 10000"/>
                <a:gd name="connsiteY58" fmla="*/ 2106 h 10000"/>
                <a:gd name="connsiteX59" fmla="*/ 2843 w 10000"/>
                <a:gd name="connsiteY59" fmla="*/ 2276 h 10000"/>
                <a:gd name="connsiteX60" fmla="*/ 2790 w 10000"/>
                <a:gd name="connsiteY60" fmla="*/ 2144 h 10000"/>
                <a:gd name="connsiteX61" fmla="*/ 2618 w 10000"/>
                <a:gd name="connsiteY61" fmla="*/ 2155 h 10000"/>
                <a:gd name="connsiteX62" fmla="*/ 2494 w 10000"/>
                <a:gd name="connsiteY62" fmla="*/ 1980 h 10000"/>
                <a:gd name="connsiteX63" fmla="*/ 2346 w 10000"/>
                <a:gd name="connsiteY63" fmla="*/ 2073 h 10000"/>
                <a:gd name="connsiteX64" fmla="*/ 2192 w 10000"/>
                <a:gd name="connsiteY64" fmla="*/ 1958 h 10000"/>
                <a:gd name="connsiteX65" fmla="*/ 2104 w 10000"/>
                <a:gd name="connsiteY65" fmla="*/ 2035 h 10000"/>
                <a:gd name="connsiteX66" fmla="*/ 2020 w 10000"/>
                <a:gd name="connsiteY66" fmla="*/ 1947 h 10000"/>
                <a:gd name="connsiteX67" fmla="*/ 1895 w 10000"/>
                <a:gd name="connsiteY67" fmla="*/ 1936 h 10000"/>
                <a:gd name="connsiteX68" fmla="*/ 1707 w 10000"/>
                <a:gd name="connsiteY68" fmla="*/ 1925 h 10000"/>
                <a:gd name="connsiteX69" fmla="*/ 1477 w 10000"/>
                <a:gd name="connsiteY69" fmla="*/ 1991 h 10000"/>
                <a:gd name="connsiteX70" fmla="*/ 1233 w 10000"/>
                <a:gd name="connsiteY70" fmla="*/ 2062 h 10000"/>
                <a:gd name="connsiteX71" fmla="*/ 942 w 10000"/>
                <a:gd name="connsiteY71" fmla="*/ 2166 h 10000"/>
                <a:gd name="connsiteX72" fmla="*/ 815 w 10000"/>
                <a:gd name="connsiteY72" fmla="*/ 2496 h 10000"/>
                <a:gd name="connsiteX73" fmla="*/ 617 w 10000"/>
                <a:gd name="connsiteY73" fmla="*/ 2501 h 10000"/>
                <a:gd name="connsiteX74" fmla="*/ 552 w 10000"/>
                <a:gd name="connsiteY74" fmla="*/ 2687 h 10000"/>
                <a:gd name="connsiteX75" fmla="*/ 571 w 10000"/>
                <a:gd name="connsiteY75" fmla="*/ 2764 h 10000"/>
                <a:gd name="connsiteX76" fmla="*/ 590 w 10000"/>
                <a:gd name="connsiteY76" fmla="*/ 2868 h 10000"/>
                <a:gd name="connsiteX77" fmla="*/ 590 w 10000"/>
                <a:gd name="connsiteY77" fmla="*/ 2868 h 10000"/>
                <a:gd name="connsiteX78" fmla="*/ 590 w 10000"/>
                <a:gd name="connsiteY78" fmla="*/ 2896 h 10000"/>
                <a:gd name="connsiteX79" fmla="*/ 698 w 10000"/>
                <a:gd name="connsiteY79" fmla="*/ 3116 h 10000"/>
                <a:gd name="connsiteX80" fmla="*/ 804 w 10000"/>
                <a:gd name="connsiteY80" fmla="*/ 3351 h 10000"/>
                <a:gd name="connsiteX81" fmla="*/ 942 w 10000"/>
                <a:gd name="connsiteY81" fmla="*/ 3488 h 10000"/>
                <a:gd name="connsiteX82" fmla="*/ 896 w 10000"/>
                <a:gd name="connsiteY82" fmla="*/ 3548 h 10000"/>
                <a:gd name="connsiteX83" fmla="*/ 824 w 10000"/>
                <a:gd name="connsiteY83" fmla="*/ 3603 h 10000"/>
                <a:gd name="connsiteX84" fmla="*/ 907 w 10000"/>
                <a:gd name="connsiteY84" fmla="*/ 3697 h 10000"/>
                <a:gd name="connsiteX85" fmla="*/ 896 w 10000"/>
                <a:gd name="connsiteY85" fmla="*/ 4053 h 10000"/>
                <a:gd name="connsiteX86" fmla="*/ 709 w 10000"/>
                <a:gd name="connsiteY86" fmla="*/ 4124 h 10000"/>
                <a:gd name="connsiteX87" fmla="*/ 509 w 10000"/>
                <a:gd name="connsiteY87" fmla="*/ 4531 h 10000"/>
                <a:gd name="connsiteX88" fmla="*/ 380 w 10000"/>
                <a:gd name="connsiteY88" fmla="*/ 4936 h 10000"/>
                <a:gd name="connsiteX89" fmla="*/ 199 w 10000"/>
                <a:gd name="connsiteY89" fmla="*/ 5260 h 10000"/>
                <a:gd name="connsiteX90" fmla="*/ 276 w 10000"/>
                <a:gd name="connsiteY90" fmla="*/ 5517 h 10000"/>
                <a:gd name="connsiteX91" fmla="*/ 283 w 10000"/>
                <a:gd name="connsiteY91" fmla="*/ 5732 h 10000"/>
                <a:gd name="connsiteX92" fmla="*/ 409 w 10000"/>
                <a:gd name="connsiteY92" fmla="*/ 5841 h 10000"/>
                <a:gd name="connsiteX93" fmla="*/ 391 w 10000"/>
                <a:gd name="connsiteY93" fmla="*/ 5945 h 10000"/>
                <a:gd name="connsiteX94" fmla="*/ 207 w 10000"/>
                <a:gd name="connsiteY94" fmla="*/ 5852 h 10000"/>
                <a:gd name="connsiteX95" fmla="*/ 127 w 10000"/>
                <a:gd name="connsiteY95" fmla="*/ 6099 h 10000"/>
                <a:gd name="connsiteX96" fmla="*/ 107 w 10000"/>
                <a:gd name="connsiteY96" fmla="*/ 6346 h 10000"/>
                <a:gd name="connsiteX97" fmla="*/ 1 w 10000"/>
                <a:gd name="connsiteY97" fmla="*/ 6571 h 10000"/>
                <a:gd name="connsiteX98" fmla="*/ 19 w 10000"/>
                <a:gd name="connsiteY98" fmla="*/ 6779 h 10000"/>
                <a:gd name="connsiteX99" fmla="*/ 92 w 10000"/>
                <a:gd name="connsiteY99" fmla="*/ 6828 h 10000"/>
                <a:gd name="connsiteX100" fmla="*/ 158 w 10000"/>
                <a:gd name="connsiteY100" fmla="*/ 6960 h 10000"/>
                <a:gd name="connsiteX101" fmla="*/ 246 w 10000"/>
                <a:gd name="connsiteY101" fmla="*/ 6943 h 10000"/>
                <a:gd name="connsiteX102" fmla="*/ 299 w 10000"/>
                <a:gd name="connsiteY102" fmla="*/ 7076 h 10000"/>
                <a:gd name="connsiteX103" fmla="*/ 455 w 10000"/>
                <a:gd name="connsiteY103" fmla="*/ 7103 h 10000"/>
                <a:gd name="connsiteX104" fmla="*/ 463 w 10000"/>
                <a:gd name="connsiteY104" fmla="*/ 7251 h 10000"/>
                <a:gd name="connsiteX105" fmla="*/ 505 w 10000"/>
                <a:gd name="connsiteY105" fmla="*/ 7278 h 10000"/>
                <a:gd name="connsiteX106" fmla="*/ 537 w 10000"/>
                <a:gd name="connsiteY106" fmla="*/ 7174 h 10000"/>
                <a:gd name="connsiteX107" fmla="*/ 594 w 10000"/>
                <a:gd name="connsiteY107" fmla="*/ 7196 h 10000"/>
                <a:gd name="connsiteX108" fmla="*/ 659 w 10000"/>
                <a:gd name="connsiteY108" fmla="*/ 6992 h 10000"/>
                <a:gd name="connsiteX109" fmla="*/ 839 w 10000"/>
                <a:gd name="connsiteY109" fmla="*/ 7174 h 10000"/>
                <a:gd name="connsiteX110" fmla="*/ 1313 w 10000"/>
                <a:gd name="connsiteY110" fmla="*/ 7163 h 10000"/>
                <a:gd name="connsiteX111" fmla="*/ 1500 w 10000"/>
                <a:gd name="connsiteY111" fmla="*/ 7092 h 10000"/>
                <a:gd name="connsiteX112" fmla="*/ 1807 w 10000"/>
                <a:gd name="connsiteY112" fmla="*/ 7344 h 10000"/>
                <a:gd name="connsiteX113" fmla="*/ 2001 w 10000"/>
                <a:gd name="connsiteY113" fmla="*/ 7087 h 10000"/>
                <a:gd name="connsiteX114" fmla="*/ 2437 w 10000"/>
                <a:gd name="connsiteY114" fmla="*/ 6861 h 10000"/>
                <a:gd name="connsiteX115" fmla="*/ 2594 w 10000"/>
                <a:gd name="connsiteY115" fmla="*/ 6489 h 10000"/>
                <a:gd name="connsiteX116" fmla="*/ 2709 w 10000"/>
                <a:gd name="connsiteY116" fmla="*/ 6439 h 10000"/>
                <a:gd name="connsiteX117" fmla="*/ 2709 w 10000"/>
                <a:gd name="connsiteY117" fmla="*/ 6379 h 10000"/>
                <a:gd name="connsiteX118" fmla="*/ 2755 w 10000"/>
                <a:gd name="connsiteY118" fmla="*/ 6379 h 10000"/>
                <a:gd name="connsiteX119" fmla="*/ 2744 w 10000"/>
                <a:gd name="connsiteY119" fmla="*/ 6230 h 10000"/>
                <a:gd name="connsiteX120" fmla="*/ 2885 w 10000"/>
                <a:gd name="connsiteY120" fmla="*/ 6285 h 10000"/>
                <a:gd name="connsiteX121" fmla="*/ 2904 w 10000"/>
                <a:gd name="connsiteY121" fmla="*/ 6159 h 10000"/>
                <a:gd name="connsiteX122" fmla="*/ 2988 w 10000"/>
                <a:gd name="connsiteY122" fmla="*/ 6230 h 10000"/>
                <a:gd name="connsiteX123" fmla="*/ 3050 w 10000"/>
                <a:gd name="connsiteY123" fmla="*/ 6126 h 10000"/>
                <a:gd name="connsiteX124" fmla="*/ 3149 w 10000"/>
                <a:gd name="connsiteY124" fmla="*/ 6154 h 10000"/>
                <a:gd name="connsiteX125" fmla="*/ 3237 w 10000"/>
                <a:gd name="connsiteY125" fmla="*/ 6055 h 10000"/>
                <a:gd name="connsiteX126" fmla="*/ 3405 w 10000"/>
                <a:gd name="connsiteY126" fmla="*/ 6192 h 10000"/>
                <a:gd name="connsiteX127" fmla="*/ 3490 w 10000"/>
                <a:gd name="connsiteY127" fmla="*/ 6197 h 10000"/>
                <a:gd name="connsiteX128" fmla="*/ 3516 w 10000"/>
                <a:gd name="connsiteY128" fmla="*/ 6307 h 10000"/>
                <a:gd name="connsiteX129" fmla="*/ 3674 w 10000"/>
                <a:gd name="connsiteY129" fmla="*/ 6236 h 10000"/>
                <a:gd name="connsiteX130" fmla="*/ 3658 w 10000"/>
                <a:gd name="connsiteY130" fmla="*/ 6357 h 10000"/>
                <a:gd name="connsiteX131" fmla="*/ 3716 w 10000"/>
                <a:gd name="connsiteY131" fmla="*/ 6341 h 10000"/>
                <a:gd name="connsiteX132" fmla="*/ 3784 w 10000"/>
                <a:gd name="connsiteY132" fmla="*/ 6428 h 10000"/>
                <a:gd name="connsiteX133" fmla="*/ 3788 w 10000"/>
                <a:gd name="connsiteY133" fmla="*/ 6301 h 10000"/>
                <a:gd name="connsiteX134" fmla="*/ 3971 w 10000"/>
                <a:gd name="connsiteY134" fmla="*/ 6341 h 10000"/>
                <a:gd name="connsiteX135" fmla="*/ 4037 w 10000"/>
                <a:gd name="connsiteY135" fmla="*/ 6511 h 10000"/>
                <a:gd name="connsiteX136" fmla="*/ 4140 w 10000"/>
                <a:gd name="connsiteY136" fmla="*/ 6494 h 10000"/>
                <a:gd name="connsiteX137" fmla="*/ 4185 w 10000"/>
                <a:gd name="connsiteY137" fmla="*/ 6417 h 10000"/>
                <a:gd name="connsiteX138" fmla="*/ 4288 w 10000"/>
                <a:gd name="connsiteY138" fmla="*/ 6735 h 10000"/>
                <a:gd name="connsiteX139" fmla="*/ 4251 w 10000"/>
                <a:gd name="connsiteY139" fmla="*/ 6987 h 10000"/>
                <a:gd name="connsiteX140" fmla="*/ 4304 w 10000"/>
                <a:gd name="connsiteY140" fmla="*/ 7114 h 10000"/>
                <a:gd name="connsiteX141" fmla="*/ 4376 w 10000"/>
                <a:gd name="connsiteY141" fmla="*/ 7119 h 10000"/>
                <a:gd name="connsiteX142" fmla="*/ 4488 w 10000"/>
                <a:gd name="connsiteY142" fmla="*/ 7256 h 10000"/>
                <a:gd name="connsiteX143" fmla="*/ 4533 w 10000"/>
                <a:gd name="connsiteY143" fmla="*/ 7152 h 10000"/>
                <a:gd name="connsiteX144" fmla="*/ 4583 w 10000"/>
                <a:gd name="connsiteY144" fmla="*/ 7322 h 10000"/>
                <a:gd name="connsiteX145" fmla="*/ 4646 w 10000"/>
                <a:gd name="connsiteY145" fmla="*/ 7662 h 10000"/>
                <a:gd name="connsiteX146" fmla="*/ 4829 w 10000"/>
                <a:gd name="connsiteY146" fmla="*/ 7739 h 10000"/>
                <a:gd name="connsiteX147" fmla="*/ 4871 w 10000"/>
                <a:gd name="connsiteY147" fmla="*/ 8183 h 10000"/>
                <a:gd name="connsiteX148" fmla="*/ 5027 w 10000"/>
                <a:gd name="connsiteY148" fmla="*/ 8276 h 10000"/>
                <a:gd name="connsiteX149" fmla="*/ 4866 w 10000"/>
                <a:gd name="connsiteY149" fmla="*/ 8370 h 10000"/>
                <a:gd name="connsiteX150" fmla="*/ 4813 w 10000"/>
                <a:gd name="connsiteY150" fmla="*/ 8260 h 10000"/>
                <a:gd name="connsiteX151" fmla="*/ 4752 w 10000"/>
                <a:gd name="connsiteY151" fmla="*/ 8403 h 10000"/>
                <a:gd name="connsiteX152" fmla="*/ 4594 w 10000"/>
                <a:gd name="connsiteY152" fmla="*/ 8287 h 10000"/>
                <a:gd name="connsiteX153" fmla="*/ 4506 w 10000"/>
                <a:gd name="connsiteY153" fmla="*/ 8452 h 10000"/>
                <a:gd name="connsiteX154" fmla="*/ 4323 w 10000"/>
                <a:gd name="connsiteY154" fmla="*/ 8331 h 10000"/>
                <a:gd name="connsiteX155" fmla="*/ 4411 w 10000"/>
                <a:gd name="connsiteY155" fmla="*/ 8699 h 10000"/>
                <a:gd name="connsiteX156" fmla="*/ 4403 w 10000"/>
                <a:gd name="connsiteY156" fmla="*/ 8967 h 10000"/>
                <a:gd name="connsiteX157" fmla="*/ 4285 w 10000"/>
                <a:gd name="connsiteY157" fmla="*/ 9088 h 10000"/>
                <a:gd name="connsiteX158" fmla="*/ 4323 w 10000"/>
                <a:gd name="connsiteY158" fmla="*/ 9193 h 10000"/>
                <a:gd name="connsiteX159" fmla="*/ 4159 w 10000"/>
                <a:gd name="connsiteY159" fmla="*/ 9412 h 10000"/>
                <a:gd name="connsiteX160" fmla="*/ 4224 w 10000"/>
                <a:gd name="connsiteY160" fmla="*/ 9647 h 10000"/>
                <a:gd name="connsiteX161" fmla="*/ 4063 w 10000"/>
                <a:gd name="connsiteY161" fmla="*/ 9681 h 10000"/>
                <a:gd name="connsiteX162" fmla="*/ 4021 w 10000"/>
                <a:gd name="connsiteY162" fmla="*/ 9741 h 10000"/>
                <a:gd name="connsiteX163" fmla="*/ 4090 w 10000"/>
                <a:gd name="connsiteY163" fmla="*/ 9785 h 10000"/>
                <a:gd name="connsiteX164" fmla="*/ 4213 w 10000"/>
                <a:gd name="connsiteY164" fmla="*/ 9944 h 10000"/>
                <a:gd name="connsiteX165" fmla="*/ 4411 w 10000"/>
                <a:gd name="connsiteY165" fmla="*/ 9999 h 10000"/>
                <a:gd name="connsiteX166" fmla="*/ 4418 w 10000"/>
                <a:gd name="connsiteY166" fmla="*/ 9851 h 10000"/>
                <a:gd name="connsiteX167" fmla="*/ 4488 w 10000"/>
                <a:gd name="connsiteY167" fmla="*/ 9856 h 10000"/>
                <a:gd name="connsiteX168" fmla="*/ 4783 w 10000"/>
                <a:gd name="connsiteY168" fmla="*/ 9603 h 10000"/>
                <a:gd name="connsiteX169" fmla="*/ 4978 w 10000"/>
                <a:gd name="connsiteY169" fmla="*/ 9845 h 10000"/>
                <a:gd name="connsiteX170" fmla="*/ 4978 w 10000"/>
                <a:gd name="connsiteY170" fmla="*/ 9862 h 10000"/>
                <a:gd name="connsiteX171" fmla="*/ 5009 w 10000"/>
                <a:gd name="connsiteY171" fmla="*/ 9703 h 10000"/>
                <a:gd name="connsiteX172" fmla="*/ 4954 w 10000"/>
                <a:gd name="connsiteY172" fmla="*/ 9570 h 10000"/>
                <a:gd name="connsiteX173" fmla="*/ 4886 w 10000"/>
                <a:gd name="connsiteY173" fmla="*/ 9549 h 10000"/>
                <a:gd name="connsiteX174" fmla="*/ 4932 w 10000"/>
                <a:gd name="connsiteY174" fmla="*/ 9466 h 10000"/>
                <a:gd name="connsiteX175" fmla="*/ 4917 w 10000"/>
                <a:gd name="connsiteY175" fmla="*/ 9444 h 10000"/>
                <a:gd name="connsiteX176" fmla="*/ 4859 w 10000"/>
                <a:gd name="connsiteY176" fmla="*/ 9439 h 10000"/>
                <a:gd name="connsiteX177" fmla="*/ 4829 w 10000"/>
                <a:gd name="connsiteY177" fmla="*/ 9121 h 10000"/>
                <a:gd name="connsiteX178" fmla="*/ 4871 w 10000"/>
                <a:gd name="connsiteY178" fmla="*/ 9105 h 10000"/>
                <a:gd name="connsiteX179" fmla="*/ 4893 w 10000"/>
                <a:gd name="connsiteY179" fmla="*/ 9253 h 10000"/>
                <a:gd name="connsiteX180" fmla="*/ 4947 w 10000"/>
                <a:gd name="connsiteY180" fmla="*/ 9384 h 10000"/>
                <a:gd name="connsiteX181" fmla="*/ 4993 w 10000"/>
                <a:gd name="connsiteY181" fmla="*/ 9302 h 10000"/>
                <a:gd name="connsiteX182" fmla="*/ 4981 w 10000"/>
                <a:gd name="connsiteY182" fmla="*/ 9220 h 10000"/>
                <a:gd name="connsiteX183" fmla="*/ 5054 w 10000"/>
                <a:gd name="connsiteY183" fmla="*/ 9203 h 10000"/>
                <a:gd name="connsiteX184" fmla="*/ 5016 w 10000"/>
                <a:gd name="connsiteY184" fmla="*/ 9034 h 10000"/>
                <a:gd name="connsiteX185" fmla="*/ 5115 w 10000"/>
                <a:gd name="connsiteY185" fmla="*/ 9061 h 10000"/>
                <a:gd name="connsiteX186" fmla="*/ 5119 w 10000"/>
                <a:gd name="connsiteY186" fmla="*/ 8972 h 10000"/>
                <a:gd name="connsiteX187" fmla="*/ 5157 w 10000"/>
                <a:gd name="connsiteY187" fmla="*/ 9039 h 10000"/>
                <a:gd name="connsiteX188" fmla="*/ 5326 w 10000"/>
                <a:gd name="connsiteY188" fmla="*/ 8781 h 10000"/>
                <a:gd name="connsiteX189" fmla="*/ 5230 w 10000"/>
                <a:gd name="connsiteY189" fmla="*/ 8584 h 10000"/>
                <a:gd name="connsiteX190" fmla="*/ 5051 w 10000"/>
                <a:gd name="connsiteY190" fmla="*/ 8425 h 10000"/>
                <a:gd name="connsiteX191" fmla="*/ 5153 w 10000"/>
                <a:gd name="connsiteY191" fmla="*/ 8370 h 10000"/>
                <a:gd name="connsiteX192" fmla="*/ 5302 w 10000"/>
                <a:gd name="connsiteY192" fmla="*/ 8633 h 10000"/>
                <a:gd name="connsiteX193" fmla="*/ 5414 w 10000"/>
                <a:gd name="connsiteY193" fmla="*/ 8199 h 10000"/>
                <a:gd name="connsiteX194" fmla="*/ 5421 w 10000"/>
                <a:gd name="connsiteY194" fmla="*/ 8030 h 10000"/>
                <a:gd name="connsiteX195" fmla="*/ 5608 w 10000"/>
                <a:gd name="connsiteY195" fmla="*/ 7942 h 10000"/>
                <a:gd name="connsiteX196" fmla="*/ 5678 w 10000"/>
                <a:gd name="connsiteY196" fmla="*/ 7607 h 10000"/>
                <a:gd name="connsiteX197" fmla="*/ 5689 w 10000"/>
                <a:gd name="connsiteY197" fmla="*/ 7734 h 10000"/>
                <a:gd name="connsiteX198" fmla="*/ 5808 w 10000"/>
                <a:gd name="connsiteY198" fmla="*/ 7596 h 10000"/>
                <a:gd name="connsiteX199" fmla="*/ 5892 w 10000"/>
                <a:gd name="connsiteY199" fmla="*/ 7579 h 10000"/>
                <a:gd name="connsiteX200" fmla="*/ 5976 w 10000"/>
                <a:gd name="connsiteY200" fmla="*/ 7207 h 10000"/>
                <a:gd name="connsiteX201" fmla="*/ 6052 w 10000"/>
                <a:gd name="connsiteY201" fmla="*/ 7486 h 10000"/>
                <a:gd name="connsiteX202" fmla="*/ 6278 w 10000"/>
                <a:gd name="connsiteY202" fmla="*/ 7563 h 10000"/>
                <a:gd name="connsiteX203" fmla="*/ 6106 w 10000"/>
                <a:gd name="connsiteY203" fmla="*/ 7618 h 10000"/>
                <a:gd name="connsiteX204" fmla="*/ 6091 w 10000"/>
                <a:gd name="connsiteY204" fmla="*/ 7679 h 10000"/>
                <a:gd name="connsiteX205" fmla="*/ 5919 w 10000"/>
                <a:gd name="connsiteY205" fmla="*/ 7690 h 10000"/>
                <a:gd name="connsiteX206" fmla="*/ 5831 w 10000"/>
                <a:gd name="connsiteY206" fmla="*/ 7723 h 10000"/>
                <a:gd name="connsiteX207" fmla="*/ 5900 w 10000"/>
                <a:gd name="connsiteY207" fmla="*/ 7772 h 10000"/>
                <a:gd name="connsiteX208" fmla="*/ 5961 w 10000"/>
                <a:gd name="connsiteY208" fmla="*/ 7756 h 10000"/>
                <a:gd name="connsiteX209" fmla="*/ 6129 w 10000"/>
                <a:gd name="connsiteY209" fmla="*/ 7789 h 10000"/>
                <a:gd name="connsiteX210" fmla="*/ 5938 w 10000"/>
                <a:gd name="connsiteY210" fmla="*/ 7964 h 10000"/>
                <a:gd name="connsiteX211" fmla="*/ 6007 w 10000"/>
                <a:gd name="connsiteY211" fmla="*/ 8008 h 10000"/>
                <a:gd name="connsiteX212" fmla="*/ 6182 w 10000"/>
                <a:gd name="connsiteY212" fmla="*/ 7958 h 10000"/>
                <a:gd name="connsiteX213" fmla="*/ 6419 w 10000"/>
                <a:gd name="connsiteY213" fmla="*/ 8101 h 10000"/>
                <a:gd name="connsiteX214" fmla="*/ 6726 w 10000"/>
                <a:gd name="connsiteY214" fmla="*/ 7909 h 10000"/>
                <a:gd name="connsiteX215" fmla="*/ 7028 w 10000"/>
                <a:gd name="connsiteY215" fmla="*/ 7887 h 10000"/>
                <a:gd name="connsiteX216" fmla="*/ 7074 w 10000"/>
                <a:gd name="connsiteY216" fmla="*/ 7745 h 10000"/>
                <a:gd name="connsiteX217" fmla="*/ 7154 w 10000"/>
                <a:gd name="connsiteY217" fmla="*/ 7958 h 10000"/>
                <a:gd name="connsiteX218" fmla="*/ 7238 w 10000"/>
                <a:gd name="connsiteY218" fmla="*/ 7986 h 10000"/>
                <a:gd name="connsiteX219" fmla="*/ 7207 w 10000"/>
                <a:gd name="connsiteY219" fmla="*/ 8134 h 10000"/>
                <a:gd name="connsiteX220" fmla="*/ 6944 w 10000"/>
                <a:gd name="connsiteY220" fmla="*/ 8281 h 10000"/>
                <a:gd name="connsiteX221" fmla="*/ 6925 w 10000"/>
                <a:gd name="connsiteY221" fmla="*/ 8386 h 10000"/>
                <a:gd name="connsiteX222" fmla="*/ 6780 w 10000"/>
                <a:gd name="connsiteY222" fmla="*/ 8523 h 10000"/>
                <a:gd name="connsiteX223" fmla="*/ 6775 w 10000"/>
                <a:gd name="connsiteY223" fmla="*/ 8649 h 10000"/>
                <a:gd name="connsiteX224" fmla="*/ 6687 w 10000"/>
                <a:gd name="connsiteY224" fmla="*/ 8704 h 10000"/>
                <a:gd name="connsiteX225" fmla="*/ 6576 w 10000"/>
                <a:gd name="connsiteY225" fmla="*/ 8989 h 10000"/>
                <a:gd name="connsiteX226" fmla="*/ 6734 w 10000"/>
                <a:gd name="connsiteY226" fmla="*/ 9001 h 10000"/>
                <a:gd name="connsiteX227" fmla="*/ 6826 w 10000"/>
                <a:gd name="connsiteY227" fmla="*/ 8879 h 10000"/>
                <a:gd name="connsiteX228" fmla="*/ 6925 w 10000"/>
                <a:gd name="connsiteY228" fmla="*/ 8912 h 10000"/>
                <a:gd name="connsiteX229" fmla="*/ 6971 w 10000"/>
                <a:gd name="connsiteY229" fmla="*/ 8786 h 10000"/>
                <a:gd name="connsiteX230" fmla="*/ 7035 w 10000"/>
                <a:gd name="connsiteY230" fmla="*/ 9001 h 10000"/>
                <a:gd name="connsiteX231" fmla="*/ 7223 w 10000"/>
                <a:gd name="connsiteY231" fmla="*/ 8994 h 10000"/>
                <a:gd name="connsiteX232" fmla="*/ 7383 w 10000"/>
                <a:gd name="connsiteY232" fmla="*/ 9362 h 10000"/>
                <a:gd name="connsiteX233" fmla="*/ 7398 w 10000"/>
                <a:gd name="connsiteY233" fmla="*/ 9675 h 10000"/>
                <a:gd name="connsiteX234" fmla="*/ 7341 w 10000"/>
                <a:gd name="connsiteY234" fmla="*/ 9692 h 10000"/>
                <a:gd name="connsiteX235" fmla="*/ 7352 w 10000"/>
                <a:gd name="connsiteY235" fmla="*/ 9780 h 10000"/>
                <a:gd name="connsiteX236" fmla="*/ 7594 w 10000"/>
                <a:gd name="connsiteY236" fmla="*/ 9900 h 10000"/>
                <a:gd name="connsiteX237" fmla="*/ 7919 w 10000"/>
                <a:gd name="connsiteY237" fmla="*/ 9565 h 10000"/>
                <a:gd name="connsiteX238" fmla="*/ 8060 w 10000"/>
                <a:gd name="connsiteY238" fmla="*/ 9176 h 10000"/>
                <a:gd name="connsiteX239" fmla="*/ 8294 w 10000"/>
                <a:gd name="connsiteY239" fmla="*/ 9023 h 10000"/>
                <a:gd name="connsiteX240" fmla="*/ 8370 w 10000"/>
                <a:gd name="connsiteY240" fmla="*/ 8841 h 10000"/>
                <a:gd name="connsiteX241" fmla="*/ 8458 w 10000"/>
                <a:gd name="connsiteY241" fmla="*/ 8786 h 10000"/>
                <a:gd name="connsiteX242" fmla="*/ 8512 w 10000"/>
                <a:gd name="connsiteY242" fmla="*/ 8512 h 10000"/>
                <a:gd name="connsiteX243" fmla="*/ 8739 w 10000"/>
                <a:gd name="connsiteY243" fmla="*/ 8617 h 10000"/>
                <a:gd name="connsiteX244" fmla="*/ 8872 w 10000"/>
                <a:gd name="connsiteY244" fmla="*/ 8474 h 10000"/>
                <a:gd name="connsiteX245" fmla="*/ 9059 w 10000"/>
                <a:gd name="connsiteY245" fmla="*/ 8343 h 10000"/>
                <a:gd name="connsiteX246" fmla="*/ 8983 w 10000"/>
                <a:gd name="connsiteY246" fmla="*/ 8128 h 10000"/>
                <a:gd name="connsiteX247" fmla="*/ 7885 w 10000"/>
                <a:gd name="connsiteY247" fmla="*/ 7991 h 10000"/>
                <a:gd name="connsiteX248" fmla="*/ 7859 w 10000"/>
                <a:gd name="connsiteY248" fmla="*/ 7904 h 10000"/>
                <a:gd name="connsiteX249" fmla="*/ 7782 w 10000"/>
                <a:gd name="connsiteY249" fmla="*/ 8002 h 10000"/>
                <a:gd name="connsiteX250" fmla="*/ 7893 w 10000"/>
                <a:gd name="connsiteY250" fmla="*/ 7761 h 10000"/>
                <a:gd name="connsiteX251" fmla="*/ 7851 w 10000"/>
                <a:gd name="connsiteY251" fmla="*/ 7717 h 10000"/>
                <a:gd name="connsiteX252" fmla="*/ 7728 w 10000"/>
                <a:gd name="connsiteY252" fmla="*/ 7915 h 10000"/>
                <a:gd name="connsiteX253" fmla="*/ 7793 w 10000"/>
                <a:gd name="connsiteY253" fmla="*/ 7712 h 10000"/>
                <a:gd name="connsiteX254" fmla="*/ 7705 w 10000"/>
                <a:gd name="connsiteY254" fmla="*/ 7767 h 10000"/>
                <a:gd name="connsiteX255" fmla="*/ 7590 w 10000"/>
                <a:gd name="connsiteY255" fmla="*/ 7717 h 10000"/>
                <a:gd name="connsiteX256" fmla="*/ 7502 w 10000"/>
                <a:gd name="connsiteY256" fmla="*/ 7794 h 10000"/>
                <a:gd name="connsiteX257" fmla="*/ 7407 w 10000"/>
                <a:gd name="connsiteY257" fmla="*/ 7728 h 10000"/>
                <a:gd name="connsiteX258" fmla="*/ 7250 w 10000"/>
                <a:gd name="connsiteY258" fmla="*/ 7717 h 10000"/>
                <a:gd name="connsiteX259" fmla="*/ 7253 w 10000"/>
                <a:gd name="connsiteY259" fmla="*/ 7547 h 10000"/>
                <a:gd name="connsiteX260" fmla="*/ 7395 w 10000"/>
                <a:gd name="connsiteY260" fmla="*/ 7662 h 10000"/>
                <a:gd name="connsiteX261" fmla="*/ 7440 w 10000"/>
                <a:gd name="connsiteY261" fmla="*/ 7541 h 10000"/>
                <a:gd name="connsiteX262" fmla="*/ 7403 w 10000"/>
                <a:gd name="connsiteY262" fmla="*/ 7410 h 10000"/>
                <a:gd name="connsiteX263" fmla="*/ 7510 w 10000"/>
                <a:gd name="connsiteY263" fmla="*/ 7547 h 10000"/>
                <a:gd name="connsiteX264" fmla="*/ 7655 w 10000"/>
                <a:gd name="connsiteY264" fmla="*/ 7536 h 10000"/>
                <a:gd name="connsiteX265" fmla="*/ 7679 w 10000"/>
                <a:gd name="connsiteY265" fmla="*/ 7685 h 10000"/>
                <a:gd name="connsiteX266" fmla="*/ 7721 w 10000"/>
                <a:gd name="connsiteY266" fmla="*/ 7685 h 10000"/>
                <a:gd name="connsiteX267" fmla="*/ 7732 w 10000"/>
                <a:gd name="connsiteY267" fmla="*/ 7415 h 10000"/>
                <a:gd name="connsiteX268" fmla="*/ 7782 w 10000"/>
                <a:gd name="connsiteY268" fmla="*/ 7585 h 10000"/>
                <a:gd name="connsiteX269" fmla="*/ 7870 w 10000"/>
                <a:gd name="connsiteY269" fmla="*/ 7590 h 10000"/>
                <a:gd name="connsiteX270" fmla="*/ 7805 w 10000"/>
                <a:gd name="connsiteY270" fmla="*/ 7333 h 10000"/>
                <a:gd name="connsiteX271" fmla="*/ 7965 w 10000"/>
                <a:gd name="connsiteY271" fmla="*/ 7240 h 10000"/>
                <a:gd name="connsiteX272" fmla="*/ 7958 w 10000"/>
                <a:gd name="connsiteY272" fmla="*/ 6987 h 10000"/>
                <a:gd name="connsiteX273" fmla="*/ 8069 w 10000"/>
                <a:gd name="connsiteY273" fmla="*/ 7081 h 10000"/>
                <a:gd name="connsiteX274" fmla="*/ 8088 w 10000"/>
                <a:gd name="connsiteY274" fmla="*/ 7015 h 10000"/>
                <a:gd name="connsiteX275" fmla="*/ 7954 w 10000"/>
                <a:gd name="connsiteY275" fmla="*/ 6735 h 10000"/>
                <a:gd name="connsiteX276" fmla="*/ 8133 w 10000"/>
                <a:gd name="connsiteY276" fmla="*/ 6894 h 10000"/>
                <a:gd name="connsiteX277" fmla="*/ 8359 w 10000"/>
                <a:gd name="connsiteY277" fmla="*/ 6511 h 10000"/>
                <a:gd name="connsiteX278" fmla="*/ 8577 w 10000"/>
                <a:gd name="connsiteY278" fmla="*/ 6483 h 10000"/>
                <a:gd name="connsiteX279" fmla="*/ 8623 w 10000"/>
                <a:gd name="connsiteY279"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7919 w 10000"/>
                <a:gd name="connsiteY236" fmla="*/ 9565 h 10000"/>
                <a:gd name="connsiteX237" fmla="*/ 8060 w 10000"/>
                <a:gd name="connsiteY237" fmla="*/ 9176 h 10000"/>
                <a:gd name="connsiteX238" fmla="*/ 8294 w 10000"/>
                <a:gd name="connsiteY238" fmla="*/ 9023 h 10000"/>
                <a:gd name="connsiteX239" fmla="*/ 8370 w 10000"/>
                <a:gd name="connsiteY239" fmla="*/ 8841 h 10000"/>
                <a:gd name="connsiteX240" fmla="*/ 8458 w 10000"/>
                <a:gd name="connsiteY240" fmla="*/ 8786 h 10000"/>
                <a:gd name="connsiteX241" fmla="*/ 8512 w 10000"/>
                <a:gd name="connsiteY241" fmla="*/ 8512 h 10000"/>
                <a:gd name="connsiteX242" fmla="*/ 8739 w 10000"/>
                <a:gd name="connsiteY242" fmla="*/ 8617 h 10000"/>
                <a:gd name="connsiteX243" fmla="*/ 8872 w 10000"/>
                <a:gd name="connsiteY243" fmla="*/ 8474 h 10000"/>
                <a:gd name="connsiteX244" fmla="*/ 9059 w 10000"/>
                <a:gd name="connsiteY244" fmla="*/ 8343 h 10000"/>
                <a:gd name="connsiteX245" fmla="*/ 8983 w 10000"/>
                <a:gd name="connsiteY245" fmla="*/ 8128 h 10000"/>
                <a:gd name="connsiteX246" fmla="*/ 7885 w 10000"/>
                <a:gd name="connsiteY246" fmla="*/ 7991 h 10000"/>
                <a:gd name="connsiteX247" fmla="*/ 7859 w 10000"/>
                <a:gd name="connsiteY247" fmla="*/ 7904 h 10000"/>
                <a:gd name="connsiteX248" fmla="*/ 7782 w 10000"/>
                <a:gd name="connsiteY248" fmla="*/ 8002 h 10000"/>
                <a:gd name="connsiteX249" fmla="*/ 7893 w 10000"/>
                <a:gd name="connsiteY249" fmla="*/ 7761 h 10000"/>
                <a:gd name="connsiteX250" fmla="*/ 7851 w 10000"/>
                <a:gd name="connsiteY250" fmla="*/ 7717 h 10000"/>
                <a:gd name="connsiteX251" fmla="*/ 7728 w 10000"/>
                <a:gd name="connsiteY251" fmla="*/ 7915 h 10000"/>
                <a:gd name="connsiteX252" fmla="*/ 7793 w 10000"/>
                <a:gd name="connsiteY252" fmla="*/ 7712 h 10000"/>
                <a:gd name="connsiteX253" fmla="*/ 7705 w 10000"/>
                <a:gd name="connsiteY253" fmla="*/ 7767 h 10000"/>
                <a:gd name="connsiteX254" fmla="*/ 7590 w 10000"/>
                <a:gd name="connsiteY254" fmla="*/ 7717 h 10000"/>
                <a:gd name="connsiteX255" fmla="*/ 7502 w 10000"/>
                <a:gd name="connsiteY255" fmla="*/ 7794 h 10000"/>
                <a:gd name="connsiteX256" fmla="*/ 7407 w 10000"/>
                <a:gd name="connsiteY256" fmla="*/ 7728 h 10000"/>
                <a:gd name="connsiteX257" fmla="*/ 7250 w 10000"/>
                <a:gd name="connsiteY257" fmla="*/ 7717 h 10000"/>
                <a:gd name="connsiteX258" fmla="*/ 7253 w 10000"/>
                <a:gd name="connsiteY258" fmla="*/ 7547 h 10000"/>
                <a:gd name="connsiteX259" fmla="*/ 7395 w 10000"/>
                <a:gd name="connsiteY259" fmla="*/ 7662 h 10000"/>
                <a:gd name="connsiteX260" fmla="*/ 7440 w 10000"/>
                <a:gd name="connsiteY260" fmla="*/ 7541 h 10000"/>
                <a:gd name="connsiteX261" fmla="*/ 7403 w 10000"/>
                <a:gd name="connsiteY261" fmla="*/ 7410 h 10000"/>
                <a:gd name="connsiteX262" fmla="*/ 7510 w 10000"/>
                <a:gd name="connsiteY262" fmla="*/ 7547 h 10000"/>
                <a:gd name="connsiteX263" fmla="*/ 7655 w 10000"/>
                <a:gd name="connsiteY263" fmla="*/ 7536 h 10000"/>
                <a:gd name="connsiteX264" fmla="*/ 7679 w 10000"/>
                <a:gd name="connsiteY264" fmla="*/ 7685 h 10000"/>
                <a:gd name="connsiteX265" fmla="*/ 7721 w 10000"/>
                <a:gd name="connsiteY265" fmla="*/ 7685 h 10000"/>
                <a:gd name="connsiteX266" fmla="*/ 7732 w 10000"/>
                <a:gd name="connsiteY266" fmla="*/ 7415 h 10000"/>
                <a:gd name="connsiteX267" fmla="*/ 7782 w 10000"/>
                <a:gd name="connsiteY267" fmla="*/ 7585 h 10000"/>
                <a:gd name="connsiteX268" fmla="*/ 7870 w 10000"/>
                <a:gd name="connsiteY268" fmla="*/ 7590 h 10000"/>
                <a:gd name="connsiteX269" fmla="*/ 7805 w 10000"/>
                <a:gd name="connsiteY269" fmla="*/ 7333 h 10000"/>
                <a:gd name="connsiteX270" fmla="*/ 7965 w 10000"/>
                <a:gd name="connsiteY270" fmla="*/ 7240 h 10000"/>
                <a:gd name="connsiteX271" fmla="*/ 7958 w 10000"/>
                <a:gd name="connsiteY271" fmla="*/ 6987 h 10000"/>
                <a:gd name="connsiteX272" fmla="*/ 8069 w 10000"/>
                <a:gd name="connsiteY272" fmla="*/ 7081 h 10000"/>
                <a:gd name="connsiteX273" fmla="*/ 8088 w 10000"/>
                <a:gd name="connsiteY273" fmla="*/ 7015 h 10000"/>
                <a:gd name="connsiteX274" fmla="*/ 7954 w 10000"/>
                <a:gd name="connsiteY274" fmla="*/ 6735 h 10000"/>
                <a:gd name="connsiteX275" fmla="*/ 8133 w 10000"/>
                <a:gd name="connsiteY275" fmla="*/ 6894 h 10000"/>
                <a:gd name="connsiteX276" fmla="*/ 8359 w 10000"/>
                <a:gd name="connsiteY276" fmla="*/ 6511 h 10000"/>
                <a:gd name="connsiteX277" fmla="*/ 8577 w 10000"/>
                <a:gd name="connsiteY277" fmla="*/ 6483 h 10000"/>
                <a:gd name="connsiteX278" fmla="*/ 8623 w 10000"/>
                <a:gd name="connsiteY278"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7919 w 10000"/>
                <a:gd name="connsiteY236" fmla="*/ 9565 h 10000"/>
                <a:gd name="connsiteX237" fmla="*/ 8294 w 10000"/>
                <a:gd name="connsiteY237" fmla="*/ 9023 h 10000"/>
                <a:gd name="connsiteX238" fmla="*/ 8370 w 10000"/>
                <a:gd name="connsiteY238" fmla="*/ 8841 h 10000"/>
                <a:gd name="connsiteX239" fmla="*/ 8458 w 10000"/>
                <a:gd name="connsiteY239" fmla="*/ 8786 h 10000"/>
                <a:gd name="connsiteX240" fmla="*/ 8512 w 10000"/>
                <a:gd name="connsiteY240" fmla="*/ 8512 h 10000"/>
                <a:gd name="connsiteX241" fmla="*/ 8739 w 10000"/>
                <a:gd name="connsiteY241" fmla="*/ 8617 h 10000"/>
                <a:gd name="connsiteX242" fmla="*/ 8872 w 10000"/>
                <a:gd name="connsiteY242" fmla="*/ 8474 h 10000"/>
                <a:gd name="connsiteX243" fmla="*/ 9059 w 10000"/>
                <a:gd name="connsiteY243" fmla="*/ 8343 h 10000"/>
                <a:gd name="connsiteX244" fmla="*/ 8983 w 10000"/>
                <a:gd name="connsiteY244" fmla="*/ 8128 h 10000"/>
                <a:gd name="connsiteX245" fmla="*/ 7885 w 10000"/>
                <a:gd name="connsiteY245" fmla="*/ 7991 h 10000"/>
                <a:gd name="connsiteX246" fmla="*/ 7859 w 10000"/>
                <a:gd name="connsiteY246" fmla="*/ 7904 h 10000"/>
                <a:gd name="connsiteX247" fmla="*/ 7782 w 10000"/>
                <a:gd name="connsiteY247" fmla="*/ 8002 h 10000"/>
                <a:gd name="connsiteX248" fmla="*/ 7893 w 10000"/>
                <a:gd name="connsiteY248" fmla="*/ 7761 h 10000"/>
                <a:gd name="connsiteX249" fmla="*/ 7851 w 10000"/>
                <a:gd name="connsiteY249" fmla="*/ 7717 h 10000"/>
                <a:gd name="connsiteX250" fmla="*/ 7728 w 10000"/>
                <a:gd name="connsiteY250" fmla="*/ 7915 h 10000"/>
                <a:gd name="connsiteX251" fmla="*/ 7793 w 10000"/>
                <a:gd name="connsiteY251" fmla="*/ 7712 h 10000"/>
                <a:gd name="connsiteX252" fmla="*/ 7705 w 10000"/>
                <a:gd name="connsiteY252" fmla="*/ 7767 h 10000"/>
                <a:gd name="connsiteX253" fmla="*/ 7590 w 10000"/>
                <a:gd name="connsiteY253" fmla="*/ 7717 h 10000"/>
                <a:gd name="connsiteX254" fmla="*/ 7502 w 10000"/>
                <a:gd name="connsiteY254" fmla="*/ 7794 h 10000"/>
                <a:gd name="connsiteX255" fmla="*/ 7407 w 10000"/>
                <a:gd name="connsiteY255" fmla="*/ 7728 h 10000"/>
                <a:gd name="connsiteX256" fmla="*/ 7250 w 10000"/>
                <a:gd name="connsiteY256" fmla="*/ 7717 h 10000"/>
                <a:gd name="connsiteX257" fmla="*/ 7253 w 10000"/>
                <a:gd name="connsiteY257" fmla="*/ 7547 h 10000"/>
                <a:gd name="connsiteX258" fmla="*/ 7395 w 10000"/>
                <a:gd name="connsiteY258" fmla="*/ 7662 h 10000"/>
                <a:gd name="connsiteX259" fmla="*/ 7440 w 10000"/>
                <a:gd name="connsiteY259" fmla="*/ 7541 h 10000"/>
                <a:gd name="connsiteX260" fmla="*/ 7403 w 10000"/>
                <a:gd name="connsiteY260" fmla="*/ 7410 h 10000"/>
                <a:gd name="connsiteX261" fmla="*/ 7510 w 10000"/>
                <a:gd name="connsiteY261" fmla="*/ 7547 h 10000"/>
                <a:gd name="connsiteX262" fmla="*/ 7655 w 10000"/>
                <a:gd name="connsiteY262" fmla="*/ 7536 h 10000"/>
                <a:gd name="connsiteX263" fmla="*/ 7679 w 10000"/>
                <a:gd name="connsiteY263" fmla="*/ 7685 h 10000"/>
                <a:gd name="connsiteX264" fmla="*/ 7721 w 10000"/>
                <a:gd name="connsiteY264" fmla="*/ 7685 h 10000"/>
                <a:gd name="connsiteX265" fmla="*/ 7732 w 10000"/>
                <a:gd name="connsiteY265" fmla="*/ 7415 h 10000"/>
                <a:gd name="connsiteX266" fmla="*/ 7782 w 10000"/>
                <a:gd name="connsiteY266" fmla="*/ 7585 h 10000"/>
                <a:gd name="connsiteX267" fmla="*/ 7870 w 10000"/>
                <a:gd name="connsiteY267" fmla="*/ 7590 h 10000"/>
                <a:gd name="connsiteX268" fmla="*/ 7805 w 10000"/>
                <a:gd name="connsiteY268" fmla="*/ 7333 h 10000"/>
                <a:gd name="connsiteX269" fmla="*/ 7965 w 10000"/>
                <a:gd name="connsiteY269" fmla="*/ 7240 h 10000"/>
                <a:gd name="connsiteX270" fmla="*/ 7958 w 10000"/>
                <a:gd name="connsiteY270" fmla="*/ 6987 h 10000"/>
                <a:gd name="connsiteX271" fmla="*/ 8069 w 10000"/>
                <a:gd name="connsiteY271" fmla="*/ 7081 h 10000"/>
                <a:gd name="connsiteX272" fmla="*/ 8088 w 10000"/>
                <a:gd name="connsiteY272" fmla="*/ 7015 h 10000"/>
                <a:gd name="connsiteX273" fmla="*/ 7954 w 10000"/>
                <a:gd name="connsiteY273" fmla="*/ 6735 h 10000"/>
                <a:gd name="connsiteX274" fmla="*/ 8133 w 10000"/>
                <a:gd name="connsiteY274" fmla="*/ 6894 h 10000"/>
                <a:gd name="connsiteX275" fmla="*/ 8359 w 10000"/>
                <a:gd name="connsiteY275" fmla="*/ 6511 h 10000"/>
                <a:gd name="connsiteX276" fmla="*/ 8577 w 10000"/>
                <a:gd name="connsiteY276" fmla="*/ 6483 h 10000"/>
                <a:gd name="connsiteX277" fmla="*/ 8623 w 10000"/>
                <a:gd name="connsiteY277"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8294 w 10000"/>
                <a:gd name="connsiteY236" fmla="*/ 9023 h 10000"/>
                <a:gd name="connsiteX237" fmla="*/ 8370 w 10000"/>
                <a:gd name="connsiteY237" fmla="*/ 8841 h 10000"/>
                <a:gd name="connsiteX238" fmla="*/ 8458 w 10000"/>
                <a:gd name="connsiteY238" fmla="*/ 8786 h 10000"/>
                <a:gd name="connsiteX239" fmla="*/ 8512 w 10000"/>
                <a:gd name="connsiteY239" fmla="*/ 8512 h 10000"/>
                <a:gd name="connsiteX240" fmla="*/ 8739 w 10000"/>
                <a:gd name="connsiteY240" fmla="*/ 8617 h 10000"/>
                <a:gd name="connsiteX241" fmla="*/ 8872 w 10000"/>
                <a:gd name="connsiteY241" fmla="*/ 8474 h 10000"/>
                <a:gd name="connsiteX242" fmla="*/ 9059 w 10000"/>
                <a:gd name="connsiteY242" fmla="*/ 8343 h 10000"/>
                <a:gd name="connsiteX243" fmla="*/ 8983 w 10000"/>
                <a:gd name="connsiteY243" fmla="*/ 8128 h 10000"/>
                <a:gd name="connsiteX244" fmla="*/ 7885 w 10000"/>
                <a:gd name="connsiteY244" fmla="*/ 7991 h 10000"/>
                <a:gd name="connsiteX245" fmla="*/ 7859 w 10000"/>
                <a:gd name="connsiteY245" fmla="*/ 7904 h 10000"/>
                <a:gd name="connsiteX246" fmla="*/ 7782 w 10000"/>
                <a:gd name="connsiteY246" fmla="*/ 8002 h 10000"/>
                <a:gd name="connsiteX247" fmla="*/ 7893 w 10000"/>
                <a:gd name="connsiteY247" fmla="*/ 7761 h 10000"/>
                <a:gd name="connsiteX248" fmla="*/ 7851 w 10000"/>
                <a:gd name="connsiteY248" fmla="*/ 7717 h 10000"/>
                <a:gd name="connsiteX249" fmla="*/ 7728 w 10000"/>
                <a:gd name="connsiteY249" fmla="*/ 7915 h 10000"/>
                <a:gd name="connsiteX250" fmla="*/ 7793 w 10000"/>
                <a:gd name="connsiteY250" fmla="*/ 7712 h 10000"/>
                <a:gd name="connsiteX251" fmla="*/ 7705 w 10000"/>
                <a:gd name="connsiteY251" fmla="*/ 7767 h 10000"/>
                <a:gd name="connsiteX252" fmla="*/ 7590 w 10000"/>
                <a:gd name="connsiteY252" fmla="*/ 7717 h 10000"/>
                <a:gd name="connsiteX253" fmla="*/ 7502 w 10000"/>
                <a:gd name="connsiteY253" fmla="*/ 7794 h 10000"/>
                <a:gd name="connsiteX254" fmla="*/ 7407 w 10000"/>
                <a:gd name="connsiteY254" fmla="*/ 7728 h 10000"/>
                <a:gd name="connsiteX255" fmla="*/ 7250 w 10000"/>
                <a:gd name="connsiteY255" fmla="*/ 7717 h 10000"/>
                <a:gd name="connsiteX256" fmla="*/ 7253 w 10000"/>
                <a:gd name="connsiteY256" fmla="*/ 7547 h 10000"/>
                <a:gd name="connsiteX257" fmla="*/ 7395 w 10000"/>
                <a:gd name="connsiteY257" fmla="*/ 7662 h 10000"/>
                <a:gd name="connsiteX258" fmla="*/ 7440 w 10000"/>
                <a:gd name="connsiteY258" fmla="*/ 7541 h 10000"/>
                <a:gd name="connsiteX259" fmla="*/ 7403 w 10000"/>
                <a:gd name="connsiteY259" fmla="*/ 7410 h 10000"/>
                <a:gd name="connsiteX260" fmla="*/ 7510 w 10000"/>
                <a:gd name="connsiteY260" fmla="*/ 7547 h 10000"/>
                <a:gd name="connsiteX261" fmla="*/ 7655 w 10000"/>
                <a:gd name="connsiteY261" fmla="*/ 7536 h 10000"/>
                <a:gd name="connsiteX262" fmla="*/ 7679 w 10000"/>
                <a:gd name="connsiteY262" fmla="*/ 7685 h 10000"/>
                <a:gd name="connsiteX263" fmla="*/ 7721 w 10000"/>
                <a:gd name="connsiteY263" fmla="*/ 7685 h 10000"/>
                <a:gd name="connsiteX264" fmla="*/ 7732 w 10000"/>
                <a:gd name="connsiteY264" fmla="*/ 7415 h 10000"/>
                <a:gd name="connsiteX265" fmla="*/ 7782 w 10000"/>
                <a:gd name="connsiteY265" fmla="*/ 7585 h 10000"/>
                <a:gd name="connsiteX266" fmla="*/ 7870 w 10000"/>
                <a:gd name="connsiteY266" fmla="*/ 7590 h 10000"/>
                <a:gd name="connsiteX267" fmla="*/ 7805 w 10000"/>
                <a:gd name="connsiteY267" fmla="*/ 7333 h 10000"/>
                <a:gd name="connsiteX268" fmla="*/ 7965 w 10000"/>
                <a:gd name="connsiteY268" fmla="*/ 7240 h 10000"/>
                <a:gd name="connsiteX269" fmla="*/ 7958 w 10000"/>
                <a:gd name="connsiteY269" fmla="*/ 6987 h 10000"/>
                <a:gd name="connsiteX270" fmla="*/ 8069 w 10000"/>
                <a:gd name="connsiteY270" fmla="*/ 7081 h 10000"/>
                <a:gd name="connsiteX271" fmla="*/ 8088 w 10000"/>
                <a:gd name="connsiteY271" fmla="*/ 7015 h 10000"/>
                <a:gd name="connsiteX272" fmla="*/ 7954 w 10000"/>
                <a:gd name="connsiteY272" fmla="*/ 6735 h 10000"/>
                <a:gd name="connsiteX273" fmla="*/ 8133 w 10000"/>
                <a:gd name="connsiteY273" fmla="*/ 6894 h 10000"/>
                <a:gd name="connsiteX274" fmla="*/ 8359 w 10000"/>
                <a:gd name="connsiteY274" fmla="*/ 6511 h 10000"/>
                <a:gd name="connsiteX275" fmla="*/ 8577 w 10000"/>
                <a:gd name="connsiteY275" fmla="*/ 6483 h 10000"/>
                <a:gd name="connsiteX276" fmla="*/ 8623 w 10000"/>
                <a:gd name="connsiteY276"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538 w 10000"/>
                <a:gd name="connsiteY17" fmla="*/ 1311 h 10000"/>
                <a:gd name="connsiteX18" fmla="*/ 6454 w 10000"/>
                <a:gd name="connsiteY18" fmla="*/ 1223 h 10000"/>
                <a:gd name="connsiteX19" fmla="*/ 6267 w 10000"/>
                <a:gd name="connsiteY19" fmla="*/ 1273 h 10000"/>
                <a:gd name="connsiteX20" fmla="*/ 6285 w 10000"/>
                <a:gd name="connsiteY20" fmla="*/ 1125 h 10000"/>
                <a:gd name="connsiteX21" fmla="*/ 6213 w 10000"/>
                <a:gd name="connsiteY21" fmla="*/ 1119 h 10000"/>
                <a:gd name="connsiteX22" fmla="*/ 6179 w 10000"/>
                <a:gd name="connsiteY22" fmla="*/ 910 h 10000"/>
                <a:gd name="connsiteX23" fmla="*/ 6079 w 10000"/>
                <a:gd name="connsiteY23" fmla="*/ 795 h 10000"/>
                <a:gd name="connsiteX24" fmla="*/ 6285 w 10000"/>
                <a:gd name="connsiteY24" fmla="*/ 620 h 10000"/>
                <a:gd name="connsiteX25" fmla="*/ 6037 w 10000"/>
                <a:gd name="connsiteY25" fmla="*/ 395 h 10000"/>
                <a:gd name="connsiteX26" fmla="*/ 5988 w 10000"/>
                <a:gd name="connsiteY26" fmla="*/ 142 h 10000"/>
                <a:gd name="connsiteX27" fmla="*/ 5873 w 10000"/>
                <a:gd name="connsiteY27" fmla="*/ 110 h 10000"/>
                <a:gd name="connsiteX28" fmla="*/ 5777 w 10000"/>
                <a:gd name="connsiteY28" fmla="*/ 0 h 10000"/>
                <a:gd name="connsiteX29" fmla="*/ 5675 w 10000"/>
                <a:gd name="connsiteY29" fmla="*/ 120 h 10000"/>
                <a:gd name="connsiteX30" fmla="*/ 5501 w 10000"/>
                <a:gd name="connsiteY30" fmla="*/ 110 h 10000"/>
                <a:gd name="connsiteX31" fmla="*/ 5352 w 10000"/>
                <a:gd name="connsiteY31" fmla="*/ 351 h 10000"/>
                <a:gd name="connsiteX32" fmla="*/ 5066 w 10000"/>
                <a:gd name="connsiteY32" fmla="*/ 329 h 10000"/>
                <a:gd name="connsiteX33" fmla="*/ 4996 w 10000"/>
                <a:gd name="connsiteY33" fmla="*/ 680 h 10000"/>
                <a:gd name="connsiteX34" fmla="*/ 4809 w 10000"/>
                <a:gd name="connsiteY34" fmla="*/ 707 h 10000"/>
                <a:gd name="connsiteX35" fmla="*/ 4905 w 10000"/>
                <a:gd name="connsiteY35" fmla="*/ 844 h 10000"/>
                <a:gd name="connsiteX36" fmla="*/ 4848 w 10000"/>
                <a:gd name="connsiteY36" fmla="*/ 899 h 10000"/>
                <a:gd name="connsiteX37" fmla="*/ 4718 w 10000"/>
                <a:gd name="connsiteY37" fmla="*/ 894 h 10000"/>
                <a:gd name="connsiteX38" fmla="*/ 4541 w 10000"/>
                <a:gd name="connsiteY38" fmla="*/ 1026 h 10000"/>
                <a:gd name="connsiteX39" fmla="*/ 4350 w 10000"/>
                <a:gd name="connsiteY39" fmla="*/ 1668 h 10000"/>
                <a:gd name="connsiteX40" fmla="*/ 4407 w 10000"/>
                <a:gd name="connsiteY40" fmla="*/ 2090 h 10000"/>
                <a:gd name="connsiteX41" fmla="*/ 4216 w 10000"/>
                <a:gd name="connsiteY41" fmla="*/ 1865 h 10000"/>
                <a:gd name="connsiteX42" fmla="*/ 3938 w 10000"/>
                <a:gd name="connsiteY42" fmla="*/ 1991 h 10000"/>
                <a:gd name="connsiteX43" fmla="*/ 3910 w 10000"/>
                <a:gd name="connsiteY43" fmla="*/ 1931 h 10000"/>
                <a:gd name="connsiteX44" fmla="*/ 3780 w 10000"/>
                <a:gd name="connsiteY44" fmla="*/ 2002 h 10000"/>
                <a:gd name="connsiteX45" fmla="*/ 3704 w 10000"/>
                <a:gd name="connsiteY45" fmla="*/ 2144 h 10000"/>
                <a:gd name="connsiteX46" fmla="*/ 3643 w 10000"/>
                <a:gd name="connsiteY46" fmla="*/ 1909 h 10000"/>
                <a:gd name="connsiteX47" fmla="*/ 3558 w 10000"/>
                <a:gd name="connsiteY47" fmla="*/ 1843 h 10000"/>
                <a:gd name="connsiteX48" fmla="*/ 3523 w 10000"/>
                <a:gd name="connsiteY48" fmla="*/ 1964 h 10000"/>
                <a:gd name="connsiteX49" fmla="*/ 3409 w 10000"/>
                <a:gd name="connsiteY49" fmla="*/ 1996 h 10000"/>
                <a:gd name="connsiteX50" fmla="*/ 3347 w 10000"/>
                <a:gd name="connsiteY50" fmla="*/ 2161 h 10000"/>
                <a:gd name="connsiteX51" fmla="*/ 3309 w 10000"/>
                <a:gd name="connsiteY51" fmla="*/ 2013 h 10000"/>
                <a:gd name="connsiteX52" fmla="*/ 3195 w 10000"/>
                <a:gd name="connsiteY52" fmla="*/ 2024 h 10000"/>
                <a:gd name="connsiteX53" fmla="*/ 3149 w 10000"/>
                <a:gd name="connsiteY53" fmla="*/ 2128 h 10000"/>
                <a:gd name="connsiteX54" fmla="*/ 3080 w 10000"/>
                <a:gd name="connsiteY54" fmla="*/ 1975 h 10000"/>
                <a:gd name="connsiteX55" fmla="*/ 2962 w 10000"/>
                <a:gd name="connsiteY55" fmla="*/ 2117 h 10000"/>
                <a:gd name="connsiteX56" fmla="*/ 2847 w 10000"/>
                <a:gd name="connsiteY56" fmla="*/ 2106 h 10000"/>
                <a:gd name="connsiteX57" fmla="*/ 2843 w 10000"/>
                <a:gd name="connsiteY57" fmla="*/ 2276 h 10000"/>
                <a:gd name="connsiteX58" fmla="*/ 2790 w 10000"/>
                <a:gd name="connsiteY58" fmla="*/ 2144 h 10000"/>
                <a:gd name="connsiteX59" fmla="*/ 2618 w 10000"/>
                <a:gd name="connsiteY59" fmla="*/ 2155 h 10000"/>
                <a:gd name="connsiteX60" fmla="*/ 2494 w 10000"/>
                <a:gd name="connsiteY60" fmla="*/ 1980 h 10000"/>
                <a:gd name="connsiteX61" fmla="*/ 2346 w 10000"/>
                <a:gd name="connsiteY61" fmla="*/ 2073 h 10000"/>
                <a:gd name="connsiteX62" fmla="*/ 2192 w 10000"/>
                <a:gd name="connsiteY62" fmla="*/ 1958 h 10000"/>
                <a:gd name="connsiteX63" fmla="*/ 2104 w 10000"/>
                <a:gd name="connsiteY63" fmla="*/ 2035 h 10000"/>
                <a:gd name="connsiteX64" fmla="*/ 2020 w 10000"/>
                <a:gd name="connsiteY64" fmla="*/ 1947 h 10000"/>
                <a:gd name="connsiteX65" fmla="*/ 1895 w 10000"/>
                <a:gd name="connsiteY65" fmla="*/ 1936 h 10000"/>
                <a:gd name="connsiteX66" fmla="*/ 1707 w 10000"/>
                <a:gd name="connsiteY66" fmla="*/ 1925 h 10000"/>
                <a:gd name="connsiteX67" fmla="*/ 1477 w 10000"/>
                <a:gd name="connsiteY67" fmla="*/ 1991 h 10000"/>
                <a:gd name="connsiteX68" fmla="*/ 1233 w 10000"/>
                <a:gd name="connsiteY68" fmla="*/ 2062 h 10000"/>
                <a:gd name="connsiteX69" fmla="*/ 942 w 10000"/>
                <a:gd name="connsiteY69" fmla="*/ 2166 h 10000"/>
                <a:gd name="connsiteX70" fmla="*/ 815 w 10000"/>
                <a:gd name="connsiteY70" fmla="*/ 2496 h 10000"/>
                <a:gd name="connsiteX71" fmla="*/ 617 w 10000"/>
                <a:gd name="connsiteY71" fmla="*/ 2501 h 10000"/>
                <a:gd name="connsiteX72" fmla="*/ 552 w 10000"/>
                <a:gd name="connsiteY72" fmla="*/ 2687 h 10000"/>
                <a:gd name="connsiteX73" fmla="*/ 571 w 10000"/>
                <a:gd name="connsiteY73" fmla="*/ 2764 h 10000"/>
                <a:gd name="connsiteX74" fmla="*/ 590 w 10000"/>
                <a:gd name="connsiteY74" fmla="*/ 2868 h 10000"/>
                <a:gd name="connsiteX75" fmla="*/ 590 w 10000"/>
                <a:gd name="connsiteY75" fmla="*/ 2868 h 10000"/>
                <a:gd name="connsiteX76" fmla="*/ 590 w 10000"/>
                <a:gd name="connsiteY76" fmla="*/ 2896 h 10000"/>
                <a:gd name="connsiteX77" fmla="*/ 698 w 10000"/>
                <a:gd name="connsiteY77" fmla="*/ 3116 h 10000"/>
                <a:gd name="connsiteX78" fmla="*/ 804 w 10000"/>
                <a:gd name="connsiteY78" fmla="*/ 3351 h 10000"/>
                <a:gd name="connsiteX79" fmla="*/ 942 w 10000"/>
                <a:gd name="connsiteY79" fmla="*/ 3488 h 10000"/>
                <a:gd name="connsiteX80" fmla="*/ 896 w 10000"/>
                <a:gd name="connsiteY80" fmla="*/ 3548 h 10000"/>
                <a:gd name="connsiteX81" fmla="*/ 824 w 10000"/>
                <a:gd name="connsiteY81" fmla="*/ 3603 h 10000"/>
                <a:gd name="connsiteX82" fmla="*/ 907 w 10000"/>
                <a:gd name="connsiteY82" fmla="*/ 3697 h 10000"/>
                <a:gd name="connsiteX83" fmla="*/ 896 w 10000"/>
                <a:gd name="connsiteY83" fmla="*/ 4053 h 10000"/>
                <a:gd name="connsiteX84" fmla="*/ 709 w 10000"/>
                <a:gd name="connsiteY84" fmla="*/ 4124 h 10000"/>
                <a:gd name="connsiteX85" fmla="*/ 509 w 10000"/>
                <a:gd name="connsiteY85" fmla="*/ 4531 h 10000"/>
                <a:gd name="connsiteX86" fmla="*/ 380 w 10000"/>
                <a:gd name="connsiteY86" fmla="*/ 4936 h 10000"/>
                <a:gd name="connsiteX87" fmla="*/ 199 w 10000"/>
                <a:gd name="connsiteY87" fmla="*/ 5260 h 10000"/>
                <a:gd name="connsiteX88" fmla="*/ 276 w 10000"/>
                <a:gd name="connsiteY88" fmla="*/ 5517 h 10000"/>
                <a:gd name="connsiteX89" fmla="*/ 283 w 10000"/>
                <a:gd name="connsiteY89" fmla="*/ 5732 h 10000"/>
                <a:gd name="connsiteX90" fmla="*/ 409 w 10000"/>
                <a:gd name="connsiteY90" fmla="*/ 5841 h 10000"/>
                <a:gd name="connsiteX91" fmla="*/ 391 w 10000"/>
                <a:gd name="connsiteY91" fmla="*/ 5945 h 10000"/>
                <a:gd name="connsiteX92" fmla="*/ 207 w 10000"/>
                <a:gd name="connsiteY92" fmla="*/ 5852 h 10000"/>
                <a:gd name="connsiteX93" fmla="*/ 127 w 10000"/>
                <a:gd name="connsiteY93" fmla="*/ 6099 h 10000"/>
                <a:gd name="connsiteX94" fmla="*/ 107 w 10000"/>
                <a:gd name="connsiteY94" fmla="*/ 6346 h 10000"/>
                <a:gd name="connsiteX95" fmla="*/ 1 w 10000"/>
                <a:gd name="connsiteY95" fmla="*/ 6571 h 10000"/>
                <a:gd name="connsiteX96" fmla="*/ 19 w 10000"/>
                <a:gd name="connsiteY96" fmla="*/ 6779 h 10000"/>
                <a:gd name="connsiteX97" fmla="*/ 92 w 10000"/>
                <a:gd name="connsiteY97" fmla="*/ 6828 h 10000"/>
                <a:gd name="connsiteX98" fmla="*/ 158 w 10000"/>
                <a:gd name="connsiteY98" fmla="*/ 6960 h 10000"/>
                <a:gd name="connsiteX99" fmla="*/ 246 w 10000"/>
                <a:gd name="connsiteY99" fmla="*/ 6943 h 10000"/>
                <a:gd name="connsiteX100" fmla="*/ 299 w 10000"/>
                <a:gd name="connsiteY100" fmla="*/ 7076 h 10000"/>
                <a:gd name="connsiteX101" fmla="*/ 455 w 10000"/>
                <a:gd name="connsiteY101" fmla="*/ 7103 h 10000"/>
                <a:gd name="connsiteX102" fmla="*/ 463 w 10000"/>
                <a:gd name="connsiteY102" fmla="*/ 7251 h 10000"/>
                <a:gd name="connsiteX103" fmla="*/ 505 w 10000"/>
                <a:gd name="connsiteY103" fmla="*/ 7278 h 10000"/>
                <a:gd name="connsiteX104" fmla="*/ 537 w 10000"/>
                <a:gd name="connsiteY104" fmla="*/ 7174 h 10000"/>
                <a:gd name="connsiteX105" fmla="*/ 594 w 10000"/>
                <a:gd name="connsiteY105" fmla="*/ 7196 h 10000"/>
                <a:gd name="connsiteX106" fmla="*/ 659 w 10000"/>
                <a:gd name="connsiteY106" fmla="*/ 6992 h 10000"/>
                <a:gd name="connsiteX107" fmla="*/ 839 w 10000"/>
                <a:gd name="connsiteY107" fmla="*/ 7174 h 10000"/>
                <a:gd name="connsiteX108" fmla="*/ 1313 w 10000"/>
                <a:gd name="connsiteY108" fmla="*/ 7163 h 10000"/>
                <a:gd name="connsiteX109" fmla="*/ 1500 w 10000"/>
                <a:gd name="connsiteY109" fmla="*/ 7092 h 10000"/>
                <a:gd name="connsiteX110" fmla="*/ 1807 w 10000"/>
                <a:gd name="connsiteY110" fmla="*/ 7344 h 10000"/>
                <a:gd name="connsiteX111" fmla="*/ 2001 w 10000"/>
                <a:gd name="connsiteY111" fmla="*/ 7087 h 10000"/>
                <a:gd name="connsiteX112" fmla="*/ 2437 w 10000"/>
                <a:gd name="connsiteY112" fmla="*/ 6861 h 10000"/>
                <a:gd name="connsiteX113" fmla="*/ 2594 w 10000"/>
                <a:gd name="connsiteY113" fmla="*/ 6489 h 10000"/>
                <a:gd name="connsiteX114" fmla="*/ 2709 w 10000"/>
                <a:gd name="connsiteY114" fmla="*/ 6439 h 10000"/>
                <a:gd name="connsiteX115" fmla="*/ 2709 w 10000"/>
                <a:gd name="connsiteY115" fmla="*/ 6379 h 10000"/>
                <a:gd name="connsiteX116" fmla="*/ 2755 w 10000"/>
                <a:gd name="connsiteY116" fmla="*/ 6379 h 10000"/>
                <a:gd name="connsiteX117" fmla="*/ 2744 w 10000"/>
                <a:gd name="connsiteY117" fmla="*/ 6230 h 10000"/>
                <a:gd name="connsiteX118" fmla="*/ 2885 w 10000"/>
                <a:gd name="connsiteY118" fmla="*/ 6285 h 10000"/>
                <a:gd name="connsiteX119" fmla="*/ 2904 w 10000"/>
                <a:gd name="connsiteY119" fmla="*/ 6159 h 10000"/>
                <a:gd name="connsiteX120" fmla="*/ 2988 w 10000"/>
                <a:gd name="connsiteY120" fmla="*/ 6230 h 10000"/>
                <a:gd name="connsiteX121" fmla="*/ 3050 w 10000"/>
                <a:gd name="connsiteY121" fmla="*/ 6126 h 10000"/>
                <a:gd name="connsiteX122" fmla="*/ 3149 w 10000"/>
                <a:gd name="connsiteY122" fmla="*/ 6154 h 10000"/>
                <a:gd name="connsiteX123" fmla="*/ 3237 w 10000"/>
                <a:gd name="connsiteY123" fmla="*/ 6055 h 10000"/>
                <a:gd name="connsiteX124" fmla="*/ 3405 w 10000"/>
                <a:gd name="connsiteY124" fmla="*/ 6192 h 10000"/>
                <a:gd name="connsiteX125" fmla="*/ 3490 w 10000"/>
                <a:gd name="connsiteY125" fmla="*/ 6197 h 10000"/>
                <a:gd name="connsiteX126" fmla="*/ 3516 w 10000"/>
                <a:gd name="connsiteY126" fmla="*/ 6307 h 10000"/>
                <a:gd name="connsiteX127" fmla="*/ 3674 w 10000"/>
                <a:gd name="connsiteY127" fmla="*/ 6236 h 10000"/>
                <a:gd name="connsiteX128" fmla="*/ 3658 w 10000"/>
                <a:gd name="connsiteY128" fmla="*/ 6357 h 10000"/>
                <a:gd name="connsiteX129" fmla="*/ 3716 w 10000"/>
                <a:gd name="connsiteY129" fmla="*/ 6341 h 10000"/>
                <a:gd name="connsiteX130" fmla="*/ 3784 w 10000"/>
                <a:gd name="connsiteY130" fmla="*/ 6428 h 10000"/>
                <a:gd name="connsiteX131" fmla="*/ 3788 w 10000"/>
                <a:gd name="connsiteY131" fmla="*/ 6301 h 10000"/>
                <a:gd name="connsiteX132" fmla="*/ 3971 w 10000"/>
                <a:gd name="connsiteY132" fmla="*/ 6341 h 10000"/>
                <a:gd name="connsiteX133" fmla="*/ 4037 w 10000"/>
                <a:gd name="connsiteY133" fmla="*/ 6511 h 10000"/>
                <a:gd name="connsiteX134" fmla="*/ 4140 w 10000"/>
                <a:gd name="connsiteY134" fmla="*/ 6494 h 10000"/>
                <a:gd name="connsiteX135" fmla="*/ 4185 w 10000"/>
                <a:gd name="connsiteY135" fmla="*/ 6417 h 10000"/>
                <a:gd name="connsiteX136" fmla="*/ 4288 w 10000"/>
                <a:gd name="connsiteY136" fmla="*/ 6735 h 10000"/>
                <a:gd name="connsiteX137" fmla="*/ 4251 w 10000"/>
                <a:gd name="connsiteY137" fmla="*/ 6987 h 10000"/>
                <a:gd name="connsiteX138" fmla="*/ 4304 w 10000"/>
                <a:gd name="connsiteY138" fmla="*/ 7114 h 10000"/>
                <a:gd name="connsiteX139" fmla="*/ 4376 w 10000"/>
                <a:gd name="connsiteY139" fmla="*/ 7119 h 10000"/>
                <a:gd name="connsiteX140" fmla="*/ 4488 w 10000"/>
                <a:gd name="connsiteY140" fmla="*/ 7256 h 10000"/>
                <a:gd name="connsiteX141" fmla="*/ 4533 w 10000"/>
                <a:gd name="connsiteY141" fmla="*/ 7152 h 10000"/>
                <a:gd name="connsiteX142" fmla="*/ 4583 w 10000"/>
                <a:gd name="connsiteY142" fmla="*/ 7322 h 10000"/>
                <a:gd name="connsiteX143" fmla="*/ 4646 w 10000"/>
                <a:gd name="connsiteY143" fmla="*/ 7662 h 10000"/>
                <a:gd name="connsiteX144" fmla="*/ 4829 w 10000"/>
                <a:gd name="connsiteY144" fmla="*/ 7739 h 10000"/>
                <a:gd name="connsiteX145" fmla="*/ 4871 w 10000"/>
                <a:gd name="connsiteY145" fmla="*/ 8183 h 10000"/>
                <a:gd name="connsiteX146" fmla="*/ 5027 w 10000"/>
                <a:gd name="connsiteY146" fmla="*/ 8276 h 10000"/>
                <a:gd name="connsiteX147" fmla="*/ 4866 w 10000"/>
                <a:gd name="connsiteY147" fmla="*/ 8370 h 10000"/>
                <a:gd name="connsiteX148" fmla="*/ 4813 w 10000"/>
                <a:gd name="connsiteY148" fmla="*/ 8260 h 10000"/>
                <a:gd name="connsiteX149" fmla="*/ 4752 w 10000"/>
                <a:gd name="connsiteY149" fmla="*/ 8403 h 10000"/>
                <a:gd name="connsiteX150" fmla="*/ 4594 w 10000"/>
                <a:gd name="connsiteY150" fmla="*/ 8287 h 10000"/>
                <a:gd name="connsiteX151" fmla="*/ 4506 w 10000"/>
                <a:gd name="connsiteY151" fmla="*/ 8452 h 10000"/>
                <a:gd name="connsiteX152" fmla="*/ 4323 w 10000"/>
                <a:gd name="connsiteY152" fmla="*/ 8331 h 10000"/>
                <a:gd name="connsiteX153" fmla="*/ 4411 w 10000"/>
                <a:gd name="connsiteY153" fmla="*/ 8699 h 10000"/>
                <a:gd name="connsiteX154" fmla="*/ 4403 w 10000"/>
                <a:gd name="connsiteY154" fmla="*/ 8967 h 10000"/>
                <a:gd name="connsiteX155" fmla="*/ 4285 w 10000"/>
                <a:gd name="connsiteY155" fmla="*/ 9088 h 10000"/>
                <a:gd name="connsiteX156" fmla="*/ 4323 w 10000"/>
                <a:gd name="connsiteY156" fmla="*/ 9193 h 10000"/>
                <a:gd name="connsiteX157" fmla="*/ 4159 w 10000"/>
                <a:gd name="connsiteY157" fmla="*/ 9412 h 10000"/>
                <a:gd name="connsiteX158" fmla="*/ 4224 w 10000"/>
                <a:gd name="connsiteY158" fmla="*/ 9647 h 10000"/>
                <a:gd name="connsiteX159" fmla="*/ 4063 w 10000"/>
                <a:gd name="connsiteY159" fmla="*/ 9681 h 10000"/>
                <a:gd name="connsiteX160" fmla="*/ 4021 w 10000"/>
                <a:gd name="connsiteY160" fmla="*/ 9741 h 10000"/>
                <a:gd name="connsiteX161" fmla="*/ 4090 w 10000"/>
                <a:gd name="connsiteY161" fmla="*/ 9785 h 10000"/>
                <a:gd name="connsiteX162" fmla="*/ 4213 w 10000"/>
                <a:gd name="connsiteY162" fmla="*/ 9944 h 10000"/>
                <a:gd name="connsiteX163" fmla="*/ 4411 w 10000"/>
                <a:gd name="connsiteY163" fmla="*/ 9999 h 10000"/>
                <a:gd name="connsiteX164" fmla="*/ 4418 w 10000"/>
                <a:gd name="connsiteY164" fmla="*/ 9851 h 10000"/>
                <a:gd name="connsiteX165" fmla="*/ 4488 w 10000"/>
                <a:gd name="connsiteY165" fmla="*/ 9856 h 10000"/>
                <a:gd name="connsiteX166" fmla="*/ 4783 w 10000"/>
                <a:gd name="connsiteY166" fmla="*/ 9603 h 10000"/>
                <a:gd name="connsiteX167" fmla="*/ 4978 w 10000"/>
                <a:gd name="connsiteY167" fmla="*/ 9845 h 10000"/>
                <a:gd name="connsiteX168" fmla="*/ 4978 w 10000"/>
                <a:gd name="connsiteY168" fmla="*/ 9862 h 10000"/>
                <a:gd name="connsiteX169" fmla="*/ 5009 w 10000"/>
                <a:gd name="connsiteY169" fmla="*/ 9703 h 10000"/>
                <a:gd name="connsiteX170" fmla="*/ 4954 w 10000"/>
                <a:gd name="connsiteY170" fmla="*/ 9570 h 10000"/>
                <a:gd name="connsiteX171" fmla="*/ 4886 w 10000"/>
                <a:gd name="connsiteY171" fmla="*/ 9549 h 10000"/>
                <a:gd name="connsiteX172" fmla="*/ 4932 w 10000"/>
                <a:gd name="connsiteY172" fmla="*/ 9466 h 10000"/>
                <a:gd name="connsiteX173" fmla="*/ 4917 w 10000"/>
                <a:gd name="connsiteY173" fmla="*/ 9444 h 10000"/>
                <a:gd name="connsiteX174" fmla="*/ 4859 w 10000"/>
                <a:gd name="connsiteY174" fmla="*/ 9439 h 10000"/>
                <a:gd name="connsiteX175" fmla="*/ 4829 w 10000"/>
                <a:gd name="connsiteY175" fmla="*/ 9121 h 10000"/>
                <a:gd name="connsiteX176" fmla="*/ 4871 w 10000"/>
                <a:gd name="connsiteY176" fmla="*/ 9105 h 10000"/>
                <a:gd name="connsiteX177" fmla="*/ 4893 w 10000"/>
                <a:gd name="connsiteY177" fmla="*/ 9253 h 10000"/>
                <a:gd name="connsiteX178" fmla="*/ 4947 w 10000"/>
                <a:gd name="connsiteY178" fmla="*/ 9384 h 10000"/>
                <a:gd name="connsiteX179" fmla="*/ 4993 w 10000"/>
                <a:gd name="connsiteY179" fmla="*/ 9302 h 10000"/>
                <a:gd name="connsiteX180" fmla="*/ 4981 w 10000"/>
                <a:gd name="connsiteY180" fmla="*/ 9220 h 10000"/>
                <a:gd name="connsiteX181" fmla="*/ 5054 w 10000"/>
                <a:gd name="connsiteY181" fmla="*/ 9203 h 10000"/>
                <a:gd name="connsiteX182" fmla="*/ 5016 w 10000"/>
                <a:gd name="connsiteY182" fmla="*/ 9034 h 10000"/>
                <a:gd name="connsiteX183" fmla="*/ 5115 w 10000"/>
                <a:gd name="connsiteY183" fmla="*/ 9061 h 10000"/>
                <a:gd name="connsiteX184" fmla="*/ 5119 w 10000"/>
                <a:gd name="connsiteY184" fmla="*/ 8972 h 10000"/>
                <a:gd name="connsiteX185" fmla="*/ 5157 w 10000"/>
                <a:gd name="connsiteY185" fmla="*/ 9039 h 10000"/>
                <a:gd name="connsiteX186" fmla="*/ 5326 w 10000"/>
                <a:gd name="connsiteY186" fmla="*/ 8781 h 10000"/>
                <a:gd name="connsiteX187" fmla="*/ 5230 w 10000"/>
                <a:gd name="connsiteY187" fmla="*/ 8584 h 10000"/>
                <a:gd name="connsiteX188" fmla="*/ 5051 w 10000"/>
                <a:gd name="connsiteY188" fmla="*/ 8425 h 10000"/>
                <a:gd name="connsiteX189" fmla="*/ 5153 w 10000"/>
                <a:gd name="connsiteY189" fmla="*/ 8370 h 10000"/>
                <a:gd name="connsiteX190" fmla="*/ 5302 w 10000"/>
                <a:gd name="connsiteY190" fmla="*/ 8633 h 10000"/>
                <a:gd name="connsiteX191" fmla="*/ 5414 w 10000"/>
                <a:gd name="connsiteY191" fmla="*/ 8199 h 10000"/>
                <a:gd name="connsiteX192" fmla="*/ 5421 w 10000"/>
                <a:gd name="connsiteY192" fmla="*/ 8030 h 10000"/>
                <a:gd name="connsiteX193" fmla="*/ 5608 w 10000"/>
                <a:gd name="connsiteY193" fmla="*/ 7942 h 10000"/>
                <a:gd name="connsiteX194" fmla="*/ 5678 w 10000"/>
                <a:gd name="connsiteY194" fmla="*/ 7607 h 10000"/>
                <a:gd name="connsiteX195" fmla="*/ 5689 w 10000"/>
                <a:gd name="connsiteY195" fmla="*/ 7734 h 10000"/>
                <a:gd name="connsiteX196" fmla="*/ 5808 w 10000"/>
                <a:gd name="connsiteY196" fmla="*/ 7596 h 10000"/>
                <a:gd name="connsiteX197" fmla="*/ 5892 w 10000"/>
                <a:gd name="connsiteY197" fmla="*/ 7579 h 10000"/>
                <a:gd name="connsiteX198" fmla="*/ 5976 w 10000"/>
                <a:gd name="connsiteY198" fmla="*/ 7207 h 10000"/>
                <a:gd name="connsiteX199" fmla="*/ 6052 w 10000"/>
                <a:gd name="connsiteY199" fmla="*/ 7486 h 10000"/>
                <a:gd name="connsiteX200" fmla="*/ 6278 w 10000"/>
                <a:gd name="connsiteY200" fmla="*/ 7563 h 10000"/>
                <a:gd name="connsiteX201" fmla="*/ 6106 w 10000"/>
                <a:gd name="connsiteY201" fmla="*/ 7618 h 10000"/>
                <a:gd name="connsiteX202" fmla="*/ 6091 w 10000"/>
                <a:gd name="connsiteY202" fmla="*/ 7679 h 10000"/>
                <a:gd name="connsiteX203" fmla="*/ 5919 w 10000"/>
                <a:gd name="connsiteY203" fmla="*/ 7690 h 10000"/>
                <a:gd name="connsiteX204" fmla="*/ 5831 w 10000"/>
                <a:gd name="connsiteY204" fmla="*/ 7723 h 10000"/>
                <a:gd name="connsiteX205" fmla="*/ 5900 w 10000"/>
                <a:gd name="connsiteY205" fmla="*/ 7772 h 10000"/>
                <a:gd name="connsiteX206" fmla="*/ 5961 w 10000"/>
                <a:gd name="connsiteY206" fmla="*/ 7756 h 10000"/>
                <a:gd name="connsiteX207" fmla="*/ 6129 w 10000"/>
                <a:gd name="connsiteY207" fmla="*/ 7789 h 10000"/>
                <a:gd name="connsiteX208" fmla="*/ 5938 w 10000"/>
                <a:gd name="connsiteY208" fmla="*/ 7964 h 10000"/>
                <a:gd name="connsiteX209" fmla="*/ 6007 w 10000"/>
                <a:gd name="connsiteY209" fmla="*/ 8008 h 10000"/>
                <a:gd name="connsiteX210" fmla="*/ 6182 w 10000"/>
                <a:gd name="connsiteY210" fmla="*/ 7958 h 10000"/>
                <a:gd name="connsiteX211" fmla="*/ 6419 w 10000"/>
                <a:gd name="connsiteY211" fmla="*/ 8101 h 10000"/>
                <a:gd name="connsiteX212" fmla="*/ 6726 w 10000"/>
                <a:gd name="connsiteY212" fmla="*/ 7909 h 10000"/>
                <a:gd name="connsiteX213" fmla="*/ 7028 w 10000"/>
                <a:gd name="connsiteY213" fmla="*/ 7887 h 10000"/>
                <a:gd name="connsiteX214" fmla="*/ 7074 w 10000"/>
                <a:gd name="connsiteY214" fmla="*/ 7745 h 10000"/>
                <a:gd name="connsiteX215" fmla="*/ 7154 w 10000"/>
                <a:gd name="connsiteY215" fmla="*/ 7958 h 10000"/>
                <a:gd name="connsiteX216" fmla="*/ 7238 w 10000"/>
                <a:gd name="connsiteY216" fmla="*/ 7986 h 10000"/>
                <a:gd name="connsiteX217" fmla="*/ 7207 w 10000"/>
                <a:gd name="connsiteY217" fmla="*/ 8134 h 10000"/>
                <a:gd name="connsiteX218" fmla="*/ 6944 w 10000"/>
                <a:gd name="connsiteY218" fmla="*/ 8281 h 10000"/>
                <a:gd name="connsiteX219" fmla="*/ 6925 w 10000"/>
                <a:gd name="connsiteY219" fmla="*/ 8386 h 10000"/>
                <a:gd name="connsiteX220" fmla="*/ 6780 w 10000"/>
                <a:gd name="connsiteY220" fmla="*/ 8523 h 10000"/>
                <a:gd name="connsiteX221" fmla="*/ 6775 w 10000"/>
                <a:gd name="connsiteY221" fmla="*/ 8649 h 10000"/>
                <a:gd name="connsiteX222" fmla="*/ 6687 w 10000"/>
                <a:gd name="connsiteY222" fmla="*/ 8704 h 10000"/>
                <a:gd name="connsiteX223" fmla="*/ 6576 w 10000"/>
                <a:gd name="connsiteY223" fmla="*/ 8989 h 10000"/>
                <a:gd name="connsiteX224" fmla="*/ 6734 w 10000"/>
                <a:gd name="connsiteY224" fmla="*/ 9001 h 10000"/>
                <a:gd name="connsiteX225" fmla="*/ 6826 w 10000"/>
                <a:gd name="connsiteY225" fmla="*/ 8879 h 10000"/>
                <a:gd name="connsiteX226" fmla="*/ 6925 w 10000"/>
                <a:gd name="connsiteY226" fmla="*/ 8912 h 10000"/>
                <a:gd name="connsiteX227" fmla="*/ 6971 w 10000"/>
                <a:gd name="connsiteY227" fmla="*/ 8786 h 10000"/>
                <a:gd name="connsiteX228" fmla="*/ 7035 w 10000"/>
                <a:gd name="connsiteY228" fmla="*/ 9001 h 10000"/>
                <a:gd name="connsiteX229" fmla="*/ 7223 w 10000"/>
                <a:gd name="connsiteY229" fmla="*/ 8994 h 10000"/>
                <a:gd name="connsiteX230" fmla="*/ 7383 w 10000"/>
                <a:gd name="connsiteY230" fmla="*/ 9362 h 10000"/>
                <a:gd name="connsiteX231" fmla="*/ 7398 w 10000"/>
                <a:gd name="connsiteY231" fmla="*/ 9675 h 10000"/>
                <a:gd name="connsiteX232" fmla="*/ 7341 w 10000"/>
                <a:gd name="connsiteY232" fmla="*/ 9692 h 10000"/>
                <a:gd name="connsiteX233" fmla="*/ 7352 w 10000"/>
                <a:gd name="connsiteY233" fmla="*/ 9780 h 10000"/>
                <a:gd name="connsiteX234" fmla="*/ 7594 w 10000"/>
                <a:gd name="connsiteY234" fmla="*/ 9900 h 10000"/>
                <a:gd name="connsiteX235" fmla="*/ 8294 w 10000"/>
                <a:gd name="connsiteY235" fmla="*/ 9023 h 10000"/>
                <a:gd name="connsiteX236" fmla="*/ 8370 w 10000"/>
                <a:gd name="connsiteY236" fmla="*/ 8841 h 10000"/>
                <a:gd name="connsiteX237" fmla="*/ 8458 w 10000"/>
                <a:gd name="connsiteY237" fmla="*/ 8786 h 10000"/>
                <a:gd name="connsiteX238" fmla="*/ 8512 w 10000"/>
                <a:gd name="connsiteY238" fmla="*/ 8512 h 10000"/>
                <a:gd name="connsiteX239" fmla="*/ 8739 w 10000"/>
                <a:gd name="connsiteY239" fmla="*/ 8617 h 10000"/>
                <a:gd name="connsiteX240" fmla="*/ 8872 w 10000"/>
                <a:gd name="connsiteY240" fmla="*/ 8474 h 10000"/>
                <a:gd name="connsiteX241" fmla="*/ 9059 w 10000"/>
                <a:gd name="connsiteY241" fmla="*/ 8343 h 10000"/>
                <a:gd name="connsiteX242" fmla="*/ 8983 w 10000"/>
                <a:gd name="connsiteY242" fmla="*/ 8128 h 10000"/>
                <a:gd name="connsiteX243" fmla="*/ 7885 w 10000"/>
                <a:gd name="connsiteY243" fmla="*/ 7991 h 10000"/>
                <a:gd name="connsiteX244" fmla="*/ 7859 w 10000"/>
                <a:gd name="connsiteY244" fmla="*/ 7904 h 10000"/>
                <a:gd name="connsiteX245" fmla="*/ 7782 w 10000"/>
                <a:gd name="connsiteY245" fmla="*/ 8002 h 10000"/>
                <a:gd name="connsiteX246" fmla="*/ 7893 w 10000"/>
                <a:gd name="connsiteY246" fmla="*/ 7761 h 10000"/>
                <a:gd name="connsiteX247" fmla="*/ 7851 w 10000"/>
                <a:gd name="connsiteY247" fmla="*/ 7717 h 10000"/>
                <a:gd name="connsiteX248" fmla="*/ 7728 w 10000"/>
                <a:gd name="connsiteY248" fmla="*/ 7915 h 10000"/>
                <a:gd name="connsiteX249" fmla="*/ 7793 w 10000"/>
                <a:gd name="connsiteY249" fmla="*/ 7712 h 10000"/>
                <a:gd name="connsiteX250" fmla="*/ 7705 w 10000"/>
                <a:gd name="connsiteY250" fmla="*/ 7767 h 10000"/>
                <a:gd name="connsiteX251" fmla="*/ 7590 w 10000"/>
                <a:gd name="connsiteY251" fmla="*/ 7717 h 10000"/>
                <a:gd name="connsiteX252" fmla="*/ 7502 w 10000"/>
                <a:gd name="connsiteY252" fmla="*/ 7794 h 10000"/>
                <a:gd name="connsiteX253" fmla="*/ 7407 w 10000"/>
                <a:gd name="connsiteY253" fmla="*/ 7728 h 10000"/>
                <a:gd name="connsiteX254" fmla="*/ 7250 w 10000"/>
                <a:gd name="connsiteY254" fmla="*/ 7717 h 10000"/>
                <a:gd name="connsiteX255" fmla="*/ 7253 w 10000"/>
                <a:gd name="connsiteY255" fmla="*/ 7547 h 10000"/>
                <a:gd name="connsiteX256" fmla="*/ 7395 w 10000"/>
                <a:gd name="connsiteY256" fmla="*/ 7662 h 10000"/>
                <a:gd name="connsiteX257" fmla="*/ 7440 w 10000"/>
                <a:gd name="connsiteY257" fmla="*/ 7541 h 10000"/>
                <a:gd name="connsiteX258" fmla="*/ 7403 w 10000"/>
                <a:gd name="connsiteY258" fmla="*/ 7410 h 10000"/>
                <a:gd name="connsiteX259" fmla="*/ 7510 w 10000"/>
                <a:gd name="connsiteY259" fmla="*/ 7547 h 10000"/>
                <a:gd name="connsiteX260" fmla="*/ 7655 w 10000"/>
                <a:gd name="connsiteY260" fmla="*/ 7536 h 10000"/>
                <a:gd name="connsiteX261" fmla="*/ 7679 w 10000"/>
                <a:gd name="connsiteY261" fmla="*/ 7685 h 10000"/>
                <a:gd name="connsiteX262" fmla="*/ 7721 w 10000"/>
                <a:gd name="connsiteY262" fmla="*/ 7685 h 10000"/>
                <a:gd name="connsiteX263" fmla="*/ 7732 w 10000"/>
                <a:gd name="connsiteY263" fmla="*/ 7415 h 10000"/>
                <a:gd name="connsiteX264" fmla="*/ 7782 w 10000"/>
                <a:gd name="connsiteY264" fmla="*/ 7585 h 10000"/>
                <a:gd name="connsiteX265" fmla="*/ 7870 w 10000"/>
                <a:gd name="connsiteY265" fmla="*/ 7590 h 10000"/>
                <a:gd name="connsiteX266" fmla="*/ 7805 w 10000"/>
                <a:gd name="connsiteY266" fmla="*/ 7333 h 10000"/>
                <a:gd name="connsiteX267" fmla="*/ 7965 w 10000"/>
                <a:gd name="connsiteY267" fmla="*/ 7240 h 10000"/>
                <a:gd name="connsiteX268" fmla="*/ 7958 w 10000"/>
                <a:gd name="connsiteY268" fmla="*/ 6987 h 10000"/>
                <a:gd name="connsiteX269" fmla="*/ 8069 w 10000"/>
                <a:gd name="connsiteY269" fmla="*/ 7081 h 10000"/>
                <a:gd name="connsiteX270" fmla="*/ 8088 w 10000"/>
                <a:gd name="connsiteY270" fmla="*/ 7015 h 10000"/>
                <a:gd name="connsiteX271" fmla="*/ 7954 w 10000"/>
                <a:gd name="connsiteY271" fmla="*/ 6735 h 10000"/>
                <a:gd name="connsiteX272" fmla="*/ 8133 w 10000"/>
                <a:gd name="connsiteY272" fmla="*/ 6894 h 10000"/>
                <a:gd name="connsiteX273" fmla="*/ 8359 w 10000"/>
                <a:gd name="connsiteY273" fmla="*/ 6511 h 10000"/>
                <a:gd name="connsiteX274" fmla="*/ 8577 w 10000"/>
                <a:gd name="connsiteY274" fmla="*/ 6483 h 10000"/>
                <a:gd name="connsiteX275" fmla="*/ 8623 w 10000"/>
                <a:gd name="connsiteY275"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538 w 10000"/>
                <a:gd name="connsiteY16" fmla="*/ 1311 h 10000"/>
                <a:gd name="connsiteX17" fmla="*/ 6454 w 10000"/>
                <a:gd name="connsiteY17" fmla="*/ 1223 h 10000"/>
                <a:gd name="connsiteX18" fmla="*/ 6267 w 10000"/>
                <a:gd name="connsiteY18" fmla="*/ 1273 h 10000"/>
                <a:gd name="connsiteX19" fmla="*/ 6285 w 10000"/>
                <a:gd name="connsiteY19" fmla="*/ 1125 h 10000"/>
                <a:gd name="connsiteX20" fmla="*/ 6213 w 10000"/>
                <a:gd name="connsiteY20" fmla="*/ 1119 h 10000"/>
                <a:gd name="connsiteX21" fmla="*/ 6179 w 10000"/>
                <a:gd name="connsiteY21" fmla="*/ 910 h 10000"/>
                <a:gd name="connsiteX22" fmla="*/ 6079 w 10000"/>
                <a:gd name="connsiteY22" fmla="*/ 795 h 10000"/>
                <a:gd name="connsiteX23" fmla="*/ 6285 w 10000"/>
                <a:gd name="connsiteY23" fmla="*/ 620 h 10000"/>
                <a:gd name="connsiteX24" fmla="*/ 6037 w 10000"/>
                <a:gd name="connsiteY24" fmla="*/ 395 h 10000"/>
                <a:gd name="connsiteX25" fmla="*/ 5988 w 10000"/>
                <a:gd name="connsiteY25" fmla="*/ 142 h 10000"/>
                <a:gd name="connsiteX26" fmla="*/ 5873 w 10000"/>
                <a:gd name="connsiteY26" fmla="*/ 110 h 10000"/>
                <a:gd name="connsiteX27" fmla="*/ 5777 w 10000"/>
                <a:gd name="connsiteY27" fmla="*/ 0 h 10000"/>
                <a:gd name="connsiteX28" fmla="*/ 5675 w 10000"/>
                <a:gd name="connsiteY28" fmla="*/ 120 h 10000"/>
                <a:gd name="connsiteX29" fmla="*/ 5501 w 10000"/>
                <a:gd name="connsiteY29" fmla="*/ 110 h 10000"/>
                <a:gd name="connsiteX30" fmla="*/ 5352 w 10000"/>
                <a:gd name="connsiteY30" fmla="*/ 351 h 10000"/>
                <a:gd name="connsiteX31" fmla="*/ 5066 w 10000"/>
                <a:gd name="connsiteY31" fmla="*/ 329 h 10000"/>
                <a:gd name="connsiteX32" fmla="*/ 4996 w 10000"/>
                <a:gd name="connsiteY32" fmla="*/ 680 h 10000"/>
                <a:gd name="connsiteX33" fmla="*/ 4809 w 10000"/>
                <a:gd name="connsiteY33" fmla="*/ 707 h 10000"/>
                <a:gd name="connsiteX34" fmla="*/ 4905 w 10000"/>
                <a:gd name="connsiteY34" fmla="*/ 844 h 10000"/>
                <a:gd name="connsiteX35" fmla="*/ 4848 w 10000"/>
                <a:gd name="connsiteY35" fmla="*/ 899 h 10000"/>
                <a:gd name="connsiteX36" fmla="*/ 4718 w 10000"/>
                <a:gd name="connsiteY36" fmla="*/ 894 h 10000"/>
                <a:gd name="connsiteX37" fmla="*/ 4541 w 10000"/>
                <a:gd name="connsiteY37" fmla="*/ 1026 h 10000"/>
                <a:gd name="connsiteX38" fmla="*/ 4350 w 10000"/>
                <a:gd name="connsiteY38" fmla="*/ 1668 h 10000"/>
                <a:gd name="connsiteX39" fmla="*/ 4407 w 10000"/>
                <a:gd name="connsiteY39" fmla="*/ 2090 h 10000"/>
                <a:gd name="connsiteX40" fmla="*/ 4216 w 10000"/>
                <a:gd name="connsiteY40" fmla="*/ 1865 h 10000"/>
                <a:gd name="connsiteX41" fmla="*/ 3938 w 10000"/>
                <a:gd name="connsiteY41" fmla="*/ 1991 h 10000"/>
                <a:gd name="connsiteX42" fmla="*/ 3910 w 10000"/>
                <a:gd name="connsiteY42" fmla="*/ 1931 h 10000"/>
                <a:gd name="connsiteX43" fmla="*/ 3780 w 10000"/>
                <a:gd name="connsiteY43" fmla="*/ 2002 h 10000"/>
                <a:gd name="connsiteX44" fmla="*/ 3704 w 10000"/>
                <a:gd name="connsiteY44" fmla="*/ 2144 h 10000"/>
                <a:gd name="connsiteX45" fmla="*/ 3643 w 10000"/>
                <a:gd name="connsiteY45" fmla="*/ 1909 h 10000"/>
                <a:gd name="connsiteX46" fmla="*/ 3558 w 10000"/>
                <a:gd name="connsiteY46" fmla="*/ 1843 h 10000"/>
                <a:gd name="connsiteX47" fmla="*/ 3523 w 10000"/>
                <a:gd name="connsiteY47" fmla="*/ 1964 h 10000"/>
                <a:gd name="connsiteX48" fmla="*/ 3409 w 10000"/>
                <a:gd name="connsiteY48" fmla="*/ 1996 h 10000"/>
                <a:gd name="connsiteX49" fmla="*/ 3347 w 10000"/>
                <a:gd name="connsiteY49" fmla="*/ 2161 h 10000"/>
                <a:gd name="connsiteX50" fmla="*/ 3309 w 10000"/>
                <a:gd name="connsiteY50" fmla="*/ 2013 h 10000"/>
                <a:gd name="connsiteX51" fmla="*/ 3195 w 10000"/>
                <a:gd name="connsiteY51" fmla="*/ 2024 h 10000"/>
                <a:gd name="connsiteX52" fmla="*/ 3149 w 10000"/>
                <a:gd name="connsiteY52" fmla="*/ 2128 h 10000"/>
                <a:gd name="connsiteX53" fmla="*/ 3080 w 10000"/>
                <a:gd name="connsiteY53" fmla="*/ 1975 h 10000"/>
                <a:gd name="connsiteX54" fmla="*/ 2962 w 10000"/>
                <a:gd name="connsiteY54" fmla="*/ 2117 h 10000"/>
                <a:gd name="connsiteX55" fmla="*/ 2847 w 10000"/>
                <a:gd name="connsiteY55" fmla="*/ 2106 h 10000"/>
                <a:gd name="connsiteX56" fmla="*/ 2843 w 10000"/>
                <a:gd name="connsiteY56" fmla="*/ 2276 h 10000"/>
                <a:gd name="connsiteX57" fmla="*/ 2790 w 10000"/>
                <a:gd name="connsiteY57" fmla="*/ 2144 h 10000"/>
                <a:gd name="connsiteX58" fmla="*/ 2618 w 10000"/>
                <a:gd name="connsiteY58" fmla="*/ 2155 h 10000"/>
                <a:gd name="connsiteX59" fmla="*/ 2494 w 10000"/>
                <a:gd name="connsiteY59" fmla="*/ 1980 h 10000"/>
                <a:gd name="connsiteX60" fmla="*/ 2346 w 10000"/>
                <a:gd name="connsiteY60" fmla="*/ 2073 h 10000"/>
                <a:gd name="connsiteX61" fmla="*/ 2192 w 10000"/>
                <a:gd name="connsiteY61" fmla="*/ 1958 h 10000"/>
                <a:gd name="connsiteX62" fmla="*/ 2104 w 10000"/>
                <a:gd name="connsiteY62" fmla="*/ 2035 h 10000"/>
                <a:gd name="connsiteX63" fmla="*/ 2020 w 10000"/>
                <a:gd name="connsiteY63" fmla="*/ 1947 h 10000"/>
                <a:gd name="connsiteX64" fmla="*/ 1895 w 10000"/>
                <a:gd name="connsiteY64" fmla="*/ 1936 h 10000"/>
                <a:gd name="connsiteX65" fmla="*/ 1707 w 10000"/>
                <a:gd name="connsiteY65" fmla="*/ 1925 h 10000"/>
                <a:gd name="connsiteX66" fmla="*/ 1477 w 10000"/>
                <a:gd name="connsiteY66" fmla="*/ 1991 h 10000"/>
                <a:gd name="connsiteX67" fmla="*/ 1233 w 10000"/>
                <a:gd name="connsiteY67" fmla="*/ 2062 h 10000"/>
                <a:gd name="connsiteX68" fmla="*/ 942 w 10000"/>
                <a:gd name="connsiteY68" fmla="*/ 2166 h 10000"/>
                <a:gd name="connsiteX69" fmla="*/ 815 w 10000"/>
                <a:gd name="connsiteY69" fmla="*/ 2496 h 10000"/>
                <a:gd name="connsiteX70" fmla="*/ 617 w 10000"/>
                <a:gd name="connsiteY70" fmla="*/ 2501 h 10000"/>
                <a:gd name="connsiteX71" fmla="*/ 552 w 10000"/>
                <a:gd name="connsiteY71" fmla="*/ 2687 h 10000"/>
                <a:gd name="connsiteX72" fmla="*/ 571 w 10000"/>
                <a:gd name="connsiteY72" fmla="*/ 2764 h 10000"/>
                <a:gd name="connsiteX73" fmla="*/ 590 w 10000"/>
                <a:gd name="connsiteY73" fmla="*/ 2868 h 10000"/>
                <a:gd name="connsiteX74" fmla="*/ 590 w 10000"/>
                <a:gd name="connsiteY74" fmla="*/ 2868 h 10000"/>
                <a:gd name="connsiteX75" fmla="*/ 590 w 10000"/>
                <a:gd name="connsiteY75" fmla="*/ 2896 h 10000"/>
                <a:gd name="connsiteX76" fmla="*/ 698 w 10000"/>
                <a:gd name="connsiteY76" fmla="*/ 3116 h 10000"/>
                <a:gd name="connsiteX77" fmla="*/ 804 w 10000"/>
                <a:gd name="connsiteY77" fmla="*/ 3351 h 10000"/>
                <a:gd name="connsiteX78" fmla="*/ 942 w 10000"/>
                <a:gd name="connsiteY78" fmla="*/ 3488 h 10000"/>
                <a:gd name="connsiteX79" fmla="*/ 896 w 10000"/>
                <a:gd name="connsiteY79" fmla="*/ 3548 h 10000"/>
                <a:gd name="connsiteX80" fmla="*/ 824 w 10000"/>
                <a:gd name="connsiteY80" fmla="*/ 3603 h 10000"/>
                <a:gd name="connsiteX81" fmla="*/ 907 w 10000"/>
                <a:gd name="connsiteY81" fmla="*/ 3697 h 10000"/>
                <a:gd name="connsiteX82" fmla="*/ 896 w 10000"/>
                <a:gd name="connsiteY82" fmla="*/ 4053 h 10000"/>
                <a:gd name="connsiteX83" fmla="*/ 709 w 10000"/>
                <a:gd name="connsiteY83" fmla="*/ 4124 h 10000"/>
                <a:gd name="connsiteX84" fmla="*/ 509 w 10000"/>
                <a:gd name="connsiteY84" fmla="*/ 4531 h 10000"/>
                <a:gd name="connsiteX85" fmla="*/ 380 w 10000"/>
                <a:gd name="connsiteY85" fmla="*/ 4936 h 10000"/>
                <a:gd name="connsiteX86" fmla="*/ 199 w 10000"/>
                <a:gd name="connsiteY86" fmla="*/ 5260 h 10000"/>
                <a:gd name="connsiteX87" fmla="*/ 276 w 10000"/>
                <a:gd name="connsiteY87" fmla="*/ 5517 h 10000"/>
                <a:gd name="connsiteX88" fmla="*/ 283 w 10000"/>
                <a:gd name="connsiteY88" fmla="*/ 5732 h 10000"/>
                <a:gd name="connsiteX89" fmla="*/ 409 w 10000"/>
                <a:gd name="connsiteY89" fmla="*/ 5841 h 10000"/>
                <a:gd name="connsiteX90" fmla="*/ 391 w 10000"/>
                <a:gd name="connsiteY90" fmla="*/ 5945 h 10000"/>
                <a:gd name="connsiteX91" fmla="*/ 207 w 10000"/>
                <a:gd name="connsiteY91" fmla="*/ 5852 h 10000"/>
                <a:gd name="connsiteX92" fmla="*/ 127 w 10000"/>
                <a:gd name="connsiteY92" fmla="*/ 6099 h 10000"/>
                <a:gd name="connsiteX93" fmla="*/ 107 w 10000"/>
                <a:gd name="connsiteY93" fmla="*/ 6346 h 10000"/>
                <a:gd name="connsiteX94" fmla="*/ 1 w 10000"/>
                <a:gd name="connsiteY94" fmla="*/ 6571 h 10000"/>
                <a:gd name="connsiteX95" fmla="*/ 19 w 10000"/>
                <a:gd name="connsiteY95" fmla="*/ 6779 h 10000"/>
                <a:gd name="connsiteX96" fmla="*/ 92 w 10000"/>
                <a:gd name="connsiteY96" fmla="*/ 6828 h 10000"/>
                <a:gd name="connsiteX97" fmla="*/ 158 w 10000"/>
                <a:gd name="connsiteY97" fmla="*/ 6960 h 10000"/>
                <a:gd name="connsiteX98" fmla="*/ 246 w 10000"/>
                <a:gd name="connsiteY98" fmla="*/ 6943 h 10000"/>
                <a:gd name="connsiteX99" fmla="*/ 299 w 10000"/>
                <a:gd name="connsiteY99" fmla="*/ 7076 h 10000"/>
                <a:gd name="connsiteX100" fmla="*/ 455 w 10000"/>
                <a:gd name="connsiteY100" fmla="*/ 7103 h 10000"/>
                <a:gd name="connsiteX101" fmla="*/ 463 w 10000"/>
                <a:gd name="connsiteY101" fmla="*/ 7251 h 10000"/>
                <a:gd name="connsiteX102" fmla="*/ 505 w 10000"/>
                <a:gd name="connsiteY102" fmla="*/ 7278 h 10000"/>
                <a:gd name="connsiteX103" fmla="*/ 537 w 10000"/>
                <a:gd name="connsiteY103" fmla="*/ 7174 h 10000"/>
                <a:gd name="connsiteX104" fmla="*/ 594 w 10000"/>
                <a:gd name="connsiteY104" fmla="*/ 7196 h 10000"/>
                <a:gd name="connsiteX105" fmla="*/ 659 w 10000"/>
                <a:gd name="connsiteY105" fmla="*/ 6992 h 10000"/>
                <a:gd name="connsiteX106" fmla="*/ 839 w 10000"/>
                <a:gd name="connsiteY106" fmla="*/ 7174 h 10000"/>
                <a:gd name="connsiteX107" fmla="*/ 1313 w 10000"/>
                <a:gd name="connsiteY107" fmla="*/ 7163 h 10000"/>
                <a:gd name="connsiteX108" fmla="*/ 1500 w 10000"/>
                <a:gd name="connsiteY108" fmla="*/ 7092 h 10000"/>
                <a:gd name="connsiteX109" fmla="*/ 1807 w 10000"/>
                <a:gd name="connsiteY109" fmla="*/ 7344 h 10000"/>
                <a:gd name="connsiteX110" fmla="*/ 2001 w 10000"/>
                <a:gd name="connsiteY110" fmla="*/ 7087 h 10000"/>
                <a:gd name="connsiteX111" fmla="*/ 2437 w 10000"/>
                <a:gd name="connsiteY111" fmla="*/ 6861 h 10000"/>
                <a:gd name="connsiteX112" fmla="*/ 2594 w 10000"/>
                <a:gd name="connsiteY112" fmla="*/ 6489 h 10000"/>
                <a:gd name="connsiteX113" fmla="*/ 2709 w 10000"/>
                <a:gd name="connsiteY113" fmla="*/ 6439 h 10000"/>
                <a:gd name="connsiteX114" fmla="*/ 2709 w 10000"/>
                <a:gd name="connsiteY114" fmla="*/ 6379 h 10000"/>
                <a:gd name="connsiteX115" fmla="*/ 2755 w 10000"/>
                <a:gd name="connsiteY115" fmla="*/ 6379 h 10000"/>
                <a:gd name="connsiteX116" fmla="*/ 2744 w 10000"/>
                <a:gd name="connsiteY116" fmla="*/ 6230 h 10000"/>
                <a:gd name="connsiteX117" fmla="*/ 2885 w 10000"/>
                <a:gd name="connsiteY117" fmla="*/ 6285 h 10000"/>
                <a:gd name="connsiteX118" fmla="*/ 2904 w 10000"/>
                <a:gd name="connsiteY118" fmla="*/ 6159 h 10000"/>
                <a:gd name="connsiteX119" fmla="*/ 2988 w 10000"/>
                <a:gd name="connsiteY119" fmla="*/ 6230 h 10000"/>
                <a:gd name="connsiteX120" fmla="*/ 3050 w 10000"/>
                <a:gd name="connsiteY120" fmla="*/ 6126 h 10000"/>
                <a:gd name="connsiteX121" fmla="*/ 3149 w 10000"/>
                <a:gd name="connsiteY121" fmla="*/ 6154 h 10000"/>
                <a:gd name="connsiteX122" fmla="*/ 3237 w 10000"/>
                <a:gd name="connsiteY122" fmla="*/ 6055 h 10000"/>
                <a:gd name="connsiteX123" fmla="*/ 3405 w 10000"/>
                <a:gd name="connsiteY123" fmla="*/ 6192 h 10000"/>
                <a:gd name="connsiteX124" fmla="*/ 3490 w 10000"/>
                <a:gd name="connsiteY124" fmla="*/ 6197 h 10000"/>
                <a:gd name="connsiteX125" fmla="*/ 3516 w 10000"/>
                <a:gd name="connsiteY125" fmla="*/ 6307 h 10000"/>
                <a:gd name="connsiteX126" fmla="*/ 3674 w 10000"/>
                <a:gd name="connsiteY126" fmla="*/ 6236 h 10000"/>
                <a:gd name="connsiteX127" fmla="*/ 3658 w 10000"/>
                <a:gd name="connsiteY127" fmla="*/ 6357 h 10000"/>
                <a:gd name="connsiteX128" fmla="*/ 3716 w 10000"/>
                <a:gd name="connsiteY128" fmla="*/ 6341 h 10000"/>
                <a:gd name="connsiteX129" fmla="*/ 3784 w 10000"/>
                <a:gd name="connsiteY129" fmla="*/ 6428 h 10000"/>
                <a:gd name="connsiteX130" fmla="*/ 3788 w 10000"/>
                <a:gd name="connsiteY130" fmla="*/ 6301 h 10000"/>
                <a:gd name="connsiteX131" fmla="*/ 3971 w 10000"/>
                <a:gd name="connsiteY131" fmla="*/ 6341 h 10000"/>
                <a:gd name="connsiteX132" fmla="*/ 4037 w 10000"/>
                <a:gd name="connsiteY132" fmla="*/ 6511 h 10000"/>
                <a:gd name="connsiteX133" fmla="*/ 4140 w 10000"/>
                <a:gd name="connsiteY133" fmla="*/ 6494 h 10000"/>
                <a:gd name="connsiteX134" fmla="*/ 4185 w 10000"/>
                <a:gd name="connsiteY134" fmla="*/ 6417 h 10000"/>
                <a:gd name="connsiteX135" fmla="*/ 4288 w 10000"/>
                <a:gd name="connsiteY135" fmla="*/ 6735 h 10000"/>
                <a:gd name="connsiteX136" fmla="*/ 4251 w 10000"/>
                <a:gd name="connsiteY136" fmla="*/ 6987 h 10000"/>
                <a:gd name="connsiteX137" fmla="*/ 4304 w 10000"/>
                <a:gd name="connsiteY137" fmla="*/ 7114 h 10000"/>
                <a:gd name="connsiteX138" fmla="*/ 4376 w 10000"/>
                <a:gd name="connsiteY138" fmla="*/ 7119 h 10000"/>
                <a:gd name="connsiteX139" fmla="*/ 4488 w 10000"/>
                <a:gd name="connsiteY139" fmla="*/ 7256 h 10000"/>
                <a:gd name="connsiteX140" fmla="*/ 4533 w 10000"/>
                <a:gd name="connsiteY140" fmla="*/ 7152 h 10000"/>
                <a:gd name="connsiteX141" fmla="*/ 4583 w 10000"/>
                <a:gd name="connsiteY141" fmla="*/ 7322 h 10000"/>
                <a:gd name="connsiteX142" fmla="*/ 4646 w 10000"/>
                <a:gd name="connsiteY142" fmla="*/ 7662 h 10000"/>
                <a:gd name="connsiteX143" fmla="*/ 4829 w 10000"/>
                <a:gd name="connsiteY143" fmla="*/ 7739 h 10000"/>
                <a:gd name="connsiteX144" fmla="*/ 4871 w 10000"/>
                <a:gd name="connsiteY144" fmla="*/ 8183 h 10000"/>
                <a:gd name="connsiteX145" fmla="*/ 5027 w 10000"/>
                <a:gd name="connsiteY145" fmla="*/ 8276 h 10000"/>
                <a:gd name="connsiteX146" fmla="*/ 4866 w 10000"/>
                <a:gd name="connsiteY146" fmla="*/ 8370 h 10000"/>
                <a:gd name="connsiteX147" fmla="*/ 4813 w 10000"/>
                <a:gd name="connsiteY147" fmla="*/ 8260 h 10000"/>
                <a:gd name="connsiteX148" fmla="*/ 4752 w 10000"/>
                <a:gd name="connsiteY148" fmla="*/ 8403 h 10000"/>
                <a:gd name="connsiteX149" fmla="*/ 4594 w 10000"/>
                <a:gd name="connsiteY149" fmla="*/ 8287 h 10000"/>
                <a:gd name="connsiteX150" fmla="*/ 4506 w 10000"/>
                <a:gd name="connsiteY150" fmla="*/ 8452 h 10000"/>
                <a:gd name="connsiteX151" fmla="*/ 4323 w 10000"/>
                <a:gd name="connsiteY151" fmla="*/ 8331 h 10000"/>
                <a:gd name="connsiteX152" fmla="*/ 4411 w 10000"/>
                <a:gd name="connsiteY152" fmla="*/ 8699 h 10000"/>
                <a:gd name="connsiteX153" fmla="*/ 4403 w 10000"/>
                <a:gd name="connsiteY153" fmla="*/ 8967 h 10000"/>
                <a:gd name="connsiteX154" fmla="*/ 4285 w 10000"/>
                <a:gd name="connsiteY154" fmla="*/ 9088 h 10000"/>
                <a:gd name="connsiteX155" fmla="*/ 4323 w 10000"/>
                <a:gd name="connsiteY155" fmla="*/ 9193 h 10000"/>
                <a:gd name="connsiteX156" fmla="*/ 4159 w 10000"/>
                <a:gd name="connsiteY156" fmla="*/ 9412 h 10000"/>
                <a:gd name="connsiteX157" fmla="*/ 4224 w 10000"/>
                <a:gd name="connsiteY157" fmla="*/ 9647 h 10000"/>
                <a:gd name="connsiteX158" fmla="*/ 4063 w 10000"/>
                <a:gd name="connsiteY158" fmla="*/ 9681 h 10000"/>
                <a:gd name="connsiteX159" fmla="*/ 4021 w 10000"/>
                <a:gd name="connsiteY159" fmla="*/ 9741 h 10000"/>
                <a:gd name="connsiteX160" fmla="*/ 4090 w 10000"/>
                <a:gd name="connsiteY160" fmla="*/ 9785 h 10000"/>
                <a:gd name="connsiteX161" fmla="*/ 4213 w 10000"/>
                <a:gd name="connsiteY161" fmla="*/ 9944 h 10000"/>
                <a:gd name="connsiteX162" fmla="*/ 4411 w 10000"/>
                <a:gd name="connsiteY162" fmla="*/ 9999 h 10000"/>
                <a:gd name="connsiteX163" fmla="*/ 4418 w 10000"/>
                <a:gd name="connsiteY163" fmla="*/ 9851 h 10000"/>
                <a:gd name="connsiteX164" fmla="*/ 4488 w 10000"/>
                <a:gd name="connsiteY164" fmla="*/ 9856 h 10000"/>
                <a:gd name="connsiteX165" fmla="*/ 4783 w 10000"/>
                <a:gd name="connsiteY165" fmla="*/ 9603 h 10000"/>
                <a:gd name="connsiteX166" fmla="*/ 4978 w 10000"/>
                <a:gd name="connsiteY166" fmla="*/ 9845 h 10000"/>
                <a:gd name="connsiteX167" fmla="*/ 4978 w 10000"/>
                <a:gd name="connsiteY167" fmla="*/ 9862 h 10000"/>
                <a:gd name="connsiteX168" fmla="*/ 5009 w 10000"/>
                <a:gd name="connsiteY168" fmla="*/ 9703 h 10000"/>
                <a:gd name="connsiteX169" fmla="*/ 4954 w 10000"/>
                <a:gd name="connsiteY169" fmla="*/ 9570 h 10000"/>
                <a:gd name="connsiteX170" fmla="*/ 4886 w 10000"/>
                <a:gd name="connsiteY170" fmla="*/ 9549 h 10000"/>
                <a:gd name="connsiteX171" fmla="*/ 4932 w 10000"/>
                <a:gd name="connsiteY171" fmla="*/ 9466 h 10000"/>
                <a:gd name="connsiteX172" fmla="*/ 4917 w 10000"/>
                <a:gd name="connsiteY172" fmla="*/ 9444 h 10000"/>
                <a:gd name="connsiteX173" fmla="*/ 4859 w 10000"/>
                <a:gd name="connsiteY173" fmla="*/ 9439 h 10000"/>
                <a:gd name="connsiteX174" fmla="*/ 4829 w 10000"/>
                <a:gd name="connsiteY174" fmla="*/ 9121 h 10000"/>
                <a:gd name="connsiteX175" fmla="*/ 4871 w 10000"/>
                <a:gd name="connsiteY175" fmla="*/ 9105 h 10000"/>
                <a:gd name="connsiteX176" fmla="*/ 4893 w 10000"/>
                <a:gd name="connsiteY176" fmla="*/ 9253 h 10000"/>
                <a:gd name="connsiteX177" fmla="*/ 4947 w 10000"/>
                <a:gd name="connsiteY177" fmla="*/ 9384 h 10000"/>
                <a:gd name="connsiteX178" fmla="*/ 4993 w 10000"/>
                <a:gd name="connsiteY178" fmla="*/ 9302 h 10000"/>
                <a:gd name="connsiteX179" fmla="*/ 4981 w 10000"/>
                <a:gd name="connsiteY179" fmla="*/ 9220 h 10000"/>
                <a:gd name="connsiteX180" fmla="*/ 5054 w 10000"/>
                <a:gd name="connsiteY180" fmla="*/ 9203 h 10000"/>
                <a:gd name="connsiteX181" fmla="*/ 5016 w 10000"/>
                <a:gd name="connsiteY181" fmla="*/ 9034 h 10000"/>
                <a:gd name="connsiteX182" fmla="*/ 5115 w 10000"/>
                <a:gd name="connsiteY182" fmla="*/ 9061 h 10000"/>
                <a:gd name="connsiteX183" fmla="*/ 5119 w 10000"/>
                <a:gd name="connsiteY183" fmla="*/ 8972 h 10000"/>
                <a:gd name="connsiteX184" fmla="*/ 5157 w 10000"/>
                <a:gd name="connsiteY184" fmla="*/ 9039 h 10000"/>
                <a:gd name="connsiteX185" fmla="*/ 5326 w 10000"/>
                <a:gd name="connsiteY185" fmla="*/ 8781 h 10000"/>
                <a:gd name="connsiteX186" fmla="*/ 5230 w 10000"/>
                <a:gd name="connsiteY186" fmla="*/ 8584 h 10000"/>
                <a:gd name="connsiteX187" fmla="*/ 5051 w 10000"/>
                <a:gd name="connsiteY187" fmla="*/ 8425 h 10000"/>
                <a:gd name="connsiteX188" fmla="*/ 5153 w 10000"/>
                <a:gd name="connsiteY188" fmla="*/ 8370 h 10000"/>
                <a:gd name="connsiteX189" fmla="*/ 5302 w 10000"/>
                <a:gd name="connsiteY189" fmla="*/ 8633 h 10000"/>
                <a:gd name="connsiteX190" fmla="*/ 5414 w 10000"/>
                <a:gd name="connsiteY190" fmla="*/ 8199 h 10000"/>
                <a:gd name="connsiteX191" fmla="*/ 5421 w 10000"/>
                <a:gd name="connsiteY191" fmla="*/ 8030 h 10000"/>
                <a:gd name="connsiteX192" fmla="*/ 5608 w 10000"/>
                <a:gd name="connsiteY192" fmla="*/ 7942 h 10000"/>
                <a:gd name="connsiteX193" fmla="*/ 5678 w 10000"/>
                <a:gd name="connsiteY193" fmla="*/ 7607 h 10000"/>
                <a:gd name="connsiteX194" fmla="*/ 5689 w 10000"/>
                <a:gd name="connsiteY194" fmla="*/ 7734 h 10000"/>
                <a:gd name="connsiteX195" fmla="*/ 5808 w 10000"/>
                <a:gd name="connsiteY195" fmla="*/ 7596 h 10000"/>
                <a:gd name="connsiteX196" fmla="*/ 5892 w 10000"/>
                <a:gd name="connsiteY196" fmla="*/ 7579 h 10000"/>
                <a:gd name="connsiteX197" fmla="*/ 5976 w 10000"/>
                <a:gd name="connsiteY197" fmla="*/ 7207 h 10000"/>
                <a:gd name="connsiteX198" fmla="*/ 6052 w 10000"/>
                <a:gd name="connsiteY198" fmla="*/ 7486 h 10000"/>
                <a:gd name="connsiteX199" fmla="*/ 6278 w 10000"/>
                <a:gd name="connsiteY199" fmla="*/ 7563 h 10000"/>
                <a:gd name="connsiteX200" fmla="*/ 6106 w 10000"/>
                <a:gd name="connsiteY200" fmla="*/ 7618 h 10000"/>
                <a:gd name="connsiteX201" fmla="*/ 6091 w 10000"/>
                <a:gd name="connsiteY201" fmla="*/ 7679 h 10000"/>
                <a:gd name="connsiteX202" fmla="*/ 5919 w 10000"/>
                <a:gd name="connsiteY202" fmla="*/ 7690 h 10000"/>
                <a:gd name="connsiteX203" fmla="*/ 5831 w 10000"/>
                <a:gd name="connsiteY203" fmla="*/ 7723 h 10000"/>
                <a:gd name="connsiteX204" fmla="*/ 5900 w 10000"/>
                <a:gd name="connsiteY204" fmla="*/ 7772 h 10000"/>
                <a:gd name="connsiteX205" fmla="*/ 5961 w 10000"/>
                <a:gd name="connsiteY205" fmla="*/ 7756 h 10000"/>
                <a:gd name="connsiteX206" fmla="*/ 6129 w 10000"/>
                <a:gd name="connsiteY206" fmla="*/ 7789 h 10000"/>
                <a:gd name="connsiteX207" fmla="*/ 5938 w 10000"/>
                <a:gd name="connsiteY207" fmla="*/ 7964 h 10000"/>
                <a:gd name="connsiteX208" fmla="*/ 6007 w 10000"/>
                <a:gd name="connsiteY208" fmla="*/ 8008 h 10000"/>
                <a:gd name="connsiteX209" fmla="*/ 6182 w 10000"/>
                <a:gd name="connsiteY209" fmla="*/ 7958 h 10000"/>
                <a:gd name="connsiteX210" fmla="*/ 6419 w 10000"/>
                <a:gd name="connsiteY210" fmla="*/ 8101 h 10000"/>
                <a:gd name="connsiteX211" fmla="*/ 6726 w 10000"/>
                <a:gd name="connsiteY211" fmla="*/ 7909 h 10000"/>
                <a:gd name="connsiteX212" fmla="*/ 7028 w 10000"/>
                <a:gd name="connsiteY212" fmla="*/ 7887 h 10000"/>
                <a:gd name="connsiteX213" fmla="*/ 7074 w 10000"/>
                <a:gd name="connsiteY213" fmla="*/ 7745 h 10000"/>
                <a:gd name="connsiteX214" fmla="*/ 7154 w 10000"/>
                <a:gd name="connsiteY214" fmla="*/ 7958 h 10000"/>
                <a:gd name="connsiteX215" fmla="*/ 7238 w 10000"/>
                <a:gd name="connsiteY215" fmla="*/ 7986 h 10000"/>
                <a:gd name="connsiteX216" fmla="*/ 7207 w 10000"/>
                <a:gd name="connsiteY216" fmla="*/ 8134 h 10000"/>
                <a:gd name="connsiteX217" fmla="*/ 6944 w 10000"/>
                <a:gd name="connsiteY217" fmla="*/ 8281 h 10000"/>
                <a:gd name="connsiteX218" fmla="*/ 6925 w 10000"/>
                <a:gd name="connsiteY218" fmla="*/ 8386 h 10000"/>
                <a:gd name="connsiteX219" fmla="*/ 6780 w 10000"/>
                <a:gd name="connsiteY219" fmla="*/ 8523 h 10000"/>
                <a:gd name="connsiteX220" fmla="*/ 6775 w 10000"/>
                <a:gd name="connsiteY220" fmla="*/ 8649 h 10000"/>
                <a:gd name="connsiteX221" fmla="*/ 6687 w 10000"/>
                <a:gd name="connsiteY221" fmla="*/ 8704 h 10000"/>
                <a:gd name="connsiteX222" fmla="*/ 6576 w 10000"/>
                <a:gd name="connsiteY222" fmla="*/ 8989 h 10000"/>
                <a:gd name="connsiteX223" fmla="*/ 6734 w 10000"/>
                <a:gd name="connsiteY223" fmla="*/ 9001 h 10000"/>
                <a:gd name="connsiteX224" fmla="*/ 6826 w 10000"/>
                <a:gd name="connsiteY224" fmla="*/ 8879 h 10000"/>
                <a:gd name="connsiteX225" fmla="*/ 6925 w 10000"/>
                <a:gd name="connsiteY225" fmla="*/ 8912 h 10000"/>
                <a:gd name="connsiteX226" fmla="*/ 6971 w 10000"/>
                <a:gd name="connsiteY226" fmla="*/ 8786 h 10000"/>
                <a:gd name="connsiteX227" fmla="*/ 7035 w 10000"/>
                <a:gd name="connsiteY227" fmla="*/ 9001 h 10000"/>
                <a:gd name="connsiteX228" fmla="*/ 7223 w 10000"/>
                <a:gd name="connsiteY228" fmla="*/ 8994 h 10000"/>
                <a:gd name="connsiteX229" fmla="*/ 7383 w 10000"/>
                <a:gd name="connsiteY229" fmla="*/ 9362 h 10000"/>
                <a:gd name="connsiteX230" fmla="*/ 7398 w 10000"/>
                <a:gd name="connsiteY230" fmla="*/ 9675 h 10000"/>
                <a:gd name="connsiteX231" fmla="*/ 7341 w 10000"/>
                <a:gd name="connsiteY231" fmla="*/ 9692 h 10000"/>
                <a:gd name="connsiteX232" fmla="*/ 7352 w 10000"/>
                <a:gd name="connsiteY232" fmla="*/ 9780 h 10000"/>
                <a:gd name="connsiteX233" fmla="*/ 7594 w 10000"/>
                <a:gd name="connsiteY233" fmla="*/ 9900 h 10000"/>
                <a:gd name="connsiteX234" fmla="*/ 8294 w 10000"/>
                <a:gd name="connsiteY234" fmla="*/ 9023 h 10000"/>
                <a:gd name="connsiteX235" fmla="*/ 8370 w 10000"/>
                <a:gd name="connsiteY235" fmla="*/ 8841 h 10000"/>
                <a:gd name="connsiteX236" fmla="*/ 8458 w 10000"/>
                <a:gd name="connsiteY236" fmla="*/ 8786 h 10000"/>
                <a:gd name="connsiteX237" fmla="*/ 8512 w 10000"/>
                <a:gd name="connsiteY237" fmla="*/ 8512 h 10000"/>
                <a:gd name="connsiteX238" fmla="*/ 8739 w 10000"/>
                <a:gd name="connsiteY238" fmla="*/ 8617 h 10000"/>
                <a:gd name="connsiteX239" fmla="*/ 8872 w 10000"/>
                <a:gd name="connsiteY239" fmla="*/ 8474 h 10000"/>
                <a:gd name="connsiteX240" fmla="*/ 9059 w 10000"/>
                <a:gd name="connsiteY240" fmla="*/ 8343 h 10000"/>
                <a:gd name="connsiteX241" fmla="*/ 8983 w 10000"/>
                <a:gd name="connsiteY241" fmla="*/ 8128 h 10000"/>
                <a:gd name="connsiteX242" fmla="*/ 7885 w 10000"/>
                <a:gd name="connsiteY242" fmla="*/ 7991 h 10000"/>
                <a:gd name="connsiteX243" fmla="*/ 7859 w 10000"/>
                <a:gd name="connsiteY243" fmla="*/ 7904 h 10000"/>
                <a:gd name="connsiteX244" fmla="*/ 7782 w 10000"/>
                <a:gd name="connsiteY244" fmla="*/ 8002 h 10000"/>
                <a:gd name="connsiteX245" fmla="*/ 7893 w 10000"/>
                <a:gd name="connsiteY245" fmla="*/ 7761 h 10000"/>
                <a:gd name="connsiteX246" fmla="*/ 7851 w 10000"/>
                <a:gd name="connsiteY246" fmla="*/ 7717 h 10000"/>
                <a:gd name="connsiteX247" fmla="*/ 7728 w 10000"/>
                <a:gd name="connsiteY247" fmla="*/ 7915 h 10000"/>
                <a:gd name="connsiteX248" fmla="*/ 7793 w 10000"/>
                <a:gd name="connsiteY248" fmla="*/ 7712 h 10000"/>
                <a:gd name="connsiteX249" fmla="*/ 7705 w 10000"/>
                <a:gd name="connsiteY249" fmla="*/ 7767 h 10000"/>
                <a:gd name="connsiteX250" fmla="*/ 7590 w 10000"/>
                <a:gd name="connsiteY250" fmla="*/ 7717 h 10000"/>
                <a:gd name="connsiteX251" fmla="*/ 7502 w 10000"/>
                <a:gd name="connsiteY251" fmla="*/ 7794 h 10000"/>
                <a:gd name="connsiteX252" fmla="*/ 7407 w 10000"/>
                <a:gd name="connsiteY252" fmla="*/ 7728 h 10000"/>
                <a:gd name="connsiteX253" fmla="*/ 7250 w 10000"/>
                <a:gd name="connsiteY253" fmla="*/ 7717 h 10000"/>
                <a:gd name="connsiteX254" fmla="*/ 7253 w 10000"/>
                <a:gd name="connsiteY254" fmla="*/ 7547 h 10000"/>
                <a:gd name="connsiteX255" fmla="*/ 7395 w 10000"/>
                <a:gd name="connsiteY255" fmla="*/ 7662 h 10000"/>
                <a:gd name="connsiteX256" fmla="*/ 7440 w 10000"/>
                <a:gd name="connsiteY256" fmla="*/ 7541 h 10000"/>
                <a:gd name="connsiteX257" fmla="*/ 7403 w 10000"/>
                <a:gd name="connsiteY257" fmla="*/ 7410 h 10000"/>
                <a:gd name="connsiteX258" fmla="*/ 7510 w 10000"/>
                <a:gd name="connsiteY258" fmla="*/ 7547 h 10000"/>
                <a:gd name="connsiteX259" fmla="*/ 7655 w 10000"/>
                <a:gd name="connsiteY259" fmla="*/ 7536 h 10000"/>
                <a:gd name="connsiteX260" fmla="*/ 7679 w 10000"/>
                <a:gd name="connsiteY260" fmla="*/ 7685 h 10000"/>
                <a:gd name="connsiteX261" fmla="*/ 7721 w 10000"/>
                <a:gd name="connsiteY261" fmla="*/ 7685 h 10000"/>
                <a:gd name="connsiteX262" fmla="*/ 7732 w 10000"/>
                <a:gd name="connsiteY262" fmla="*/ 7415 h 10000"/>
                <a:gd name="connsiteX263" fmla="*/ 7782 w 10000"/>
                <a:gd name="connsiteY263" fmla="*/ 7585 h 10000"/>
                <a:gd name="connsiteX264" fmla="*/ 7870 w 10000"/>
                <a:gd name="connsiteY264" fmla="*/ 7590 h 10000"/>
                <a:gd name="connsiteX265" fmla="*/ 7805 w 10000"/>
                <a:gd name="connsiteY265" fmla="*/ 7333 h 10000"/>
                <a:gd name="connsiteX266" fmla="*/ 7965 w 10000"/>
                <a:gd name="connsiteY266" fmla="*/ 7240 h 10000"/>
                <a:gd name="connsiteX267" fmla="*/ 7958 w 10000"/>
                <a:gd name="connsiteY267" fmla="*/ 6987 h 10000"/>
                <a:gd name="connsiteX268" fmla="*/ 8069 w 10000"/>
                <a:gd name="connsiteY268" fmla="*/ 7081 h 10000"/>
                <a:gd name="connsiteX269" fmla="*/ 8088 w 10000"/>
                <a:gd name="connsiteY269" fmla="*/ 7015 h 10000"/>
                <a:gd name="connsiteX270" fmla="*/ 7954 w 10000"/>
                <a:gd name="connsiteY270" fmla="*/ 6735 h 10000"/>
                <a:gd name="connsiteX271" fmla="*/ 8133 w 10000"/>
                <a:gd name="connsiteY271" fmla="*/ 6894 h 10000"/>
                <a:gd name="connsiteX272" fmla="*/ 8359 w 10000"/>
                <a:gd name="connsiteY272" fmla="*/ 6511 h 10000"/>
                <a:gd name="connsiteX273" fmla="*/ 8577 w 10000"/>
                <a:gd name="connsiteY273" fmla="*/ 6483 h 10000"/>
                <a:gd name="connsiteX274" fmla="*/ 8623 w 10000"/>
                <a:gd name="connsiteY274"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538 w 10000"/>
                <a:gd name="connsiteY15" fmla="*/ 1311 h 10000"/>
                <a:gd name="connsiteX16" fmla="*/ 6454 w 10000"/>
                <a:gd name="connsiteY16" fmla="*/ 1223 h 10000"/>
                <a:gd name="connsiteX17" fmla="*/ 6267 w 10000"/>
                <a:gd name="connsiteY17" fmla="*/ 1273 h 10000"/>
                <a:gd name="connsiteX18" fmla="*/ 6285 w 10000"/>
                <a:gd name="connsiteY18" fmla="*/ 1125 h 10000"/>
                <a:gd name="connsiteX19" fmla="*/ 6213 w 10000"/>
                <a:gd name="connsiteY19" fmla="*/ 1119 h 10000"/>
                <a:gd name="connsiteX20" fmla="*/ 6179 w 10000"/>
                <a:gd name="connsiteY20" fmla="*/ 910 h 10000"/>
                <a:gd name="connsiteX21" fmla="*/ 6079 w 10000"/>
                <a:gd name="connsiteY21" fmla="*/ 795 h 10000"/>
                <a:gd name="connsiteX22" fmla="*/ 6285 w 10000"/>
                <a:gd name="connsiteY22" fmla="*/ 620 h 10000"/>
                <a:gd name="connsiteX23" fmla="*/ 6037 w 10000"/>
                <a:gd name="connsiteY23" fmla="*/ 395 h 10000"/>
                <a:gd name="connsiteX24" fmla="*/ 5988 w 10000"/>
                <a:gd name="connsiteY24" fmla="*/ 142 h 10000"/>
                <a:gd name="connsiteX25" fmla="*/ 5873 w 10000"/>
                <a:gd name="connsiteY25" fmla="*/ 110 h 10000"/>
                <a:gd name="connsiteX26" fmla="*/ 5777 w 10000"/>
                <a:gd name="connsiteY26" fmla="*/ 0 h 10000"/>
                <a:gd name="connsiteX27" fmla="*/ 5675 w 10000"/>
                <a:gd name="connsiteY27" fmla="*/ 120 h 10000"/>
                <a:gd name="connsiteX28" fmla="*/ 5501 w 10000"/>
                <a:gd name="connsiteY28" fmla="*/ 110 h 10000"/>
                <a:gd name="connsiteX29" fmla="*/ 5352 w 10000"/>
                <a:gd name="connsiteY29" fmla="*/ 351 h 10000"/>
                <a:gd name="connsiteX30" fmla="*/ 5066 w 10000"/>
                <a:gd name="connsiteY30" fmla="*/ 329 h 10000"/>
                <a:gd name="connsiteX31" fmla="*/ 4996 w 10000"/>
                <a:gd name="connsiteY31" fmla="*/ 680 h 10000"/>
                <a:gd name="connsiteX32" fmla="*/ 4809 w 10000"/>
                <a:gd name="connsiteY32" fmla="*/ 707 h 10000"/>
                <a:gd name="connsiteX33" fmla="*/ 4905 w 10000"/>
                <a:gd name="connsiteY33" fmla="*/ 844 h 10000"/>
                <a:gd name="connsiteX34" fmla="*/ 4848 w 10000"/>
                <a:gd name="connsiteY34" fmla="*/ 899 h 10000"/>
                <a:gd name="connsiteX35" fmla="*/ 4718 w 10000"/>
                <a:gd name="connsiteY35" fmla="*/ 894 h 10000"/>
                <a:gd name="connsiteX36" fmla="*/ 4541 w 10000"/>
                <a:gd name="connsiteY36" fmla="*/ 1026 h 10000"/>
                <a:gd name="connsiteX37" fmla="*/ 4350 w 10000"/>
                <a:gd name="connsiteY37" fmla="*/ 1668 h 10000"/>
                <a:gd name="connsiteX38" fmla="*/ 4407 w 10000"/>
                <a:gd name="connsiteY38" fmla="*/ 2090 h 10000"/>
                <a:gd name="connsiteX39" fmla="*/ 4216 w 10000"/>
                <a:gd name="connsiteY39" fmla="*/ 1865 h 10000"/>
                <a:gd name="connsiteX40" fmla="*/ 3938 w 10000"/>
                <a:gd name="connsiteY40" fmla="*/ 1991 h 10000"/>
                <a:gd name="connsiteX41" fmla="*/ 3910 w 10000"/>
                <a:gd name="connsiteY41" fmla="*/ 1931 h 10000"/>
                <a:gd name="connsiteX42" fmla="*/ 3780 w 10000"/>
                <a:gd name="connsiteY42" fmla="*/ 2002 h 10000"/>
                <a:gd name="connsiteX43" fmla="*/ 3704 w 10000"/>
                <a:gd name="connsiteY43" fmla="*/ 2144 h 10000"/>
                <a:gd name="connsiteX44" fmla="*/ 3643 w 10000"/>
                <a:gd name="connsiteY44" fmla="*/ 1909 h 10000"/>
                <a:gd name="connsiteX45" fmla="*/ 3558 w 10000"/>
                <a:gd name="connsiteY45" fmla="*/ 1843 h 10000"/>
                <a:gd name="connsiteX46" fmla="*/ 3523 w 10000"/>
                <a:gd name="connsiteY46" fmla="*/ 1964 h 10000"/>
                <a:gd name="connsiteX47" fmla="*/ 3409 w 10000"/>
                <a:gd name="connsiteY47" fmla="*/ 1996 h 10000"/>
                <a:gd name="connsiteX48" fmla="*/ 3347 w 10000"/>
                <a:gd name="connsiteY48" fmla="*/ 2161 h 10000"/>
                <a:gd name="connsiteX49" fmla="*/ 3309 w 10000"/>
                <a:gd name="connsiteY49" fmla="*/ 2013 h 10000"/>
                <a:gd name="connsiteX50" fmla="*/ 3195 w 10000"/>
                <a:gd name="connsiteY50" fmla="*/ 2024 h 10000"/>
                <a:gd name="connsiteX51" fmla="*/ 3149 w 10000"/>
                <a:gd name="connsiteY51" fmla="*/ 2128 h 10000"/>
                <a:gd name="connsiteX52" fmla="*/ 3080 w 10000"/>
                <a:gd name="connsiteY52" fmla="*/ 1975 h 10000"/>
                <a:gd name="connsiteX53" fmla="*/ 2962 w 10000"/>
                <a:gd name="connsiteY53" fmla="*/ 2117 h 10000"/>
                <a:gd name="connsiteX54" fmla="*/ 2847 w 10000"/>
                <a:gd name="connsiteY54" fmla="*/ 2106 h 10000"/>
                <a:gd name="connsiteX55" fmla="*/ 2843 w 10000"/>
                <a:gd name="connsiteY55" fmla="*/ 2276 h 10000"/>
                <a:gd name="connsiteX56" fmla="*/ 2790 w 10000"/>
                <a:gd name="connsiteY56" fmla="*/ 2144 h 10000"/>
                <a:gd name="connsiteX57" fmla="*/ 2618 w 10000"/>
                <a:gd name="connsiteY57" fmla="*/ 2155 h 10000"/>
                <a:gd name="connsiteX58" fmla="*/ 2494 w 10000"/>
                <a:gd name="connsiteY58" fmla="*/ 1980 h 10000"/>
                <a:gd name="connsiteX59" fmla="*/ 2346 w 10000"/>
                <a:gd name="connsiteY59" fmla="*/ 2073 h 10000"/>
                <a:gd name="connsiteX60" fmla="*/ 2192 w 10000"/>
                <a:gd name="connsiteY60" fmla="*/ 1958 h 10000"/>
                <a:gd name="connsiteX61" fmla="*/ 2104 w 10000"/>
                <a:gd name="connsiteY61" fmla="*/ 2035 h 10000"/>
                <a:gd name="connsiteX62" fmla="*/ 2020 w 10000"/>
                <a:gd name="connsiteY62" fmla="*/ 1947 h 10000"/>
                <a:gd name="connsiteX63" fmla="*/ 1895 w 10000"/>
                <a:gd name="connsiteY63" fmla="*/ 1936 h 10000"/>
                <a:gd name="connsiteX64" fmla="*/ 1707 w 10000"/>
                <a:gd name="connsiteY64" fmla="*/ 1925 h 10000"/>
                <a:gd name="connsiteX65" fmla="*/ 1477 w 10000"/>
                <a:gd name="connsiteY65" fmla="*/ 1991 h 10000"/>
                <a:gd name="connsiteX66" fmla="*/ 1233 w 10000"/>
                <a:gd name="connsiteY66" fmla="*/ 2062 h 10000"/>
                <a:gd name="connsiteX67" fmla="*/ 942 w 10000"/>
                <a:gd name="connsiteY67" fmla="*/ 2166 h 10000"/>
                <a:gd name="connsiteX68" fmla="*/ 815 w 10000"/>
                <a:gd name="connsiteY68" fmla="*/ 2496 h 10000"/>
                <a:gd name="connsiteX69" fmla="*/ 617 w 10000"/>
                <a:gd name="connsiteY69" fmla="*/ 2501 h 10000"/>
                <a:gd name="connsiteX70" fmla="*/ 552 w 10000"/>
                <a:gd name="connsiteY70" fmla="*/ 2687 h 10000"/>
                <a:gd name="connsiteX71" fmla="*/ 571 w 10000"/>
                <a:gd name="connsiteY71" fmla="*/ 2764 h 10000"/>
                <a:gd name="connsiteX72" fmla="*/ 590 w 10000"/>
                <a:gd name="connsiteY72" fmla="*/ 2868 h 10000"/>
                <a:gd name="connsiteX73" fmla="*/ 590 w 10000"/>
                <a:gd name="connsiteY73" fmla="*/ 2868 h 10000"/>
                <a:gd name="connsiteX74" fmla="*/ 590 w 10000"/>
                <a:gd name="connsiteY74" fmla="*/ 2896 h 10000"/>
                <a:gd name="connsiteX75" fmla="*/ 698 w 10000"/>
                <a:gd name="connsiteY75" fmla="*/ 3116 h 10000"/>
                <a:gd name="connsiteX76" fmla="*/ 804 w 10000"/>
                <a:gd name="connsiteY76" fmla="*/ 3351 h 10000"/>
                <a:gd name="connsiteX77" fmla="*/ 942 w 10000"/>
                <a:gd name="connsiteY77" fmla="*/ 3488 h 10000"/>
                <a:gd name="connsiteX78" fmla="*/ 896 w 10000"/>
                <a:gd name="connsiteY78" fmla="*/ 3548 h 10000"/>
                <a:gd name="connsiteX79" fmla="*/ 824 w 10000"/>
                <a:gd name="connsiteY79" fmla="*/ 3603 h 10000"/>
                <a:gd name="connsiteX80" fmla="*/ 907 w 10000"/>
                <a:gd name="connsiteY80" fmla="*/ 3697 h 10000"/>
                <a:gd name="connsiteX81" fmla="*/ 896 w 10000"/>
                <a:gd name="connsiteY81" fmla="*/ 4053 h 10000"/>
                <a:gd name="connsiteX82" fmla="*/ 709 w 10000"/>
                <a:gd name="connsiteY82" fmla="*/ 4124 h 10000"/>
                <a:gd name="connsiteX83" fmla="*/ 509 w 10000"/>
                <a:gd name="connsiteY83" fmla="*/ 4531 h 10000"/>
                <a:gd name="connsiteX84" fmla="*/ 380 w 10000"/>
                <a:gd name="connsiteY84" fmla="*/ 4936 h 10000"/>
                <a:gd name="connsiteX85" fmla="*/ 199 w 10000"/>
                <a:gd name="connsiteY85" fmla="*/ 5260 h 10000"/>
                <a:gd name="connsiteX86" fmla="*/ 276 w 10000"/>
                <a:gd name="connsiteY86" fmla="*/ 5517 h 10000"/>
                <a:gd name="connsiteX87" fmla="*/ 283 w 10000"/>
                <a:gd name="connsiteY87" fmla="*/ 5732 h 10000"/>
                <a:gd name="connsiteX88" fmla="*/ 409 w 10000"/>
                <a:gd name="connsiteY88" fmla="*/ 5841 h 10000"/>
                <a:gd name="connsiteX89" fmla="*/ 391 w 10000"/>
                <a:gd name="connsiteY89" fmla="*/ 5945 h 10000"/>
                <a:gd name="connsiteX90" fmla="*/ 207 w 10000"/>
                <a:gd name="connsiteY90" fmla="*/ 5852 h 10000"/>
                <a:gd name="connsiteX91" fmla="*/ 127 w 10000"/>
                <a:gd name="connsiteY91" fmla="*/ 6099 h 10000"/>
                <a:gd name="connsiteX92" fmla="*/ 107 w 10000"/>
                <a:gd name="connsiteY92" fmla="*/ 6346 h 10000"/>
                <a:gd name="connsiteX93" fmla="*/ 1 w 10000"/>
                <a:gd name="connsiteY93" fmla="*/ 6571 h 10000"/>
                <a:gd name="connsiteX94" fmla="*/ 19 w 10000"/>
                <a:gd name="connsiteY94" fmla="*/ 6779 h 10000"/>
                <a:gd name="connsiteX95" fmla="*/ 92 w 10000"/>
                <a:gd name="connsiteY95" fmla="*/ 6828 h 10000"/>
                <a:gd name="connsiteX96" fmla="*/ 158 w 10000"/>
                <a:gd name="connsiteY96" fmla="*/ 6960 h 10000"/>
                <a:gd name="connsiteX97" fmla="*/ 246 w 10000"/>
                <a:gd name="connsiteY97" fmla="*/ 6943 h 10000"/>
                <a:gd name="connsiteX98" fmla="*/ 299 w 10000"/>
                <a:gd name="connsiteY98" fmla="*/ 7076 h 10000"/>
                <a:gd name="connsiteX99" fmla="*/ 455 w 10000"/>
                <a:gd name="connsiteY99" fmla="*/ 7103 h 10000"/>
                <a:gd name="connsiteX100" fmla="*/ 463 w 10000"/>
                <a:gd name="connsiteY100" fmla="*/ 7251 h 10000"/>
                <a:gd name="connsiteX101" fmla="*/ 505 w 10000"/>
                <a:gd name="connsiteY101" fmla="*/ 7278 h 10000"/>
                <a:gd name="connsiteX102" fmla="*/ 537 w 10000"/>
                <a:gd name="connsiteY102" fmla="*/ 7174 h 10000"/>
                <a:gd name="connsiteX103" fmla="*/ 594 w 10000"/>
                <a:gd name="connsiteY103" fmla="*/ 7196 h 10000"/>
                <a:gd name="connsiteX104" fmla="*/ 659 w 10000"/>
                <a:gd name="connsiteY104" fmla="*/ 6992 h 10000"/>
                <a:gd name="connsiteX105" fmla="*/ 839 w 10000"/>
                <a:gd name="connsiteY105" fmla="*/ 7174 h 10000"/>
                <a:gd name="connsiteX106" fmla="*/ 1313 w 10000"/>
                <a:gd name="connsiteY106" fmla="*/ 7163 h 10000"/>
                <a:gd name="connsiteX107" fmla="*/ 1500 w 10000"/>
                <a:gd name="connsiteY107" fmla="*/ 7092 h 10000"/>
                <a:gd name="connsiteX108" fmla="*/ 1807 w 10000"/>
                <a:gd name="connsiteY108" fmla="*/ 7344 h 10000"/>
                <a:gd name="connsiteX109" fmla="*/ 2001 w 10000"/>
                <a:gd name="connsiteY109" fmla="*/ 7087 h 10000"/>
                <a:gd name="connsiteX110" fmla="*/ 2437 w 10000"/>
                <a:gd name="connsiteY110" fmla="*/ 6861 h 10000"/>
                <a:gd name="connsiteX111" fmla="*/ 2594 w 10000"/>
                <a:gd name="connsiteY111" fmla="*/ 6489 h 10000"/>
                <a:gd name="connsiteX112" fmla="*/ 2709 w 10000"/>
                <a:gd name="connsiteY112" fmla="*/ 6439 h 10000"/>
                <a:gd name="connsiteX113" fmla="*/ 2709 w 10000"/>
                <a:gd name="connsiteY113" fmla="*/ 6379 h 10000"/>
                <a:gd name="connsiteX114" fmla="*/ 2755 w 10000"/>
                <a:gd name="connsiteY114" fmla="*/ 6379 h 10000"/>
                <a:gd name="connsiteX115" fmla="*/ 2744 w 10000"/>
                <a:gd name="connsiteY115" fmla="*/ 6230 h 10000"/>
                <a:gd name="connsiteX116" fmla="*/ 2885 w 10000"/>
                <a:gd name="connsiteY116" fmla="*/ 6285 h 10000"/>
                <a:gd name="connsiteX117" fmla="*/ 2904 w 10000"/>
                <a:gd name="connsiteY117" fmla="*/ 6159 h 10000"/>
                <a:gd name="connsiteX118" fmla="*/ 2988 w 10000"/>
                <a:gd name="connsiteY118" fmla="*/ 6230 h 10000"/>
                <a:gd name="connsiteX119" fmla="*/ 3050 w 10000"/>
                <a:gd name="connsiteY119" fmla="*/ 6126 h 10000"/>
                <a:gd name="connsiteX120" fmla="*/ 3149 w 10000"/>
                <a:gd name="connsiteY120" fmla="*/ 6154 h 10000"/>
                <a:gd name="connsiteX121" fmla="*/ 3237 w 10000"/>
                <a:gd name="connsiteY121" fmla="*/ 6055 h 10000"/>
                <a:gd name="connsiteX122" fmla="*/ 3405 w 10000"/>
                <a:gd name="connsiteY122" fmla="*/ 6192 h 10000"/>
                <a:gd name="connsiteX123" fmla="*/ 3490 w 10000"/>
                <a:gd name="connsiteY123" fmla="*/ 6197 h 10000"/>
                <a:gd name="connsiteX124" fmla="*/ 3516 w 10000"/>
                <a:gd name="connsiteY124" fmla="*/ 6307 h 10000"/>
                <a:gd name="connsiteX125" fmla="*/ 3674 w 10000"/>
                <a:gd name="connsiteY125" fmla="*/ 6236 h 10000"/>
                <a:gd name="connsiteX126" fmla="*/ 3658 w 10000"/>
                <a:gd name="connsiteY126" fmla="*/ 6357 h 10000"/>
                <a:gd name="connsiteX127" fmla="*/ 3716 w 10000"/>
                <a:gd name="connsiteY127" fmla="*/ 6341 h 10000"/>
                <a:gd name="connsiteX128" fmla="*/ 3784 w 10000"/>
                <a:gd name="connsiteY128" fmla="*/ 6428 h 10000"/>
                <a:gd name="connsiteX129" fmla="*/ 3788 w 10000"/>
                <a:gd name="connsiteY129" fmla="*/ 6301 h 10000"/>
                <a:gd name="connsiteX130" fmla="*/ 3971 w 10000"/>
                <a:gd name="connsiteY130" fmla="*/ 6341 h 10000"/>
                <a:gd name="connsiteX131" fmla="*/ 4037 w 10000"/>
                <a:gd name="connsiteY131" fmla="*/ 6511 h 10000"/>
                <a:gd name="connsiteX132" fmla="*/ 4140 w 10000"/>
                <a:gd name="connsiteY132" fmla="*/ 6494 h 10000"/>
                <a:gd name="connsiteX133" fmla="*/ 4185 w 10000"/>
                <a:gd name="connsiteY133" fmla="*/ 6417 h 10000"/>
                <a:gd name="connsiteX134" fmla="*/ 4288 w 10000"/>
                <a:gd name="connsiteY134" fmla="*/ 6735 h 10000"/>
                <a:gd name="connsiteX135" fmla="*/ 4251 w 10000"/>
                <a:gd name="connsiteY135" fmla="*/ 6987 h 10000"/>
                <a:gd name="connsiteX136" fmla="*/ 4304 w 10000"/>
                <a:gd name="connsiteY136" fmla="*/ 7114 h 10000"/>
                <a:gd name="connsiteX137" fmla="*/ 4376 w 10000"/>
                <a:gd name="connsiteY137" fmla="*/ 7119 h 10000"/>
                <a:gd name="connsiteX138" fmla="*/ 4488 w 10000"/>
                <a:gd name="connsiteY138" fmla="*/ 7256 h 10000"/>
                <a:gd name="connsiteX139" fmla="*/ 4533 w 10000"/>
                <a:gd name="connsiteY139" fmla="*/ 7152 h 10000"/>
                <a:gd name="connsiteX140" fmla="*/ 4583 w 10000"/>
                <a:gd name="connsiteY140" fmla="*/ 7322 h 10000"/>
                <a:gd name="connsiteX141" fmla="*/ 4646 w 10000"/>
                <a:gd name="connsiteY141" fmla="*/ 7662 h 10000"/>
                <a:gd name="connsiteX142" fmla="*/ 4829 w 10000"/>
                <a:gd name="connsiteY142" fmla="*/ 7739 h 10000"/>
                <a:gd name="connsiteX143" fmla="*/ 4871 w 10000"/>
                <a:gd name="connsiteY143" fmla="*/ 8183 h 10000"/>
                <a:gd name="connsiteX144" fmla="*/ 5027 w 10000"/>
                <a:gd name="connsiteY144" fmla="*/ 8276 h 10000"/>
                <a:gd name="connsiteX145" fmla="*/ 4866 w 10000"/>
                <a:gd name="connsiteY145" fmla="*/ 8370 h 10000"/>
                <a:gd name="connsiteX146" fmla="*/ 4813 w 10000"/>
                <a:gd name="connsiteY146" fmla="*/ 8260 h 10000"/>
                <a:gd name="connsiteX147" fmla="*/ 4752 w 10000"/>
                <a:gd name="connsiteY147" fmla="*/ 8403 h 10000"/>
                <a:gd name="connsiteX148" fmla="*/ 4594 w 10000"/>
                <a:gd name="connsiteY148" fmla="*/ 8287 h 10000"/>
                <a:gd name="connsiteX149" fmla="*/ 4506 w 10000"/>
                <a:gd name="connsiteY149" fmla="*/ 8452 h 10000"/>
                <a:gd name="connsiteX150" fmla="*/ 4323 w 10000"/>
                <a:gd name="connsiteY150" fmla="*/ 8331 h 10000"/>
                <a:gd name="connsiteX151" fmla="*/ 4411 w 10000"/>
                <a:gd name="connsiteY151" fmla="*/ 8699 h 10000"/>
                <a:gd name="connsiteX152" fmla="*/ 4403 w 10000"/>
                <a:gd name="connsiteY152" fmla="*/ 8967 h 10000"/>
                <a:gd name="connsiteX153" fmla="*/ 4285 w 10000"/>
                <a:gd name="connsiteY153" fmla="*/ 9088 h 10000"/>
                <a:gd name="connsiteX154" fmla="*/ 4323 w 10000"/>
                <a:gd name="connsiteY154" fmla="*/ 9193 h 10000"/>
                <a:gd name="connsiteX155" fmla="*/ 4159 w 10000"/>
                <a:gd name="connsiteY155" fmla="*/ 9412 h 10000"/>
                <a:gd name="connsiteX156" fmla="*/ 4224 w 10000"/>
                <a:gd name="connsiteY156" fmla="*/ 9647 h 10000"/>
                <a:gd name="connsiteX157" fmla="*/ 4063 w 10000"/>
                <a:gd name="connsiteY157" fmla="*/ 9681 h 10000"/>
                <a:gd name="connsiteX158" fmla="*/ 4021 w 10000"/>
                <a:gd name="connsiteY158" fmla="*/ 9741 h 10000"/>
                <a:gd name="connsiteX159" fmla="*/ 4090 w 10000"/>
                <a:gd name="connsiteY159" fmla="*/ 9785 h 10000"/>
                <a:gd name="connsiteX160" fmla="*/ 4213 w 10000"/>
                <a:gd name="connsiteY160" fmla="*/ 9944 h 10000"/>
                <a:gd name="connsiteX161" fmla="*/ 4411 w 10000"/>
                <a:gd name="connsiteY161" fmla="*/ 9999 h 10000"/>
                <a:gd name="connsiteX162" fmla="*/ 4418 w 10000"/>
                <a:gd name="connsiteY162" fmla="*/ 9851 h 10000"/>
                <a:gd name="connsiteX163" fmla="*/ 4488 w 10000"/>
                <a:gd name="connsiteY163" fmla="*/ 9856 h 10000"/>
                <a:gd name="connsiteX164" fmla="*/ 4783 w 10000"/>
                <a:gd name="connsiteY164" fmla="*/ 9603 h 10000"/>
                <a:gd name="connsiteX165" fmla="*/ 4978 w 10000"/>
                <a:gd name="connsiteY165" fmla="*/ 9845 h 10000"/>
                <a:gd name="connsiteX166" fmla="*/ 4978 w 10000"/>
                <a:gd name="connsiteY166" fmla="*/ 9862 h 10000"/>
                <a:gd name="connsiteX167" fmla="*/ 5009 w 10000"/>
                <a:gd name="connsiteY167" fmla="*/ 9703 h 10000"/>
                <a:gd name="connsiteX168" fmla="*/ 4954 w 10000"/>
                <a:gd name="connsiteY168" fmla="*/ 9570 h 10000"/>
                <a:gd name="connsiteX169" fmla="*/ 4886 w 10000"/>
                <a:gd name="connsiteY169" fmla="*/ 9549 h 10000"/>
                <a:gd name="connsiteX170" fmla="*/ 4932 w 10000"/>
                <a:gd name="connsiteY170" fmla="*/ 9466 h 10000"/>
                <a:gd name="connsiteX171" fmla="*/ 4917 w 10000"/>
                <a:gd name="connsiteY171" fmla="*/ 9444 h 10000"/>
                <a:gd name="connsiteX172" fmla="*/ 4859 w 10000"/>
                <a:gd name="connsiteY172" fmla="*/ 9439 h 10000"/>
                <a:gd name="connsiteX173" fmla="*/ 4829 w 10000"/>
                <a:gd name="connsiteY173" fmla="*/ 9121 h 10000"/>
                <a:gd name="connsiteX174" fmla="*/ 4871 w 10000"/>
                <a:gd name="connsiteY174" fmla="*/ 9105 h 10000"/>
                <a:gd name="connsiteX175" fmla="*/ 4893 w 10000"/>
                <a:gd name="connsiteY175" fmla="*/ 9253 h 10000"/>
                <a:gd name="connsiteX176" fmla="*/ 4947 w 10000"/>
                <a:gd name="connsiteY176" fmla="*/ 9384 h 10000"/>
                <a:gd name="connsiteX177" fmla="*/ 4993 w 10000"/>
                <a:gd name="connsiteY177" fmla="*/ 9302 h 10000"/>
                <a:gd name="connsiteX178" fmla="*/ 4981 w 10000"/>
                <a:gd name="connsiteY178" fmla="*/ 9220 h 10000"/>
                <a:gd name="connsiteX179" fmla="*/ 5054 w 10000"/>
                <a:gd name="connsiteY179" fmla="*/ 9203 h 10000"/>
                <a:gd name="connsiteX180" fmla="*/ 5016 w 10000"/>
                <a:gd name="connsiteY180" fmla="*/ 9034 h 10000"/>
                <a:gd name="connsiteX181" fmla="*/ 5115 w 10000"/>
                <a:gd name="connsiteY181" fmla="*/ 9061 h 10000"/>
                <a:gd name="connsiteX182" fmla="*/ 5119 w 10000"/>
                <a:gd name="connsiteY182" fmla="*/ 8972 h 10000"/>
                <a:gd name="connsiteX183" fmla="*/ 5157 w 10000"/>
                <a:gd name="connsiteY183" fmla="*/ 9039 h 10000"/>
                <a:gd name="connsiteX184" fmla="*/ 5326 w 10000"/>
                <a:gd name="connsiteY184" fmla="*/ 8781 h 10000"/>
                <a:gd name="connsiteX185" fmla="*/ 5230 w 10000"/>
                <a:gd name="connsiteY185" fmla="*/ 8584 h 10000"/>
                <a:gd name="connsiteX186" fmla="*/ 5051 w 10000"/>
                <a:gd name="connsiteY186" fmla="*/ 8425 h 10000"/>
                <a:gd name="connsiteX187" fmla="*/ 5153 w 10000"/>
                <a:gd name="connsiteY187" fmla="*/ 8370 h 10000"/>
                <a:gd name="connsiteX188" fmla="*/ 5302 w 10000"/>
                <a:gd name="connsiteY188" fmla="*/ 8633 h 10000"/>
                <a:gd name="connsiteX189" fmla="*/ 5414 w 10000"/>
                <a:gd name="connsiteY189" fmla="*/ 8199 h 10000"/>
                <a:gd name="connsiteX190" fmla="*/ 5421 w 10000"/>
                <a:gd name="connsiteY190" fmla="*/ 8030 h 10000"/>
                <a:gd name="connsiteX191" fmla="*/ 5608 w 10000"/>
                <a:gd name="connsiteY191" fmla="*/ 7942 h 10000"/>
                <a:gd name="connsiteX192" fmla="*/ 5678 w 10000"/>
                <a:gd name="connsiteY192" fmla="*/ 7607 h 10000"/>
                <a:gd name="connsiteX193" fmla="*/ 5689 w 10000"/>
                <a:gd name="connsiteY193" fmla="*/ 7734 h 10000"/>
                <a:gd name="connsiteX194" fmla="*/ 5808 w 10000"/>
                <a:gd name="connsiteY194" fmla="*/ 7596 h 10000"/>
                <a:gd name="connsiteX195" fmla="*/ 5892 w 10000"/>
                <a:gd name="connsiteY195" fmla="*/ 7579 h 10000"/>
                <a:gd name="connsiteX196" fmla="*/ 5976 w 10000"/>
                <a:gd name="connsiteY196" fmla="*/ 7207 h 10000"/>
                <a:gd name="connsiteX197" fmla="*/ 6052 w 10000"/>
                <a:gd name="connsiteY197" fmla="*/ 7486 h 10000"/>
                <a:gd name="connsiteX198" fmla="*/ 6278 w 10000"/>
                <a:gd name="connsiteY198" fmla="*/ 7563 h 10000"/>
                <a:gd name="connsiteX199" fmla="*/ 6106 w 10000"/>
                <a:gd name="connsiteY199" fmla="*/ 7618 h 10000"/>
                <a:gd name="connsiteX200" fmla="*/ 6091 w 10000"/>
                <a:gd name="connsiteY200" fmla="*/ 7679 h 10000"/>
                <a:gd name="connsiteX201" fmla="*/ 5919 w 10000"/>
                <a:gd name="connsiteY201" fmla="*/ 7690 h 10000"/>
                <a:gd name="connsiteX202" fmla="*/ 5831 w 10000"/>
                <a:gd name="connsiteY202" fmla="*/ 7723 h 10000"/>
                <a:gd name="connsiteX203" fmla="*/ 5900 w 10000"/>
                <a:gd name="connsiteY203" fmla="*/ 7772 h 10000"/>
                <a:gd name="connsiteX204" fmla="*/ 5961 w 10000"/>
                <a:gd name="connsiteY204" fmla="*/ 7756 h 10000"/>
                <a:gd name="connsiteX205" fmla="*/ 6129 w 10000"/>
                <a:gd name="connsiteY205" fmla="*/ 7789 h 10000"/>
                <a:gd name="connsiteX206" fmla="*/ 5938 w 10000"/>
                <a:gd name="connsiteY206" fmla="*/ 7964 h 10000"/>
                <a:gd name="connsiteX207" fmla="*/ 6007 w 10000"/>
                <a:gd name="connsiteY207" fmla="*/ 8008 h 10000"/>
                <a:gd name="connsiteX208" fmla="*/ 6182 w 10000"/>
                <a:gd name="connsiteY208" fmla="*/ 7958 h 10000"/>
                <a:gd name="connsiteX209" fmla="*/ 6419 w 10000"/>
                <a:gd name="connsiteY209" fmla="*/ 8101 h 10000"/>
                <a:gd name="connsiteX210" fmla="*/ 6726 w 10000"/>
                <a:gd name="connsiteY210" fmla="*/ 7909 h 10000"/>
                <a:gd name="connsiteX211" fmla="*/ 7028 w 10000"/>
                <a:gd name="connsiteY211" fmla="*/ 7887 h 10000"/>
                <a:gd name="connsiteX212" fmla="*/ 7074 w 10000"/>
                <a:gd name="connsiteY212" fmla="*/ 7745 h 10000"/>
                <a:gd name="connsiteX213" fmla="*/ 7154 w 10000"/>
                <a:gd name="connsiteY213" fmla="*/ 7958 h 10000"/>
                <a:gd name="connsiteX214" fmla="*/ 7238 w 10000"/>
                <a:gd name="connsiteY214" fmla="*/ 7986 h 10000"/>
                <a:gd name="connsiteX215" fmla="*/ 7207 w 10000"/>
                <a:gd name="connsiteY215" fmla="*/ 8134 h 10000"/>
                <a:gd name="connsiteX216" fmla="*/ 6944 w 10000"/>
                <a:gd name="connsiteY216" fmla="*/ 8281 h 10000"/>
                <a:gd name="connsiteX217" fmla="*/ 6925 w 10000"/>
                <a:gd name="connsiteY217" fmla="*/ 8386 h 10000"/>
                <a:gd name="connsiteX218" fmla="*/ 6780 w 10000"/>
                <a:gd name="connsiteY218" fmla="*/ 8523 h 10000"/>
                <a:gd name="connsiteX219" fmla="*/ 6775 w 10000"/>
                <a:gd name="connsiteY219" fmla="*/ 8649 h 10000"/>
                <a:gd name="connsiteX220" fmla="*/ 6687 w 10000"/>
                <a:gd name="connsiteY220" fmla="*/ 8704 h 10000"/>
                <a:gd name="connsiteX221" fmla="*/ 6576 w 10000"/>
                <a:gd name="connsiteY221" fmla="*/ 8989 h 10000"/>
                <a:gd name="connsiteX222" fmla="*/ 6734 w 10000"/>
                <a:gd name="connsiteY222" fmla="*/ 9001 h 10000"/>
                <a:gd name="connsiteX223" fmla="*/ 6826 w 10000"/>
                <a:gd name="connsiteY223" fmla="*/ 8879 h 10000"/>
                <a:gd name="connsiteX224" fmla="*/ 6925 w 10000"/>
                <a:gd name="connsiteY224" fmla="*/ 8912 h 10000"/>
                <a:gd name="connsiteX225" fmla="*/ 6971 w 10000"/>
                <a:gd name="connsiteY225" fmla="*/ 8786 h 10000"/>
                <a:gd name="connsiteX226" fmla="*/ 7035 w 10000"/>
                <a:gd name="connsiteY226" fmla="*/ 9001 h 10000"/>
                <a:gd name="connsiteX227" fmla="*/ 7223 w 10000"/>
                <a:gd name="connsiteY227" fmla="*/ 8994 h 10000"/>
                <a:gd name="connsiteX228" fmla="*/ 7383 w 10000"/>
                <a:gd name="connsiteY228" fmla="*/ 9362 h 10000"/>
                <a:gd name="connsiteX229" fmla="*/ 7398 w 10000"/>
                <a:gd name="connsiteY229" fmla="*/ 9675 h 10000"/>
                <a:gd name="connsiteX230" fmla="*/ 7341 w 10000"/>
                <a:gd name="connsiteY230" fmla="*/ 9692 h 10000"/>
                <a:gd name="connsiteX231" fmla="*/ 7352 w 10000"/>
                <a:gd name="connsiteY231" fmla="*/ 9780 h 10000"/>
                <a:gd name="connsiteX232" fmla="*/ 7594 w 10000"/>
                <a:gd name="connsiteY232" fmla="*/ 9900 h 10000"/>
                <a:gd name="connsiteX233" fmla="*/ 8294 w 10000"/>
                <a:gd name="connsiteY233" fmla="*/ 9023 h 10000"/>
                <a:gd name="connsiteX234" fmla="*/ 8370 w 10000"/>
                <a:gd name="connsiteY234" fmla="*/ 8841 h 10000"/>
                <a:gd name="connsiteX235" fmla="*/ 8458 w 10000"/>
                <a:gd name="connsiteY235" fmla="*/ 8786 h 10000"/>
                <a:gd name="connsiteX236" fmla="*/ 8512 w 10000"/>
                <a:gd name="connsiteY236" fmla="*/ 8512 h 10000"/>
                <a:gd name="connsiteX237" fmla="*/ 8739 w 10000"/>
                <a:gd name="connsiteY237" fmla="*/ 8617 h 10000"/>
                <a:gd name="connsiteX238" fmla="*/ 8872 w 10000"/>
                <a:gd name="connsiteY238" fmla="*/ 8474 h 10000"/>
                <a:gd name="connsiteX239" fmla="*/ 9059 w 10000"/>
                <a:gd name="connsiteY239" fmla="*/ 8343 h 10000"/>
                <a:gd name="connsiteX240" fmla="*/ 8983 w 10000"/>
                <a:gd name="connsiteY240" fmla="*/ 8128 h 10000"/>
                <a:gd name="connsiteX241" fmla="*/ 7885 w 10000"/>
                <a:gd name="connsiteY241" fmla="*/ 7991 h 10000"/>
                <a:gd name="connsiteX242" fmla="*/ 7859 w 10000"/>
                <a:gd name="connsiteY242" fmla="*/ 7904 h 10000"/>
                <a:gd name="connsiteX243" fmla="*/ 7782 w 10000"/>
                <a:gd name="connsiteY243" fmla="*/ 8002 h 10000"/>
                <a:gd name="connsiteX244" fmla="*/ 7893 w 10000"/>
                <a:gd name="connsiteY244" fmla="*/ 7761 h 10000"/>
                <a:gd name="connsiteX245" fmla="*/ 7851 w 10000"/>
                <a:gd name="connsiteY245" fmla="*/ 7717 h 10000"/>
                <a:gd name="connsiteX246" fmla="*/ 7728 w 10000"/>
                <a:gd name="connsiteY246" fmla="*/ 7915 h 10000"/>
                <a:gd name="connsiteX247" fmla="*/ 7793 w 10000"/>
                <a:gd name="connsiteY247" fmla="*/ 7712 h 10000"/>
                <a:gd name="connsiteX248" fmla="*/ 7705 w 10000"/>
                <a:gd name="connsiteY248" fmla="*/ 7767 h 10000"/>
                <a:gd name="connsiteX249" fmla="*/ 7590 w 10000"/>
                <a:gd name="connsiteY249" fmla="*/ 7717 h 10000"/>
                <a:gd name="connsiteX250" fmla="*/ 7502 w 10000"/>
                <a:gd name="connsiteY250" fmla="*/ 7794 h 10000"/>
                <a:gd name="connsiteX251" fmla="*/ 7407 w 10000"/>
                <a:gd name="connsiteY251" fmla="*/ 7728 h 10000"/>
                <a:gd name="connsiteX252" fmla="*/ 7250 w 10000"/>
                <a:gd name="connsiteY252" fmla="*/ 7717 h 10000"/>
                <a:gd name="connsiteX253" fmla="*/ 7253 w 10000"/>
                <a:gd name="connsiteY253" fmla="*/ 7547 h 10000"/>
                <a:gd name="connsiteX254" fmla="*/ 7395 w 10000"/>
                <a:gd name="connsiteY254" fmla="*/ 7662 h 10000"/>
                <a:gd name="connsiteX255" fmla="*/ 7440 w 10000"/>
                <a:gd name="connsiteY255" fmla="*/ 7541 h 10000"/>
                <a:gd name="connsiteX256" fmla="*/ 7403 w 10000"/>
                <a:gd name="connsiteY256" fmla="*/ 7410 h 10000"/>
                <a:gd name="connsiteX257" fmla="*/ 7510 w 10000"/>
                <a:gd name="connsiteY257" fmla="*/ 7547 h 10000"/>
                <a:gd name="connsiteX258" fmla="*/ 7655 w 10000"/>
                <a:gd name="connsiteY258" fmla="*/ 7536 h 10000"/>
                <a:gd name="connsiteX259" fmla="*/ 7679 w 10000"/>
                <a:gd name="connsiteY259" fmla="*/ 7685 h 10000"/>
                <a:gd name="connsiteX260" fmla="*/ 7721 w 10000"/>
                <a:gd name="connsiteY260" fmla="*/ 7685 h 10000"/>
                <a:gd name="connsiteX261" fmla="*/ 7732 w 10000"/>
                <a:gd name="connsiteY261" fmla="*/ 7415 h 10000"/>
                <a:gd name="connsiteX262" fmla="*/ 7782 w 10000"/>
                <a:gd name="connsiteY262" fmla="*/ 7585 h 10000"/>
                <a:gd name="connsiteX263" fmla="*/ 7870 w 10000"/>
                <a:gd name="connsiteY263" fmla="*/ 7590 h 10000"/>
                <a:gd name="connsiteX264" fmla="*/ 7805 w 10000"/>
                <a:gd name="connsiteY264" fmla="*/ 7333 h 10000"/>
                <a:gd name="connsiteX265" fmla="*/ 7965 w 10000"/>
                <a:gd name="connsiteY265" fmla="*/ 7240 h 10000"/>
                <a:gd name="connsiteX266" fmla="*/ 7958 w 10000"/>
                <a:gd name="connsiteY266" fmla="*/ 6987 h 10000"/>
                <a:gd name="connsiteX267" fmla="*/ 8069 w 10000"/>
                <a:gd name="connsiteY267" fmla="*/ 7081 h 10000"/>
                <a:gd name="connsiteX268" fmla="*/ 8088 w 10000"/>
                <a:gd name="connsiteY268" fmla="*/ 7015 h 10000"/>
                <a:gd name="connsiteX269" fmla="*/ 7954 w 10000"/>
                <a:gd name="connsiteY269" fmla="*/ 6735 h 10000"/>
                <a:gd name="connsiteX270" fmla="*/ 8133 w 10000"/>
                <a:gd name="connsiteY270" fmla="*/ 6894 h 10000"/>
                <a:gd name="connsiteX271" fmla="*/ 8359 w 10000"/>
                <a:gd name="connsiteY271" fmla="*/ 6511 h 10000"/>
                <a:gd name="connsiteX272" fmla="*/ 8577 w 10000"/>
                <a:gd name="connsiteY272" fmla="*/ 6483 h 10000"/>
                <a:gd name="connsiteX273" fmla="*/ 8623 w 10000"/>
                <a:gd name="connsiteY273"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538 w 10000"/>
                <a:gd name="connsiteY14" fmla="*/ 1311 h 10000"/>
                <a:gd name="connsiteX15" fmla="*/ 6454 w 10000"/>
                <a:gd name="connsiteY15" fmla="*/ 1223 h 10000"/>
                <a:gd name="connsiteX16" fmla="*/ 6267 w 10000"/>
                <a:gd name="connsiteY16" fmla="*/ 1273 h 10000"/>
                <a:gd name="connsiteX17" fmla="*/ 6285 w 10000"/>
                <a:gd name="connsiteY17" fmla="*/ 1125 h 10000"/>
                <a:gd name="connsiteX18" fmla="*/ 6213 w 10000"/>
                <a:gd name="connsiteY18" fmla="*/ 1119 h 10000"/>
                <a:gd name="connsiteX19" fmla="*/ 6179 w 10000"/>
                <a:gd name="connsiteY19" fmla="*/ 910 h 10000"/>
                <a:gd name="connsiteX20" fmla="*/ 6079 w 10000"/>
                <a:gd name="connsiteY20" fmla="*/ 795 h 10000"/>
                <a:gd name="connsiteX21" fmla="*/ 6285 w 10000"/>
                <a:gd name="connsiteY21" fmla="*/ 620 h 10000"/>
                <a:gd name="connsiteX22" fmla="*/ 6037 w 10000"/>
                <a:gd name="connsiteY22" fmla="*/ 395 h 10000"/>
                <a:gd name="connsiteX23" fmla="*/ 5988 w 10000"/>
                <a:gd name="connsiteY23" fmla="*/ 142 h 10000"/>
                <a:gd name="connsiteX24" fmla="*/ 5873 w 10000"/>
                <a:gd name="connsiteY24" fmla="*/ 110 h 10000"/>
                <a:gd name="connsiteX25" fmla="*/ 5777 w 10000"/>
                <a:gd name="connsiteY25" fmla="*/ 0 h 10000"/>
                <a:gd name="connsiteX26" fmla="*/ 5675 w 10000"/>
                <a:gd name="connsiteY26" fmla="*/ 120 h 10000"/>
                <a:gd name="connsiteX27" fmla="*/ 5501 w 10000"/>
                <a:gd name="connsiteY27" fmla="*/ 110 h 10000"/>
                <a:gd name="connsiteX28" fmla="*/ 5352 w 10000"/>
                <a:gd name="connsiteY28" fmla="*/ 351 h 10000"/>
                <a:gd name="connsiteX29" fmla="*/ 5066 w 10000"/>
                <a:gd name="connsiteY29" fmla="*/ 329 h 10000"/>
                <a:gd name="connsiteX30" fmla="*/ 4996 w 10000"/>
                <a:gd name="connsiteY30" fmla="*/ 680 h 10000"/>
                <a:gd name="connsiteX31" fmla="*/ 4809 w 10000"/>
                <a:gd name="connsiteY31" fmla="*/ 707 h 10000"/>
                <a:gd name="connsiteX32" fmla="*/ 4905 w 10000"/>
                <a:gd name="connsiteY32" fmla="*/ 844 h 10000"/>
                <a:gd name="connsiteX33" fmla="*/ 4848 w 10000"/>
                <a:gd name="connsiteY33" fmla="*/ 899 h 10000"/>
                <a:gd name="connsiteX34" fmla="*/ 4718 w 10000"/>
                <a:gd name="connsiteY34" fmla="*/ 894 h 10000"/>
                <a:gd name="connsiteX35" fmla="*/ 4541 w 10000"/>
                <a:gd name="connsiteY35" fmla="*/ 1026 h 10000"/>
                <a:gd name="connsiteX36" fmla="*/ 4350 w 10000"/>
                <a:gd name="connsiteY36" fmla="*/ 1668 h 10000"/>
                <a:gd name="connsiteX37" fmla="*/ 4407 w 10000"/>
                <a:gd name="connsiteY37" fmla="*/ 2090 h 10000"/>
                <a:gd name="connsiteX38" fmla="*/ 4216 w 10000"/>
                <a:gd name="connsiteY38" fmla="*/ 1865 h 10000"/>
                <a:gd name="connsiteX39" fmla="*/ 3938 w 10000"/>
                <a:gd name="connsiteY39" fmla="*/ 1991 h 10000"/>
                <a:gd name="connsiteX40" fmla="*/ 3910 w 10000"/>
                <a:gd name="connsiteY40" fmla="*/ 1931 h 10000"/>
                <a:gd name="connsiteX41" fmla="*/ 3780 w 10000"/>
                <a:gd name="connsiteY41" fmla="*/ 2002 h 10000"/>
                <a:gd name="connsiteX42" fmla="*/ 3704 w 10000"/>
                <a:gd name="connsiteY42" fmla="*/ 2144 h 10000"/>
                <a:gd name="connsiteX43" fmla="*/ 3643 w 10000"/>
                <a:gd name="connsiteY43" fmla="*/ 1909 h 10000"/>
                <a:gd name="connsiteX44" fmla="*/ 3558 w 10000"/>
                <a:gd name="connsiteY44" fmla="*/ 1843 h 10000"/>
                <a:gd name="connsiteX45" fmla="*/ 3523 w 10000"/>
                <a:gd name="connsiteY45" fmla="*/ 1964 h 10000"/>
                <a:gd name="connsiteX46" fmla="*/ 3409 w 10000"/>
                <a:gd name="connsiteY46" fmla="*/ 1996 h 10000"/>
                <a:gd name="connsiteX47" fmla="*/ 3347 w 10000"/>
                <a:gd name="connsiteY47" fmla="*/ 2161 h 10000"/>
                <a:gd name="connsiteX48" fmla="*/ 3309 w 10000"/>
                <a:gd name="connsiteY48" fmla="*/ 2013 h 10000"/>
                <a:gd name="connsiteX49" fmla="*/ 3195 w 10000"/>
                <a:gd name="connsiteY49" fmla="*/ 2024 h 10000"/>
                <a:gd name="connsiteX50" fmla="*/ 3149 w 10000"/>
                <a:gd name="connsiteY50" fmla="*/ 2128 h 10000"/>
                <a:gd name="connsiteX51" fmla="*/ 3080 w 10000"/>
                <a:gd name="connsiteY51" fmla="*/ 1975 h 10000"/>
                <a:gd name="connsiteX52" fmla="*/ 2962 w 10000"/>
                <a:gd name="connsiteY52" fmla="*/ 2117 h 10000"/>
                <a:gd name="connsiteX53" fmla="*/ 2847 w 10000"/>
                <a:gd name="connsiteY53" fmla="*/ 2106 h 10000"/>
                <a:gd name="connsiteX54" fmla="*/ 2843 w 10000"/>
                <a:gd name="connsiteY54" fmla="*/ 2276 h 10000"/>
                <a:gd name="connsiteX55" fmla="*/ 2790 w 10000"/>
                <a:gd name="connsiteY55" fmla="*/ 2144 h 10000"/>
                <a:gd name="connsiteX56" fmla="*/ 2618 w 10000"/>
                <a:gd name="connsiteY56" fmla="*/ 2155 h 10000"/>
                <a:gd name="connsiteX57" fmla="*/ 2494 w 10000"/>
                <a:gd name="connsiteY57" fmla="*/ 1980 h 10000"/>
                <a:gd name="connsiteX58" fmla="*/ 2346 w 10000"/>
                <a:gd name="connsiteY58" fmla="*/ 2073 h 10000"/>
                <a:gd name="connsiteX59" fmla="*/ 2192 w 10000"/>
                <a:gd name="connsiteY59" fmla="*/ 1958 h 10000"/>
                <a:gd name="connsiteX60" fmla="*/ 2104 w 10000"/>
                <a:gd name="connsiteY60" fmla="*/ 2035 h 10000"/>
                <a:gd name="connsiteX61" fmla="*/ 2020 w 10000"/>
                <a:gd name="connsiteY61" fmla="*/ 1947 h 10000"/>
                <a:gd name="connsiteX62" fmla="*/ 1895 w 10000"/>
                <a:gd name="connsiteY62" fmla="*/ 1936 h 10000"/>
                <a:gd name="connsiteX63" fmla="*/ 1707 w 10000"/>
                <a:gd name="connsiteY63" fmla="*/ 1925 h 10000"/>
                <a:gd name="connsiteX64" fmla="*/ 1477 w 10000"/>
                <a:gd name="connsiteY64" fmla="*/ 1991 h 10000"/>
                <a:gd name="connsiteX65" fmla="*/ 1233 w 10000"/>
                <a:gd name="connsiteY65" fmla="*/ 2062 h 10000"/>
                <a:gd name="connsiteX66" fmla="*/ 942 w 10000"/>
                <a:gd name="connsiteY66" fmla="*/ 2166 h 10000"/>
                <a:gd name="connsiteX67" fmla="*/ 815 w 10000"/>
                <a:gd name="connsiteY67" fmla="*/ 2496 h 10000"/>
                <a:gd name="connsiteX68" fmla="*/ 617 w 10000"/>
                <a:gd name="connsiteY68" fmla="*/ 2501 h 10000"/>
                <a:gd name="connsiteX69" fmla="*/ 552 w 10000"/>
                <a:gd name="connsiteY69" fmla="*/ 2687 h 10000"/>
                <a:gd name="connsiteX70" fmla="*/ 571 w 10000"/>
                <a:gd name="connsiteY70" fmla="*/ 2764 h 10000"/>
                <a:gd name="connsiteX71" fmla="*/ 590 w 10000"/>
                <a:gd name="connsiteY71" fmla="*/ 2868 h 10000"/>
                <a:gd name="connsiteX72" fmla="*/ 590 w 10000"/>
                <a:gd name="connsiteY72" fmla="*/ 2868 h 10000"/>
                <a:gd name="connsiteX73" fmla="*/ 590 w 10000"/>
                <a:gd name="connsiteY73" fmla="*/ 2896 h 10000"/>
                <a:gd name="connsiteX74" fmla="*/ 698 w 10000"/>
                <a:gd name="connsiteY74" fmla="*/ 3116 h 10000"/>
                <a:gd name="connsiteX75" fmla="*/ 804 w 10000"/>
                <a:gd name="connsiteY75" fmla="*/ 3351 h 10000"/>
                <a:gd name="connsiteX76" fmla="*/ 942 w 10000"/>
                <a:gd name="connsiteY76" fmla="*/ 3488 h 10000"/>
                <a:gd name="connsiteX77" fmla="*/ 896 w 10000"/>
                <a:gd name="connsiteY77" fmla="*/ 3548 h 10000"/>
                <a:gd name="connsiteX78" fmla="*/ 824 w 10000"/>
                <a:gd name="connsiteY78" fmla="*/ 3603 h 10000"/>
                <a:gd name="connsiteX79" fmla="*/ 907 w 10000"/>
                <a:gd name="connsiteY79" fmla="*/ 3697 h 10000"/>
                <a:gd name="connsiteX80" fmla="*/ 896 w 10000"/>
                <a:gd name="connsiteY80" fmla="*/ 4053 h 10000"/>
                <a:gd name="connsiteX81" fmla="*/ 709 w 10000"/>
                <a:gd name="connsiteY81" fmla="*/ 4124 h 10000"/>
                <a:gd name="connsiteX82" fmla="*/ 509 w 10000"/>
                <a:gd name="connsiteY82" fmla="*/ 4531 h 10000"/>
                <a:gd name="connsiteX83" fmla="*/ 380 w 10000"/>
                <a:gd name="connsiteY83" fmla="*/ 4936 h 10000"/>
                <a:gd name="connsiteX84" fmla="*/ 199 w 10000"/>
                <a:gd name="connsiteY84" fmla="*/ 5260 h 10000"/>
                <a:gd name="connsiteX85" fmla="*/ 276 w 10000"/>
                <a:gd name="connsiteY85" fmla="*/ 5517 h 10000"/>
                <a:gd name="connsiteX86" fmla="*/ 283 w 10000"/>
                <a:gd name="connsiteY86" fmla="*/ 5732 h 10000"/>
                <a:gd name="connsiteX87" fmla="*/ 409 w 10000"/>
                <a:gd name="connsiteY87" fmla="*/ 5841 h 10000"/>
                <a:gd name="connsiteX88" fmla="*/ 391 w 10000"/>
                <a:gd name="connsiteY88" fmla="*/ 5945 h 10000"/>
                <a:gd name="connsiteX89" fmla="*/ 207 w 10000"/>
                <a:gd name="connsiteY89" fmla="*/ 5852 h 10000"/>
                <a:gd name="connsiteX90" fmla="*/ 127 w 10000"/>
                <a:gd name="connsiteY90" fmla="*/ 6099 h 10000"/>
                <a:gd name="connsiteX91" fmla="*/ 107 w 10000"/>
                <a:gd name="connsiteY91" fmla="*/ 6346 h 10000"/>
                <a:gd name="connsiteX92" fmla="*/ 1 w 10000"/>
                <a:gd name="connsiteY92" fmla="*/ 6571 h 10000"/>
                <a:gd name="connsiteX93" fmla="*/ 19 w 10000"/>
                <a:gd name="connsiteY93" fmla="*/ 6779 h 10000"/>
                <a:gd name="connsiteX94" fmla="*/ 92 w 10000"/>
                <a:gd name="connsiteY94" fmla="*/ 6828 h 10000"/>
                <a:gd name="connsiteX95" fmla="*/ 158 w 10000"/>
                <a:gd name="connsiteY95" fmla="*/ 6960 h 10000"/>
                <a:gd name="connsiteX96" fmla="*/ 246 w 10000"/>
                <a:gd name="connsiteY96" fmla="*/ 6943 h 10000"/>
                <a:gd name="connsiteX97" fmla="*/ 299 w 10000"/>
                <a:gd name="connsiteY97" fmla="*/ 7076 h 10000"/>
                <a:gd name="connsiteX98" fmla="*/ 455 w 10000"/>
                <a:gd name="connsiteY98" fmla="*/ 7103 h 10000"/>
                <a:gd name="connsiteX99" fmla="*/ 463 w 10000"/>
                <a:gd name="connsiteY99" fmla="*/ 7251 h 10000"/>
                <a:gd name="connsiteX100" fmla="*/ 505 w 10000"/>
                <a:gd name="connsiteY100" fmla="*/ 7278 h 10000"/>
                <a:gd name="connsiteX101" fmla="*/ 537 w 10000"/>
                <a:gd name="connsiteY101" fmla="*/ 7174 h 10000"/>
                <a:gd name="connsiteX102" fmla="*/ 594 w 10000"/>
                <a:gd name="connsiteY102" fmla="*/ 7196 h 10000"/>
                <a:gd name="connsiteX103" fmla="*/ 659 w 10000"/>
                <a:gd name="connsiteY103" fmla="*/ 6992 h 10000"/>
                <a:gd name="connsiteX104" fmla="*/ 839 w 10000"/>
                <a:gd name="connsiteY104" fmla="*/ 7174 h 10000"/>
                <a:gd name="connsiteX105" fmla="*/ 1313 w 10000"/>
                <a:gd name="connsiteY105" fmla="*/ 7163 h 10000"/>
                <a:gd name="connsiteX106" fmla="*/ 1500 w 10000"/>
                <a:gd name="connsiteY106" fmla="*/ 7092 h 10000"/>
                <a:gd name="connsiteX107" fmla="*/ 1807 w 10000"/>
                <a:gd name="connsiteY107" fmla="*/ 7344 h 10000"/>
                <a:gd name="connsiteX108" fmla="*/ 2001 w 10000"/>
                <a:gd name="connsiteY108" fmla="*/ 7087 h 10000"/>
                <a:gd name="connsiteX109" fmla="*/ 2437 w 10000"/>
                <a:gd name="connsiteY109" fmla="*/ 6861 h 10000"/>
                <a:gd name="connsiteX110" fmla="*/ 2594 w 10000"/>
                <a:gd name="connsiteY110" fmla="*/ 6489 h 10000"/>
                <a:gd name="connsiteX111" fmla="*/ 2709 w 10000"/>
                <a:gd name="connsiteY111" fmla="*/ 6439 h 10000"/>
                <a:gd name="connsiteX112" fmla="*/ 2709 w 10000"/>
                <a:gd name="connsiteY112" fmla="*/ 6379 h 10000"/>
                <a:gd name="connsiteX113" fmla="*/ 2755 w 10000"/>
                <a:gd name="connsiteY113" fmla="*/ 6379 h 10000"/>
                <a:gd name="connsiteX114" fmla="*/ 2744 w 10000"/>
                <a:gd name="connsiteY114" fmla="*/ 6230 h 10000"/>
                <a:gd name="connsiteX115" fmla="*/ 2885 w 10000"/>
                <a:gd name="connsiteY115" fmla="*/ 6285 h 10000"/>
                <a:gd name="connsiteX116" fmla="*/ 2904 w 10000"/>
                <a:gd name="connsiteY116" fmla="*/ 6159 h 10000"/>
                <a:gd name="connsiteX117" fmla="*/ 2988 w 10000"/>
                <a:gd name="connsiteY117" fmla="*/ 6230 h 10000"/>
                <a:gd name="connsiteX118" fmla="*/ 3050 w 10000"/>
                <a:gd name="connsiteY118" fmla="*/ 6126 h 10000"/>
                <a:gd name="connsiteX119" fmla="*/ 3149 w 10000"/>
                <a:gd name="connsiteY119" fmla="*/ 6154 h 10000"/>
                <a:gd name="connsiteX120" fmla="*/ 3237 w 10000"/>
                <a:gd name="connsiteY120" fmla="*/ 6055 h 10000"/>
                <a:gd name="connsiteX121" fmla="*/ 3405 w 10000"/>
                <a:gd name="connsiteY121" fmla="*/ 6192 h 10000"/>
                <a:gd name="connsiteX122" fmla="*/ 3490 w 10000"/>
                <a:gd name="connsiteY122" fmla="*/ 6197 h 10000"/>
                <a:gd name="connsiteX123" fmla="*/ 3516 w 10000"/>
                <a:gd name="connsiteY123" fmla="*/ 6307 h 10000"/>
                <a:gd name="connsiteX124" fmla="*/ 3674 w 10000"/>
                <a:gd name="connsiteY124" fmla="*/ 6236 h 10000"/>
                <a:gd name="connsiteX125" fmla="*/ 3658 w 10000"/>
                <a:gd name="connsiteY125" fmla="*/ 6357 h 10000"/>
                <a:gd name="connsiteX126" fmla="*/ 3716 w 10000"/>
                <a:gd name="connsiteY126" fmla="*/ 6341 h 10000"/>
                <a:gd name="connsiteX127" fmla="*/ 3784 w 10000"/>
                <a:gd name="connsiteY127" fmla="*/ 6428 h 10000"/>
                <a:gd name="connsiteX128" fmla="*/ 3788 w 10000"/>
                <a:gd name="connsiteY128" fmla="*/ 6301 h 10000"/>
                <a:gd name="connsiteX129" fmla="*/ 3971 w 10000"/>
                <a:gd name="connsiteY129" fmla="*/ 6341 h 10000"/>
                <a:gd name="connsiteX130" fmla="*/ 4037 w 10000"/>
                <a:gd name="connsiteY130" fmla="*/ 6511 h 10000"/>
                <a:gd name="connsiteX131" fmla="*/ 4140 w 10000"/>
                <a:gd name="connsiteY131" fmla="*/ 6494 h 10000"/>
                <a:gd name="connsiteX132" fmla="*/ 4185 w 10000"/>
                <a:gd name="connsiteY132" fmla="*/ 6417 h 10000"/>
                <a:gd name="connsiteX133" fmla="*/ 4288 w 10000"/>
                <a:gd name="connsiteY133" fmla="*/ 6735 h 10000"/>
                <a:gd name="connsiteX134" fmla="*/ 4251 w 10000"/>
                <a:gd name="connsiteY134" fmla="*/ 6987 h 10000"/>
                <a:gd name="connsiteX135" fmla="*/ 4304 w 10000"/>
                <a:gd name="connsiteY135" fmla="*/ 7114 h 10000"/>
                <a:gd name="connsiteX136" fmla="*/ 4376 w 10000"/>
                <a:gd name="connsiteY136" fmla="*/ 7119 h 10000"/>
                <a:gd name="connsiteX137" fmla="*/ 4488 w 10000"/>
                <a:gd name="connsiteY137" fmla="*/ 7256 h 10000"/>
                <a:gd name="connsiteX138" fmla="*/ 4533 w 10000"/>
                <a:gd name="connsiteY138" fmla="*/ 7152 h 10000"/>
                <a:gd name="connsiteX139" fmla="*/ 4583 w 10000"/>
                <a:gd name="connsiteY139" fmla="*/ 7322 h 10000"/>
                <a:gd name="connsiteX140" fmla="*/ 4646 w 10000"/>
                <a:gd name="connsiteY140" fmla="*/ 7662 h 10000"/>
                <a:gd name="connsiteX141" fmla="*/ 4829 w 10000"/>
                <a:gd name="connsiteY141" fmla="*/ 7739 h 10000"/>
                <a:gd name="connsiteX142" fmla="*/ 4871 w 10000"/>
                <a:gd name="connsiteY142" fmla="*/ 8183 h 10000"/>
                <a:gd name="connsiteX143" fmla="*/ 5027 w 10000"/>
                <a:gd name="connsiteY143" fmla="*/ 8276 h 10000"/>
                <a:gd name="connsiteX144" fmla="*/ 4866 w 10000"/>
                <a:gd name="connsiteY144" fmla="*/ 8370 h 10000"/>
                <a:gd name="connsiteX145" fmla="*/ 4813 w 10000"/>
                <a:gd name="connsiteY145" fmla="*/ 8260 h 10000"/>
                <a:gd name="connsiteX146" fmla="*/ 4752 w 10000"/>
                <a:gd name="connsiteY146" fmla="*/ 8403 h 10000"/>
                <a:gd name="connsiteX147" fmla="*/ 4594 w 10000"/>
                <a:gd name="connsiteY147" fmla="*/ 8287 h 10000"/>
                <a:gd name="connsiteX148" fmla="*/ 4506 w 10000"/>
                <a:gd name="connsiteY148" fmla="*/ 8452 h 10000"/>
                <a:gd name="connsiteX149" fmla="*/ 4323 w 10000"/>
                <a:gd name="connsiteY149" fmla="*/ 8331 h 10000"/>
                <a:gd name="connsiteX150" fmla="*/ 4411 w 10000"/>
                <a:gd name="connsiteY150" fmla="*/ 8699 h 10000"/>
                <a:gd name="connsiteX151" fmla="*/ 4403 w 10000"/>
                <a:gd name="connsiteY151" fmla="*/ 8967 h 10000"/>
                <a:gd name="connsiteX152" fmla="*/ 4285 w 10000"/>
                <a:gd name="connsiteY152" fmla="*/ 9088 h 10000"/>
                <a:gd name="connsiteX153" fmla="*/ 4323 w 10000"/>
                <a:gd name="connsiteY153" fmla="*/ 9193 h 10000"/>
                <a:gd name="connsiteX154" fmla="*/ 4159 w 10000"/>
                <a:gd name="connsiteY154" fmla="*/ 9412 h 10000"/>
                <a:gd name="connsiteX155" fmla="*/ 4224 w 10000"/>
                <a:gd name="connsiteY155" fmla="*/ 9647 h 10000"/>
                <a:gd name="connsiteX156" fmla="*/ 4063 w 10000"/>
                <a:gd name="connsiteY156" fmla="*/ 9681 h 10000"/>
                <a:gd name="connsiteX157" fmla="*/ 4021 w 10000"/>
                <a:gd name="connsiteY157" fmla="*/ 9741 h 10000"/>
                <a:gd name="connsiteX158" fmla="*/ 4090 w 10000"/>
                <a:gd name="connsiteY158" fmla="*/ 9785 h 10000"/>
                <a:gd name="connsiteX159" fmla="*/ 4213 w 10000"/>
                <a:gd name="connsiteY159" fmla="*/ 9944 h 10000"/>
                <a:gd name="connsiteX160" fmla="*/ 4411 w 10000"/>
                <a:gd name="connsiteY160" fmla="*/ 9999 h 10000"/>
                <a:gd name="connsiteX161" fmla="*/ 4418 w 10000"/>
                <a:gd name="connsiteY161" fmla="*/ 9851 h 10000"/>
                <a:gd name="connsiteX162" fmla="*/ 4488 w 10000"/>
                <a:gd name="connsiteY162" fmla="*/ 9856 h 10000"/>
                <a:gd name="connsiteX163" fmla="*/ 4783 w 10000"/>
                <a:gd name="connsiteY163" fmla="*/ 9603 h 10000"/>
                <a:gd name="connsiteX164" fmla="*/ 4978 w 10000"/>
                <a:gd name="connsiteY164" fmla="*/ 9845 h 10000"/>
                <a:gd name="connsiteX165" fmla="*/ 4978 w 10000"/>
                <a:gd name="connsiteY165" fmla="*/ 9862 h 10000"/>
                <a:gd name="connsiteX166" fmla="*/ 5009 w 10000"/>
                <a:gd name="connsiteY166" fmla="*/ 9703 h 10000"/>
                <a:gd name="connsiteX167" fmla="*/ 4954 w 10000"/>
                <a:gd name="connsiteY167" fmla="*/ 9570 h 10000"/>
                <a:gd name="connsiteX168" fmla="*/ 4886 w 10000"/>
                <a:gd name="connsiteY168" fmla="*/ 9549 h 10000"/>
                <a:gd name="connsiteX169" fmla="*/ 4932 w 10000"/>
                <a:gd name="connsiteY169" fmla="*/ 9466 h 10000"/>
                <a:gd name="connsiteX170" fmla="*/ 4917 w 10000"/>
                <a:gd name="connsiteY170" fmla="*/ 9444 h 10000"/>
                <a:gd name="connsiteX171" fmla="*/ 4859 w 10000"/>
                <a:gd name="connsiteY171" fmla="*/ 9439 h 10000"/>
                <a:gd name="connsiteX172" fmla="*/ 4829 w 10000"/>
                <a:gd name="connsiteY172" fmla="*/ 9121 h 10000"/>
                <a:gd name="connsiteX173" fmla="*/ 4871 w 10000"/>
                <a:gd name="connsiteY173" fmla="*/ 9105 h 10000"/>
                <a:gd name="connsiteX174" fmla="*/ 4893 w 10000"/>
                <a:gd name="connsiteY174" fmla="*/ 9253 h 10000"/>
                <a:gd name="connsiteX175" fmla="*/ 4947 w 10000"/>
                <a:gd name="connsiteY175" fmla="*/ 9384 h 10000"/>
                <a:gd name="connsiteX176" fmla="*/ 4993 w 10000"/>
                <a:gd name="connsiteY176" fmla="*/ 9302 h 10000"/>
                <a:gd name="connsiteX177" fmla="*/ 4981 w 10000"/>
                <a:gd name="connsiteY177" fmla="*/ 9220 h 10000"/>
                <a:gd name="connsiteX178" fmla="*/ 5054 w 10000"/>
                <a:gd name="connsiteY178" fmla="*/ 9203 h 10000"/>
                <a:gd name="connsiteX179" fmla="*/ 5016 w 10000"/>
                <a:gd name="connsiteY179" fmla="*/ 9034 h 10000"/>
                <a:gd name="connsiteX180" fmla="*/ 5115 w 10000"/>
                <a:gd name="connsiteY180" fmla="*/ 9061 h 10000"/>
                <a:gd name="connsiteX181" fmla="*/ 5119 w 10000"/>
                <a:gd name="connsiteY181" fmla="*/ 8972 h 10000"/>
                <a:gd name="connsiteX182" fmla="*/ 5157 w 10000"/>
                <a:gd name="connsiteY182" fmla="*/ 9039 h 10000"/>
                <a:gd name="connsiteX183" fmla="*/ 5326 w 10000"/>
                <a:gd name="connsiteY183" fmla="*/ 8781 h 10000"/>
                <a:gd name="connsiteX184" fmla="*/ 5230 w 10000"/>
                <a:gd name="connsiteY184" fmla="*/ 8584 h 10000"/>
                <a:gd name="connsiteX185" fmla="*/ 5051 w 10000"/>
                <a:gd name="connsiteY185" fmla="*/ 8425 h 10000"/>
                <a:gd name="connsiteX186" fmla="*/ 5153 w 10000"/>
                <a:gd name="connsiteY186" fmla="*/ 8370 h 10000"/>
                <a:gd name="connsiteX187" fmla="*/ 5302 w 10000"/>
                <a:gd name="connsiteY187" fmla="*/ 8633 h 10000"/>
                <a:gd name="connsiteX188" fmla="*/ 5414 w 10000"/>
                <a:gd name="connsiteY188" fmla="*/ 8199 h 10000"/>
                <a:gd name="connsiteX189" fmla="*/ 5421 w 10000"/>
                <a:gd name="connsiteY189" fmla="*/ 8030 h 10000"/>
                <a:gd name="connsiteX190" fmla="*/ 5608 w 10000"/>
                <a:gd name="connsiteY190" fmla="*/ 7942 h 10000"/>
                <a:gd name="connsiteX191" fmla="*/ 5678 w 10000"/>
                <a:gd name="connsiteY191" fmla="*/ 7607 h 10000"/>
                <a:gd name="connsiteX192" fmla="*/ 5689 w 10000"/>
                <a:gd name="connsiteY192" fmla="*/ 7734 h 10000"/>
                <a:gd name="connsiteX193" fmla="*/ 5808 w 10000"/>
                <a:gd name="connsiteY193" fmla="*/ 7596 h 10000"/>
                <a:gd name="connsiteX194" fmla="*/ 5892 w 10000"/>
                <a:gd name="connsiteY194" fmla="*/ 7579 h 10000"/>
                <a:gd name="connsiteX195" fmla="*/ 5976 w 10000"/>
                <a:gd name="connsiteY195" fmla="*/ 7207 h 10000"/>
                <a:gd name="connsiteX196" fmla="*/ 6052 w 10000"/>
                <a:gd name="connsiteY196" fmla="*/ 7486 h 10000"/>
                <a:gd name="connsiteX197" fmla="*/ 6278 w 10000"/>
                <a:gd name="connsiteY197" fmla="*/ 7563 h 10000"/>
                <a:gd name="connsiteX198" fmla="*/ 6106 w 10000"/>
                <a:gd name="connsiteY198" fmla="*/ 7618 h 10000"/>
                <a:gd name="connsiteX199" fmla="*/ 6091 w 10000"/>
                <a:gd name="connsiteY199" fmla="*/ 7679 h 10000"/>
                <a:gd name="connsiteX200" fmla="*/ 5919 w 10000"/>
                <a:gd name="connsiteY200" fmla="*/ 7690 h 10000"/>
                <a:gd name="connsiteX201" fmla="*/ 5831 w 10000"/>
                <a:gd name="connsiteY201" fmla="*/ 7723 h 10000"/>
                <a:gd name="connsiteX202" fmla="*/ 5900 w 10000"/>
                <a:gd name="connsiteY202" fmla="*/ 7772 h 10000"/>
                <a:gd name="connsiteX203" fmla="*/ 5961 w 10000"/>
                <a:gd name="connsiteY203" fmla="*/ 7756 h 10000"/>
                <a:gd name="connsiteX204" fmla="*/ 6129 w 10000"/>
                <a:gd name="connsiteY204" fmla="*/ 7789 h 10000"/>
                <a:gd name="connsiteX205" fmla="*/ 5938 w 10000"/>
                <a:gd name="connsiteY205" fmla="*/ 7964 h 10000"/>
                <a:gd name="connsiteX206" fmla="*/ 6007 w 10000"/>
                <a:gd name="connsiteY206" fmla="*/ 8008 h 10000"/>
                <a:gd name="connsiteX207" fmla="*/ 6182 w 10000"/>
                <a:gd name="connsiteY207" fmla="*/ 7958 h 10000"/>
                <a:gd name="connsiteX208" fmla="*/ 6419 w 10000"/>
                <a:gd name="connsiteY208" fmla="*/ 8101 h 10000"/>
                <a:gd name="connsiteX209" fmla="*/ 6726 w 10000"/>
                <a:gd name="connsiteY209" fmla="*/ 7909 h 10000"/>
                <a:gd name="connsiteX210" fmla="*/ 7028 w 10000"/>
                <a:gd name="connsiteY210" fmla="*/ 7887 h 10000"/>
                <a:gd name="connsiteX211" fmla="*/ 7074 w 10000"/>
                <a:gd name="connsiteY211" fmla="*/ 7745 h 10000"/>
                <a:gd name="connsiteX212" fmla="*/ 7154 w 10000"/>
                <a:gd name="connsiteY212" fmla="*/ 7958 h 10000"/>
                <a:gd name="connsiteX213" fmla="*/ 7238 w 10000"/>
                <a:gd name="connsiteY213" fmla="*/ 7986 h 10000"/>
                <a:gd name="connsiteX214" fmla="*/ 7207 w 10000"/>
                <a:gd name="connsiteY214" fmla="*/ 8134 h 10000"/>
                <a:gd name="connsiteX215" fmla="*/ 6944 w 10000"/>
                <a:gd name="connsiteY215" fmla="*/ 8281 h 10000"/>
                <a:gd name="connsiteX216" fmla="*/ 6925 w 10000"/>
                <a:gd name="connsiteY216" fmla="*/ 8386 h 10000"/>
                <a:gd name="connsiteX217" fmla="*/ 6780 w 10000"/>
                <a:gd name="connsiteY217" fmla="*/ 8523 h 10000"/>
                <a:gd name="connsiteX218" fmla="*/ 6775 w 10000"/>
                <a:gd name="connsiteY218" fmla="*/ 8649 h 10000"/>
                <a:gd name="connsiteX219" fmla="*/ 6687 w 10000"/>
                <a:gd name="connsiteY219" fmla="*/ 8704 h 10000"/>
                <a:gd name="connsiteX220" fmla="*/ 6576 w 10000"/>
                <a:gd name="connsiteY220" fmla="*/ 8989 h 10000"/>
                <a:gd name="connsiteX221" fmla="*/ 6734 w 10000"/>
                <a:gd name="connsiteY221" fmla="*/ 9001 h 10000"/>
                <a:gd name="connsiteX222" fmla="*/ 6826 w 10000"/>
                <a:gd name="connsiteY222" fmla="*/ 8879 h 10000"/>
                <a:gd name="connsiteX223" fmla="*/ 6925 w 10000"/>
                <a:gd name="connsiteY223" fmla="*/ 8912 h 10000"/>
                <a:gd name="connsiteX224" fmla="*/ 6971 w 10000"/>
                <a:gd name="connsiteY224" fmla="*/ 8786 h 10000"/>
                <a:gd name="connsiteX225" fmla="*/ 7035 w 10000"/>
                <a:gd name="connsiteY225" fmla="*/ 9001 h 10000"/>
                <a:gd name="connsiteX226" fmla="*/ 7223 w 10000"/>
                <a:gd name="connsiteY226" fmla="*/ 8994 h 10000"/>
                <a:gd name="connsiteX227" fmla="*/ 7383 w 10000"/>
                <a:gd name="connsiteY227" fmla="*/ 9362 h 10000"/>
                <a:gd name="connsiteX228" fmla="*/ 7398 w 10000"/>
                <a:gd name="connsiteY228" fmla="*/ 9675 h 10000"/>
                <a:gd name="connsiteX229" fmla="*/ 7341 w 10000"/>
                <a:gd name="connsiteY229" fmla="*/ 9692 h 10000"/>
                <a:gd name="connsiteX230" fmla="*/ 7352 w 10000"/>
                <a:gd name="connsiteY230" fmla="*/ 9780 h 10000"/>
                <a:gd name="connsiteX231" fmla="*/ 7594 w 10000"/>
                <a:gd name="connsiteY231" fmla="*/ 9900 h 10000"/>
                <a:gd name="connsiteX232" fmla="*/ 8294 w 10000"/>
                <a:gd name="connsiteY232" fmla="*/ 9023 h 10000"/>
                <a:gd name="connsiteX233" fmla="*/ 8370 w 10000"/>
                <a:gd name="connsiteY233" fmla="*/ 8841 h 10000"/>
                <a:gd name="connsiteX234" fmla="*/ 8458 w 10000"/>
                <a:gd name="connsiteY234" fmla="*/ 8786 h 10000"/>
                <a:gd name="connsiteX235" fmla="*/ 8512 w 10000"/>
                <a:gd name="connsiteY235" fmla="*/ 8512 h 10000"/>
                <a:gd name="connsiteX236" fmla="*/ 8739 w 10000"/>
                <a:gd name="connsiteY236" fmla="*/ 8617 h 10000"/>
                <a:gd name="connsiteX237" fmla="*/ 8872 w 10000"/>
                <a:gd name="connsiteY237" fmla="*/ 8474 h 10000"/>
                <a:gd name="connsiteX238" fmla="*/ 9059 w 10000"/>
                <a:gd name="connsiteY238" fmla="*/ 8343 h 10000"/>
                <a:gd name="connsiteX239" fmla="*/ 8983 w 10000"/>
                <a:gd name="connsiteY239" fmla="*/ 8128 h 10000"/>
                <a:gd name="connsiteX240" fmla="*/ 7885 w 10000"/>
                <a:gd name="connsiteY240" fmla="*/ 7991 h 10000"/>
                <a:gd name="connsiteX241" fmla="*/ 7859 w 10000"/>
                <a:gd name="connsiteY241" fmla="*/ 7904 h 10000"/>
                <a:gd name="connsiteX242" fmla="*/ 7782 w 10000"/>
                <a:gd name="connsiteY242" fmla="*/ 8002 h 10000"/>
                <a:gd name="connsiteX243" fmla="*/ 7893 w 10000"/>
                <a:gd name="connsiteY243" fmla="*/ 7761 h 10000"/>
                <a:gd name="connsiteX244" fmla="*/ 7851 w 10000"/>
                <a:gd name="connsiteY244" fmla="*/ 7717 h 10000"/>
                <a:gd name="connsiteX245" fmla="*/ 7728 w 10000"/>
                <a:gd name="connsiteY245" fmla="*/ 7915 h 10000"/>
                <a:gd name="connsiteX246" fmla="*/ 7793 w 10000"/>
                <a:gd name="connsiteY246" fmla="*/ 7712 h 10000"/>
                <a:gd name="connsiteX247" fmla="*/ 7705 w 10000"/>
                <a:gd name="connsiteY247" fmla="*/ 7767 h 10000"/>
                <a:gd name="connsiteX248" fmla="*/ 7590 w 10000"/>
                <a:gd name="connsiteY248" fmla="*/ 7717 h 10000"/>
                <a:gd name="connsiteX249" fmla="*/ 7502 w 10000"/>
                <a:gd name="connsiteY249" fmla="*/ 7794 h 10000"/>
                <a:gd name="connsiteX250" fmla="*/ 7407 w 10000"/>
                <a:gd name="connsiteY250" fmla="*/ 7728 h 10000"/>
                <a:gd name="connsiteX251" fmla="*/ 7250 w 10000"/>
                <a:gd name="connsiteY251" fmla="*/ 7717 h 10000"/>
                <a:gd name="connsiteX252" fmla="*/ 7253 w 10000"/>
                <a:gd name="connsiteY252" fmla="*/ 7547 h 10000"/>
                <a:gd name="connsiteX253" fmla="*/ 7395 w 10000"/>
                <a:gd name="connsiteY253" fmla="*/ 7662 h 10000"/>
                <a:gd name="connsiteX254" fmla="*/ 7440 w 10000"/>
                <a:gd name="connsiteY254" fmla="*/ 7541 h 10000"/>
                <a:gd name="connsiteX255" fmla="*/ 7403 w 10000"/>
                <a:gd name="connsiteY255" fmla="*/ 7410 h 10000"/>
                <a:gd name="connsiteX256" fmla="*/ 7510 w 10000"/>
                <a:gd name="connsiteY256" fmla="*/ 7547 h 10000"/>
                <a:gd name="connsiteX257" fmla="*/ 7655 w 10000"/>
                <a:gd name="connsiteY257" fmla="*/ 7536 h 10000"/>
                <a:gd name="connsiteX258" fmla="*/ 7679 w 10000"/>
                <a:gd name="connsiteY258" fmla="*/ 7685 h 10000"/>
                <a:gd name="connsiteX259" fmla="*/ 7721 w 10000"/>
                <a:gd name="connsiteY259" fmla="*/ 7685 h 10000"/>
                <a:gd name="connsiteX260" fmla="*/ 7732 w 10000"/>
                <a:gd name="connsiteY260" fmla="*/ 7415 h 10000"/>
                <a:gd name="connsiteX261" fmla="*/ 7782 w 10000"/>
                <a:gd name="connsiteY261" fmla="*/ 7585 h 10000"/>
                <a:gd name="connsiteX262" fmla="*/ 7870 w 10000"/>
                <a:gd name="connsiteY262" fmla="*/ 7590 h 10000"/>
                <a:gd name="connsiteX263" fmla="*/ 7805 w 10000"/>
                <a:gd name="connsiteY263" fmla="*/ 7333 h 10000"/>
                <a:gd name="connsiteX264" fmla="*/ 7965 w 10000"/>
                <a:gd name="connsiteY264" fmla="*/ 7240 h 10000"/>
                <a:gd name="connsiteX265" fmla="*/ 7958 w 10000"/>
                <a:gd name="connsiteY265" fmla="*/ 6987 h 10000"/>
                <a:gd name="connsiteX266" fmla="*/ 8069 w 10000"/>
                <a:gd name="connsiteY266" fmla="*/ 7081 h 10000"/>
                <a:gd name="connsiteX267" fmla="*/ 8088 w 10000"/>
                <a:gd name="connsiteY267" fmla="*/ 7015 h 10000"/>
                <a:gd name="connsiteX268" fmla="*/ 7954 w 10000"/>
                <a:gd name="connsiteY268" fmla="*/ 6735 h 10000"/>
                <a:gd name="connsiteX269" fmla="*/ 8133 w 10000"/>
                <a:gd name="connsiteY269" fmla="*/ 6894 h 10000"/>
                <a:gd name="connsiteX270" fmla="*/ 8359 w 10000"/>
                <a:gd name="connsiteY270" fmla="*/ 6511 h 10000"/>
                <a:gd name="connsiteX271" fmla="*/ 8577 w 10000"/>
                <a:gd name="connsiteY271" fmla="*/ 6483 h 10000"/>
                <a:gd name="connsiteX272" fmla="*/ 8623 w 10000"/>
                <a:gd name="connsiteY272"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538 w 10000"/>
                <a:gd name="connsiteY13" fmla="*/ 1311 h 10000"/>
                <a:gd name="connsiteX14" fmla="*/ 6454 w 10000"/>
                <a:gd name="connsiteY14" fmla="*/ 1223 h 10000"/>
                <a:gd name="connsiteX15" fmla="*/ 6267 w 10000"/>
                <a:gd name="connsiteY15" fmla="*/ 1273 h 10000"/>
                <a:gd name="connsiteX16" fmla="*/ 6285 w 10000"/>
                <a:gd name="connsiteY16" fmla="*/ 1125 h 10000"/>
                <a:gd name="connsiteX17" fmla="*/ 6213 w 10000"/>
                <a:gd name="connsiteY17" fmla="*/ 1119 h 10000"/>
                <a:gd name="connsiteX18" fmla="*/ 6179 w 10000"/>
                <a:gd name="connsiteY18" fmla="*/ 910 h 10000"/>
                <a:gd name="connsiteX19" fmla="*/ 6079 w 10000"/>
                <a:gd name="connsiteY19" fmla="*/ 795 h 10000"/>
                <a:gd name="connsiteX20" fmla="*/ 6285 w 10000"/>
                <a:gd name="connsiteY20" fmla="*/ 620 h 10000"/>
                <a:gd name="connsiteX21" fmla="*/ 6037 w 10000"/>
                <a:gd name="connsiteY21" fmla="*/ 395 h 10000"/>
                <a:gd name="connsiteX22" fmla="*/ 5988 w 10000"/>
                <a:gd name="connsiteY22" fmla="*/ 142 h 10000"/>
                <a:gd name="connsiteX23" fmla="*/ 5873 w 10000"/>
                <a:gd name="connsiteY23" fmla="*/ 110 h 10000"/>
                <a:gd name="connsiteX24" fmla="*/ 5777 w 10000"/>
                <a:gd name="connsiteY24" fmla="*/ 0 h 10000"/>
                <a:gd name="connsiteX25" fmla="*/ 5675 w 10000"/>
                <a:gd name="connsiteY25" fmla="*/ 120 h 10000"/>
                <a:gd name="connsiteX26" fmla="*/ 5501 w 10000"/>
                <a:gd name="connsiteY26" fmla="*/ 110 h 10000"/>
                <a:gd name="connsiteX27" fmla="*/ 5352 w 10000"/>
                <a:gd name="connsiteY27" fmla="*/ 351 h 10000"/>
                <a:gd name="connsiteX28" fmla="*/ 5066 w 10000"/>
                <a:gd name="connsiteY28" fmla="*/ 329 h 10000"/>
                <a:gd name="connsiteX29" fmla="*/ 4996 w 10000"/>
                <a:gd name="connsiteY29" fmla="*/ 680 h 10000"/>
                <a:gd name="connsiteX30" fmla="*/ 4809 w 10000"/>
                <a:gd name="connsiteY30" fmla="*/ 707 h 10000"/>
                <a:gd name="connsiteX31" fmla="*/ 4905 w 10000"/>
                <a:gd name="connsiteY31" fmla="*/ 844 h 10000"/>
                <a:gd name="connsiteX32" fmla="*/ 4848 w 10000"/>
                <a:gd name="connsiteY32" fmla="*/ 899 h 10000"/>
                <a:gd name="connsiteX33" fmla="*/ 4718 w 10000"/>
                <a:gd name="connsiteY33" fmla="*/ 894 h 10000"/>
                <a:gd name="connsiteX34" fmla="*/ 4541 w 10000"/>
                <a:gd name="connsiteY34" fmla="*/ 1026 h 10000"/>
                <a:gd name="connsiteX35" fmla="*/ 4350 w 10000"/>
                <a:gd name="connsiteY35" fmla="*/ 1668 h 10000"/>
                <a:gd name="connsiteX36" fmla="*/ 4407 w 10000"/>
                <a:gd name="connsiteY36" fmla="*/ 2090 h 10000"/>
                <a:gd name="connsiteX37" fmla="*/ 4216 w 10000"/>
                <a:gd name="connsiteY37" fmla="*/ 1865 h 10000"/>
                <a:gd name="connsiteX38" fmla="*/ 3938 w 10000"/>
                <a:gd name="connsiteY38" fmla="*/ 1991 h 10000"/>
                <a:gd name="connsiteX39" fmla="*/ 3910 w 10000"/>
                <a:gd name="connsiteY39" fmla="*/ 1931 h 10000"/>
                <a:gd name="connsiteX40" fmla="*/ 3780 w 10000"/>
                <a:gd name="connsiteY40" fmla="*/ 2002 h 10000"/>
                <a:gd name="connsiteX41" fmla="*/ 3704 w 10000"/>
                <a:gd name="connsiteY41" fmla="*/ 2144 h 10000"/>
                <a:gd name="connsiteX42" fmla="*/ 3643 w 10000"/>
                <a:gd name="connsiteY42" fmla="*/ 1909 h 10000"/>
                <a:gd name="connsiteX43" fmla="*/ 3558 w 10000"/>
                <a:gd name="connsiteY43" fmla="*/ 1843 h 10000"/>
                <a:gd name="connsiteX44" fmla="*/ 3523 w 10000"/>
                <a:gd name="connsiteY44" fmla="*/ 1964 h 10000"/>
                <a:gd name="connsiteX45" fmla="*/ 3409 w 10000"/>
                <a:gd name="connsiteY45" fmla="*/ 1996 h 10000"/>
                <a:gd name="connsiteX46" fmla="*/ 3347 w 10000"/>
                <a:gd name="connsiteY46" fmla="*/ 2161 h 10000"/>
                <a:gd name="connsiteX47" fmla="*/ 3309 w 10000"/>
                <a:gd name="connsiteY47" fmla="*/ 2013 h 10000"/>
                <a:gd name="connsiteX48" fmla="*/ 3195 w 10000"/>
                <a:gd name="connsiteY48" fmla="*/ 2024 h 10000"/>
                <a:gd name="connsiteX49" fmla="*/ 3149 w 10000"/>
                <a:gd name="connsiteY49" fmla="*/ 2128 h 10000"/>
                <a:gd name="connsiteX50" fmla="*/ 3080 w 10000"/>
                <a:gd name="connsiteY50" fmla="*/ 1975 h 10000"/>
                <a:gd name="connsiteX51" fmla="*/ 2962 w 10000"/>
                <a:gd name="connsiteY51" fmla="*/ 2117 h 10000"/>
                <a:gd name="connsiteX52" fmla="*/ 2847 w 10000"/>
                <a:gd name="connsiteY52" fmla="*/ 2106 h 10000"/>
                <a:gd name="connsiteX53" fmla="*/ 2843 w 10000"/>
                <a:gd name="connsiteY53" fmla="*/ 2276 h 10000"/>
                <a:gd name="connsiteX54" fmla="*/ 2790 w 10000"/>
                <a:gd name="connsiteY54" fmla="*/ 2144 h 10000"/>
                <a:gd name="connsiteX55" fmla="*/ 2618 w 10000"/>
                <a:gd name="connsiteY55" fmla="*/ 2155 h 10000"/>
                <a:gd name="connsiteX56" fmla="*/ 2494 w 10000"/>
                <a:gd name="connsiteY56" fmla="*/ 1980 h 10000"/>
                <a:gd name="connsiteX57" fmla="*/ 2346 w 10000"/>
                <a:gd name="connsiteY57" fmla="*/ 2073 h 10000"/>
                <a:gd name="connsiteX58" fmla="*/ 2192 w 10000"/>
                <a:gd name="connsiteY58" fmla="*/ 1958 h 10000"/>
                <a:gd name="connsiteX59" fmla="*/ 2104 w 10000"/>
                <a:gd name="connsiteY59" fmla="*/ 2035 h 10000"/>
                <a:gd name="connsiteX60" fmla="*/ 2020 w 10000"/>
                <a:gd name="connsiteY60" fmla="*/ 1947 h 10000"/>
                <a:gd name="connsiteX61" fmla="*/ 1895 w 10000"/>
                <a:gd name="connsiteY61" fmla="*/ 1936 h 10000"/>
                <a:gd name="connsiteX62" fmla="*/ 1707 w 10000"/>
                <a:gd name="connsiteY62" fmla="*/ 1925 h 10000"/>
                <a:gd name="connsiteX63" fmla="*/ 1477 w 10000"/>
                <a:gd name="connsiteY63" fmla="*/ 1991 h 10000"/>
                <a:gd name="connsiteX64" fmla="*/ 1233 w 10000"/>
                <a:gd name="connsiteY64" fmla="*/ 2062 h 10000"/>
                <a:gd name="connsiteX65" fmla="*/ 942 w 10000"/>
                <a:gd name="connsiteY65" fmla="*/ 2166 h 10000"/>
                <a:gd name="connsiteX66" fmla="*/ 815 w 10000"/>
                <a:gd name="connsiteY66" fmla="*/ 2496 h 10000"/>
                <a:gd name="connsiteX67" fmla="*/ 617 w 10000"/>
                <a:gd name="connsiteY67" fmla="*/ 2501 h 10000"/>
                <a:gd name="connsiteX68" fmla="*/ 552 w 10000"/>
                <a:gd name="connsiteY68" fmla="*/ 2687 h 10000"/>
                <a:gd name="connsiteX69" fmla="*/ 571 w 10000"/>
                <a:gd name="connsiteY69" fmla="*/ 2764 h 10000"/>
                <a:gd name="connsiteX70" fmla="*/ 590 w 10000"/>
                <a:gd name="connsiteY70" fmla="*/ 2868 h 10000"/>
                <a:gd name="connsiteX71" fmla="*/ 590 w 10000"/>
                <a:gd name="connsiteY71" fmla="*/ 2868 h 10000"/>
                <a:gd name="connsiteX72" fmla="*/ 590 w 10000"/>
                <a:gd name="connsiteY72" fmla="*/ 2896 h 10000"/>
                <a:gd name="connsiteX73" fmla="*/ 698 w 10000"/>
                <a:gd name="connsiteY73" fmla="*/ 3116 h 10000"/>
                <a:gd name="connsiteX74" fmla="*/ 804 w 10000"/>
                <a:gd name="connsiteY74" fmla="*/ 3351 h 10000"/>
                <a:gd name="connsiteX75" fmla="*/ 942 w 10000"/>
                <a:gd name="connsiteY75" fmla="*/ 3488 h 10000"/>
                <a:gd name="connsiteX76" fmla="*/ 896 w 10000"/>
                <a:gd name="connsiteY76" fmla="*/ 3548 h 10000"/>
                <a:gd name="connsiteX77" fmla="*/ 824 w 10000"/>
                <a:gd name="connsiteY77" fmla="*/ 3603 h 10000"/>
                <a:gd name="connsiteX78" fmla="*/ 907 w 10000"/>
                <a:gd name="connsiteY78" fmla="*/ 3697 h 10000"/>
                <a:gd name="connsiteX79" fmla="*/ 896 w 10000"/>
                <a:gd name="connsiteY79" fmla="*/ 4053 h 10000"/>
                <a:gd name="connsiteX80" fmla="*/ 709 w 10000"/>
                <a:gd name="connsiteY80" fmla="*/ 4124 h 10000"/>
                <a:gd name="connsiteX81" fmla="*/ 509 w 10000"/>
                <a:gd name="connsiteY81" fmla="*/ 4531 h 10000"/>
                <a:gd name="connsiteX82" fmla="*/ 380 w 10000"/>
                <a:gd name="connsiteY82" fmla="*/ 4936 h 10000"/>
                <a:gd name="connsiteX83" fmla="*/ 199 w 10000"/>
                <a:gd name="connsiteY83" fmla="*/ 5260 h 10000"/>
                <a:gd name="connsiteX84" fmla="*/ 276 w 10000"/>
                <a:gd name="connsiteY84" fmla="*/ 5517 h 10000"/>
                <a:gd name="connsiteX85" fmla="*/ 283 w 10000"/>
                <a:gd name="connsiteY85" fmla="*/ 5732 h 10000"/>
                <a:gd name="connsiteX86" fmla="*/ 409 w 10000"/>
                <a:gd name="connsiteY86" fmla="*/ 5841 h 10000"/>
                <a:gd name="connsiteX87" fmla="*/ 391 w 10000"/>
                <a:gd name="connsiteY87" fmla="*/ 5945 h 10000"/>
                <a:gd name="connsiteX88" fmla="*/ 207 w 10000"/>
                <a:gd name="connsiteY88" fmla="*/ 5852 h 10000"/>
                <a:gd name="connsiteX89" fmla="*/ 127 w 10000"/>
                <a:gd name="connsiteY89" fmla="*/ 6099 h 10000"/>
                <a:gd name="connsiteX90" fmla="*/ 107 w 10000"/>
                <a:gd name="connsiteY90" fmla="*/ 6346 h 10000"/>
                <a:gd name="connsiteX91" fmla="*/ 1 w 10000"/>
                <a:gd name="connsiteY91" fmla="*/ 6571 h 10000"/>
                <a:gd name="connsiteX92" fmla="*/ 19 w 10000"/>
                <a:gd name="connsiteY92" fmla="*/ 6779 h 10000"/>
                <a:gd name="connsiteX93" fmla="*/ 92 w 10000"/>
                <a:gd name="connsiteY93" fmla="*/ 6828 h 10000"/>
                <a:gd name="connsiteX94" fmla="*/ 158 w 10000"/>
                <a:gd name="connsiteY94" fmla="*/ 6960 h 10000"/>
                <a:gd name="connsiteX95" fmla="*/ 246 w 10000"/>
                <a:gd name="connsiteY95" fmla="*/ 6943 h 10000"/>
                <a:gd name="connsiteX96" fmla="*/ 299 w 10000"/>
                <a:gd name="connsiteY96" fmla="*/ 7076 h 10000"/>
                <a:gd name="connsiteX97" fmla="*/ 455 w 10000"/>
                <a:gd name="connsiteY97" fmla="*/ 7103 h 10000"/>
                <a:gd name="connsiteX98" fmla="*/ 463 w 10000"/>
                <a:gd name="connsiteY98" fmla="*/ 7251 h 10000"/>
                <a:gd name="connsiteX99" fmla="*/ 505 w 10000"/>
                <a:gd name="connsiteY99" fmla="*/ 7278 h 10000"/>
                <a:gd name="connsiteX100" fmla="*/ 537 w 10000"/>
                <a:gd name="connsiteY100" fmla="*/ 7174 h 10000"/>
                <a:gd name="connsiteX101" fmla="*/ 594 w 10000"/>
                <a:gd name="connsiteY101" fmla="*/ 7196 h 10000"/>
                <a:gd name="connsiteX102" fmla="*/ 659 w 10000"/>
                <a:gd name="connsiteY102" fmla="*/ 6992 h 10000"/>
                <a:gd name="connsiteX103" fmla="*/ 839 w 10000"/>
                <a:gd name="connsiteY103" fmla="*/ 7174 h 10000"/>
                <a:gd name="connsiteX104" fmla="*/ 1313 w 10000"/>
                <a:gd name="connsiteY104" fmla="*/ 7163 h 10000"/>
                <a:gd name="connsiteX105" fmla="*/ 1500 w 10000"/>
                <a:gd name="connsiteY105" fmla="*/ 7092 h 10000"/>
                <a:gd name="connsiteX106" fmla="*/ 1807 w 10000"/>
                <a:gd name="connsiteY106" fmla="*/ 7344 h 10000"/>
                <a:gd name="connsiteX107" fmla="*/ 2001 w 10000"/>
                <a:gd name="connsiteY107" fmla="*/ 7087 h 10000"/>
                <a:gd name="connsiteX108" fmla="*/ 2437 w 10000"/>
                <a:gd name="connsiteY108" fmla="*/ 6861 h 10000"/>
                <a:gd name="connsiteX109" fmla="*/ 2594 w 10000"/>
                <a:gd name="connsiteY109" fmla="*/ 6489 h 10000"/>
                <a:gd name="connsiteX110" fmla="*/ 2709 w 10000"/>
                <a:gd name="connsiteY110" fmla="*/ 6439 h 10000"/>
                <a:gd name="connsiteX111" fmla="*/ 2709 w 10000"/>
                <a:gd name="connsiteY111" fmla="*/ 6379 h 10000"/>
                <a:gd name="connsiteX112" fmla="*/ 2755 w 10000"/>
                <a:gd name="connsiteY112" fmla="*/ 6379 h 10000"/>
                <a:gd name="connsiteX113" fmla="*/ 2744 w 10000"/>
                <a:gd name="connsiteY113" fmla="*/ 6230 h 10000"/>
                <a:gd name="connsiteX114" fmla="*/ 2885 w 10000"/>
                <a:gd name="connsiteY114" fmla="*/ 6285 h 10000"/>
                <a:gd name="connsiteX115" fmla="*/ 2904 w 10000"/>
                <a:gd name="connsiteY115" fmla="*/ 6159 h 10000"/>
                <a:gd name="connsiteX116" fmla="*/ 2988 w 10000"/>
                <a:gd name="connsiteY116" fmla="*/ 6230 h 10000"/>
                <a:gd name="connsiteX117" fmla="*/ 3050 w 10000"/>
                <a:gd name="connsiteY117" fmla="*/ 6126 h 10000"/>
                <a:gd name="connsiteX118" fmla="*/ 3149 w 10000"/>
                <a:gd name="connsiteY118" fmla="*/ 6154 h 10000"/>
                <a:gd name="connsiteX119" fmla="*/ 3237 w 10000"/>
                <a:gd name="connsiteY119" fmla="*/ 6055 h 10000"/>
                <a:gd name="connsiteX120" fmla="*/ 3405 w 10000"/>
                <a:gd name="connsiteY120" fmla="*/ 6192 h 10000"/>
                <a:gd name="connsiteX121" fmla="*/ 3490 w 10000"/>
                <a:gd name="connsiteY121" fmla="*/ 6197 h 10000"/>
                <a:gd name="connsiteX122" fmla="*/ 3516 w 10000"/>
                <a:gd name="connsiteY122" fmla="*/ 6307 h 10000"/>
                <a:gd name="connsiteX123" fmla="*/ 3674 w 10000"/>
                <a:gd name="connsiteY123" fmla="*/ 6236 h 10000"/>
                <a:gd name="connsiteX124" fmla="*/ 3658 w 10000"/>
                <a:gd name="connsiteY124" fmla="*/ 6357 h 10000"/>
                <a:gd name="connsiteX125" fmla="*/ 3716 w 10000"/>
                <a:gd name="connsiteY125" fmla="*/ 6341 h 10000"/>
                <a:gd name="connsiteX126" fmla="*/ 3784 w 10000"/>
                <a:gd name="connsiteY126" fmla="*/ 6428 h 10000"/>
                <a:gd name="connsiteX127" fmla="*/ 3788 w 10000"/>
                <a:gd name="connsiteY127" fmla="*/ 6301 h 10000"/>
                <a:gd name="connsiteX128" fmla="*/ 3971 w 10000"/>
                <a:gd name="connsiteY128" fmla="*/ 6341 h 10000"/>
                <a:gd name="connsiteX129" fmla="*/ 4037 w 10000"/>
                <a:gd name="connsiteY129" fmla="*/ 6511 h 10000"/>
                <a:gd name="connsiteX130" fmla="*/ 4140 w 10000"/>
                <a:gd name="connsiteY130" fmla="*/ 6494 h 10000"/>
                <a:gd name="connsiteX131" fmla="*/ 4185 w 10000"/>
                <a:gd name="connsiteY131" fmla="*/ 6417 h 10000"/>
                <a:gd name="connsiteX132" fmla="*/ 4288 w 10000"/>
                <a:gd name="connsiteY132" fmla="*/ 6735 h 10000"/>
                <a:gd name="connsiteX133" fmla="*/ 4251 w 10000"/>
                <a:gd name="connsiteY133" fmla="*/ 6987 h 10000"/>
                <a:gd name="connsiteX134" fmla="*/ 4304 w 10000"/>
                <a:gd name="connsiteY134" fmla="*/ 7114 h 10000"/>
                <a:gd name="connsiteX135" fmla="*/ 4376 w 10000"/>
                <a:gd name="connsiteY135" fmla="*/ 7119 h 10000"/>
                <a:gd name="connsiteX136" fmla="*/ 4488 w 10000"/>
                <a:gd name="connsiteY136" fmla="*/ 7256 h 10000"/>
                <a:gd name="connsiteX137" fmla="*/ 4533 w 10000"/>
                <a:gd name="connsiteY137" fmla="*/ 7152 h 10000"/>
                <a:gd name="connsiteX138" fmla="*/ 4583 w 10000"/>
                <a:gd name="connsiteY138" fmla="*/ 7322 h 10000"/>
                <a:gd name="connsiteX139" fmla="*/ 4646 w 10000"/>
                <a:gd name="connsiteY139" fmla="*/ 7662 h 10000"/>
                <a:gd name="connsiteX140" fmla="*/ 4829 w 10000"/>
                <a:gd name="connsiteY140" fmla="*/ 7739 h 10000"/>
                <a:gd name="connsiteX141" fmla="*/ 4871 w 10000"/>
                <a:gd name="connsiteY141" fmla="*/ 8183 h 10000"/>
                <a:gd name="connsiteX142" fmla="*/ 5027 w 10000"/>
                <a:gd name="connsiteY142" fmla="*/ 8276 h 10000"/>
                <a:gd name="connsiteX143" fmla="*/ 4866 w 10000"/>
                <a:gd name="connsiteY143" fmla="*/ 8370 h 10000"/>
                <a:gd name="connsiteX144" fmla="*/ 4813 w 10000"/>
                <a:gd name="connsiteY144" fmla="*/ 8260 h 10000"/>
                <a:gd name="connsiteX145" fmla="*/ 4752 w 10000"/>
                <a:gd name="connsiteY145" fmla="*/ 8403 h 10000"/>
                <a:gd name="connsiteX146" fmla="*/ 4594 w 10000"/>
                <a:gd name="connsiteY146" fmla="*/ 8287 h 10000"/>
                <a:gd name="connsiteX147" fmla="*/ 4506 w 10000"/>
                <a:gd name="connsiteY147" fmla="*/ 8452 h 10000"/>
                <a:gd name="connsiteX148" fmla="*/ 4323 w 10000"/>
                <a:gd name="connsiteY148" fmla="*/ 8331 h 10000"/>
                <a:gd name="connsiteX149" fmla="*/ 4411 w 10000"/>
                <a:gd name="connsiteY149" fmla="*/ 8699 h 10000"/>
                <a:gd name="connsiteX150" fmla="*/ 4403 w 10000"/>
                <a:gd name="connsiteY150" fmla="*/ 8967 h 10000"/>
                <a:gd name="connsiteX151" fmla="*/ 4285 w 10000"/>
                <a:gd name="connsiteY151" fmla="*/ 9088 h 10000"/>
                <a:gd name="connsiteX152" fmla="*/ 4323 w 10000"/>
                <a:gd name="connsiteY152" fmla="*/ 9193 h 10000"/>
                <a:gd name="connsiteX153" fmla="*/ 4159 w 10000"/>
                <a:gd name="connsiteY153" fmla="*/ 9412 h 10000"/>
                <a:gd name="connsiteX154" fmla="*/ 4224 w 10000"/>
                <a:gd name="connsiteY154" fmla="*/ 9647 h 10000"/>
                <a:gd name="connsiteX155" fmla="*/ 4063 w 10000"/>
                <a:gd name="connsiteY155" fmla="*/ 9681 h 10000"/>
                <a:gd name="connsiteX156" fmla="*/ 4021 w 10000"/>
                <a:gd name="connsiteY156" fmla="*/ 9741 h 10000"/>
                <a:gd name="connsiteX157" fmla="*/ 4090 w 10000"/>
                <a:gd name="connsiteY157" fmla="*/ 9785 h 10000"/>
                <a:gd name="connsiteX158" fmla="*/ 4213 w 10000"/>
                <a:gd name="connsiteY158" fmla="*/ 9944 h 10000"/>
                <a:gd name="connsiteX159" fmla="*/ 4411 w 10000"/>
                <a:gd name="connsiteY159" fmla="*/ 9999 h 10000"/>
                <a:gd name="connsiteX160" fmla="*/ 4418 w 10000"/>
                <a:gd name="connsiteY160" fmla="*/ 9851 h 10000"/>
                <a:gd name="connsiteX161" fmla="*/ 4488 w 10000"/>
                <a:gd name="connsiteY161" fmla="*/ 9856 h 10000"/>
                <a:gd name="connsiteX162" fmla="*/ 4783 w 10000"/>
                <a:gd name="connsiteY162" fmla="*/ 9603 h 10000"/>
                <a:gd name="connsiteX163" fmla="*/ 4978 w 10000"/>
                <a:gd name="connsiteY163" fmla="*/ 9845 h 10000"/>
                <a:gd name="connsiteX164" fmla="*/ 4978 w 10000"/>
                <a:gd name="connsiteY164" fmla="*/ 9862 h 10000"/>
                <a:gd name="connsiteX165" fmla="*/ 5009 w 10000"/>
                <a:gd name="connsiteY165" fmla="*/ 9703 h 10000"/>
                <a:gd name="connsiteX166" fmla="*/ 4954 w 10000"/>
                <a:gd name="connsiteY166" fmla="*/ 9570 h 10000"/>
                <a:gd name="connsiteX167" fmla="*/ 4886 w 10000"/>
                <a:gd name="connsiteY167" fmla="*/ 9549 h 10000"/>
                <a:gd name="connsiteX168" fmla="*/ 4932 w 10000"/>
                <a:gd name="connsiteY168" fmla="*/ 9466 h 10000"/>
                <a:gd name="connsiteX169" fmla="*/ 4917 w 10000"/>
                <a:gd name="connsiteY169" fmla="*/ 9444 h 10000"/>
                <a:gd name="connsiteX170" fmla="*/ 4859 w 10000"/>
                <a:gd name="connsiteY170" fmla="*/ 9439 h 10000"/>
                <a:gd name="connsiteX171" fmla="*/ 4829 w 10000"/>
                <a:gd name="connsiteY171" fmla="*/ 9121 h 10000"/>
                <a:gd name="connsiteX172" fmla="*/ 4871 w 10000"/>
                <a:gd name="connsiteY172" fmla="*/ 9105 h 10000"/>
                <a:gd name="connsiteX173" fmla="*/ 4893 w 10000"/>
                <a:gd name="connsiteY173" fmla="*/ 9253 h 10000"/>
                <a:gd name="connsiteX174" fmla="*/ 4947 w 10000"/>
                <a:gd name="connsiteY174" fmla="*/ 9384 h 10000"/>
                <a:gd name="connsiteX175" fmla="*/ 4993 w 10000"/>
                <a:gd name="connsiteY175" fmla="*/ 9302 h 10000"/>
                <a:gd name="connsiteX176" fmla="*/ 4981 w 10000"/>
                <a:gd name="connsiteY176" fmla="*/ 9220 h 10000"/>
                <a:gd name="connsiteX177" fmla="*/ 5054 w 10000"/>
                <a:gd name="connsiteY177" fmla="*/ 9203 h 10000"/>
                <a:gd name="connsiteX178" fmla="*/ 5016 w 10000"/>
                <a:gd name="connsiteY178" fmla="*/ 9034 h 10000"/>
                <a:gd name="connsiteX179" fmla="*/ 5115 w 10000"/>
                <a:gd name="connsiteY179" fmla="*/ 9061 h 10000"/>
                <a:gd name="connsiteX180" fmla="*/ 5119 w 10000"/>
                <a:gd name="connsiteY180" fmla="*/ 8972 h 10000"/>
                <a:gd name="connsiteX181" fmla="*/ 5157 w 10000"/>
                <a:gd name="connsiteY181" fmla="*/ 9039 h 10000"/>
                <a:gd name="connsiteX182" fmla="*/ 5326 w 10000"/>
                <a:gd name="connsiteY182" fmla="*/ 8781 h 10000"/>
                <a:gd name="connsiteX183" fmla="*/ 5230 w 10000"/>
                <a:gd name="connsiteY183" fmla="*/ 8584 h 10000"/>
                <a:gd name="connsiteX184" fmla="*/ 5051 w 10000"/>
                <a:gd name="connsiteY184" fmla="*/ 8425 h 10000"/>
                <a:gd name="connsiteX185" fmla="*/ 5153 w 10000"/>
                <a:gd name="connsiteY185" fmla="*/ 8370 h 10000"/>
                <a:gd name="connsiteX186" fmla="*/ 5302 w 10000"/>
                <a:gd name="connsiteY186" fmla="*/ 8633 h 10000"/>
                <a:gd name="connsiteX187" fmla="*/ 5414 w 10000"/>
                <a:gd name="connsiteY187" fmla="*/ 8199 h 10000"/>
                <a:gd name="connsiteX188" fmla="*/ 5421 w 10000"/>
                <a:gd name="connsiteY188" fmla="*/ 8030 h 10000"/>
                <a:gd name="connsiteX189" fmla="*/ 5608 w 10000"/>
                <a:gd name="connsiteY189" fmla="*/ 7942 h 10000"/>
                <a:gd name="connsiteX190" fmla="*/ 5678 w 10000"/>
                <a:gd name="connsiteY190" fmla="*/ 7607 h 10000"/>
                <a:gd name="connsiteX191" fmla="*/ 5689 w 10000"/>
                <a:gd name="connsiteY191" fmla="*/ 7734 h 10000"/>
                <a:gd name="connsiteX192" fmla="*/ 5808 w 10000"/>
                <a:gd name="connsiteY192" fmla="*/ 7596 h 10000"/>
                <a:gd name="connsiteX193" fmla="*/ 5892 w 10000"/>
                <a:gd name="connsiteY193" fmla="*/ 7579 h 10000"/>
                <a:gd name="connsiteX194" fmla="*/ 5976 w 10000"/>
                <a:gd name="connsiteY194" fmla="*/ 7207 h 10000"/>
                <a:gd name="connsiteX195" fmla="*/ 6052 w 10000"/>
                <a:gd name="connsiteY195" fmla="*/ 7486 h 10000"/>
                <a:gd name="connsiteX196" fmla="*/ 6278 w 10000"/>
                <a:gd name="connsiteY196" fmla="*/ 7563 h 10000"/>
                <a:gd name="connsiteX197" fmla="*/ 6106 w 10000"/>
                <a:gd name="connsiteY197" fmla="*/ 7618 h 10000"/>
                <a:gd name="connsiteX198" fmla="*/ 6091 w 10000"/>
                <a:gd name="connsiteY198" fmla="*/ 7679 h 10000"/>
                <a:gd name="connsiteX199" fmla="*/ 5919 w 10000"/>
                <a:gd name="connsiteY199" fmla="*/ 7690 h 10000"/>
                <a:gd name="connsiteX200" fmla="*/ 5831 w 10000"/>
                <a:gd name="connsiteY200" fmla="*/ 7723 h 10000"/>
                <a:gd name="connsiteX201" fmla="*/ 5900 w 10000"/>
                <a:gd name="connsiteY201" fmla="*/ 7772 h 10000"/>
                <a:gd name="connsiteX202" fmla="*/ 5961 w 10000"/>
                <a:gd name="connsiteY202" fmla="*/ 7756 h 10000"/>
                <a:gd name="connsiteX203" fmla="*/ 6129 w 10000"/>
                <a:gd name="connsiteY203" fmla="*/ 7789 h 10000"/>
                <a:gd name="connsiteX204" fmla="*/ 5938 w 10000"/>
                <a:gd name="connsiteY204" fmla="*/ 7964 h 10000"/>
                <a:gd name="connsiteX205" fmla="*/ 6007 w 10000"/>
                <a:gd name="connsiteY205" fmla="*/ 8008 h 10000"/>
                <a:gd name="connsiteX206" fmla="*/ 6182 w 10000"/>
                <a:gd name="connsiteY206" fmla="*/ 7958 h 10000"/>
                <a:gd name="connsiteX207" fmla="*/ 6419 w 10000"/>
                <a:gd name="connsiteY207" fmla="*/ 8101 h 10000"/>
                <a:gd name="connsiteX208" fmla="*/ 6726 w 10000"/>
                <a:gd name="connsiteY208" fmla="*/ 7909 h 10000"/>
                <a:gd name="connsiteX209" fmla="*/ 7028 w 10000"/>
                <a:gd name="connsiteY209" fmla="*/ 7887 h 10000"/>
                <a:gd name="connsiteX210" fmla="*/ 7074 w 10000"/>
                <a:gd name="connsiteY210" fmla="*/ 7745 h 10000"/>
                <a:gd name="connsiteX211" fmla="*/ 7154 w 10000"/>
                <a:gd name="connsiteY211" fmla="*/ 7958 h 10000"/>
                <a:gd name="connsiteX212" fmla="*/ 7238 w 10000"/>
                <a:gd name="connsiteY212" fmla="*/ 7986 h 10000"/>
                <a:gd name="connsiteX213" fmla="*/ 7207 w 10000"/>
                <a:gd name="connsiteY213" fmla="*/ 8134 h 10000"/>
                <a:gd name="connsiteX214" fmla="*/ 6944 w 10000"/>
                <a:gd name="connsiteY214" fmla="*/ 8281 h 10000"/>
                <a:gd name="connsiteX215" fmla="*/ 6925 w 10000"/>
                <a:gd name="connsiteY215" fmla="*/ 8386 h 10000"/>
                <a:gd name="connsiteX216" fmla="*/ 6780 w 10000"/>
                <a:gd name="connsiteY216" fmla="*/ 8523 h 10000"/>
                <a:gd name="connsiteX217" fmla="*/ 6775 w 10000"/>
                <a:gd name="connsiteY217" fmla="*/ 8649 h 10000"/>
                <a:gd name="connsiteX218" fmla="*/ 6687 w 10000"/>
                <a:gd name="connsiteY218" fmla="*/ 8704 h 10000"/>
                <a:gd name="connsiteX219" fmla="*/ 6576 w 10000"/>
                <a:gd name="connsiteY219" fmla="*/ 8989 h 10000"/>
                <a:gd name="connsiteX220" fmla="*/ 6734 w 10000"/>
                <a:gd name="connsiteY220" fmla="*/ 9001 h 10000"/>
                <a:gd name="connsiteX221" fmla="*/ 6826 w 10000"/>
                <a:gd name="connsiteY221" fmla="*/ 8879 h 10000"/>
                <a:gd name="connsiteX222" fmla="*/ 6925 w 10000"/>
                <a:gd name="connsiteY222" fmla="*/ 8912 h 10000"/>
                <a:gd name="connsiteX223" fmla="*/ 6971 w 10000"/>
                <a:gd name="connsiteY223" fmla="*/ 8786 h 10000"/>
                <a:gd name="connsiteX224" fmla="*/ 7035 w 10000"/>
                <a:gd name="connsiteY224" fmla="*/ 9001 h 10000"/>
                <a:gd name="connsiteX225" fmla="*/ 7223 w 10000"/>
                <a:gd name="connsiteY225" fmla="*/ 8994 h 10000"/>
                <a:gd name="connsiteX226" fmla="*/ 7383 w 10000"/>
                <a:gd name="connsiteY226" fmla="*/ 9362 h 10000"/>
                <a:gd name="connsiteX227" fmla="*/ 7398 w 10000"/>
                <a:gd name="connsiteY227" fmla="*/ 9675 h 10000"/>
                <a:gd name="connsiteX228" fmla="*/ 7341 w 10000"/>
                <a:gd name="connsiteY228" fmla="*/ 9692 h 10000"/>
                <a:gd name="connsiteX229" fmla="*/ 7352 w 10000"/>
                <a:gd name="connsiteY229" fmla="*/ 9780 h 10000"/>
                <a:gd name="connsiteX230" fmla="*/ 7594 w 10000"/>
                <a:gd name="connsiteY230" fmla="*/ 9900 h 10000"/>
                <a:gd name="connsiteX231" fmla="*/ 8294 w 10000"/>
                <a:gd name="connsiteY231" fmla="*/ 9023 h 10000"/>
                <a:gd name="connsiteX232" fmla="*/ 8370 w 10000"/>
                <a:gd name="connsiteY232" fmla="*/ 8841 h 10000"/>
                <a:gd name="connsiteX233" fmla="*/ 8458 w 10000"/>
                <a:gd name="connsiteY233" fmla="*/ 8786 h 10000"/>
                <a:gd name="connsiteX234" fmla="*/ 8512 w 10000"/>
                <a:gd name="connsiteY234" fmla="*/ 8512 h 10000"/>
                <a:gd name="connsiteX235" fmla="*/ 8739 w 10000"/>
                <a:gd name="connsiteY235" fmla="*/ 8617 h 10000"/>
                <a:gd name="connsiteX236" fmla="*/ 8872 w 10000"/>
                <a:gd name="connsiteY236" fmla="*/ 8474 h 10000"/>
                <a:gd name="connsiteX237" fmla="*/ 9059 w 10000"/>
                <a:gd name="connsiteY237" fmla="*/ 8343 h 10000"/>
                <a:gd name="connsiteX238" fmla="*/ 8983 w 10000"/>
                <a:gd name="connsiteY238" fmla="*/ 8128 h 10000"/>
                <a:gd name="connsiteX239" fmla="*/ 7885 w 10000"/>
                <a:gd name="connsiteY239" fmla="*/ 7991 h 10000"/>
                <a:gd name="connsiteX240" fmla="*/ 7859 w 10000"/>
                <a:gd name="connsiteY240" fmla="*/ 7904 h 10000"/>
                <a:gd name="connsiteX241" fmla="*/ 7782 w 10000"/>
                <a:gd name="connsiteY241" fmla="*/ 8002 h 10000"/>
                <a:gd name="connsiteX242" fmla="*/ 7893 w 10000"/>
                <a:gd name="connsiteY242" fmla="*/ 7761 h 10000"/>
                <a:gd name="connsiteX243" fmla="*/ 7851 w 10000"/>
                <a:gd name="connsiteY243" fmla="*/ 7717 h 10000"/>
                <a:gd name="connsiteX244" fmla="*/ 7728 w 10000"/>
                <a:gd name="connsiteY244" fmla="*/ 7915 h 10000"/>
                <a:gd name="connsiteX245" fmla="*/ 7793 w 10000"/>
                <a:gd name="connsiteY245" fmla="*/ 7712 h 10000"/>
                <a:gd name="connsiteX246" fmla="*/ 7705 w 10000"/>
                <a:gd name="connsiteY246" fmla="*/ 7767 h 10000"/>
                <a:gd name="connsiteX247" fmla="*/ 7590 w 10000"/>
                <a:gd name="connsiteY247" fmla="*/ 7717 h 10000"/>
                <a:gd name="connsiteX248" fmla="*/ 7502 w 10000"/>
                <a:gd name="connsiteY248" fmla="*/ 7794 h 10000"/>
                <a:gd name="connsiteX249" fmla="*/ 7407 w 10000"/>
                <a:gd name="connsiteY249" fmla="*/ 7728 h 10000"/>
                <a:gd name="connsiteX250" fmla="*/ 7250 w 10000"/>
                <a:gd name="connsiteY250" fmla="*/ 7717 h 10000"/>
                <a:gd name="connsiteX251" fmla="*/ 7253 w 10000"/>
                <a:gd name="connsiteY251" fmla="*/ 7547 h 10000"/>
                <a:gd name="connsiteX252" fmla="*/ 7395 w 10000"/>
                <a:gd name="connsiteY252" fmla="*/ 7662 h 10000"/>
                <a:gd name="connsiteX253" fmla="*/ 7440 w 10000"/>
                <a:gd name="connsiteY253" fmla="*/ 7541 h 10000"/>
                <a:gd name="connsiteX254" fmla="*/ 7403 w 10000"/>
                <a:gd name="connsiteY254" fmla="*/ 7410 h 10000"/>
                <a:gd name="connsiteX255" fmla="*/ 7510 w 10000"/>
                <a:gd name="connsiteY255" fmla="*/ 7547 h 10000"/>
                <a:gd name="connsiteX256" fmla="*/ 7655 w 10000"/>
                <a:gd name="connsiteY256" fmla="*/ 7536 h 10000"/>
                <a:gd name="connsiteX257" fmla="*/ 7679 w 10000"/>
                <a:gd name="connsiteY257" fmla="*/ 7685 h 10000"/>
                <a:gd name="connsiteX258" fmla="*/ 7721 w 10000"/>
                <a:gd name="connsiteY258" fmla="*/ 7685 h 10000"/>
                <a:gd name="connsiteX259" fmla="*/ 7732 w 10000"/>
                <a:gd name="connsiteY259" fmla="*/ 7415 h 10000"/>
                <a:gd name="connsiteX260" fmla="*/ 7782 w 10000"/>
                <a:gd name="connsiteY260" fmla="*/ 7585 h 10000"/>
                <a:gd name="connsiteX261" fmla="*/ 7870 w 10000"/>
                <a:gd name="connsiteY261" fmla="*/ 7590 h 10000"/>
                <a:gd name="connsiteX262" fmla="*/ 7805 w 10000"/>
                <a:gd name="connsiteY262" fmla="*/ 7333 h 10000"/>
                <a:gd name="connsiteX263" fmla="*/ 7965 w 10000"/>
                <a:gd name="connsiteY263" fmla="*/ 7240 h 10000"/>
                <a:gd name="connsiteX264" fmla="*/ 7958 w 10000"/>
                <a:gd name="connsiteY264" fmla="*/ 6987 h 10000"/>
                <a:gd name="connsiteX265" fmla="*/ 8069 w 10000"/>
                <a:gd name="connsiteY265" fmla="*/ 7081 h 10000"/>
                <a:gd name="connsiteX266" fmla="*/ 8088 w 10000"/>
                <a:gd name="connsiteY266" fmla="*/ 7015 h 10000"/>
                <a:gd name="connsiteX267" fmla="*/ 7954 w 10000"/>
                <a:gd name="connsiteY267" fmla="*/ 6735 h 10000"/>
                <a:gd name="connsiteX268" fmla="*/ 8133 w 10000"/>
                <a:gd name="connsiteY268" fmla="*/ 6894 h 10000"/>
                <a:gd name="connsiteX269" fmla="*/ 8359 w 10000"/>
                <a:gd name="connsiteY269" fmla="*/ 6511 h 10000"/>
                <a:gd name="connsiteX270" fmla="*/ 8577 w 10000"/>
                <a:gd name="connsiteY270" fmla="*/ 6483 h 10000"/>
                <a:gd name="connsiteX271" fmla="*/ 8623 w 10000"/>
                <a:gd name="connsiteY271"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6538 w 10000"/>
                <a:gd name="connsiteY12" fmla="*/ 1311 h 10000"/>
                <a:gd name="connsiteX13" fmla="*/ 6454 w 10000"/>
                <a:gd name="connsiteY13" fmla="*/ 1223 h 10000"/>
                <a:gd name="connsiteX14" fmla="*/ 6267 w 10000"/>
                <a:gd name="connsiteY14" fmla="*/ 1273 h 10000"/>
                <a:gd name="connsiteX15" fmla="*/ 6285 w 10000"/>
                <a:gd name="connsiteY15" fmla="*/ 1125 h 10000"/>
                <a:gd name="connsiteX16" fmla="*/ 6213 w 10000"/>
                <a:gd name="connsiteY16" fmla="*/ 1119 h 10000"/>
                <a:gd name="connsiteX17" fmla="*/ 6179 w 10000"/>
                <a:gd name="connsiteY17" fmla="*/ 910 h 10000"/>
                <a:gd name="connsiteX18" fmla="*/ 6079 w 10000"/>
                <a:gd name="connsiteY18" fmla="*/ 795 h 10000"/>
                <a:gd name="connsiteX19" fmla="*/ 6285 w 10000"/>
                <a:gd name="connsiteY19" fmla="*/ 620 h 10000"/>
                <a:gd name="connsiteX20" fmla="*/ 6037 w 10000"/>
                <a:gd name="connsiteY20" fmla="*/ 395 h 10000"/>
                <a:gd name="connsiteX21" fmla="*/ 5988 w 10000"/>
                <a:gd name="connsiteY21" fmla="*/ 142 h 10000"/>
                <a:gd name="connsiteX22" fmla="*/ 5873 w 10000"/>
                <a:gd name="connsiteY22" fmla="*/ 110 h 10000"/>
                <a:gd name="connsiteX23" fmla="*/ 5777 w 10000"/>
                <a:gd name="connsiteY23" fmla="*/ 0 h 10000"/>
                <a:gd name="connsiteX24" fmla="*/ 5675 w 10000"/>
                <a:gd name="connsiteY24" fmla="*/ 120 h 10000"/>
                <a:gd name="connsiteX25" fmla="*/ 5501 w 10000"/>
                <a:gd name="connsiteY25" fmla="*/ 110 h 10000"/>
                <a:gd name="connsiteX26" fmla="*/ 5352 w 10000"/>
                <a:gd name="connsiteY26" fmla="*/ 351 h 10000"/>
                <a:gd name="connsiteX27" fmla="*/ 5066 w 10000"/>
                <a:gd name="connsiteY27" fmla="*/ 329 h 10000"/>
                <a:gd name="connsiteX28" fmla="*/ 4996 w 10000"/>
                <a:gd name="connsiteY28" fmla="*/ 680 h 10000"/>
                <a:gd name="connsiteX29" fmla="*/ 4809 w 10000"/>
                <a:gd name="connsiteY29" fmla="*/ 707 h 10000"/>
                <a:gd name="connsiteX30" fmla="*/ 4905 w 10000"/>
                <a:gd name="connsiteY30" fmla="*/ 844 h 10000"/>
                <a:gd name="connsiteX31" fmla="*/ 4848 w 10000"/>
                <a:gd name="connsiteY31" fmla="*/ 899 h 10000"/>
                <a:gd name="connsiteX32" fmla="*/ 4718 w 10000"/>
                <a:gd name="connsiteY32" fmla="*/ 894 h 10000"/>
                <a:gd name="connsiteX33" fmla="*/ 4541 w 10000"/>
                <a:gd name="connsiteY33" fmla="*/ 1026 h 10000"/>
                <a:gd name="connsiteX34" fmla="*/ 4350 w 10000"/>
                <a:gd name="connsiteY34" fmla="*/ 1668 h 10000"/>
                <a:gd name="connsiteX35" fmla="*/ 4407 w 10000"/>
                <a:gd name="connsiteY35" fmla="*/ 2090 h 10000"/>
                <a:gd name="connsiteX36" fmla="*/ 4216 w 10000"/>
                <a:gd name="connsiteY36" fmla="*/ 1865 h 10000"/>
                <a:gd name="connsiteX37" fmla="*/ 3938 w 10000"/>
                <a:gd name="connsiteY37" fmla="*/ 1991 h 10000"/>
                <a:gd name="connsiteX38" fmla="*/ 3910 w 10000"/>
                <a:gd name="connsiteY38" fmla="*/ 1931 h 10000"/>
                <a:gd name="connsiteX39" fmla="*/ 3780 w 10000"/>
                <a:gd name="connsiteY39" fmla="*/ 2002 h 10000"/>
                <a:gd name="connsiteX40" fmla="*/ 3704 w 10000"/>
                <a:gd name="connsiteY40" fmla="*/ 2144 h 10000"/>
                <a:gd name="connsiteX41" fmla="*/ 3643 w 10000"/>
                <a:gd name="connsiteY41" fmla="*/ 1909 h 10000"/>
                <a:gd name="connsiteX42" fmla="*/ 3558 w 10000"/>
                <a:gd name="connsiteY42" fmla="*/ 1843 h 10000"/>
                <a:gd name="connsiteX43" fmla="*/ 3523 w 10000"/>
                <a:gd name="connsiteY43" fmla="*/ 1964 h 10000"/>
                <a:gd name="connsiteX44" fmla="*/ 3409 w 10000"/>
                <a:gd name="connsiteY44" fmla="*/ 1996 h 10000"/>
                <a:gd name="connsiteX45" fmla="*/ 3347 w 10000"/>
                <a:gd name="connsiteY45" fmla="*/ 2161 h 10000"/>
                <a:gd name="connsiteX46" fmla="*/ 3309 w 10000"/>
                <a:gd name="connsiteY46" fmla="*/ 2013 h 10000"/>
                <a:gd name="connsiteX47" fmla="*/ 3195 w 10000"/>
                <a:gd name="connsiteY47" fmla="*/ 2024 h 10000"/>
                <a:gd name="connsiteX48" fmla="*/ 3149 w 10000"/>
                <a:gd name="connsiteY48" fmla="*/ 2128 h 10000"/>
                <a:gd name="connsiteX49" fmla="*/ 3080 w 10000"/>
                <a:gd name="connsiteY49" fmla="*/ 1975 h 10000"/>
                <a:gd name="connsiteX50" fmla="*/ 2962 w 10000"/>
                <a:gd name="connsiteY50" fmla="*/ 2117 h 10000"/>
                <a:gd name="connsiteX51" fmla="*/ 2847 w 10000"/>
                <a:gd name="connsiteY51" fmla="*/ 2106 h 10000"/>
                <a:gd name="connsiteX52" fmla="*/ 2843 w 10000"/>
                <a:gd name="connsiteY52" fmla="*/ 2276 h 10000"/>
                <a:gd name="connsiteX53" fmla="*/ 2790 w 10000"/>
                <a:gd name="connsiteY53" fmla="*/ 2144 h 10000"/>
                <a:gd name="connsiteX54" fmla="*/ 2618 w 10000"/>
                <a:gd name="connsiteY54" fmla="*/ 2155 h 10000"/>
                <a:gd name="connsiteX55" fmla="*/ 2494 w 10000"/>
                <a:gd name="connsiteY55" fmla="*/ 1980 h 10000"/>
                <a:gd name="connsiteX56" fmla="*/ 2346 w 10000"/>
                <a:gd name="connsiteY56" fmla="*/ 2073 h 10000"/>
                <a:gd name="connsiteX57" fmla="*/ 2192 w 10000"/>
                <a:gd name="connsiteY57" fmla="*/ 1958 h 10000"/>
                <a:gd name="connsiteX58" fmla="*/ 2104 w 10000"/>
                <a:gd name="connsiteY58" fmla="*/ 2035 h 10000"/>
                <a:gd name="connsiteX59" fmla="*/ 2020 w 10000"/>
                <a:gd name="connsiteY59" fmla="*/ 1947 h 10000"/>
                <a:gd name="connsiteX60" fmla="*/ 1895 w 10000"/>
                <a:gd name="connsiteY60" fmla="*/ 1936 h 10000"/>
                <a:gd name="connsiteX61" fmla="*/ 1707 w 10000"/>
                <a:gd name="connsiteY61" fmla="*/ 1925 h 10000"/>
                <a:gd name="connsiteX62" fmla="*/ 1477 w 10000"/>
                <a:gd name="connsiteY62" fmla="*/ 1991 h 10000"/>
                <a:gd name="connsiteX63" fmla="*/ 1233 w 10000"/>
                <a:gd name="connsiteY63" fmla="*/ 2062 h 10000"/>
                <a:gd name="connsiteX64" fmla="*/ 942 w 10000"/>
                <a:gd name="connsiteY64" fmla="*/ 2166 h 10000"/>
                <a:gd name="connsiteX65" fmla="*/ 815 w 10000"/>
                <a:gd name="connsiteY65" fmla="*/ 2496 h 10000"/>
                <a:gd name="connsiteX66" fmla="*/ 617 w 10000"/>
                <a:gd name="connsiteY66" fmla="*/ 2501 h 10000"/>
                <a:gd name="connsiteX67" fmla="*/ 552 w 10000"/>
                <a:gd name="connsiteY67" fmla="*/ 2687 h 10000"/>
                <a:gd name="connsiteX68" fmla="*/ 571 w 10000"/>
                <a:gd name="connsiteY68" fmla="*/ 2764 h 10000"/>
                <a:gd name="connsiteX69" fmla="*/ 590 w 10000"/>
                <a:gd name="connsiteY69" fmla="*/ 2868 h 10000"/>
                <a:gd name="connsiteX70" fmla="*/ 590 w 10000"/>
                <a:gd name="connsiteY70" fmla="*/ 2868 h 10000"/>
                <a:gd name="connsiteX71" fmla="*/ 590 w 10000"/>
                <a:gd name="connsiteY71" fmla="*/ 2896 h 10000"/>
                <a:gd name="connsiteX72" fmla="*/ 698 w 10000"/>
                <a:gd name="connsiteY72" fmla="*/ 3116 h 10000"/>
                <a:gd name="connsiteX73" fmla="*/ 804 w 10000"/>
                <a:gd name="connsiteY73" fmla="*/ 3351 h 10000"/>
                <a:gd name="connsiteX74" fmla="*/ 942 w 10000"/>
                <a:gd name="connsiteY74" fmla="*/ 3488 h 10000"/>
                <a:gd name="connsiteX75" fmla="*/ 896 w 10000"/>
                <a:gd name="connsiteY75" fmla="*/ 3548 h 10000"/>
                <a:gd name="connsiteX76" fmla="*/ 824 w 10000"/>
                <a:gd name="connsiteY76" fmla="*/ 3603 h 10000"/>
                <a:gd name="connsiteX77" fmla="*/ 907 w 10000"/>
                <a:gd name="connsiteY77" fmla="*/ 3697 h 10000"/>
                <a:gd name="connsiteX78" fmla="*/ 896 w 10000"/>
                <a:gd name="connsiteY78" fmla="*/ 4053 h 10000"/>
                <a:gd name="connsiteX79" fmla="*/ 709 w 10000"/>
                <a:gd name="connsiteY79" fmla="*/ 4124 h 10000"/>
                <a:gd name="connsiteX80" fmla="*/ 509 w 10000"/>
                <a:gd name="connsiteY80" fmla="*/ 4531 h 10000"/>
                <a:gd name="connsiteX81" fmla="*/ 380 w 10000"/>
                <a:gd name="connsiteY81" fmla="*/ 4936 h 10000"/>
                <a:gd name="connsiteX82" fmla="*/ 199 w 10000"/>
                <a:gd name="connsiteY82" fmla="*/ 5260 h 10000"/>
                <a:gd name="connsiteX83" fmla="*/ 276 w 10000"/>
                <a:gd name="connsiteY83" fmla="*/ 5517 h 10000"/>
                <a:gd name="connsiteX84" fmla="*/ 283 w 10000"/>
                <a:gd name="connsiteY84" fmla="*/ 5732 h 10000"/>
                <a:gd name="connsiteX85" fmla="*/ 409 w 10000"/>
                <a:gd name="connsiteY85" fmla="*/ 5841 h 10000"/>
                <a:gd name="connsiteX86" fmla="*/ 391 w 10000"/>
                <a:gd name="connsiteY86" fmla="*/ 5945 h 10000"/>
                <a:gd name="connsiteX87" fmla="*/ 207 w 10000"/>
                <a:gd name="connsiteY87" fmla="*/ 5852 h 10000"/>
                <a:gd name="connsiteX88" fmla="*/ 127 w 10000"/>
                <a:gd name="connsiteY88" fmla="*/ 6099 h 10000"/>
                <a:gd name="connsiteX89" fmla="*/ 107 w 10000"/>
                <a:gd name="connsiteY89" fmla="*/ 6346 h 10000"/>
                <a:gd name="connsiteX90" fmla="*/ 1 w 10000"/>
                <a:gd name="connsiteY90" fmla="*/ 6571 h 10000"/>
                <a:gd name="connsiteX91" fmla="*/ 19 w 10000"/>
                <a:gd name="connsiteY91" fmla="*/ 6779 h 10000"/>
                <a:gd name="connsiteX92" fmla="*/ 92 w 10000"/>
                <a:gd name="connsiteY92" fmla="*/ 6828 h 10000"/>
                <a:gd name="connsiteX93" fmla="*/ 158 w 10000"/>
                <a:gd name="connsiteY93" fmla="*/ 6960 h 10000"/>
                <a:gd name="connsiteX94" fmla="*/ 246 w 10000"/>
                <a:gd name="connsiteY94" fmla="*/ 6943 h 10000"/>
                <a:gd name="connsiteX95" fmla="*/ 299 w 10000"/>
                <a:gd name="connsiteY95" fmla="*/ 7076 h 10000"/>
                <a:gd name="connsiteX96" fmla="*/ 455 w 10000"/>
                <a:gd name="connsiteY96" fmla="*/ 7103 h 10000"/>
                <a:gd name="connsiteX97" fmla="*/ 463 w 10000"/>
                <a:gd name="connsiteY97" fmla="*/ 7251 h 10000"/>
                <a:gd name="connsiteX98" fmla="*/ 505 w 10000"/>
                <a:gd name="connsiteY98" fmla="*/ 7278 h 10000"/>
                <a:gd name="connsiteX99" fmla="*/ 537 w 10000"/>
                <a:gd name="connsiteY99" fmla="*/ 7174 h 10000"/>
                <a:gd name="connsiteX100" fmla="*/ 594 w 10000"/>
                <a:gd name="connsiteY100" fmla="*/ 7196 h 10000"/>
                <a:gd name="connsiteX101" fmla="*/ 659 w 10000"/>
                <a:gd name="connsiteY101" fmla="*/ 6992 h 10000"/>
                <a:gd name="connsiteX102" fmla="*/ 839 w 10000"/>
                <a:gd name="connsiteY102" fmla="*/ 7174 h 10000"/>
                <a:gd name="connsiteX103" fmla="*/ 1313 w 10000"/>
                <a:gd name="connsiteY103" fmla="*/ 7163 h 10000"/>
                <a:gd name="connsiteX104" fmla="*/ 1500 w 10000"/>
                <a:gd name="connsiteY104" fmla="*/ 7092 h 10000"/>
                <a:gd name="connsiteX105" fmla="*/ 1807 w 10000"/>
                <a:gd name="connsiteY105" fmla="*/ 7344 h 10000"/>
                <a:gd name="connsiteX106" fmla="*/ 2001 w 10000"/>
                <a:gd name="connsiteY106" fmla="*/ 7087 h 10000"/>
                <a:gd name="connsiteX107" fmla="*/ 2437 w 10000"/>
                <a:gd name="connsiteY107" fmla="*/ 6861 h 10000"/>
                <a:gd name="connsiteX108" fmla="*/ 2594 w 10000"/>
                <a:gd name="connsiteY108" fmla="*/ 6489 h 10000"/>
                <a:gd name="connsiteX109" fmla="*/ 2709 w 10000"/>
                <a:gd name="connsiteY109" fmla="*/ 6439 h 10000"/>
                <a:gd name="connsiteX110" fmla="*/ 2709 w 10000"/>
                <a:gd name="connsiteY110" fmla="*/ 6379 h 10000"/>
                <a:gd name="connsiteX111" fmla="*/ 2755 w 10000"/>
                <a:gd name="connsiteY111" fmla="*/ 6379 h 10000"/>
                <a:gd name="connsiteX112" fmla="*/ 2744 w 10000"/>
                <a:gd name="connsiteY112" fmla="*/ 6230 h 10000"/>
                <a:gd name="connsiteX113" fmla="*/ 2885 w 10000"/>
                <a:gd name="connsiteY113" fmla="*/ 6285 h 10000"/>
                <a:gd name="connsiteX114" fmla="*/ 2904 w 10000"/>
                <a:gd name="connsiteY114" fmla="*/ 6159 h 10000"/>
                <a:gd name="connsiteX115" fmla="*/ 2988 w 10000"/>
                <a:gd name="connsiteY115" fmla="*/ 6230 h 10000"/>
                <a:gd name="connsiteX116" fmla="*/ 3050 w 10000"/>
                <a:gd name="connsiteY116" fmla="*/ 6126 h 10000"/>
                <a:gd name="connsiteX117" fmla="*/ 3149 w 10000"/>
                <a:gd name="connsiteY117" fmla="*/ 6154 h 10000"/>
                <a:gd name="connsiteX118" fmla="*/ 3237 w 10000"/>
                <a:gd name="connsiteY118" fmla="*/ 6055 h 10000"/>
                <a:gd name="connsiteX119" fmla="*/ 3405 w 10000"/>
                <a:gd name="connsiteY119" fmla="*/ 6192 h 10000"/>
                <a:gd name="connsiteX120" fmla="*/ 3490 w 10000"/>
                <a:gd name="connsiteY120" fmla="*/ 6197 h 10000"/>
                <a:gd name="connsiteX121" fmla="*/ 3516 w 10000"/>
                <a:gd name="connsiteY121" fmla="*/ 6307 h 10000"/>
                <a:gd name="connsiteX122" fmla="*/ 3674 w 10000"/>
                <a:gd name="connsiteY122" fmla="*/ 6236 h 10000"/>
                <a:gd name="connsiteX123" fmla="*/ 3658 w 10000"/>
                <a:gd name="connsiteY123" fmla="*/ 6357 h 10000"/>
                <a:gd name="connsiteX124" fmla="*/ 3716 w 10000"/>
                <a:gd name="connsiteY124" fmla="*/ 6341 h 10000"/>
                <a:gd name="connsiteX125" fmla="*/ 3784 w 10000"/>
                <a:gd name="connsiteY125" fmla="*/ 6428 h 10000"/>
                <a:gd name="connsiteX126" fmla="*/ 3788 w 10000"/>
                <a:gd name="connsiteY126" fmla="*/ 6301 h 10000"/>
                <a:gd name="connsiteX127" fmla="*/ 3971 w 10000"/>
                <a:gd name="connsiteY127" fmla="*/ 6341 h 10000"/>
                <a:gd name="connsiteX128" fmla="*/ 4037 w 10000"/>
                <a:gd name="connsiteY128" fmla="*/ 6511 h 10000"/>
                <a:gd name="connsiteX129" fmla="*/ 4140 w 10000"/>
                <a:gd name="connsiteY129" fmla="*/ 6494 h 10000"/>
                <a:gd name="connsiteX130" fmla="*/ 4185 w 10000"/>
                <a:gd name="connsiteY130" fmla="*/ 6417 h 10000"/>
                <a:gd name="connsiteX131" fmla="*/ 4288 w 10000"/>
                <a:gd name="connsiteY131" fmla="*/ 6735 h 10000"/>
                <a:gd name="connsiteX132" fmla="*/ 4251 w 10000"/>
                <a:gd name="connsiteY132" fmla="*/ 6987 h 10000"/>
                <a:gd name="connsiteX133" fmla="*/ 4304 w 10000"/>
                <a:gd name="connsiteY133" fmla="*/ 7114 h 10000"/>
                <a:gd name="connsiteX134" fmla="*/ 4376 w 10000"/>
                <a:gd name="connsiteY134" fmla="*/ 7119 h 10000"/>
                <a:gd name="connsiteX135" fmla="*/ 4488 w 10000"/>
                <a:gd name="connsiteY135" fmla="*/ 7256 h 10000"/>
                <a:gd name="connsiteX136" fmla="*/ 4533 w 10000"/>
                <a:gd name="connsiteY136" fmla="*/ 7152 h 10000"/>
                <a:gd name="connsiteX137" fmla="*/ 4583 w 10000"/>
                <a:gd name="connsiteY137" fmla="*/ 7322 h 10000"/>
                <a:gd name="connsiteX138" fmla="*/ 4646 w 10000"/>
                <a:gd name="connsiteY138" fmla="*/ 7662 h 10000"/>
                <a:gd name="connsiteX139" fmla="*/ 4829 w 10000"/>
                <a:gd name="connsiteY139" fmla="*/ 7739 h 10000"/>
                <a:gd name="connsiteX140" fmla="*/ 4871 w 10000"/>
                <a:gd name="connsiteY140" fmla="*/ 8183 h 10000"/>
                <a:gd name="connsiteX141" fmla="*/ 5027 w 10000"/>
                <a:gd name="connsiteY141" fmla="*/ 8276 h 10000"/>
                <a:gd name="connsiteX142" fmla="*/ 4866 w 10000"/>
                <a:gd name="connsiteY142" fmla="*/ 8370 h 10000"/>
                <a:gd name="connsiteX143" fmla="*/ 4813 w 10000"/>
                <a:gd name="connsiteY143" fmla="*/ 8260 h 10000"/>
                <a:gd name="connsiteX144" fmla="*/ 4752 w 10000"/>
                <a:gd name="connsiteY144" fmla="*/ 8403 h 10000"/>
                <a:gd name="connsiteX145" fmla="*/ 4594 w 10000"/>
                <a:gd name="connsiteY145" fmla="*/ 8287 h 10000"/>
                <a:gd name="connsiteX146" fmla="*/ 4506 w 10000"/>
                <a:gd name="connsiteY146" fmla="*/ 8452 h 10000"/>
                <a:gd name="connsiteX147" fmla="*/ 4323 w 10000"/>
                <a:gd name="connsiteY147" fmla="*/ 8331 h 10000"/>
                <a:gd name="connsiteX148" fmla="*/ 4411 w 10000"/>
                <a:gd name="connsiteY148" fmla="*/ 8699 h 10000"/>
                <a:gd name="connsiteX149" fmla="*/ 4403 w 10000"/>
                <a:gd name="connsiteY149" fmla="*/ 8967 h 10000"/>
                <a:gd name="connsiteX150" fmla="*/ 4285 w 10000"/>
                <a:gd name="connsiteY150" fmla="*/ 9088 h 10000"/>
                <a:gd name="connsiteX151" fmla="*/ 4323 w 10000"/>
                <a:gd name="connsiteY151" fmla="*/ 9193 h 10000"/>
                <a:gd name="connsiteX152" fmla="*/ 4159 w 10000"/>
                <a:gd name="connsiteY152" fmla="*/ 9412 h 10000"/>
                <a:gd name="connsiteX153" fmla="*/ 4224 w 10000"/>
                <a:gd name="connsiteY153" fmla="*/ 9647 h 10000"/>
                <a:gd name="connsiteX154" fmla="*/ 4063 w 10000"/>
                <a:gd name="connsiteY154" fmla="*/ 9681 h 10000"/>
                <a:gd name="connsiteX155" fmla="*/ 4021 w 10000"/>
                <a:gd name="connsiteY155" fmla="*/ 9741 h 10000"/>
                <a:gd name="connsiteX156" fmla="*/ 4090 w 10000"/>
                <a:gd name="connsiteY156" fmla="*/ 9785 h 10000"/>
                <a:gd name="connsiteX157" fmla="*/ 4213 w 10000"/>
                <a:gd name="connsiteY157" fmla="*/ 9944 h 10000"/>
                <a:gd name="connsiteX158" fmla="*/ 4411 w 10000"/>
                <a:gd name="connsiteY158" fmla="*/ 9999 h 10000"/>
                <a:gd name="connsiteX159" fmla="*/ 4418 w 10000"/>
                <a:gd name="connsiteY159" fmla="*/ 9851 h 10000"/>
                <a:gd name="connsiteX160" fmla="*/ 4488 w 10000"/>
                <a:gd name="connsiteY160" fmla="*/ 9856 h 10000"/>
                <a:gd name="connsiteX161" fmla="*/ 4783 w 10000"/>
                <a:gd name="connsiteY161" fmla="*/ 9603 h 10000"/>
                <a:gd name="connsiteX162" fmla="*/ 4978 w 10000"/>
                <a:gd name="connsiteY162" fmla="*/ 9845 h 10000"/>
                <a:gd name="connsiteX163" fmla="*/ 4978 w 10000"/>
                <a:gd name="connsiteY163" fmla="*/ 9862 h 10000"/>
                <a:gd name="connsiteX164" fmla="*/ 5009 w 10000"/>
                <a:gd name="connsiteY164" fmla="*/ 9703 h 10000"/>
                <a:gd name="connsiteX165" fmla="*/ 4954 w 10000"/>
                <a:gd name="connsiteY165" fmla="*/ 9570 h 10000"/>
                <a:gd name="connsiteX166" fmla="*/ 4886 w 10000"/>
                <a:gd name="connsiteY166" fmla="*/ 9549 h 10000"/>
                <a:gd name="connsiteX167" fmla="*/ 4932 w 10000"/>
                <a:gd name="connsiteY167" fmla="*/ 9466 h 10000"/>
                <a:gd name="connsiteX168" fmla="*/ 4917 w 10000"/>
                <a:gd name="connsiteY168" fmla="*/ 9444 h 10000"/>
                <a:gd name="connsiteX169" fmla="*/ 4859 w 10000"/>
                <a:gd name="connsiteY169" fmla="*/ 9439 h 10000"/>
                <a:gd name="connsiteX170" fmla="*/ 4829 w 10000"/>
                <a:gd name="connsiteY170" fmla="*/ 9121 h 10000"/>
                <a:gd name="connsiteX171" fmla="*/ 4871 w 10000"/>
                <a:gd name="connsiteY171" fmla="*/ 9105 h 10000"/>
                <a:gd name="connsiteX172" fmla="*/ 4893 w 10000"/>
                <a:gd name="connsiteY172" fmla="*/ 9253 h 10000"/>
                <a:gd name="connsiteX173" fmla="*/ 4947 w 10000"/>
                <a:gd name="connsiteY173" fmla="*/ 9384 h 10000"/>
                <a:gd name="connsiteX174" fmla="*/ 4993 w 10000"/>
                <a:gd name="connsiteY174" fmla="*/ 9302 h 10000"/>
                <a:gd name="connsiteX175" fmla="*/ 4981 w 10000"/>
                <a:gd name="connsiteY175" fmla="*/ 9220 h 10000"/>
                <a:gd name="connsiteX176" fmla="*/ 5054 w 10000"/>
                <a:gd name="connsiteY176" fmla="*/ 9203 h 10000"/>
                <a:gd name="connsiteX177" fmla="*/ 5016 w 10000"/>
                <a:gd name="connsiteY177" fmla="*/ 9034 h 10000"/>
                <a:gd name="connsiteX178" fmla="*/ 5115 w 10000"/>
                <a:gd name="connsiteY178" fmla="*/ 9061 h 10000"/>
                <a:gd name="connsiteX179" fmla="*/ 5119 w 10000"/>
                <a:gd name="connsiteY179" fmla="*/ 8972 h 10000"/>
                <a:gd name="connsiteX180" fmla="*/ 5157 w 10000"/>
                <a:gd name="connsiteY180" fmla="*/ 9039 h 10000"/>
                <a:gd name="connsiteX181" fmla="*/ 5326 w 10000"/>
                <a:gd name="connsiteY181" fmla="*/ 8781 h 10000"/>
                <a:gd name="connsiteX182" fmla="*/ 5230 w 10000"/>
                <a:gd name="connsiteY182" fmla="*/ 8584 h 10000"/>
                <a:gd name="connsiteX183" fmla="*/ 5051 w 10000"/>
                <a:gd name="connsiteY183" fmla="*/ 8425 h 10000"/>
                <a:gd name="connsiteX184" fmla="*/ 5153 w 10000"/>
                <a:gd name="connsiteY184" fmla="*/ 8370 h 10000"/>
                <a:gd name="connsiteX185" fmla="*/ 5302 w 10000"/>
                <a:gd name="connsiteY185" fmla="*/ 8633 h 10000"/>
                <a:gd name="connsiteX186" fmla="*/ 5414 w 10000"/>
                <a:gd name="connsiteY186" fmla="*/ 8199 h 10000"/>
                <a:gd name="connsiteX187" fmla="*/ 5421 w 10000"/>
                <a:gd name="connsiteY187" fmla="*/ 8030 h 10000"/>
                <a:gd name="connsiteX188" fmla="*/ 5608 w 10000"/>
                <a:gd name="connsiteY188" fmla="*/ 7942 h 10000"/>
                <a:gd name="connsiteX189" fmla="*/ 5678 w 10000"/>
                <a:gd name="connsiteY189" fmla="*/ 7607 h 10000"/>
                <a:gd name="connsiteX190" fmla="*/ 5689 w 10000"/>
                <a:gd name="connsiteY190" fmla="*/ 7734 h 10000"/>
                <a:gd name="connsiteX191" fmla="*/ 5808 w 10000"/>
                <a:gd name="connsiteY191" fmla="*/ 7596 h 10000"/>
                <a:gd name="connsiteX192" fmla="*/ 5892 w 10000"/>
                <a:gd name="connsiteY192" fmla="*/ 7579 h 10000"/>
                <a:gd name="connsiteX193" fmla="*/ 5976 w 10000"/>
                <a:gd name="connsiteY193" fmla="*/ 7207 h 10000"/>
                <a:gd name="connsiteX194" fmla="*/ 6052 w 10000"/>
                <a:gd name="connsiteY194" fmla="*/ 7486 h 10000"/>
                <a:gd name="connsiteX195" fmla="*/ 6278 w 10000"/>
                <a:gd name="connsiteY195" fmla="*/ 7563 h 10000"/>
                <a:gd name="connsiteX196" fmla="*/ 6106 w 10000"/>
                <a:gd name="connsiteY196" fmla="*/ 7618 h 10000"/>
                <a:gd name="connsiteX197" fmla="*/ 6091 w 10000"/>
                <a:gd name="connsiteY197" fmla="*/ 7679 h 10000"/>
                <a:gd name="connsiteX198" fmla="*/ 5919 w 10000"/>
                <a:gd name="connsiteY198" fmla="*/ 7690 h 10000"/>
                <a:gd name="connsiteX199" fmla="*/ 5831 w 10000"/>
                <a:gd name="connsiteY199" fmla="*/ 7723 h 10000"/>
                <a:gd name="connsiteX200" fmla="*/ 5900 w 10000"/>
                <a:gd name="connsiteY200" fmla="*/ 7772 h 10000"/>
                <a:gd name="connsiteX201" fmla="*/ 5961 w 10000"/>
                <a:gd name="connsiteY201" fmla="*/ 7756 h 10000"/>
                <a:gd name="connsiteX202" fmla="*/ 6129 w 10000"/>
                <a:gd name="connsiteY202" fmla="*/ 7789 h 10000"/>
                <a:gd name="connsiteX203" fmla="*/ 5938 w 10000"/>
                <a:gd name="connsiteY203" fmla="*/ 7964 h 10000"/>
                <a:gd name="connsiteX204" fmla="*/ 6007 w 10000"/>
                <a:gd name="connsiteY204" fmla="*/ 8008 h 10000"/>
                <a:gd name="connsiteX205" fmla="*/ 6182 w 10000"/>
                <a:gd name="connsiteY205" fmla="*/ 7958 h 10000"/>
                <a:gd name="connsiteX206" fmla="*/ 6419 w 10000"/>
                <a:gd name="connsiteY206" fmla="*/ 8101 h 10000"/>
                <a:gd name="connsiteX207" fmla="*/ 6726 w 10000"/>
                <a:gd name="connsiteY207" fmla="*/ 7909 h 10000"/>
                <a:gd name="connsiteX208" fmla="*/ 7028 w 10000"/>
                <a:gd name="connsiteY208" fmla="*/ 7887 h 10000"/>
                <a:gd name="connsiteX209" fmla="*/ 7074 w 10000"/>
                <a:gd name="connsiteY209" fmla="*/ 7745 h 10000"/>
                <a:gd name="connsiteX210" fmla="*/ 7154 w 10000"/>
                <a:gd name="connsiteY210" fmla="*/ 7958 h 10000"/>
                <a:gd name="connsiteX211" fmla="*/ 7238 w 10000"/>
                <a:gd name="connsiteY211" fmla="*/ 7986 h 10000"/>
                <a:gd name="connsiteX212" fmla="*/ 7207 w 10000"/>
                <a:gd name="connsiteY212" fmla="*/ 8134 h 10000"/>
                <a:gd name="connsiteX213" fmla="*/ 6944 w 10000"/>
                <a:gd name="connsiteY213" fmla="*/ 8281 h 10000"/>
                <a:gd name="connsiteX214" fmla="*/ 6925 w 10000"/>
                <a:gd name="connsiteY214" fmla="*/ 8386 h 10000"/>
                <a:gd name="connsiteX215" fmla="*/ 6780 w 10000"/>
                <a:gd name="connsiteY215" fmla="*/ 8523 h 10000"/>
                <a:gd name="connsiteX216" fmla="*/ 6775 w 10000"/>
                <a:gd name="connsiteY216" fmla="*/ 8649 h 10000"/>
                <a:gd name="connsiteX217" fmla="*/ 6687 w 10000"/>
                <a:gd name="connsiteY217" fmla="*/ 8704 h 10000"/>
                <a:gd name="connsiteX218" fmla="*/ 6576 w 10000"/>
                <a:gd name="connsiteY218" fmla="*/ 8989 h 10000"/>
                <a:gd name="connsiteX219" fmla="*/ 6734 w 10000"/>
                <a:gd name="connsiteY219" fmla="*/ 9001 h 10000"/>
                <a:gd name="connsiteX220" fmla="*/ 6826 w 10000"/>
                <a:gd name="connsiteY220" fmla="*/ 8879 h 10000"/>
                <a:gd name="connsiteX221" fmla="*/ 6925 w 10000"/>
                <a:gd name="connsiteY221" fmla="*/ 8912 h 10000"/>
                <a:gd name="connsiteX222" fmla="*/ 6971 w 10000"/>
                <a:gd name="connsiteY222" fmla="*/ 8786 h 10000"/>
                <a:gd name="connsiteX223" fmla="*/ 7035 w 10000"/>
                <a:gd name="connsiteY223" fmla="*/ 9001 h 10000"/>
                <a:gd name="connsiteX224" fmla="*/ 7223 w 10000"/>
                <a:gd name="connsiteY224" fmla="*/ 8994 h 10000"/>
                <a:gd name="connsiteX225" fmla="*/ 7383 w 10000"/>
                <a:gd name="connsiteY225" fmla="*/ 9362 h 10000"/>
                <a:gd name="connsiteX226" fmla="*/ 7398 w 10000"/>
                <a:gd name="connsiteY226" fmla="*/ 9675 h 10000"/>
                <a:gd name="connsiteX227" fmla="*/ 7341 w 10000"/>
                <a:gd name="connsiteY227" fmla="*/ 9692 h 10000"/>
                <a:gd name="connsiteX228" fmla="*/ 7352 w 10000"/>
                <a:gd name="connsiteY228" fmla="*/ 9780 h 10000"/>
                <a:gd name="connsiteX229" fmla="*/ 7594 w 10000"/>
                <a:gd name="connsiteY229" fmla="*/ 9900 h 10000"/>
                <a:gd name="connsiteX230" fmla="*/ 8294 w 10000"/>
                <a:gd name="connsiteY230" fmla="*/ 9023 h 10000"/>
                <a:gd name="connsiteX231" fmla="*/ 8370 w 10000"/>
                <a:gd name="connsiteY231" fmla="*/ 8841 h 10000"/>
                <a:gd name="connsiteX232" fmla="*/ 8458 w 10000"/>
                <a:gd name="connsiteY232" fmla="*/ 8786 h 10000"/>
                <a:gd name="connsiteX233" fmla="*/ 8512 w 10000"/>
                <a:gd name="connsiteY233" fmla="*/ 8512 h 10000"/>
                <a:gd name="connsiteX234" fmla="*/ 8739 w 10000"/>
                <a:gd name="connsiteY234" fmla="*/ 8617 h 10000"/>
                <a:gd name="connsiteX235" fmla="*/ 8872 w 10000"/>
                <a:gd name="connsiteY235" fmla="*/ 8474 h 10000"/>
                <a:gd name="connsiteX236" fmla="*/ 9059 w 10000"/>
                <a:gd name="connsiteY236" fmla="*/ 8343 h 10000"/>
                <a:gd name="connsiteX237" fmla="*/ 8983 w 10000"/>
                <a:gd name="connsiteY237" fmla="*/ 8128 h 10000"/>
                <a:gd name="connsiteX238" fmla="*/ 7885 w 10000"/>
                <a:gd name="connsiteY238" fmla="*/ 7991 h 10000"/>
                <a:gd name="connsiteX239" fmla="*/ 7859 w 10000"/>
                <a:gd name="connsiteY239" fmla="*/ 7904 h 10000"/>
                <a:gd name="connsiteX240" fmla="*/ 7782 w 10000"/>
                <a:gd name="connsiteY240" fmla="*/ 8002 h 10000"/>
                <a:gd name="connsiteX241" fmla="*/ 7893 w 10000"/>
                <a:gd name="connsiteY241" fmla="*/ 7761 h 10000"/>
                <a:gd name="connsiteX242" fmla="*/ 7851 w 10000"/>
                <a:gd name="connsiteY242" fmla="*/ 7717 h 10000"/>
                <a:gd name="connsiteX243" fmla="*/ 7728 w 10000"/>
                <a:gd name="connsiteY243" fmla="*/ 7915 h 10000"/>
                <a:gd name="connsiteX244" fmla="*/ 7793 w 10000"/>
                <a:gd name="connsiteY244" fmla="*/ 7712 h 10000"/>
                <a:gd name="connsiteX245" fmla="*/ 7705 w 10000"/>
                <a:gd name="connsiteY245" fmla="*/ 7767 h 10000"/>
                <a:gd name="connsiteX246" fmla="*/ 7590 w 10000"/>
                <a:gd name="connsiteY246" fmla="*/ 7717 h 10000"/>
                <a:gd name="connsiteX247" fmla="*/ 7502 w 10000"/>
                <a:gd name="connsiteY247" fmla="*/ 7794 h 10000"/>
                <a:gd name="connsiteX248" fmla="*/ 7407 w 10000"/>
                <a:gd name="connsiteY248" fmla="*/ 7728 h 10000"/>
                <a:gd name="connsiteX249" fmla="*/ 7250 w 10000"/>
                <a:gd name="connsiteY249" fmla="*/ 7717 h 10000"/>
                <a:gd name="connsiteX250" fmla="*/ 7253 w 10000"/>
                <a:gd name="connsiteY250" fmla="*/ 7547 h 10000"/>
                <a:gd name="connsiteX251" fmla="*/ 7395 w 10000"/>
                <a:gd name="connsiteY251" fmla="*/ 7662 h 10000"/>
                <a:gd name="connsiteX252" fmla="*/ 7440 w 10000"/>
                <a:gd name="connsiteY252" fmla="*/ 7541 h 10000"/>
                <a:gd name="connsiteX253" fmla="*/ 7403 w 10000"/>
                <a:gd name="connsiteY253" fmla="*/ 7410 h 10000"/>
                <a:gd name="connsiteX254" fmla="*/ 7510 w 10000"/>
                <a:gd name="connsiteY254" fmla="*/ 7547 h 10000"/>
                <a:gd name="connsiteX255" fmla="*/ 7655 w 10000"/>
                <a:gd name="connsiteY255" fmla="*/ 7536 h 10000"/>
                <a:gd name="connsiteX256" fmla="*/ 7679 w 10000"/>
                <a:gd name="connsiteY256" fmla="*/ 7685 h 10000"/>
                <a:gd name="connsiteX257" fmla="*/ 7721 w 10000"/>
                <a:gd name="connsiteY257" fmla="*/ 7685 h 10000"/>
                <a:gd name="connsiteX258" fmla="*/ 7732 w 10000"/>
                <a:gd name="connsiteY258" fmla="*/ 7415 h 10000"/>
                <a:gd name="connsiteX259" fmla="*/ 7782 w 10000"/>
                <a:gd name="connsiteY259" fmla="*/ 7585 h 10000"/>
                <a:gd name="connsiteX260" fmla="*/ 7870 w 10000"/>
                <a:gd name="connsiteY260" fmla="*/ 7590 h 10000"/>
                <a:gd name="connsiteX261" fmla="*/ 7805 w 10000"/>
                <a:gd name="connsiteY261" fmla="*/ 7333 h 10000"/>
                <a:gd name="connsiteX262" fmla="*/ 7965 w 10000"/>
                <a:gd name="connsiteY262" fmla="*/ 7240 h 10000"/>
                <a:gd name="connsiteX263" fmla="*/ 7958 w 10000"/>
                <a:gd name="connsiteY263" fmla="*/ 6987 h 10000"/>
                <a:gd name="connsiteX264" fmla="*/ 8069 w 10000"/>
                <a:gd name="connsiteY264" fmla="*/ 7081 h 10000"/>
                <a:gd name="connsiteX265" fmla="*/ 8088 w 10000"/>
                <a:gd name="connsiteY265" fmla="*/ 7015 h 10000"/>
                <a:gd name="connsiteX266" fmla="*/ 7954 w 10000"/>
                <a:gd name="connsiteY266" fmla="*/ 6735 h 10000"/>
                <a:gd name="connsiteX267" fmla="*/ 8133 w 10000"/>
                <a:gd name="connsiteY267" fmla="*/ 6894 h 10000"/>
                <a:gd name="connsiteX268" fmla="*/ 8359 w 10000"/>
                <a:gd name="connsiteY268" fmla="*/ 6511 h 10000"/>
                <a:gd name="connsiteX269" fmla="*/ 8577 w 10000"/>
                <a:gd name="connsiteY269" fmla="*/ 6483 h 10000"/>
                <a:gd name="connsiteX270" fmla="*/ 8623 w 10000"/>
                <a:gd name="connsiteY270"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6538 w 10000"/>
                <a:gd name="connsiteY11" fmla="*/ 1311 h 10000"/>
                <a:gd name="connsiteX12" fmla="*/ 6454 w 10000"/>
                <a:gd name="connsiteY12" fmla="*/ 1223 h 10000"/>
                <a:gd name="connsiteX13" fmla="*/ 6267 w 10000"/>
                <a:gd name="connsiteY13" fmla="*/ 1273 h 10000"/>
                <a:gd name="connsiteX14" fmla="*/ 6285 w 10000"/>
                <a:gd name="connsiteY14" fmla="*/ 1125 h 10000"/>
                <a:gd name="connsiteX15" fmla="*/ 6213 w 10000"/>
                <a:gd name="connsiteY15" fmla="*/ 1119 h 10000"/>
                <a:gd name="connsiteX16" fmla="*/ 6179 w 10000"/>
                <a:gd name="connsiteY16" fmla="*/ 910 h 10000"/>
                <a:gd name="connsiteX17" fmla="*/ 6079 w 10000"/>
                <a:gd name="connsiteY17" fmla="*/ 795 h 10000"/>
                <a:gd name="connsiteX18" fmla="*/ 6285 w 10000"/>
                <a:gd name="connsiteY18" fmla="*/ 620 h 10000"/>
                <a:gd name="connsiteX19" fmla="*/ 6037 w 10000"/>
                <a:gd name="connsiteY19" fmla="*/ 395 h 10000"/>
                <a:gd name="connsiteX20" fmla="*/ 5988 w 10000"/>
                <a:gd name="connsiteY20" fmla="*/ 142 h 10000"/>
                <a:gd name="connsiteX21" fmla="*/ 5873 w 10000"/>
                <a:gd name="connsiteY21" fmla="*/ 110 h 10000"/>
                <a:gd name="connsiteX22" fmla="*/ 5777 w 10000"/>
                <a:gd name="connsiteY22" fmla="*/ 0 h 10000"/>
                <a:gd name="connsiteX23" fmla="*/ 5675 w 10000"/>
                <a:gd name="connsiteY23" fmla="*/ 120 h 10000"/>
                <a:gd name="connsiteX24" fmla="*/ 5501 w 10000"/>
                <a:gd name="connsiteY24" fmla="*/ 110 h 10000"/>
                <a:gd name="connsiteX25" fmla="*/ 5352 w 10000"/>
                <a:gd name="connsiteY25" fmla="*/ 351 h 10000"/>
                <a:gd name="connsiteX26" fmla="*/ 5066 w 10000"/>
                <a:gd name="connsiteY26" fmla="*/ 329 h 10000"/>
                <a:gd name="connsiteX27" fmla="*/ 4996 w 10000"/>
                <a:gd name="connsiteY27" fmla="*/ 680 h 10000"/>
                <a:gd name="connsiteX28" fmla="*/ 4809 w 10000"/>
                <a:gd name="connsiteY28" fmla="*/ 707 h 10000"/>
                <a:gd name="connsiteX29" fmla="*/ 4905 w 10000"/>
                <a:gd name="connsiteY29" fmla="*/ 844 h 10000"/>
                <a:gd name="connsiteX30" fmla="*/ 4848 w 10000"/>
                <a:gd name="connsiteY30" fmla="*/ 899 h 10000"/>
                <a:gd name="connsiteX31" fmla="*/ 4718 w 10000"/>
                <a:gd name="connsiteY31" fmla="*/ 894 h 10000"/>
                <a:gd name="connsiteX32" fmla="*/ 4541 w 10000"/>
                <a:gd name="connsiteY32" fmla="*/ 1026 h 10000"/>
                <a:gd name="connsiteX33" fmla="*/ 4350 w 10000"/>
                <a:gd name="connsiteY33" fmla="*/ 1668 h 10000"/>
                <a:gd name="connsiteX34" fmla="*/ 4407 w 10000"/>
                <a:gd name="connsiteY34" fmla="*/ 2090 h 10000"/>
                <a:gd name="connsiteX35" fmla="*/ 4216 w 10000"/>
                <a:gd name="connsiteY35" fmla="*/ 1865 h 10000"/>
                <a:gd name="connsiteX36" fmla="*/ 3938 w 10000"/>
                <a:gd name="connsiteY36" fmla="*/ 1991 h 10000"/>
                <a:gd name="connsiteX37" fmla="*/ 3910 w 10000"/>
                <a:gd name="connsiteY37" fmla="*/ 1931 h 10000"/>
                <a:gd name="connsiteX38" fmla="*/ 3780 w 10000"/>
                <a:gd name="connsiteY38" fmla="*/ 2002 h 10000"/>
                <a:gd name="connsiteX39" fmla="*/ 3704 w 10000"/>
                <a:gd name="connsiteY39" fmla="*/ 2144 h 10000"/>
                <a:gd name="connsiteX40" fmla="*/ 3643 w 10000"/>
                <a:gd name="connsiteY40" fmla="*/ 1909 h 10000"/>
                <a:gd name="connsiteX41" fmla="*/ 3558 w 10000"/>
                <a:gd name="connsiteY41" fmla="*/ 1843 h 10000"/>
                <a:gd name="connsiteX42" fmla="*/ 3523 w 10000"/>
                <a:gd name="connsiteY42" fmla="*/ 1964 h 10000"/>
                <a:gd name="connsiteX43" fmla="*/ 3409 w 10000"/>
                <a:gd name="connsiteY43" fmla="*/ 1996 h 10000"/>
                <a:gd name="connsiteX44" fmla="*/ 3347 w 10000"/>
                <a:gd name="connsiteY44" fmla="*/ 2161 h 10000"/>
                <a:gd name="connsiteX45" fmla="*/ 3309 w 10000"/>
                <a:gd name="connsiteY45" fmla="*/ 2013 h 10000"/>
                <a:gd name="connsiteX46" fmla="*/ 3195 w 10000"/>
                <a:gd name="connsiteY46" fmla="*/ 2024 h 10000"/>
                <a:gd name="connsiteX47" fmla="*/ 3149 w 10000"/>
                <a:gd name="connsiteY47" fmla="*/ 2128 h 10000"/>
                <a:gd name="connsiteX48" fmla="*/ 3080 w 10000"/>
                <a:gd name="connsiteY48" fmla="*/ 1975 h 10000"/>
                <a:gd name="connsiteX49" fmla="*/ 2962 w 10000"/>
                <a:gd name="connsiteY49" fmla="*/ 2117 h 10000"/>
                <a:gd name="connsiteX50" fmla="*/ 2847 w 10000"/>
                <a:gd name="connsiteY50" fmla="*/ 2106 h 10000"/>
                <a:gd name="connsiteX51" fmla="*/ 2843 w 10000"/>
                <a:gd name="connsiteY51" fmla="*/ 2276 h 10000"/>
                <a:gd name="connsiteX52" fmla="*/ 2790 w 10000"/>
                <a:gd name="connsiteY52" fmla="*/ 2144 h 10000"/>
                <a:gd name="connsiteX53" fmla="*/ 2618 w 10000"/>
                <a:gd name="connsiteY53" fmla="*/ 2155 h 10000"/>
                <a:gd name="connsiteX54" fmla="*/ 2494 w 10000"/>
                <a:gd name="connsiteY54" fmla="*/ 1980 h 10000"/>
                <a:gd name="connsiteX55" fmla="*/ 2346 w 10000"/>
                <a:gd name="connsiteY55" fmla="*/ 2073 h 10000"/>
                <a:gd name="connsiteX56" fmla="*/ 2192 w 10000"/>
                <a:gd name="connsiteY56" fmla="*/ 1958 h 10000"/>
                <a:gd name="connsiteX57" fmla="*/ 2104 w 10000"/>
                <a:gd name="connsiteY57" fmla="*/ 2035 h 10000"/>
                <a:gd name="connsiteX58" fmla="*/ 2020 w 10000"/>
                <a:gd name="connsiteY58" fmla="*/ 1947 h 10000"/>
                <a:gd name="connsiteX59" fmla="*/ 1895 w 10000"/>
                <a:gd name="connsiteY59" fmla="*/ 1936 h 10000"/>
                <a:gd name="connsiteX60" fmla="*/ 1707 w 10000"/>
                <a:gd name="connsiteY60" fmla="*/ 1925 h 10000"/>
                <a:gd name="connsiteX61" fmla="*/ 1477 w 10000"/>
                <a:gd name="connsiteY61" fmla="*/ 1991 h 10000"/>
                <a:gd name="connsiteX62" fmla="*/ 1233 w 10000"/>
                <a:gd name="connsiteY62" fmla="*/ 2062 h 10000"/>
                <a:gd name="connsiteX63" fmla="*/ 942 w 10000"/>
                <a:gd name="connsiteY63" fmla="*/ 2166 h 10000"/>
                <a:gd name="connsiteX64" fmla="*/ 815 w 10000"/>
                <a:gd name="connsiteY64" fmla="*/ 2496 h 10000"/>
                <a:gd name="connsiteX65" fmla="*/ 617 w 10000"/>
                <a:gd name="connsiteY65" fmla="*/ 2501 h 10000"/>
                <a:gd name="connsiteX66" fmla="*/ 552 w 10000"/>
                <a:gd name="connsiteY66" fmla="*/ 2687 h 10000"/>
                <a:gd name="connsiteX67" fmla="*/ 571 w 10000"/>
                <a:gd name="connsiteY67" fmla="*/ 2764 h 10000"/>
                <a:gd name="connsiteX68" fmla="*/ 590 w 10000"/>
                <a:gd name="connsiteY68" fmla="*/ 2868 h 10000"/>
                <a:gd name="connsiteX69" fmla="*/ 590 w 10000"/>
                <a:gd name="connsiteY69" fmla="*/ 2868 h 10000"/>
                <a:gd name="connsiteX70" fmla="*/ 590 w 10000"/>
                <a:gd name="connsiteY70" fmla="*/ 2896 h 10000"/>
                <a:gd name="connsiteX71" fmla="*/ 698 w 10000"/>
                <a:gd name="connsiteY71" fmla="*/ 3116 h 10000"/>
                <a:gd name="connsiteX72" fmla="*/ 804 w 10000"/>
                <a:gd name="connsiteY72" fmla="*/ 3351 h 10000"/>
                <a:gd name="connsiteX73" fmla="*/ 942 w 10000"/>
                <a:gd name="connsiteY73" fmla="*/ 3488 h 10000"/>
                <a:gd name="connsiteX74" fmla="*/ 896 w 10000"/>
                <a:gd name="connsiteY74" fmla="*/ 3548 h 10000"/>
                <a:gd name="connsiteX75" fmla="*/ 824 w 10000"/>
                <a:gd name="connsiteY75" fmla="*/ 3603 h 10000"/>
                <a:gd name="connsiteX76" fmla="*/ 907 w 10000"/>
                <a:gd name="connsiteY76" fmla="*/ 3697 h 10000"/>
                <a:gd name="connsiteX77" fmla="*/ 896 w 10000"/>
                <a:gd name="connsiteY77" fmla="*/ 4053 h 10000"/>
                <a:gd name="connsiteX78" fmla="*/ 709 w 10000"/>
                <a:gd name="connsiteY78" fmla="*/ 4124 h 10000"/>
                <a:gd name="connsiteX79" fmla="*/ 509 w 10000"/>
                <a:gd name="connsiteY79" fmla="*/ 4531 h 10000"/>
                <a:gd name="connsiteX80" fmla="*/ 380 w 10000"/>
                <a:gd name="connsiteY80" fmla="*/ 4936 h 10000"/>
                <a:gd name="connsiteX81" fmla="*/ 199 w 10000"/>
                <a:gd name="connsiteY81" fmla="*/ 5260 h 10000"/>
                <a:gd name="connsiteX82" fmla="*/ 276 w 10000"/>
                <a:gd name="connsiteY82" fmla="*/ 5517 h 10000"/>
                <a:gd name="connsiteX83" fmla="*/ 283 w 10000"/>
                <a:gd name="connsiteY83" fmla="*/ 5732 h 10000"/>
                <a:gd name="connsiteX84" fmla="*/ 409 w 10000"/>
                <a:gd name="connsiteY84" fmla="*/ 5841 h 10000"/>
                <a:gd name="connsiteX85" fmla="*/ 391 w 10000"/>
                <a:gd name="connsiteY85" fmla="*/ 5945 h 10000"/>
                <a:gd name="connsiteX86" fmla="*/ 207 w 10000"/>
                <a:gd name="connsiteY86" fmla="*/ 5852 h 10000"/>
                <a:gd name="connsiteX87" fmla="*/ 127 w 10000"/>
                <a:gd name="connsiteY87" fmla="*/ 6099 h 10000"/>
                <a:gd name="connsiteX88" fmla="*/ 107 w 10000"/>
                <a:gd name="connsiteY88" fmla="*/ 6346 h 10000"/>
                <a:gd name="connsiteX89" fmla="*/ 1 w 10000"/>
                <a:gd name="connsiteY89" fmla="*/ 6571 h 10000"/>
                <a:gd name="connsiteX90" fmla="*/ 19 w 10000"/>
                <a:gd name="connsiteY90" fmla="*/ 6779 h 10000"/>
                <a:gd name="connsiteX91" fmla="*/ 92 w 10000"/>
                <a:gd name="connsiteY91" fmla="*/ 6828 h 10000"/>
                <a:gd name="connsiteX92" fmla="*/ 158 w 10000"/>
                <a:gd name="connsiteY92" fmla="*/ 6960 h 10000"/>
                <a:gd name="connsiteX93" fmla="*/ 246 w 10000"/>
                <a:gd name="connsiteY93" fmla="*/ 6943 h 10000"/>
                <a:gd name="connsiteX94" fmla="*/ 299 w 10000"/>
                <a:gd name="connsiteY94" fmla="*/ 7076 h 10000"/>
                <a:gd name="connsiteX95" fmla="*/ 455 w 10000"/>
                <a:gd name="connsiteY95" fmla="*/ 7103 h 10000"/>
                <a:gd name="connsiteX96" fmla="*/ 463 w 10000"/>
                <a:gd name="connsiteY96" fmla="*/ 7251 h 10000"/>
                <a:gd name="connsiteX97" fmla="*/ 505 w 10000"/>
                <a:gd name="connsiteY97" fmla="*/ 7278 h 10000"/>
                <a:gd name="connsiteX98" fmla="*/ 537 w 10000"/>
                <a:gd name="connsiteY98" fmla="*/ 7174 h 10000"/>
                <a:gd name="connsiteX99" fmla="*/ 594 w 10000"/>
                <a:gd name="connsiteY99" fmla="*/ 7196 h 10000"/>
                <a:gd name="connsiteX100" fmla="*/ 659 w 10000"/>
                <a:gd name="connsiteY100" fmla="*/ 6992 h 10000"/>
                <a:gd name="connsiteX101" fmla="*/ 839 w 10000"/>
                <a:gd name="connsiteY101" fmla="*/ 7174 h 10000"/>
                <a:gd name="connsiteX102" fmla="*/ 1313 w 10000"/>
                <a:gd name="connsiteY102" fmla="*/ 7163 h 10000"/>
                <a:gd name="connsiteX103" fmla="*/ 1500 w 10000"/>
                <a:gd name="connsiteY103" fmla="*/ 7092 h 10000"/>
                <a:gd name="connsiteX104" fmla="*/ 1807 w 10000"/>
                <a:gd name="connsiteY104" fmla="*/ 7344 h 10000"/>
                <a:gd name="connsiteX105" fmla="*/ 2001 w 10000"/>
                <a:gd name="connsiteY105" fmla="*/ 7087 h 10000"/>
                <a:gd name="connsiteX106" fmla="*/ 2437 w 10000"/>
                <a:gd name="connsiteY106" fmla="*/ 6861 h 10000"/>
                <a:gd name="connsiteX107" fmla="*/ 2594 w 10000"/>
                <a:gd name="connsiteY107" fmla="*/ 6489 h 10000"/>
                <a:gd name="connsiteX108" fmla="*/ 2709 w 10000"/>
                <a:gd name="connsiteY108" fmla="*/ 6439 h 10000"/>
                <a:gd name="connsiteX109" fmla="*/ 2709 w 10000"/>
                <a:gd name="connsiteY109" fmla="*/ 6379 h 10000"/>
                <a:gd name="connsiteX110" fmla="*/ 2755 w 10000"/>
                <a:gd name="connsiteY110" fmla="*/ 6379 h 10000"/>
                <a:gd name="connsiteX111" fmla="*/ 2744 w 10000"/>
                <a:gd name="connsiteY111" fmla="*/ 6230 h 10000"/>
                <a:gd name="connsiteX112" fmla="*/ 2885 w 10000"/>
                <a:gd name="connsiteY112" fmla="*/ 6285 h 10000"/>
                <a:gd name="connsiteX113" fmla="*/ 2904 w 10000"/>
                <a:gd name="connsiteY113" fmla="*/ 6159 h 10000"/>
                <a:gd name="connsiteX114" fmla="*/ 2988 w 10000"/>
                <a:gd name="connsiteY114" fmla="*/ 6230 h 10000"/>
                <a:gd name="connsiteX115" fmla="*/ 3050 w 10000"/>
                <a:gd name="connsiteY115" fmla="*/ 6126 h 10000"/>
                <a:gd name="connsiteX116" fmla="*/ 3149 w 10000"/>
                <a:gd name="connsiteY116" fmla="*/ 6154 h 10000"/>
                <a:gd name="connsiteX117" fmla="*/ 3237 w 10000"/>
                <a:gd name="connsiteY117" fmla="*/ 6055 h 10000"/>
                <a:gd name="connsiteX118" fmla="*/ 3405 w 10000"/>
                <a:gd name="connsiteY118" fmla="*/ 6192 h 10000"/>
                <a:gd name="connsiteX119" fmla="*/ 3490 w 10000"/>
                <a:gd name="connsiteY119" fmla="*/ 6197 h 10000"/>
                <a:gd name="connsiteX120" fmla="*/ 3516 w 10000"/>
                <a:gd name="connsiteY120" fmla="*/ 6307 h 10000"/>
                <a:gd name="connsiteX121" fmla="*/ 3674 w 10000"/>
                <a:gd name="connsiteY121" fmla="*/ 6236 h 10000"/>
                <a:gd name="connsiteX122" fmla="*/ 3658 w 10000"/>
                <a:gd name="connsiteY122" fmla="*/ 6357 h 10000"/>
                <a:gd name="connsiteX123" fmla="*/ 3716 w 10000"/>
                <a:gd name="connsiteY123" fmla="*/ 6341 h 10000"/>
                <a:gd name="connsiteX124" fmla="*/ 3784 w 10000"/>
                <a:gd name="connsiteY124" fmla="*/ 6428 h 10000"/>
                <a:gd name="connsiteX125" fmla="*/ 3788 w 10000"/>
                <a:gd name="connsiteY125" fmla="*/ 6301 h 10000"/>
                <a:gd name="connsiteX126" fmla="*/ 3971 w 10000"/>
                <a:gd name="connsiteY126" fmla="*/ 6341 h 10000"/>
                <a:gd name="connsiteX127" fmla="*/ 4037 w 10000"/>
                <a:gd name="connsiteY127" fmla="*/ 6511 h 10000"/>
                <a:gd name="connsiteX128" fmla="*/ 4140 w 10000"/>
                <a:gd name="connsiteY128" fmla="*/ 6494 h 10000"/>
                <a:gd name="connsiteX129" fmla="*/ 4185 w 10000"/>
                <a:gd name="connsiteY129" fmla="*/ 6417 h 10000"/>
                <a:gd name="connsiteX130" fmla="*/ 4288 w 10000"/>
                <a:gd name="connsiteY130" fmla="*/ 6735 h 10000"/>
                <a:gd name="connsiteX131" fmla="*/ 4251 w 10000"/>
                <a:gd name="connsiteY131" fmla="*/ 6987 h 10000"/>
                <a:gd name="connsiteX132" fmla="*/ 4304 w 10000"/>
                <a:gd name="connsiteY132" fmla="*/ 7114 h 10000"/>
                <a:gd name="connsiteX133" fmla="*/ 4376 w 10000"/>
                <a:gd name="connsiteY133" fmla="*/ 7119 h 10000"/>
                <a:gd name="connsiteX134" fmla="*/ 4488 w 10000"/>
                <a:gd name="connsiteY134" fmla="*/ 7256 h 10000"/>
                <a:gd name="connsiteX135" fmla="*/ 4533 w 10000"/>
                <a:gd name="connsiteY135" fmla="*/ 7152 h 10000"/>
                <a:gd name="connsiteX136" fmla="*/ 4583 w 10000"/>
                <a:gd name="connsiteY136" fmla="*/ 7322 h 10000"/>
                <a:gd name="connsiteX137" fmla="*/ 4646 w 10000"/>
                <a:gd name="connsiteY137" fmla="*/ 7662 h 10000"/>
                <a:gd name="connsiteX138" fmla="*/ 4829 w 10000"/>
                <a:gd name="connsiteY138" fmla="*/ 7739 h 10000"/>
                <a:gd name="connsiteX139" fmla="*/ 4871 w 10000"/>
                <a:gd name="connsiteY139" fmla="*/ 8183 h 10000"/>
                <a:gd name="connsiteX140" fmla="*/ 5027 w 10000"/>
                <a:gd name="connsiteY140" fmla="*/ 8276 h 10000"/>
                <a:gd name="connsiteX141" fmla="*/ 4866 w 10000"/>
                <a:gd name="connsiteY141" fmla="*/ 8370 h 10000"/>
                <a:gd name="connsiteX142" fmla="*/ 4813 w 10000"/>
                <a:gd name="connsiteY142" fmla="*/ 8260 h 10000"/>
                <a:gd name="connsiteX143" fmla="*/ 4752 w 10000"/>
                <a:gd name="connsiteY143" fmla="*/ 8403 h 10000"/>
                <a:gd name="connsiteX144" fmla="*/ 4594 w 10000"/>
                <a:gd name="connsiteY144" fmla="*/ 8287 h 10000"/>
                <a:gd name="connsiteX145" fmla="*/ 4506 w 10000"/>
                <a:gd name="connsiteY145" fmla="*/ 8452 h 10000"/>
                <a:gd name="connsiteX146" fmla="*/ 4323 w 10000"/>
                <a:gd name="connsiteY146" fmla="*/ 8331 h 10000"/>
                <a:gd name="connsiteX147" fmla="*/ 4411 w 10000"/>
                <a:gd name="connsiteY147" fmla="*/ 8699 h 10000"/>
                <a:gd name="connsiteX148" fmla="*/ 4403 w 10000"/>
                <a:gd name="connsiteY148" fmla="*/ 8967 h 10000"/>
                <a:gd name="connsiteX149" fmla="*/ 4285 w 10000"/>
                <a:gd name="connsiteY149" fmla="*/ 9088 h 10000"/>
                <a:gd name="connsiteX150" fmla="*/ 4323 w 10000"/>
                <a:gd name="connsiteY150" fmla="*/ 9193 h 10000"/>
                <a:gd name="connsiteX151" fmla="*/ 4159 w 10000"/>
                <a:gd name="connsiteY151" fmla="*/ 9412 h 10000"/>
                <a:gd name="connsiteX152" fmla="*/ 4224 w 10000"/>
                <a:gd name="connsiteY152" fmla="*/ 9647 h 10000"/>
                <a:gd name="connsiteX153" fmla="*/ 4063 w 10000"/>
                <a:gd name="connsiteY153" fmla="*/ 9681 h 10000"/>
                <a:gd name="connsiteX154" fmla="*/ 4021 w 10000"/>
                <a:gd name="connsiteY154" fmla="*/ 9741 h 10000"/>
                <a:gd name="connsiteX155" fmla="*/ 4090 w 10000"/>
                <a:gd name="connsiteY155" fmla="*/ 9785 h 10000"/>
                <a:gd name="connsiteX156" fmla="*/ 4213 w 10000"/>
                <a:gd name="connsiteY156" fmla="*/ 9944 h 10000"/>
                <a:gd name="connsiteX157" fmla="*/ 4411 w 10000"/>
                <a:gd name="connsiteY157" fmla="*/ 9999 h 10000"/>
                <a:gd name="connsiteX158" fmla="*/ 4418 w 10000"/>
                <a:gd name="connsiteY158" fmla="*/ 9851 h 10000"/>
                <a:gd name="connsiteX159" fmla="*/ 4488 w 10000"/>
                <a:gd name="connsiteY159" fmla="*/ 9856 h 10000"/>
                <a:gd name="connsiteX160" fmla="*/ 4783 w 10000"/>
                <a:gd name="connsiteY160" fmla="*/ 9603 h 10000"/>
                <a:gd name="connsiteX161" fmla="*/ 4978 w 10000"/>
                <a:gd name="connsiteY161" fmla="*/ 9845 h 10000"/>
                <a:gd name="connsiteX162" fmla="*/ 4978 w 10000"/>
                <a:gd name="connsiteY162" fmla="*/ 9862 h 10000"/>
                <a:gd name="connsiteX163" fmla="*/ 5009 w 10000"/>
                <a:gd name="connsiteY163" fmla="*/ 9703 h 10000"/>
                <a:gd name="connsiteX164" fmla="*/ 4954 w 10000"/>
                <a:gd name="connsiteY164" fmla="*/ 9570 h 10000"/>
                <a:gd name="connsiteX165" fmla="*/ 4886 w 10000"/>
                <a:gd name="connsiteY165" fmla="*/ 9549 h 10000"/>
                <a:gd name="connsiteX166" fmla="*/ 4932 w 10000"/>
                <a:gd name="connsiteY166" fmla="*/ 9466 h 10000"/>
                <a:gd name="connsiteX167" fmla="*/ 4917 w 10000"/>
                <a:gd name="connsiteY167" fmla="*/ 9444 h 10000"/>
                <a:gd name="connsiteX168" fmla="*/ 4859 w 10000"/>
                <a:gd name="connsiteY168" fmla="*/ 9439 h 10000"/>
                <a:gd name="connsiteX169" fmla="*/ 4829 w 10000"/>
                <a:gd name="connsiteY169" fmla="*/ 9121 h 10000"/>
                <a:gd name="connsiteX170" fmla="*/ 4871 w 10000"/>
                <a:gd name="connsiteY170" fmla="*/ 9105 h 10000"/>
                <a:gd name="connsiteX171" fmla="*/ 4893 w 10000"/>
                <a:gd name="connsiteY171" fmla="*/ 9253 h 10000"/>
                <a:gd name="connsiteX172" fmla="*/ 4947 w 10000"/>
                <a:gd name="connsiteY172" fmla="*/ 9384 h 10000"/>
                <a:gd name="connsiteX173" fmla="*/ 4993 w 10000"/>
                <a:gd name="connsiteY173" fmla="*/ 9302 h 10000"/>
                <a:gd name="connsiteX174" fmla="*/ 4981 w 10000"/>
                <a:gd name="connsiteY174" fmla="*/ 9220 h 10000"/>
                <a:gd name="connsiteX175" fmla="*/ 5054 w 10000"/>
                <a:gd name="connsiteY175" fmla="*/ 9203 h 10000"/>
                <a:gd name="connsiteX176" fmla="*/ 5016 w 10000"/>
                <a:gd name="connsiteY176" fmla="*/ 9034 h 10000"/>
                <a:gd name="connsiteX177" fmla="*/ 5115 w 10000"/>
                <a:gd name="connsiteY177" fmla="*/ 9061 h 10000"/>
                <a:gd name="connsiteX178" fmla="*/ 5119 w 10000"/>
                <a:gd name="connsiteY178" fmla="*/ 8972 h 10000"/>
                <a:gd name="connsiteX179" fmla="*/ 5157 w 10000"/>
                <a:gd name="connsiteY179" fmla="*/ 9039 h 10000"/>
                <a:gd name="connsiteX180" fmla="*/ 5326 w 10000"/>
                <a:gd name="connsiteY180" fmla="*/ 8781 h 10000"/>
                <a:gd name="connsiteX181" fmla="*/ 5230 w 10000"/>
                <a:gd name="connsiteY181" fmla="*/ 8584 h 10000"/>
                <a:gd name="connsiteX182" fmla="*/ 5051 w 10000"/>
                <a:gd name="connsiteY182" fmla="*/ 8425 h 10000"/>
                <a:gd name="connsiteX183" fmla="*/ 5153 w 10000"/>
                <a:gd name="connsiteY183" fmla="*/ 8370 h 10000"/>
                <a:gd name="connsiteX184" fmla="*/ 5302 w 10000"/>
                <a:gd name="connsiteY184" fmla="*/ 8633 h 10000"/>
                <a:gd name="connsiteX185" fmla="*/ 5414 w 10000"/>
                <a:gd name="connsiteY185" fmla="*/ 8199 h 10000"/>
                <a:gd name="connsiteX186" fmla="*/ 5421 w 10000"/>
                <a:gd name="connsiteY186" fmla="*/ 8030 h 10000"/>
                <a:gd name="connsiteX187" fmla="*/ 5608 w 10000"/>
                <a:gd name="connsiteY187" fmla="*/ 7942 h 10000"/>
                <a:gd name="connsiteX188" fmla="*/ 5678 w 10000"/>
                <a:gd name="connsiteY188" fmla="*/ 7607 h 10000"/>
                <a:gd name="connsiteX189" fmla="*/ 5689 w 10000"/>
                <a:gd name="connsiteY189" fmla="*/ 7734 h 10000"/>
                <a:gd name="connsiteX190" fmla="*/ 5808 w 10000"/>
                <a:gd name="connsiteY190" fmla="*/ 7596 h 10000"/>
                <a:gd name="connsiteX191" fmla="*/ 5892 w 10000"/>
                <a:gd name="connsiteY191" fmla="*/ 7579 h 10000"/>
                <a:gd name="connsiteX192" fmla="*/ 5976 w 10000"/>
                <a:gd name="connsiteY192" fmla="*/ 7207 h 10000"/>
                <a:gd name="connsiteX193" fmla="*/ 6052 w 10000"/>
                <a:gd name="connsiteY193" fmla="*/ 7486 h 10000"/>
                <a:gd name="connsiteX194" fmla="*/ 6278 w 10000"/>
                <a:gd name="connsiteY194" fmla="*/ 7563 h 10000"/>
                <a:gd name="connsiteX195" fmla="*/ 6106 w 10000"/>
                <a:gd name="connsiteY195" fmla="*/ 7618 h 10000"/>
                <a:gd name="connsiteX196" fmla="*/ 6091 w 10000"/>
                <a:gd name="connsiteY196" fmla="*/ 7679 h 10000"/>
                <a:gd name="connsiteX197" fmla="*/ 5919 w 10000"/>
                <a:gd name="connsiteY197" fmla="*/ 7690 h 10000"/>
                <a:gd name="connsiteX198" fmla="*/ 5831 w 10000"/>
                <a:gd name="connsiteY198" fmla="*/ 7723 h 10000"/>
                <a:gd name="connsiteX199" fmla="*/ 5900 w 10000"/>
                <a:gd name="connsiteY199" fmla="*/ 7772 h 10000"/>
                <a:gd name="connsiteX200" fmla="*/ 5961 w 10000"/>
                <a:gd name="connsiteY200" fmla="*/ 7756 h 10000"/>
                <a:gd name="connsiteX201" fmla="*/ 6129 w 10000"/>
                <a:gd name="connsiteY201" fmla="*/ 7789 h 10000"/>
                <a:gd name="connsiteX202" fmla="*/ 5938 w 10000"/>
                <a:gd name="connsiteY202" fmla="*/ 7964 h 10000"/>
                <a:gd name="connsiteX203" fmla="*/ 6007 w 10000"/>
                <a:gd name="connsiteY203" fmla="*/ 8008 h 10000"/>
                <a:gd name="connsiteX204" fmla="*/ 6182 w 10000"/>
                <a:gd name="connsiteY204" fmla="*/ 7958 h 10000"/>
                <a:gd name="connsiteX205" fmla="*/ 6419 w 10000"/>
                <a:gd name="connsiteY205" fmla="*/ 8101 h 10000"/>
                <a:gd name="connsiteX206" fmla="*/ 6726 w 10000"/>
                <a:gd name="connsiteY206" fmla="*/ 7909 h 10000"/>
                <a:gd name="connsiteX207" fmla="*/ 7028 w 10000"/>
                <a:gd name="connsiteY207" fmla="*/ 7887 h 10000"/>
                <a:gd name="connsiteX208" fmla="*/ 7074 w 10000"/>
                <a:gd name="connsiteY208" fmla="*/ 7745 h 10000"/>
                <a:gd name="connsiteX209" fmla="*/ 7154 w 10000"/>
                <a:gd name="connsiteY209" fmla="*/ 7958 h 10000"/>
                <a:gd name="connsiteX210" fmla="*/ 7238 w 10000"/>
                <a:gd name="connsiteY210" fmla="*/ 7986 h 10000"/>
                <a:gd name="connsiteX211" fmla="*/ 7207 w 10000"/>
                <a:gd name="connsiteY211" fmla="*/ 8134 h 10000"/>
                <a:gd name="connsiteX212" fmla="*/ 6944 w 10000"/>
                <a:gd name="connsiteY212" fmla="*/ 8281 h 10000"/>
                <a:gd name="connsiteX213" fmla="*/ 6925 w 10000"/>
                <a:gd name="connsiteY213" fmla="*/ 8386 h 10000"/>
                <a:gd name="connsiteX214" fmla="*/ 6780 w 10000"/>
                <a:gd name="connsiteY214" fmla="*/ 8523 h 10000"/>
                <a:gd name="connsiteX215" fmla="*/ 6775 w 10000"/>
                <a:gd name="connsiteY215" fmla="*/ 8649 h 10000"/>
                <a:gd name="connsiteX216" fmla="*/ 6687 w 10000"/>
                <a:gd name="connsiteY216" fmla="*/ 8704 h 10000"/>
                <a:gd name="connsiteX217" fmla="*/ 6576 w 10000"/>
                <a:gd name="connsiteY217" fmla="*/ 8989 h 10000"/>
                <a:gd name="connsiteX218" fmla="*/ 6734 w 10000"/>
                <a:gd name="connsiteY218" fmla="*/ 9001 h 10000"/>
                <a:gd name="connsiteX219" fmla="*/ 6826 w 10000"/>
                <a:gd name="connsiteY219" fmla="*/ 8879 h 10000"/>
                <a:gd name="connsiteX220" fmla="*/ 6925 w 10000"/>
                <a:gd name="connsiteY220" fmla="*/ 8912 h 10000"/>
                <a:gd name="connsiteX221" fmla="*/ 6971 w 10000"/>
                <a:gd name="connsiteY221" fmla="*/ 8786 h 10000"/>
                <a:gd name="connsiteX222" fmla="*/ 7035 w 10000"/>
                <a:gd name="connsiteY222" fmla="*/ 9001 h 10000"/>
                <a:gd name="connsiteX223" fmla="*/ 7223 w 10000"/>
                <a:gd name="connsiteY223" fmla="*/ 8994 h 10000"/>
                <a:gd name="connsiteX224" fmla="*/ 7383 w 10000"/>
                <a:gd name="connsiteY224" fmla="*/ 9362 h 10000"/>
                <a:gd name="connsiteX225" fmla="*/ 7398 w 10000"/>
                <a:gd name="connsiteY225" fmla="*/ 9675 h 10000"/>
                <a:gd name="connsiteX226" fmla="*/ 7341 w 10000"/>
                <a:gd name="connsiteY226" fmla="*/ 9692 h 10000"/>
                <a:gd name="connsiteX227" fmla="*/ 7352 w 10000"/>
                <a:gd name="connsiteY227" fmla="*/ 9780 h 10000"/>
                <a:gd name="connsiteX228" fmla="*/ 7594 w 10000"/>
                <a:gd name="connsiteY228" fmla="*/ 9900 h 10000"/>
                <a:gd name="connsiteX229" fmla="*/ 8294 w 10000"/>
                <a:gd name="connsiteY229" fmla="*/ 9023 h 10000"/>
                <a:gd name="connsiteX230" fmla="*/ 8370 w 10000"/>
                <a:gd name="connsiteY230" fmla="*/ 8841 h 10000"/>
                <a:gd name="connsiteX231" fmla="*/ 8458 w 10000"/>
                <a:gd name="connsiteY231" fmla="*/ 8786 h 10000"/>
                <a:gd name="connsiteX232" fmla="*/ 8512 w 10000"/>
                <a:gd name="connsiteY232" fmla="*/ 8512 h 10000"/>
                <a:gd name="connsiteX233" fmla="*/ 8739 w 10000"/>
                <a:gd name="connsiteY233" fmla="*/ 8617 h 10000"/>
                <a:gd name="connsiteX234" fmla="*/ 8872 w 10000"/>
                <a:gd name="connsiteY234" fmla="*/ 8474 h 10000"/>
                <a:gd name="connsiteX235" fmla="*/ 9059 w 10000"/>
                <a:gd name="connsiteY235" fmla="*/ 8343 h 10000"/>
                <a:gd name="connsiteX236" fmla="*/ 8983 w 10000"/>
                <a:gd name="connsiteY236" fmla="*/ 8128 h 10000"/>
                <a:gd name="connsiteX237" fmla="*/ 7885 w 10000"/>
                <a:gd name="connsiteY237" fmla="*/ 7991 h 10000"/>
                <a:gd name="connsiteX238" fmla="*/ 7859 w 10000"/>
                <a:gd name="connsiteY238" fmla="*/ 7904 h 10000"/>
                <a:gd name="connsiteX239" fmla="*/ 7782 w 10000"/>
                <a:gd name="connsiteY239" fmla="*/ 8002 h 10000"/>
                <a:gd name="connsiteX240" fmla="*/ 7893 w 10000"/>
                <a:gd name="connsiteY240" fmla="*/ 7761 h 10000"/>
                <a:gd name="connsiteX241" fmla="*/ 7851 w 10000"/>
                <a:gd name="connsiteY241" fmla="*/ 7717 h 10000"/>
                <a:gd name="connsiteX242" fmla="*/ 7728 w 10000"/>
                <a:gd name="connsiteY242" fmla="*/ 7915 h 10000"/>
                <a:gd name="connsiteX243" fmla="*/ 7793 w 10000"/>
                <a:gd name="connsiteY243" fmla="*/ 7712 h 10000"/>
                <a:gd name="connsiteX244" fmla="*/ 7705 w 10000"/>
                <a:gd name="connsiteY244" fmla="*/ 7767 h 10000"/>
                <a:gd name="connsiteX245" fmla="*/ 7590 w 10000"/>
                <a:gd name="connsiteY245" fmla="*/ 7717 h 10000"/>
                <a:gd name="connsiteX246" fmla="*/ 7502 w 10000"/>
                <a:gd name="connsiteY246" fmla="*/ 7794 h 10000"/>
                <a:gd name="connsiteX247" fmla="*/ 7407 w 10000"/>
                <a:gd name="connsiteY247" fmla="*/ 7728 h 10000"/>
                <a:gd name="connsiteX248" fmla="*/ 7250 w 10000"/>
                <a:gd name="connsiteY248" fmla="*/ 7717 h 10000"/>
                <a:gd name="connsiteX249" fmla="*/ 7253 w 10000"/>
                <a:gd name="connsiteY249" fmla="*/ 7547 h 10000"/>
                <a:gd name="connsiteX250" fmla="*/ 7395 w 10000"/>
                <a:gd name="connsiteY250" fmla="*/ 7662 h 10000"/>
                <a:gd name="connsiteX251" fmla="*/ 7440 w 10000"/>
                <a:gd name="connsiteY251" fmla="*/ 7541 h 10000"/>
                <a:gd name="connsiteX252" fmla="*/ 7403 w 10000"/>
                <a:gd name="connsiteY252" fmla="*/ 7410 h 10000"/>
                <a:gd name="connsiteX253" fmla="*/ 7510 w 10000"/>
                <a:gd name="connsiteY253" fmla="*/ 7547 h 10000"/>
                <a:gd name="connsiteX254" fmla="*/ 7655 w 10000"/>
                <a:gd name="connsiteY254" fmla="*/ 7536 h 10000"/>
                <a:gd name="connsiteX255" fmla="*/ 7679 w 10000"/>
                <a:gd name="connsiteY255" fmla="*/ 7685 h 10000"/>
                <a:gd name="connsiteX256" fmla="*/ 7721 w 10000"/>
                <a:gd name="connsiteY256" fmla="*/ 7685 h 10000"/>
                <a:gd name="connsiteX257" fmla="*/ 7732 w 10000"/>
                <a:gd name="connsiteY257" fmla="*/ 7415 h 10000"/>
                <a:gd name="connsiteX258" fmla="*/ 7782 w 10000"/>
                <a:gd name="connsiteY258" fmla="*/ 7585 h 10000"/>
                <a:gd name="connsiteX259" fmla="*/ 7870 w 10000"/>
                <a:gd name="connsiteY259" fmla="*/ 7590 h 10000"/>
                <a:gd name="connsiteX260" fmla="*/ 7805 w 10000"/>
                <a:gd name="connsiteY260" fmla="*/ 7333 h 10000"/>
                <a:gd name="connsiteX261" fmla="*/ 7965 w 10000"/>
                <a:gd name="connsiteY261" fmla="*/ 7240 h 10000"/>
                <a:gd name="connsiteX262" fmla="*/ 7958 w 10000"/>
                <a:gd name="connsiteY262" fmla="*/ 6987 h 10000"/>
                <a:gd name="connsiteX263" fmla="*/ 8069 w 10000"/>
                <a:gd name="connsiteY263" fmla="*/ 7081 h 10000"/>
                <a:gd name="connsiteX264" fmla="*/ 8088 w 10000"/>
                <a:gd name="connsiteY264" fmla="*/ 7015 h 10000"/>
                <a:gd name="connsiteX265" fmla="*/ 7954 w 10000"/>
                <a:gd name="connsiteY265" fmla="*/ 6735 h 10000"/>
                <a:gd name="connsiteX266" fmla="*/ 8133 w 10000"/>
                <a:gd name="connsiteY266" fmla="*/ 6894 h 10000"/>
                <a:gd name="connsiteX267" fmla="*/ 8359 w 10000"/>
                <a:gd name="connsiteY267" fmla="*/ 6511 h 10000"/>
                <a:gd name="connsiteX268" fmla="*/ 8577 w 10000"/>
                <a:gd name="connsiteY268" fmla="*/ 6483 h 10000"/>
                <a:gd name="connsiteX269" fmla="*/ 8623 w 10000"/>
                <a:gd name="connsiteY269"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6538 w 10000"/>
                <a:gd name="connsiteY10" fmla="*/ 1311 h 10000"/>
                <a:gd name="connsiteX11" fmla="*/ 6454 w 10000"/>
                <a:gd name="connsiteY11" fmla="*/ 1223 h 10000"/>
                <a:gd name="connsiteX12" fmla="*/ 6267 w 10000"/>
                <a:gd name="connsiteY12" fmla="*/ 1273 h 10000"/>
                <a:gd name="connsiteX13" fmla="*/ 6285 w 10000"/>
                <a:gd name="connsiteY13" fmla="*/ 1125 h 10000"/>
                <a:gd name="connsiteX14" fmla="*/ 6213 w 10000"/>
                <a:gd name="connsiteY14" fmla="*/ 1119 h 10000"/>
                <a:gd name="connsiteX15" fmla="*/ 6179 w 10000"/>
                <a:gd name="connsiteY15" fmla="*/ 910 h 10000"/>
                <a:gd name="connsiteX16" fmla="*/ 6079 w 10000"/>
                <a:gd name="connsiteY16" fmla="*/ 795 h 10000"/>
                <a:gd name="connsiteX17" fmla="*/ 6285 w 10000"/>
                <a:gd name="connsiteY17" fmla="*/ 620 h 10000"/>
                <a:gd name="connsiteX18" fmla="*/ 6037 w 10000"/>
                <a:gd name="connsiteY18" fmla="*/ 395 h 10000"/>
                <a:gd name="connsiteX19" fmla="*/ 5988 w 10000"/>
                <a:gd name="connsiteY19" fmla="*/ 142 h 10000"/>
                <a:gd name="connsiteX20" fmla="*/ 5873 w 10000"/>
                <a:gd name="connsiteY20" fmla="*/ 110 h 10000"/>
                <a:gd name="connsiteX21" fmla="*/ 5777 w 10000"/>
                <a:gd name="connsiteY21" fmla="*/ 0 h 10000"/>
                <a:gd name="connsiteX22" fmla="*/ 5675 w 10000"/>
                <a:gd name="connsiteY22" fmla="*/ 120 h 10000"/>
                <a:gd name="connsiteX23" fmla="*/ 5501 w 10000"/>
                <a:gd name="connsiteY23" fmla="*/ 110 h 10000"/>
                <a:gd name="connsiteX24" fmla="*/ 5352 w 10000"/>
                <a:gd name="connsiteY24" fmla="*/ 351 h 10000"/>
                <a:gd name="connsiteX25" fmla="*/ 5066 w 10000"/>
                <a:gd name="connsiteY25" fmla="*/ 329 h 10000"/>
                <a:gd name="connsiteX26" fmla="*/ 4996 w 10000"/>
                <a:gd name="connsiteY26" fmla="*/ 680 h 10000"/>
                <a:gd name="connsiteX27" fmla="*/ 4809 w 10000"/>
                <a:gd name="connsiteY27" fmla="*/ 707 h 10000"/>
                <a:gd name="connsiteX28" fmla="*/ 4905 w 10000"/>
                <a:gd name="connsiteY28" fmla="*/ 844 h 10000"/>
                <a:gd name="connsiteX29" fmla="*/ 4848 w 10000"/>
                <a:gd name="connsiteY29" fmla="*/ 899 h 10000"/>
                <a:gd name="connsiteX30" fmla="*/ 4718 w 10000"/>
                <a:gd name="connsiteY30" fmla="*/ 894 h 10000"/>
                <a:gd name="connsiteX31" fmla="*/ 4541 w 10000"/>
                <a:gd name="connsiteY31" fmla="*/ 1026 h 10000"/>
                <a:gd name="connsiteX32" fmla="*/ 4350 w 10000"/>
                <a:gd name="connsiteY32" fmla="*/ 1668 h 10000"/>
                <a:gd name="connsiteX33" fmla="*/ 4407 w 10000"/>
                <a:gd name="connsiteY33" fmla="*/ 2090 h 10000"/>
                <a:gd name="connsiteX34" fmla="*/ 4216 w 10000"/>
                <a:gd name="connsiteY34" fmla="*/ 1865 h 10000"/>
                <a:gd name="connsiteX35" fmla="*/ 3938 w 10000"/>
                <a:gd name="connsiteY35" fmla="*/ 1991 h 10000"/>
                <a:gd name="connsiteX36" fmla="*/ 3910 w 10000"/>
                <a:gd name="connsiteY36" fmla="*/ 1931 h 10000"/>
                <a:gd name="connsiteX37" fmla="*/ 3780 w 10000"/>
                <a:gd name="connsiteY37" fmla="*/ 2002 h 10000"/>
                <a:gd name="connsiteX38" fmla="*/ 3704 w 10000"/>
                <a:gd name="connsiteY38" fmla="*/ 2144 h 10000"/>
                <a:gd name="connsiteX39" fmla="*/ 3643 w 10000"/>
                <a:gd name="connsiteY39" fmla="*/ 1909 h 10000"/>
                <a:gd name="connsiteX40" fmla="*/ 3558 w 10000"/>
                <a:gd name="connsiteY40" fmla="*/ 1843 h 10000"/>
                <a:gd name="connsiteX41" fmla="*/ 3523 w 10000"/>
                <a:gd name="connsiteY41" fmla="*/ 1964 h 10000"/>
                <a:gd name="connsiteX42" fmla="*/ 3409 w 10000"/>
                <a:gd name="connsiteY42" fmla="*/ 1996 h 10000"/>
                <a:gd name="connsiteX43" fmla="*/ 3347 w 10000"/>
                <a:gd name="connsiteY43" fmla="*/ 2161 h 10000"/>
                <a:gd name="connsiteX44" fmla="*/ 3309 w 10000"/>
                <a:gd name="connsiteY44" fmla="*/ 2013 h 10000"/>
                <a:gd name="connsiteX45" fmla="*/ 3195 w 10000"/>
                <a:gd name="connsiteY45" fmla="*/ 2024 h 10000"/>
                <a:gd name="connsiteX46" fmla="*/ 3149 w 10000"/>
                <a:gd name="connsiteY46" fmla="*/ 2128 h 10000"/>
                <a:gd name="connsiteX47" fmla="*/ 3080 w 10000"/>
                <a:gd name="connsiteY47" fmla="*/ 1975 h 10000"/>
                <a:gd name="connsiteX48" fmla="*/ 2962 w 10000"/>
                <a:gd name="connsiteY48" fmla="*/ 2117 h 10000"/>
                <a:gd name="connsiteX49" fmla="*/ 2847 w 10000"/>
                <a:gd name="connsiteY49" fmla="*/ 2106 h 10000"/>
                <a:gd name="connsiteX50" fmla="*/ 2843 w 10000"/>
                <a:gd name="connsiteY50" fmla="*/ 2276 h 10000"/>
                <a:gd name="connsiteX51" fmla="*/ 2790 w 10000"/>
                <a:gd name="connsiteY51" fmla="*/ 2144 h 10000"/>
                <a:gd name="connsiteX52" fmla="*/ 2618 w 10000"/>
                <a:gd name="connsiteY52" fmla="*/ 2155 h 10000"/>
                <a:gd name="connsiteX53" fmla="*/ 2494 w 10000"/>
                <a:gd name="connsiteY53" fmla="*/ 1980 h 10000"/>
                <a:gd name="connsiteX54" fmla="*/ 2346 w 10000"/>
                <a:gd name="connsiteY54" fmla="*/ 2073 h 10000"/>
                <a:gd name="connsiteX55" fmla="*/ 2192 w 10000"/>
                <a:gd name="connsiteY55" fmla="*/ 1958 h 10000"/>
                <a:gd name="connsiteX56" fmla="*/ 2104 w 10000"/>
                <a:gd name="connsiteY56" fmla="*/ 2035 h 10000"/>
                <a:gd name="connsiteX57" fmla="*/ 2020 w 10000"/>
                <a:gd name="connsiteY57" fmla="*/ 1947 h 10000"/>
                <a:gd name="connsiteX58" fmla="*/ 1895 w 10000"/>
                <a:gd name="connsiteY58" fmla="*/ 1936 h 10000"/>
                <a:gd name="connsiteX59" fmla="*/ 1707 w 10000"/>
                <a:gd name="connsiteY59" fmla="*/ 1925 h 10000"/>
                <a:gd name="connsiteX60" fmla="*/ 1477 w 10000"/>
                <a:gd name="connsiteY60" fmla="*/ 1991 h 10000"/>
                <a:gd name="connsiteX61" fmla="*/ 1233 w 10000"/>
                <a:gd name="connsiteY61" fmla="*/ 2062 h 10000"/>
                <a:gd name="connsiteX62" fmla="*/ 942 w 10000"/>
                <a:gd name="connsiteY62" fmla="*/ 2166 h 10000"/>
                <a:gd name="connsiteX63" fmla="*/ 815 w 10000"/>
                <a:gd name="connsiteY63" fmla="*/ 2496 h 10000"/>
                <a:gd name="connsiteX64" fmla="*/ 617 w 10000"/>
                <a:gd name="connsiteY64" fmla="*/ 2501 h 10000"/>
                <a:gd name="connsiteX65" fmla="*/ 552 w 10000"/>
                <a:gd name="connsiteY65" fmla="*/ 2687 h 10000"/>
                <a:gd name="connsiteX66" fmla="*/ 571 w 10000"/>
                <a:gd name="connsiteY66" fmla="*/ 2764 h 10000"/>
                <a:gd name="connsiteX67" fmla="*/ 590 w 10000"/>
                <a:gd name="connsiteY67" fmla="*/ 2868 h 10000"/>
                <a:gd name="connsiteX68" fmla="*/ 590 w 10000"/>
                <a:gd name="connsiteY68" fmla="*/ 2868 h 10000"/>
                <a:gd name="connsiteX69" fmla="*/ 590 w 10000"/>
                <a:gd name="connsiteY69" fmla="*/ 2896 h 10000"/>
                <a:gd name="connsiteX70" fmla="*/ 698 w 10000"/>
                <a:gd name="connsiteY70" fmla="*/ 3116 h 10000"/>
                <a:gd name="connsiteX71" fmla="*/ 804 w 10000"/>
                <a:gd name="connsiteY71" fmla="*/ 3351 h 10000"/>
                <a:gd name="connsiteX72" fmla="*/ 942 w 10000"/>
                <a:gd name="connsiteY72" fmla="*/ 3488 h 10000"/>
                <a:gd name="connsiteX73" fmla="*/ 896 w 10000"/>
                <a:gd name="connsiteY73" fmla="*/ 3548 h 10000"/>
                <a:gd name="connsiteX74" fmla="*/ 824 w 10000"/>
                <a:gd name="connsiteY74" fmla="*/ 3603 h 10000"/>
                <a:gd name="connsiteX75" fmla="*/ 907 w 10000"/>
                <a:gd name="connsiteY75" fmla="*/ 3697 h 10000"/>
                <a:gd name="connsiteX76" fmla="*/ 896 w 10000"/>
                <a:gd name="connsiteY76" fmla="*/ 4053 h 10000"/>
                <a:gd name="connsiteX77" fmla="*/ 709 w 10000"/>
                <a:gd name="connsiteY77" fmla="*/ 4124 h 10000"/>
                <a:gd name="connsiteX78" fmla="*/ 509 w 10000"/>
                <a:gd name="connsiteY78" fmla="*/ 4531 h 10000"/>
                <a:gd name="connsiteX79" fmla="*/ 380 w 10000"/>
                <a:gd name="connsiteY79" fmla="*/ 4936 h 10000"/>
                <a:gd name="connsiteX80" fmla="*/ 199 w 10000"/>
                <a:gd name="connsiteY80" fmla="*/ 5260 h 10000"/>
                <a:gd name="connsiteX81" fmla="*/ 276 w 10000"/>
                <a:gd name="connsiteY81" fmla="*/ 5517 h 10000"/>
                <a:gd name="connsiteX82" fmla="*/ 283 w 10000"/>
                <a:gd name="connsiteY82" fmla="*/ 5732 h 10000"/>
                <a:gd name="connsiteX83" fmla="*/ 409 w 10000"/>
                <a:gd name="connsiteY83" fmla="*/ 5841 h 10000"/>
                <a:gd name="connsiteX84" fmla="*/ 391 w 10000"/>
                <a:gd name="connsiteY84" fmla="*/ 5945 h 10000"/>
                <a:gd name="connsiteX85" fmla="*/ 207 w 10000"/>
                <a:gd name="connsiteY85" fmla="*/ 5852 h 10000"/>
                <a:gd name="connsiteX86" fmla="*/ 127 w 10000"/>
                <a:gd name="connsiteY86" fmla="*/ 6099 h 10000"/>
                <a:gd name="connsiteX87" fmla="*/ 107 w 10000"/>
                <a:gd name="connsiteY87" fmla="*/ 6346 h 10000"/>
                <a:gd name="connsiteX88" fmla="*/ 1 w 10000"/>
                <a:gd name="connsiteY88" fmla="*/ 6571 h 10000"/>
                <a:gd name="connsiteX89" fmla="*/ 19 w 10000"/>
                <a:gd name="connsiteY89" fmla="*/ 6779 h 10000"/>
                <a:gd name="connsiteX90" fmla="*/ 92 w 10000"/>
                <a:gd name="connsiteY90" fmla="*/ 6828 h 10000"/>
                <a:gd name="connsiteX91" fmla="*/ 158 w 10000"/>
                <a:gd name="connsiteY91" fmla="*/ 6960 h 10000"/>
                <a:gd name="connsiteX92" fmla="*/ 246 w 10000"/>
                <a:gd name="connsiteY92" fmla="*/ 6943 h 10000"/>
                <a:gd name="connsiteX93" fmla="*/ 299 w 10000"/>
                <a:gd name="connsiteY93" fmla="*/ 7076 h 10000"/>
                <a:gd name="connsiteX94" fmla="*/ 455 w 10000"/>
                <a:gd name="connsiteY94" fmla="*/ 7103 h 10000"/>
                <a:gd name="connsiteX95" fmla="*/ 463 w 10000"/>
                <a:gd name="connsiteY95" fmla="*/ 7251 h 10000"/>
                <a:gd name="connsiteX96" fmla="*/ 505 w 10000"/>
                <a:gd name="connsiteY96" fmla="*/ 7278 h 10000"/>
                <a:gd name="connsiteX97" fmla="*/ 537 w 10000"/>
                <a:gd name="connsiteY97" fmla="*/ 7174 h 10000"/>
                <a:gd name="connsiteX98" fmla="*/ 594 w 10000"/>
                <a:gd name="connsiteY98" fmla="*/ 7196 h 10000"/>
                <a:gd name="connsiteX99" fmla="*/ 659 w 10000"/>
                <a:gd name="connsiteY99" fmla="*/ 6992 h 10000"/>
                <a:gd name="connsiteX100" fmla="*/ 839 w 10000"/>
                <a:gd name="connsiteY100" fmla="*/ 7174 h 10000"/>
                <a:gd name="connsiteX101" fmla="*/ 1313 w 10000"/>
                <a:gd name="connsiteY101" fmla="*/ 7163 h 10000"/>
                <a:gd name="connsiteX102" fmla="*/ 1500 w 10000"/>
                <a:gd name="connsiteY102" fmla="*/ 7092 h 10000"/>
                <a:gd name="connsiteX103" fmla="*/ 1807 w 10000"/>
                <a:gd name="connsiteY103" fmla="*/ 7344 h 10000"/>
                <a:gd name="connsiteX104" fmla="*/ 2001 w 10000"/>
                <a:gd name="connsiteY104" fmla="*/ 7087 h 10000"/>
                <a:gd name="connsiteX105" fmla="*/ 2437 w 10000"/>
                <a:gd name="connsiteY105" fmla="*/ 6861 h 10000"/>
                <a:gd name="connsiteX106" fmla="*/ 2594 w 10000"/>
                <a:gd name="connsiteY106" fmla="*/ 6489 h 10000"/>
                <a:gd name="connsiteX107" fmla="*/ 2709 w 10000"/>
                <a:gd name="connsiteY107" fmla="*/ 6439 h 10000"/>
                <a:gd name="connsiteX108" fmla="*/ 2709 w 10000"/>
                <a:gd name="connsiteY108" fmla="*/ 6379 h 10000"/>
                <a:gd name="connsiteX109" fmla="*/ 2755 w 10000"/>
                <a:gd name="connsiteY109" fmla="*/ 6379 h 10000"/>
                <a:gd name="connsiteX110" fmla="*/ 2744 w 10000"/>
                <a:gd name="connsiteY110" fmla="*/ 6230 h 10000"/>
                <a:gd name="connsiteX111" fmla="*/ 2885 w 10000"/>
                <a:gd name="connsiteY111" fmla="*/ 6285 h 10000"/>
                <a:gd name="connsiteX112" fmla="*/ 2904 w 10000"/>
                <a:gd name="connsiteY112" fmla="*/ 6159 h 10000"/>
                <a:gd name="connsiteX113" fmla="*/ 2988 w 10000"/>
                <a:gd name="connsiteY113" fmla="*/ 6230 h 10000"/>
                <a:gd name="connsiteX114" fmla="*/ 3050 w 10000"/>
                <a:gd name="connsiteY114" fmla="*/ 6126 h 10000"/>
                <a:gd name="connsiteX115" fmla="*/ 3149 w 10000"/>
                <a:gd name="connsiteY115" fmla="*/ 6154 h 10000"/>
                <a:gd name="connsiteX116" fmla="*/ 3237 w 10000"/>
                <a:gd name="connsiteY116" fmla="*/ 6055 h 10000"/>
                <a:gd name="connsiteX117" fmla="*/ 3405 w 10000"/>
                <a:gd name="connsiteY117" fmla="*/ 6192 h 10000"/>
                <a:gd name="connsiteX118" fmla="*/ 3490 w 10000"/>
                <a:gd name="connsiteY118" fmla="*/ 6197 h 10000"/>
                <a:gd name="connsiteX119" fmla="*/ 3516 w 10000"/>
                <a:gd name="connsiteY119" fmla="*/ 6307 h 10000"/>
                <a:gd name="connsiteX120" fmla="*/ 3674 w 10000"/>
                <a:gd name="connsiteY120" fmla="*/ 6236 h 10000"/>
                <a:gd name="connsiteX121" fmla="*/ 3658 w 10000"/>
                <a:gd name="connsiteY121" fmla="*/ 6357 h 10000"/>
                <a:gd name="connsiteX122" fmla="*/ 3716 w 10000"/>
                <a:gd name="connsiteY122" fmla="*/ 6341 h 10000"/>
                <a:gd name="connsiteX123" fmla="*/ 3784 w 10000"/>
                <a:gd name="connsiteY123" fmla="*/ 6428 h 10000"/>
                <a:gd name="connsiteX124" fmla="*/ 3788 w 10000"/>
                <a:gd name="connsiteY124" fmla="*/ 6301 h 10000"/>
                <a:gd name="connsiteX125" fmla="*/ 3971 w 10000"/>
                <a:gd name="connsiteY125" fmla="*/ 6341 h 10000"/>
                <a:gd name="connsiteX126" fmla="*/ 4037 w 10000"/>
                <a:gd name="connsiteY126" fmla="*/ 6511 h 10000"/>
                <a:gd name="connsiteX127" fmla="*/ 4140 w 10000"/>
                <a:gd name="connsiteY127" fmla="*/ 6494 h 10000"/>
                <a:gd name="connsiteX128" fmla="*/ 4185 w 10000"/>
                <a:gd name="connsiteY128" fmla="*/ 6417 h 10000"/>
                <a:gd name="connsiteX129" fmla="*/ 4288 w 10000"/>
                <a:gd name="connsiteY129" fmla="*/ 6735 h 10000"/>
                <a:gd name="connsiteX130" fmla="*/ 4251 w 10000"/>
                <a:gd name="connsiteY130" fmla="*/ 6987 h 10000"/>
                <a:gd name="connsiteX131" fmla="*/ 4304 w 10000"/>
                <a:gd name="connsiteY131" fmla="*/ 7114 h 10000"/>
                <a:gd name="connsiteX132" fmla="*/ 4376 w 10000"/>
                <a:gd name="connsiteY132" fmla="*/ 7119 h 10000"/>
                <a:gd name="connsiteX133" fmla="*/ 4488 w 10000"/>
                <a:gd name="connsiteY133" fmla="*/ 7256 h 10000"/>
                <a:gd name="connsiteX134" fmla="*/ 4533 w 10000"/>
                <a:gd name="connsiteY134" fmla="*/ 7152 h 10000"/>
                <a:gd name="connsiteX135" fmla="*/ 4583 w 10000"/>
                <a:gd name="connsiteY135" fmla="*/ 7322 h 10000"/>
                <a:gd name="connsiteX136" fmla="*/ 4646 w 10000"/>
                <a:gd name="connsiteY136" fmla="*/ 7662 h 10000"/>
                <a:gd name="connsiteX137" fmla="*/ 4829 w 10000"/>
                <a:gd name="connsiteY137" fmla="*/ 7739 h 10000"/>
                <a:gd name="connsiteX138" fmla="*/ 4871 w 10000"/>
                <a:gd name="connsiteY138" fmla="*/ 8183 h 10000"/>
                <a:gd name="connsiteX139" fmla="*/ 5027 w 10000"/>
                <a:gd name="connsiteY139" fmla="*/ 8276 h 10000"/>
                <a:gd name="connsiteX140" fmla="*/ 4866 w 10000"/>
                <a:gd name="connsiteY140" fmla="*/ 8370 h 10000"/>
                <a:gd name="connsiteX141" fmla="*/ 4813 w 10000"/>
                <a:gd name="connsiteY141" fmla="*/ 8260 h 10000"/>
                <a:gd name="connsiteX142" fmla="*/ 4752 w 10000"/>
                <a:gd name="connsiteY142" fmla="*/ 8403 h 10000"/>
                <a:gd name="connsiteX143" fmla="*/ 4594 w 10000"/>
                <a:gd name="connsiteY143" fmla="*/ 8287 h 10000"/>
                <a:gd name="connsiteX144" fmla="*/ 4506 w 10000"/>
                <a:gd name="connsiteY144" fmla="*/ 8452 h 10000"/>
                <a:gd name="connsiteX145" fmla="*/ 4323 w 10000"/>
                <a:gd name="connsiteY145" fmla="*/ 8331 h 10000"/>
                <a:gd name="connsiteX146" fmla="*/ 4411 w 10000"/>
                <a:gd name="connsiteY146" fmla="*/ 8699 h 10000"/>
                <a:gd name="connsiteX147" fmla="*/ 4403 w 10000"/>
                <a:gd name="connsiteY147" fmla="*/ 8967 h 10000"/>
                <a:gd name="connsiteX148" fmla="*/ 4285 w 10000"/>
                <a:gd name="connsiteY148" fmla="*/ 9088 h 10000"/>
                <a:gd name="connsiteX149" fmla="*/ 4323 w 10000"/>
                <a:gd name="connsiteY149" fmla="*/ 9193 h 10000"/>
                <a:gd name="connsiteX150" fmla="*/ 4159 w 10000"/>
                <a:gd name="connsiteY150" fmla="*/ 9412 h 10000"/>
                <a:gd name="connsiteX151" fmla="*/ 4224 w 10000"/>
                <a:gd name="connsiteY151" fmla="*/ 9647 h 10000"/>
                <a:gd name="connsiteX152" fmla="*/ 4063 w 10000"/>
                <a:gd name="connsiteY152" fmla="*/ 9681 h 10000"/>
                <a:gd name="connsiteX153" fmla="*/ 4021 w 10000"/>
                <a:gd name="connsiteY153" fmla="*/ 9741 h 10000"/>
                <a:gd name="connsiteX154" fmla="*/ 4090 w 10000"/>
                <a:gd name="connsiteY154" fmla="*/ 9785 h 10000"/>
                <a:gd name="connsiteX155" fmla="*/ 4213 w 10000"/>
                <a:gd name="connsiteY155" fmla="*/ 9944 h 10000"/>
                <a:gd name="connsiteX156" fmla="*/ 4411 w 10000"/>
                <a:gd name="connsiteY156" fmla="*/ 9999 h 10000"/>
                <a:gd name="connsiteX157" fmla="*/ 4418 w 10000"/>
                <a:gd name="connsiteY157" fmla="*/ 9851 h 10000"/>
                <a:gd name="connsiteX158" fmla="*/ 4488 w 10000"/>
                <a:gd name="connsiteY158" fmla="*/ 9856 h 10000"/>
                <a:gd name="connsiteX159" fmla="*/ 4783 w 10000"/>
                <a:gd name="connsiteY159" fmla="*/ 9603 h 10000"/>
                <a:gd name="connsiteX160" fmla="*/ 4978 w 10000"/>
                <a:gd name="connsiteY160" fmla="*/ 9845 h 10000"/>
                <a:gd name="connsiteX161" fmla="*/ 4978 w 10000"/>
                <a:gd name="connsiteY161" fmla="*/ 9862 h 10000"/>
                <a:gd name="connsiteX162" fmla="*/ 5009 w 10000"/>
                <a:gd name="connsiteY162" fmla="*/ 9703 h 10000"/>
                <a:gd name="connsiteX163" fmla="*/ 4954 w 10000"/>
                <a:gd name="connsiteY163" fmla="*/ 9570 h 10000"/>
                <a:gd name="connsiteX164" fmla="*/ 4886 w 10000"/>
                <a:gd name="connsiteY164" fmla="*/ 9549 h 10000"/>
                <a:gd name="connsiteX165" fmla="*/ 4932 w 10000"/>
                <a:gd name="connsiteY165" fmla="*/ 9466 h 10000"/>
                <a:gd name="connsiteX166" fmla="*/ 4917 w 10000"/>
                <a:gd name="connsiteY166" fmla="*/ 9444 h 10000"/>
                <a:gd name="connsiteX167" fmla="*/ 4859 w 10000"/>
                <a:gd name="connsiteY167" fmla="*/ 9439 h 10000"/>
                <a:gd name="connsiteX168" fmla="*/ 4829 w 10000"/>
                <a:gd name="connsiteY168" fmla="*/ 9121 h 10000"/>
                <a:gd name="connsiteX169" fmla="*/ 4871 w 10000"/>
                <a:gd name="connsiteY169" fmla="*/ 9105 h 10000"/>
                <a:gd name="connsiteX170" fmla="*/ 4893 w 10000"/>
                <a:gd name="connsiteY170" fmla="*/ 9253 h 10000"/>
                <a:gd name="connsiteX171" fmla="*/ 4947 w 10000"/>
                <a:gd name="connsiteY171" fmla="*/ 9384 h 10000"/>
                <a:gd name="connsiteX172" fmla="*/ 4993 w 10000"/>
                <a:gd name="connsiteY172" fmla="*/ 9302 h 10000"/>
                <a:gd name="connsiteX173" fmla="*/ 4981 w 10000"/>
                <a:gd name="connsiteY173" fmla="*/ 9220 h 10000"/>
                <a:gd name="connsiteX174" fmla="*/ 5054 w 10000"/>
                <a:gd name="connsiteY174" fmla="*/ 9203 h 10000"/>
                <a:gd name="connsiteX175" fmla="*/ 5016 w 10000"/>
                <a:gd name="connsiteY175" fmla="*/ 9034 h 10000"/>
                <a:gd name="connsiteX176" fmla="*/ 5115 w 10000"/>
                <a:gd name="connsiteY176" fmla="*/ 9061 h 10000"/>
                <a:gd name="connsiteX177" fmla="*/ 5119 w 10000"/>
                <a:gd name="connsiteY177" fmla="*/ 8972 h 10000"/>
                <a:gd name="connsiteX178" fmla="*/ 5157 w 10000"/>
                <a:gd name="connsiteY178" fmla="*/ 9039 h 10000"/>
                <a:gd name="connsiteX179" fmla="*/ 5326 w 10000"/>
                <a:gd name="connsiteY179" fmla="*/ 8781 h 10000"/>
                <a:gd name="connsiteX180" fmla="*/ 5230 w 10000"/>
                <a:gd name="connsiteY180" fmla="*/ 8584 h 10000"/>
                <a:gd name="connsiteX181" fmla="*/ 5051 w 10000"/>
                <a:gd name="connsiteY181" fmla="*/ 8425 h 10000"/>
                <a:gd name="connsiteX182" fmla="*/ 5153 w 10000"/>
                <a:gd name="connsiteY182" fmla="*/ 8370 h 10000"/>
                <a:gd name="connsiteX183" fmla="*/ 5302 w 10000"/>
                <a:gd name="connsiteY183" fmla="*/ 8633 h 10000"/>
                <a:gd name="connsiteX184" fmla="*/ 5414 w 10000"/>
                <a:gd name="connsiteY184" fmla="*/ 8199 h 10000"/>
                <a:gd name="connsiteX185" fmla="*/ 5421 w 10000"/>
                <a:gd name="connsiteY185" fmla="*/ 8030 h 10000"/>
                <a:gd name="connsiteX186" fmla="*/ 5608 w 10000"/>
                <a:gd name="connsiteY186" fmla="*/ 7942 h 10000"/>
                <a:gd name="connsiteX187" fmla="*/ 5678 w 10000"/>
                <a:gd name="connsiteY187" fmla="*/ 7607 h 10000"/>
                <a:gd name="connsiteX188" fmla="*/ 5689 w 10000"/>
                <a:gd name="connsiteY188" fmla="*/ 7734 h 10000"/>
                <a:gd name="connsiteX189" fmla="*/ 5808 w 10000"/>
                <a:gd name="connsiteY189" fmla="*/ 7596 h 10000"/>
                <a:gd name="connsiteX190" fmla="*/ 5892 w 10000"/>
                <a:gd name="connsiteY190" fmla="*/ 7579 h 10000"/>
                <a:gd name="connsiteX191" fmla="*/ 5976 w 10000"/>
                <a:gd name="connsiteY191" fmla="*/ 7207 h 10000"/>
                <a:gd name="connsiteX192" fmla="*/ 6052 w 10000"/>
                <a:gd name="connsiteY192" fmla="*/ 7486 h 10000"/>
                <a:gd name="connsiteX193" fmla="*/ 6278 w 10000"/>
                <a:gd name="connsiteY193" fmla="*/ 7563 h 10000"/>
                <a:gd name="connsiteX194" fmla="*/ 6106 w 10000"/>
                <a:gd name="connsiteY194" fmla="*/ 7618 h 10000"/>
                <a:gd name="connsiteX195" fmla="*/ 6091 w 10000"/>
                <a:gd name="connsiteY195" fmla="*/ 7679 h 10000"/>
                <a:gd name="connsiteX196" fmla="*/ 5919 w 10000"/>
                <a:gd name="connsiteY196" fmla="*/ 7690 h 10000"/>
                <a:gd name="connsiteX197" fmla="*/ 5831 w 10000"/>
                <a:gd name="connsiteY197" fmla="*/ 7723 h 10000"/>
                <a:gd name="connsiteX198" fmla="*/ 5900 w 10000"/>
                <a:gd name="connsiteY198" fmla="*/ 7772 h 10000"/>
                <a:gd name="connsiteX199" fmla="*/ 5961 w 10000"/>
                <a:gd name="connsiteY199" fmla="*/ 7756 h 10000"/>
                <a:gd name="connsiteX200" fmla="*/ 6129 w 10000"/>
                <a:gd name="connsiteY200" fmla="*/ 7789 h 10000"/>
                <a:gd name="connsiteX201" fmla="*/ 5938 w 10000"/>
                <a:gd name="connsiteY201" fmla="*/ 7964 h 10000"/>
                <a:gd name="connsiteX202" fmla="*/ 6007 w 10000"/>
                <a:gd name="connsiteY202" fmla="*/ 8008 h 10000"/>
                <a:gd name="connsiteX203" fmla="*/ 6182 w 10000"/>
                <a:gd name="connsiteY203" fmla="*/ 7958 h 10000"/>
                <a:gd name="connsiteX204" fmla="*/ 6419 w 10000"/>
                <a:gd name="connsiteY204" fmla="*/ 8101 h 10000"/>
                <a:gd name="connsiteX205" fmla="*/ 6726 w 10000"/>
                <a:gd name="connsiteY205" fmla="*/ 7909 h 10000"/>
                <a:gd name="connsiteX206" fmla="*/ 7028 w 10000"/>
                <a:gd name="connsiteY206" fmla="*/ 7887 h 10000"/>
                <a:gd name="connsiteX207" fmla="*/ 7074 w 10000"/>
                <a:gd name="connsiteY207" fmla="*/ 7745 h 10000"/>
                <a:gd name="connsiteX208" fmla="*/ 7154 w 10000"/>
                <a:gd name="connsiteY208" fmla="*/ 7958 h 10000"/>
                <a:gd name="connsiteX209" fmla="*/ 7238 w 10000"/>
                <a:gd name="connsiteY209" fmla="*/ 7986 h 10000"/>
                <a:gd name="connsiteX210" fmla="*/ 7207 w 10000"/>
                <a:gd name="connsiteY210" fmla="*/ 8134 h 10000"/>
                <a:gd name="connsiteX211" fmla="*/ 6944 w 10000"/>
                <a:gd name="connsiteY211" fmla="*/ 8281 h 10000"/>
                <a:gd name="connsiteX212" fmla="*/ 6925 w 10000"/>
                <a:gd name="connsiteY212" fmla="*/ 8386 h 10000"/>
                <a:gd name="connsiteX213" fmla="*/ 6780 w 10000"/>
                <a:gd name="connsiteY213" fmla="*/ 8523 h 10000"/>
                <a:gd name="connsiteX214" fmla="*/ 6775 w 10000"/>
                <a:gd name="connsiteY214" fmla="*/ 8649 h 10000"/>
                <a:gd name="connsiteX215" fmla="*/ 6687 w 10000"/>
                <a:gd name="connsiteY215" fmla="*/ 8704 h 10000"/>
                <a:gd name="connsiteX216" fmla="*/ 6576 w 10000"/>
                <a:gd name="connsiteY216" fmla="*/ 8989 h 10000"/>
                <a:gd name="connsiteX217" fmla="*/ 6734 w 10000"/>
                <a:gd name="connsiteY217" fmla="*/ 9001 h 10000"/>
                <a:gd name="connsiteX218" fmla="*/ 6826 w 10000"/>
                <a:gd name="connsiteY218" fmla="*/ 8879 h 10000"/>
                <a:gd name="connsiteX219" fmla="*/ 6925 w 10000"/>
                <a:gd name="connsiteY219" fmla="*/ 8912 h 10000"/>
                <a:gd name="connsiteX220" fmla="*/ 6971 w 10000"/>
                <a:gd name="connsiteY220" fmla="*/ 8786 h 10000"/>
                <a:gd name="connsiteX221" fmla="*/ 7035 w 10000"/>
                <a:gd name="connsiteY221" fmla="*/ 9001 h 10000"/>
                <a:gd name="connsiteX222" fmla="*/ 7223 w 10000"/>
                <a:gd name="connsiteY222" fmla="*/ 8994 h 10000"/>
                <a:gd name="connsiteX223" fmla="*/ 7383 w 10000"/>
                <a:gd name="connsiteY223" fmla="*/ 9362 h 10000"/>
                <a:gd name="connsiteX224" fmla="*/ 7398 w 10000"/>
                <a:gd name="connsiteY224" fmla="*/ 9675 h 10000"/>
                <a:gd name="connsiteX225" fmla="*/ 7341 w 10000"/>
                <a:gd name="connsiteY225" fmla="*/ 9692 h 10000"/>
                <a:gd name="connsiteX226" fmla="*/ 7352 w 10000"/>
                <a:gd name="connsiteY226" fmla="*/ 9780 h 10000"/>
                <a:gd name="connsiteX227" fmla="*/ 7594 w 10000"/>
                <a:gd name="connsiteY227" fmla="*/ 9900 h 10000"/>
                <a:gd name="connsiteX228" fmla="*/ 8294 w 10000"/>
                <a:gd name="connsiteY228" fmla="*/ 9023 h 10000"/>
                <a:gd name="connsiteX229" fmla="*/ 8370 w 10000"/>
                <a:gd name="connsiteY229" fmla="*/ 8841 h 10000"/>
                <a:gd name="connsiteX230" fmla="*/ 8458 w 10000"/>
                <a:gd name="connsiteY230" fmla="*/ 8786 h 10000"/>
                <a:gd name="connsiteX231" fmla="*/ 8512 w 10000"/>
                <a:gd name="connsiteY231" fmla="*/ 8512 h 10000"/>
                <a:gd name="connsiteX232" fmla="*/ 8739 w 10000"/>
                <a:gd name="connsiteY232" fmla="*/ 8617 h 10000"/>
                <a:gd name="connsiteX233" fmla="*/ 8872 w 10000"/>
                <a:gd name="connsiteY233" fmla="*/ 8474 h 10000"/>
                <a:gd name="connsiteX234" fmla="*/ 9059 w 10000"/>
                <a:gd name="connsiteY234" fmla="*/ 8343 h 10000"/>
                <a:gd name="connsiteX235" fmla="*/ 8983 w 10000"/>
                <a:gd name="connsiteY235" fmla="*/ 8128 h 10000"/>
                <a:gd name="connsiteX236" fmla="*/ 7885 w 10000"/>
                <a:gd name="connsiteY236" fmla="*/ 7991 h 10000"/>
                <a:gd name="connsiteX237" fmla="*/ 7859 w 10000"/>
                <a:gd name="connsiteY237" fmla="*/ 7904 h 10000"/>
                <a:gd name="connsiteX238" fmla="*/ 7782 w 10000"/>
                <a:gd name="connsiteY238" fmla="*/ 8002 h 10000"/>
                <a:gd name="connsiteX239" fmla="*/ 7893 w 10000"/>
                <a:gd name="connsiteY239" fmla="*/ 7761 h 10000"/>
                <a:gd name="connsiteX240" fmla="*/ 7851 w 10000"/>
                <a:gd name="connsiteY240" fmla="*/ 7717 h 10000"/>
                <a:gd name="connsiteX241" fmla="*/ 7728 w 10000"/>
                <a:gd name="connsiteY241" fmla="*/ 7915 h 10000"/>
                <a:gd name="connsiteX242" fmla="*/ 7793 w 10000"/>
                <a:gd name="connsiteY242" fmla="*/ 7712 h 10000"/>
                <a:gd name="connsiteX243" fmla="*/ 7705 w 10000"/>
                <a:gd name="connsiteY243" fmla="*/ 7767 h 10000"/>
                <a:gd name="connsiteX244" fmla="*/ 7590 w 10000"/>
                <a:gd name="connsiteY244" fmla="*/ 7717 h 10000"/>
                <a:gd name="connsiteX245" fmla="*/ 7502 w 10000"/>
                <a:gd name="connsiteY245" fmla="*/ 7794 h 10000"/>
                <a:gd name="connsiteX246" fmla="*/ 7407 w 10000"/>
                <a:gd name="connsiteY246" fmla="*/ 7728 h 10000"/>
                <a:gd name="connsiteX247" fmla="*/ 7250 w 10000"/>
                <a:gd name="connsiteY247" fmla="*/ 7717 h 10000"/>
                <a:gd name="connsiteX248" fmla="*/ 7253 w 10000"/>
                <a:gd name="connsiteY248" fmla="*/ 7547 h 10000"/>
                <a:gd name="connsiteX249" fmla="*/ 7395 w 10000"/>
                <a:gd name="connsiteY249" fmla="*/ 7662 h 10000"/>
                <a:gd name="connsiteX250" fmla="*/ 7440 w 10000"/>
                <a:gd name="connsiteY250" fmla="*/ 7541 h 10000"/>
                <a:gd name="connsiteX251" fmla="*/ 7403 w 10000"/>
                <a:gd name="connsiteY251" fmla="*/ 7410 h 10000"/>
                <a:gd name="connsiteX252" fmla="*/ 7510 w 10000"/>
                <a:gd name="connsiteY252" fmla="*/ 7547 h 10000"/>
                <a:gd name="connsiteX253" fmla="*/ 7655 w 10000"/>
                <a:gd name="connsiteY253" fmla="*/ 7536 h 10000"/>
                <a:gd name="connsiteX254" fmla="*/ 7679 w 10000"/>
                <a:gd name="connsiteY254" fmla="*/ 7685 h 10000"/>
                <a:gd name="connsiteX255" fmla="*/ 7721 w 10000"/>
                <a:gd name="connsiteY255" fmla="*/ 7685 h 10000"/>
                <a:gd name="connsiteX256" fmla="*/ 7732 w 10000"/>
                <a:gd name="connsiteY256" fmla="*/ 7415 h 10000"/>
                <a:gd name="connsiteX257" fmla="*/ 7782 w 10000"/>
                <a:gd name="connsiteY257" fmla="*/ 7585 h 10000"/>
                <a:gd name="connsiteX258" fmla="*/ 7870 w 10000"/>
                <a:gd name="connsiteY258" fmla="*/ 7590 h 10000"/>
                <a:gd name="connsiteX259" fmla="*/ 7805 w 10000"/>
                <a:gd name="connsiteY259" fmla="*/ 7333 h 10000"/>
                <a:gd name="connsiteX260" fmla="*/ 7965 w 10000"/>
                <a:gd name="connsiteY260" fmla="*/ 7240 h 10000"/>
                <a:gd name="connsiteX261" fmla="*/ 7958 w 10000"/>
                <a:gd name="connsiteY261" fmla="*/ 6987 h 10000"/>
                <a:gd name="connsiteX262" fmla="*/ 8069 w 10000"/>
                <a:gd name="connsiteY262" fmla="*/ 7081 h 10000"/>
                <a:gd name="connsiteX263" fmla="*/ 8088 w 10000"/>
                <a:gd name="connsiteY263" fmla="*/ 7015 h 10000"/>
                <a:gd name="connsiteX264" fmla="*/ 7954 w 10000"/>
                <a:gd name="connsiteY264" fmla="*/ 6735 h 10000"/>
                <a:gd name="connsiteX265" fmla="*/ 8133 w 10000"/>
                <a:gd name="connsiteY265" fmla="*/ 6894 h 10000"/>
                <a:gd name="connsiteX266" fmla="*/ 8359 w 10000"/>
                <a:gd name="connsiteY266" fmla="*/ 6511 h 10000"/>
                <a:gd name="connsiteX267" fmla="*/ 8577 w 10000"/>
                <a:gd name="connsiteY267" fmla="*/ 6483 h 10000"/>
                <a:gd name="connsiteX268" fmla="*/ 8623 w 10000"/>
                <a:gd name="connsiteY268"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6538 w 10000"/>
                <a:gd name="connsiteY9" fmla="*/ 1311 h 10000"/>
                <a:gd name="connsiteX10" fmla="*/ 6454 w 10000"/>
                <a:gd name="connsiteY10" fmla="*/ 1223 h 10000"/>
                <a:gd name="connsiteX11" fmla="*/ 6267 w 10000"/>
                <a:gd name="connsiteY11" fmla="*/ 1273 h 10000"/>
                <a:gd name="connsiteX12" fmla="*/ 6285 w 10000"/>
                <a:gd name="connsiteY12" fmla="*/ 1125 h 10000"/>
                <a:gd name="connsiteX13" fmla="*/ 6213 w 10000"/>
                <a:gd name="connsiteY13" fmla="*/ 1119 h 10000"/>
                <a:gd name="connsiteX14" fmla="*/ 6179 w 10000"/>
                <a:gd name="connsiteY14" fmla="*/ 910 h 10000"/>
                <a:gd name="connsiteX15" fmla="*/ 6079 w 10000"/>
                <a:gd name="connsiteY15" fmla="*/ 795 h 10000"/>
                <a:gd name="connsiteX16" fmla="*/ 6285 w 10000"/>
                <a:gd name="connsiteY16" fmla="*/ 620 h 10000"/>
                <a:gd name="connsiteX17" fmla="*/ 6037 w 10000"/>
                <a:gd name="connsiteY17" fmla="*/ 395 h 10000"/>
                <a:gd name="connsiteX18" fmla="*/ 5988 w 10000"/>
                <a:gd name="connsiteY18" fmla="*/ 142 h 10000"/>
                <a:gd name="connsiteX19" fmla="*/ 5873 w 10000"/>
                <a:gd name="connsiteY19" fmla="*/ 110 h 10000"/>
                <a:gd name="connsiteX20" fmla="*/ 5777 w 10000"/>
                <a:gd name="connsiteY20" fmla="*/ 0 h 10000"/>
                <a:gd name="connsiteX21" fmla="*/ 5675 w 10000"/>
                <a:gd name="connsiteY21" fmla="*/ 120 h 10000"/>
                <a:gd name="connsiteX22" fmla="*/ 5501 w 10000"/>
                <a:gd name="connsiteY22" fmla="*/ 110 h 10000"/>
                <a:gd name="connsiteX23" fmla="*/ 5352 w 10000"/>
                <a:gd name="connsiteY23" fmla="*/ 351 h 10000"/>
                <a:gd name="connsiteX24" fmla="*/ 5066 w 10000"/>
                <a:gd name="connsiteY24" fmla="*/ 329 h 10000"/>
                <a:gd name="connsiteX25" fmla="*/ 4996 w 10000"/>
                <a:gd name="connsiteY25" fmla="*/ 680 h 10000"/>
                <a:gd name="connsiteX26" fmla="*/ 4809 w 10000"/>
                <a:gd name="connsiteY26" fmla="*/ 707 h 10000"/>
                <a:gd name="connsiteX27" fmla="*/ 4905 w 10000"/>
                <a:gd name="connsiteY27" fmla="*/ 844 h 10000"/>
                <a:gd name="connsiteX28" fmla="*/ 4848 w 10000"/>
                <a:gd name="connsiteY28" fmla="*/ 899 h 10000"/>
                <a:gd name="connsiteX29" fmla="*/ 4718 w 10000"/>
                <a:gd name="connsiteY29" fmla="*/ 894 h 10000"/>
                <a:gd name="connsiteX30" fmla="*/ 4541 w 10000"/>
                <a:gd name="connsiteY30" fmla="*/ 1026 h 10000"/>
                <a:gd name="connsiteX31" fmla="*/ 4350 w 10000"/>
                <a:gd name="connsiteY31" fmla="*/ 1668 h 10000"/>
                <a:gd name="connsiteX32" fmla="*/ 4407 w 10000"/>
                <a:gd name="connsiteY32" fmla="*/ 2090 h 10000"/>
                <a:gd name="connsiteX33" fmla="*/ 4216 w 10000"/>
                <a:gd name="connsiteY33" fmla="*/ 1865 h 10000"/>
                <a:gd name="connsiteX34" fmla="*/ 3938 w 10000"/>
                <a:gd name="connsiteY34" fmla="*/ 1991 h 10000"/>
                <a:gd name="connsiteX35" fmla="*/ 3910 w 10000"/>
                <a:gd name="connsiteY35" fmla="*/ 1931 h 10000"/>
                <a:gd name="connsiteX36" fmla="*/ 3780 w 10000"/>
                <a:gd name="connsiteY36" fmla="*/ 2002 h 10000"/>
                <a:gd name="connsiteX37" fmla="*/ 3704 w 10000"/>
                <a:gd name="connsiteY37" fmla="*/ 2144 h 10000"/>
                <a:gd name="connsiteX38" fmla="*/ 3643 w 10000"/>
                <a:gd name="connsiteY38" fmla="*/ 1909 h 10000"/>
                <a:gd name="connsiteX39" fmla="*/ 3558 w 10000"/>
                <a:gd name="connsiteY39" fmla="*/ 1843 h 10000"/>
                <a:gd name="connsiteX40" fmla="*/ 3523 w 10000"/>
                <a:gd name="connsiteY40" fmla="*/ 1964 h 10000"/>
                <a:gd name="connsiteX41" fmla="*/ 3409 w 10000"/>
                <a:gd name="connsiteY41" fmla="*/ 1996 h 10000"/>
                <a:gd name="connsiteX42" fmla="*/ 3347 w 10000"/>
                <a:gd name="connsiteY42" fmla="*/ 2161 h 10000"/>
                <a:gd name="connsiteX43" fmla="*/ 3309 w 10000"/>
                <a:gd name="connsiteY43" fmla="*/ 2013 h 10000"/>
                <a:gd name="connsiteX44" fmla="*/ 3195 w 10000"/>
                <a:gd name="connsiteY44" fmla="*/ 2024 h 10000"/>
                <a:gd name="connsiteX45" fmla="*/ 3149 w 10000"/>
                <a:gd name="connsiteY45" fmla="*/ 2128 h 10000"/>
                <a:gd name="connsiteX46" fmla="*/ 3080 w 10000"/>
                <a:gd name="connsiteY46" fmla="*/ 1975 h 10000"/>
                <a:gd name="connsiteX47" fmla="*/ 2962 w 10000"/>
                <a:gd name="connsiteY47" fmla="*/ 2117 h 10000"/>
                <a:gd name="connsiteX48" fmla="*/ 2847 w 10000"/>
                <a:gd name="connsiteY48" fmla="*/ 2106 h 10000"/>
                <a:gd name="connsiteX49" fmla="*/ 2843 w 10000"/>
                <a:gd name="connsiteY49" fmla="*/ 2276 h 10000"/>
                <a:gd name="connsiteX50" fmla="*/ 2790 w 10000"/>
                <a:gd name="connsiteY50" fmla="*/ 2144 h 10000"/>
                <a:gd name="connsiteX51" fmla="*/ 2618 w 10000"/>
                <a:gd name="connsiteY51" fmla="*/ 2155 h 10000"/>
                <a:gd name="connsiteX52" fmla="*/ 2494 w 10000"/>
                <a:gd name="connsiteY52" fmla="*/ 1980 h 10000"/>
                <a:gd name="connsiteX53" fmla="*/ 2346 w 10000"/>
                <a:gd name="connsiteY53" fmla="*/ 2073 h 10000"/>
                <a:gd name="connsiteX54" fmla="*/ 2192 w 10000"/>
                <a:gd name="connsiteY54" fmla="*/ 1958 h 10000"/>
                <a:gd name="connsiteX55" fmla="*/ 2104 w 10000"/>
                <a:gd name="connsiteY55" fmla="*/ 2035 h 10000"/>
                <a:gd name="connsiteX56" fmla="*/ 2020 w 10000"/>
                <a:gd name="connsiteY56" fmla="*/ 1947 h 10000"/>
                <a:gd name="connsiteX57" fmla="*/ 1895 w 10000"/>
                <a:gd name="connsiteY57" fmla="*/ 1936 h 10000"/>
                <a:gd name="connsiteX58" fmla="*/ 1707 w 10000"/>
                <a:gd name="connsiteY58" fmla="*/ 1925 h 10000"/>
                <a:gd name="connsiteX59" fmla="*/ 1477 w 10000"/>
                <a:gd name="connsiteY59" fmla="*/ 1991 h 10000"/>
                <a:gd name="connsiteX60" fmla="*/ 1233 w 10000"/>
                <a:gd name="connsiteY60" fmla="*/ 2062 h 10000"/>
                <a:gd name="connsiteX61" fmla="*/ 942 w 10000"/>
                <a:gd name="connsiteY61" fmla="*/ 2166 h 10000"/>
                <a:gd name="connsiteX62" fmla="*/ 815 w 10000"/>
                <a:gd name="connsiteY62" fmla="*/ 2496 h 10000"/>
                <a:gd name="connsiteX63" fmla="*/ 617 w 10000"/>
                <a:gd name="connsiteY63" fmla="*/ 2501 h 10000"/>
                <a:gd name="connsiteX64" fmla="*/ 552 w 10000"/>
                <a:gd name="connsiteY64" fmla="*/ 2687 h 10000"/>
                <a:gd name="connsiteX65" fmla="*/ 571 w 10000"/>
                <a:gd name="connsiteY65" fmla="*/ 2764 h 10000"/>
                <a:gd name="connsiteX66" fmla="*/ 590 w 10000"/>
                <a:gd name="connsiteY66" fmla="*/ 2868 h 10000"/>
                <a:gd name="connsiteX67" fmla="*/ 590 w 10000"/>
                <a:gd name="connsiteY67" fmla="*/ 2868 h 10000"/>
                <a:gd name="connsiteX68" fmla="*/ 590 w 10000"/>
                <a:gd name="connsiteY68" fmla="*/ 2896 h 10000"/>
                <a:gd name="connsiteX69" fmla="*/ 698 w 10000"/>
                <a:gd name="connsiteY69" fmla="*/ 3116 h 10000"/>
                <a:gd name="connsiteX70" fmla="*/ 804 w 10000"/>
                <a:gd name="connsiteY70" fmla="*/ 3351 h 10000"/>
                <a:gd name="connsiteX71" fmla="*/ 942 w 10000"/>
                <a:gd name="connsiteY71" fmla="*/ 3488 h 10000"/>
                <a:gd name="connsiteX72" fmla="*/ 896 w 10000"/>
                <a:gd name="connsiteY72" fmla="*/ 3548 h 10000"/>
                <a:gd name="connsiteX73" fmla="*/ 824 w 10000"/>
                <a:gd name="connsiteY73" fmla="*/ 3603 h 10000"/>
                <a:gd name="connsiteX74" fmla="*/ 907 w 10000"/>
                <a:gd name="connsiteY74" fmla="*/ 3697 h 10000"/>
                <a:gd name="connsiteX75" fmla="*/ 896 w 10000"/>
                <a:gd name="connsiteY75" fmla="*/ 4053 h 10000"/>
                <a:gd name="connsiteX76" fmla="*/ 709 w 10000"/>
                <a:gd name="connsiteY76" fmla="*/ 4124 h 10000"/>
                <a:gd name="connsiteX77" fmla="*/ 509 w 10000"/>
                <a:gd name="connsiteY77" fmla="*/ 4531 h 10000"/>
                <a:gd name="connsiteX78" fmla="*/ 380 w 10000"/>
                <a:gd name="connsiteY78" fmla="*/ 4936 h 10000"/>
                <a:gd name="connsiteX79" fmla="*/ 199 w 10000"/>
                <a:gd name="connsiteY79" fmla="*/ 5260 h 10000"/>
                <a:gd name="connsiteX80" fmla="*/ 276 w 10000"/>
                <a:gd name="connsiteY80" fmla="*/ 5517 h 10000"/>
                <a:gd name="connsiteX81" fmla="*/ 283 w 10000"/>
                <a:gd name="connsiteY81" fmla="*/ 5732 h 10000"/>
                <a:gd name="connsiteX82" fmla="*/ 409 w 10000"/>
                <a:gd name="connsiteY82" fmla="*/ 5841 h 10000"/>
                <a:gd name="connsiteX83" fmla="*/ 391 w 10000"/>
                <a:gd name="connsiteY83" fmla="*/ 5945 h 10000"/>
                <a:gd name="connsiteX84" fmla="*/ 207 w 10000"/>
                <a:gd name="connsiteY84" fmla="*/ 5852 h 10000"/>
                <a:gd name="connsiteX85" fmla="*/ 127 w 10000"/>
                <a:gd name="connsiteY85" fmla="*/ 6099 h 10000"/>
                <a:gd name="connsiteX86" fmla="*/ 107 w 10000"/>
                <a:gd name="connsiteY86" fmla="*/ 6346 h 10000"/>
                <a:gd name="connsiteX87" fmla="*/ 1 w 10000"/>
                <a:gd name="connsiteY87" fmla="*/ 6571 h 10000"/>
                <a:gd name="connsiteX88" fmla="*/ 19 w 10000"/>
                <a:gd name="connsiteY88" fmla="*/ 6779 h 10000"/>
                <a:gd name="connsiteX89" fmla="*/ 92 w 10000"/>
                <a:gd name="connsiteY89" fmla="*/ 6828 h 10000"/>
                <a:gd name="connsiteX90" fmla="*/ 158 w 10000"/>
                <a:gd name="connsiteY90" fmla="*/ 6960 h 10000"/>
                <a:gd name="connsiteX91" fmla="*/ 246 w 10000"/>
                <a:gd name="connsiteY91" fmla="*/ 6943 h 10000"/>
                <a:gd name="connsiteX92" fmla="*/ 299 w 10000"/>
                <a:gd name="connsiteY92" fmla="*/ 7076 h 10000"/>
                <a:gd name="connsiteX93" fmla="*/ 455 w 10000"/>
                <a:gd name="connsiteY93" fmla="*/ 7103 h 10000"/>
                <a:gd name="connsiteX94" fmla="*/ 463 w 10000"/>
                <a:gd name="connsiteY94" fmla="*/ 7251 h 10000"/>
                <a:gd name="connsiteX95" fmla="*/ 505 w 10000"/>
                <a:gd name="connsiteY95" fmla="*/ 7278 h 10000"/>
                <a:gd name="connsiteX96" fmla="*/ 537 w 10000"/>
                <a:gd name="connsiteY96" fmla="*/ 7174 h 10000"/>
                <a:gd name="connsiteX97" fmla="*/ 594 w 10000"/>
                <a:gd name="connsiteY97" fmla="*/ 7196 h 10000"/>
                <a:gd name="connsiteX98" fmla="*/ 659 w 10000"/>
                <a:gd name="connsiteY98" fmla="*/ 6992 h 10000"/>
                <a:gd name="connsiteX99" fmla="*/ 839 w 10000"/>
                <a:gd name="connsiteY99" fmla="*/ 7174 h 10000"/>
                <a:gd name="connsiteX100" fmla="*/ 1313 w 10000"/>
                <a:gd name="connsiteY100" fmla="*/ 7163 h 10000"/>
                <a:gd name="connsiteX101" fmla="*/ 1500 w 10000"/>
                <a:gd name="connsiteY101" fmla="*/ 7092 h 10000"/>
                <a:gd name="connsiteX102" fmla="*/ 1807 w 10000"/>
                <a:gd name="connsiteY102" fmla="*/ 7344 h 10000"/>
                <a:gd name="connsiteX103" fmla="*/ 2001 w 10000"/>
                <a:gd name="connsiteY103" fmla="*/ 7087 h 10000"/>
                <a:gd name="connsiteX104" fmla="*/ 2437 w 10000"/>
                <a:gd name="connsiteY104" fmla="*/ 6861 h 10000"/>
                <a:gd name="connsiteX105" fmla="*/ 2594 w 10000"/>
                <a:gd name="connsiteY105" fmla="*/ 6489 h 10000"/>
                <a:gd name="connsiteX106" fmla="*/ 2709 w 10000"/>
                <a:gd name="connsiteY106" fmla="*/ 6439 h 10000"/>
                <a:gd name="connsiteX107" fmla="*/ 2709 w 10000"/>
                <a:gd name="connsiteY107" fmla="*/ 6379 h 10000"/>
                <a:gd name="connsiteX108" fmla="*/ 2755 w 10000"/>
                <a:gd name="connsiteY108" fmla="*/ 6379 h 10000"/>
                <a:gd name="connsiteX109" fmla="*/ 2744 w 10000"/>
                <a:gd name="connsiteY109" fmla="*/ 6230 h 10000"/>
                <a:gd name="connsiteX110" fmla="*/ 2885 w 10000"/>
                <a:gd name="connsiteY110" fmla="*/ 6285 h 10000"/>
                <a:gd name="connsiteX111" fmla="*/ 2904 w 10000"/>
                <a:gd name="connsiteY111" fmla="*/ 6159 h 10000"/>
                <a:gd name="connsiteX112" fmla="*/ 2988 w 10000"/>
                <a:gd name="connsiteY112" fmla="*/ 6230 h 10000"/>
                <a:gd name="connsiteX113" fmla="*/ 3050 w 10000"/>
                <a:gd name="connsiteY113" fmla="*/ 6126 h 10000"/>
                <a:gd name="connsiteX114" fmla="*/ 3149 w 10000"/>
                <a:gd name="connsiteY114" fmla="*/ 6154 h 10000"/>
                <a:gd name="connsiteX115" fmla="*/ 3237 w 10000"/>
                <a:gd name="connsiteY115" fmla="*/ 6055 h 10000"/>
                <a:gd name="connsiteX116" fmla="*/ 3405 w 10000"/>
                <a:gd name="connsiteY116" fmla="*/ 6192 h 10000"/>
                <a:gd name="connsiteX117" fmla="*/ 3490 w 10000"/>
                <a:gd name="connsiteY117" fmla="*/ 6197 h 10000"/>
                <a:gd name="connsiteX118" fmla="*/ 3516 w 10000"/>
                <a:gd name="connsiteY118" fmla="*/ 6307 h 10000"/>
                <a:gd name="connsiteX119" fmla="*/ 3674 w 10000"/>
                <a:gd name="connsiteY119" fmla="*/ 6236 h 10000"/>
                <a:gd name="connsiteX120" fmla="*/ 3658 w 10000"/>
                <a:gd name="connsiteY120" fmla="*/ 6357 h 10000"/>
                <a:gd name="connsiteX121" fmla="*/ 3716 w 10000"/>
                <a:gd name="connsiteY121" fmla="*/ 6341 h 10000"/>
                <a:gd name="connsiteX122" fmla="*/ 3784 w 10000"/>
                <a:gd name="connsiteY122" fmla="*/ 6428 h 10000"/>
                <a:gd name="connsiteX123" fmla="*/ 3788 w 10000"/>
                <a:gd name="connsiteY123" fmla="*/ 6301 h 10000"/>
                <a:gd name="connsiteX124" fmla="*/ 3971 w 10000"/>
                <a:gd name="connsiteY124" fmla="*/ 6341 h 10000"/>
                <a:gd name="connsiteX125" fmla="*/ 4037 w 10000"/>
                <a:gd name="connsiteY125" fmla="*/ 6511 h 10000"/>
                <a:gd name="connsiteX126" fmla="*/ 4140 w 10000"/>
                <a:gd name="connsiteY126" fmla="*/ 6494 h 10000"/>
                <a:gd name="connsiteX127" fmla="*/ 4185 w 10000"/>
                <a:gd name="connsiteY127" fmla="*/ 6417 h 10000"/>
                <a:gd name="connsiteX128" fmla="*/ 4288 w 10000"/>
                <a:gd name="connsiteY128" fmla="*/ 6735 h 10000"/>
                <a:gd name="connsiteX129" fmla="*/ 4251 w 10000"/>
                <a:gd name="connsiteY129" fmla="*/ 6987 h 10000"/>
                <a:gd name="connsiteX130" fmla="*/ 4304 w 10000"/>
                <a:gd name="connsiteY130" fmla="*/ 7114 h 10000"/>
                <a:gd name="connsiteX131" fmla="*/ 4376 w 10000"/>
                <a:gd name="connsiteY131" fmla="*/ 7119 h 10000"/>
                <a:gd name="connsiteX132" fmla="*/ 4488 w 10000"/>
                <a:gd name="connsiteY132" fmla="*/ 7256 h 10000"/>
                <a:gd name="connsiteX133" fmla="*/ 4533 w 10000"/>
                <a:gd name="connsiteY133" fmla="*/ 7152 h 10000"/>
                <a:gd name="connsiteX134" fmla="*/ 4583 w 10000"/>
                <a:gd name="connsiteY134" fmla="*/ 7322 h 10000"/>
                <a:gd name="connsiteX135" fmla="*/ 4646 w 10000"/>
                <a:gd name="connsiteY135" fmla="*/ 7662 h 10000"/>
                <a:gd name="connsiteX136" fmla="*/ 4829 w 10000"/>
                <a:gd name="connsiteY136" fmla="*/ 7739 h 10000"/>
                <a:gd name="connsiteX137" fmla="*/ 4871 w 10000"/>
                <a:gd name="connsiteY137" fmla="*/ 8183 h 10000"/>
                <a:gd name="connsiteX138" fmla="*/ 5027 w 10000"/>
                <a:gd name="connsiteY138" fmla="*/ 8276 h 10000"/>
                <a:gd name="connsiteX139" fmla="*/ 4866 w 10000"/>
                <a:gd name="connsiteY139" fmla="*/ 8370 h 10000"/>
                <a:gd name="connsiteX140" fmla="*/ 4813 w 10000"/>
                <a:gd name="connsiteY140" fmla="*/ 8260 h 10000"/>
                <a:gd name="connsiteX141" fmla="*/ 4752 w 10000"/>
                <a:gd name="connsiteY141" fmla="*/ 8403 h 10000"/>
                <a:gd name="connsiteX142" fmla="*/ 4594 w 10000"/>
                <a:gd name="connsiteY142" fmla="*/ 8287 h 10000"/>
                <a:gd name="connsiteX143" fmla="*/ 4506 w 10000"/>
                <a:gd name="connsiteY143" fmla="*/ 8452 h 10000"/>
                <a:gd name="connsiteX144" fmla="*/ 4323 w 10000"/>
                <a:gd name="connsiteY144" fmla="*/ 8331 h 10000"/>
                <a:gd name="connsiteX145" fmla="*/ 4411 w 10000"/>
                <a:gd name="connsiteY145" fmla="*/ 8699 h 10000"/>
                <a:gd name="connsiteX146" fmla="*/ 4403 w 10000"/>
                <a:gd name="connsiteY146" fmla="*/ 8967 h 10000"/>
                <a:gd name="connsiteX147" fmla="*/ 4285 w 10000"/>
                <a:gd name="connsiteY147" fmla="*/ 9088 h 10000"/>
                <a:gd name="connsiteX148" fmla="*/ 4323 w 10000"/>
                <a:gd name="connsiteY148" fmla="*/ 9193 h 10000"/>
                <a:gd name="connsiteX149" fmla="*/ 4159 w 10000"/>
                <a:gd name="connsiteY149" fmla="*/ 9412 h 10000"/>
                <a:gd name="connsiteX150" fmla="*/ 4224 w 10000"/>
                <a:gd name="connsiteY150" fmla="*/ 9647 h 10000"/>
                <a:gd name="connsiteX151" fmla="*/ 4063 w 10000"/>
                <a:gd name="connsiteY151" fmla="*/ 9681 h 10000"/>
                <a:gd name="connsiteX152" fmla="*/ 4021 w 10000"/>
                <a:gd name="connsiteY152" fmla="*/ 9741 h 10000"/>
                <a:gd name="connsiteX153" fmla="*/ 4090 w 10000"/>
                <a:gd name="connsiteY153" fmla="*/ 9785 h 10000"/>
                <a:gd name="connsiteX154" fmla="*/ 4213 w 10000"/>
                <a:gd name="connsiteY154" fmla="*/ 9944 h 10000"/>
                <a:gd name="connsiteX155" fmla="*/ 4411 w 10000"/>
                <a:gd name="connsiteY155" fmla="*/ 9999 h 10000"/>
                <a:gd name="connsiteX156" fmla="*/ 4418 w 10000"/>
                <a:gd name="connsiteY156" fmla="*/ 9851 h 10000"/>
                <a:gd name="connsiteX157" fmla="*/ 4488 w 10000"/>
                <a:gd name="connsiteY157" fmla="*/ 9856 h 10000"/>
                <a:gd name="connsiteX158" fmla="*/ 4783 w 10000"/>
                <a:gd name="connsiteY158" fmla="*/ 9603 h 10000"/>
                <a:gd name="connsiteX159" fmla="*/ 4978 w 10000"/>
                <a:gd name="connsiteY159" fmla="*/ 9845 h 10000"/>
                <a:gd name="connsiteX160" fmla="*/ 4978 w 10000"/>
                <a:gd name="connsiteY160" fmla="*/ 9862 h 10000"/>
                <a:gd name="connsiteX161" fmla="*/ 5009 w 10000"/>
                <a:gd name="connsiteY161" fmla="*/ 9703 h 10000"/>
                <a:gd name="connsiteX162" fmla="*/ 4954 w 10000"/>
                <a:gd name="connsiteY162" fmla="*/ 9570 h 10000"/>
                <a:gd name="connsiteX163" fmla="*/ 4886 w 10000"/>
                <a:gd name="connsiteY163" fmla="*/ 9549 h 10000"/>
                <a:gd name="connsiteX164" fmla="*/ 4932 w 10000"/>
                <a:gd name="connsiteY164" fmla="*/ 9466 h 10000"/>
                <a:gd name="connsiteX165" fmla="*/ 4917 w 10000"/>
                <a:gd name="connsiteY165" fmla="*/ 9444 h 10000"/>
                <a:gd name="connsiteX166" fmla="*/ 4859 w 10000"/>
                <a:gd name="connsiteY166" fmla="*/ 9439 h 10000"/>
                <a:gd name="connsiteX167" fmla="*/ 4829 w 10000"/>
                <a:gd name="connsiteY167" fmla="*/ 9121 h 10000"/>
                <a:gd name="connsiteX168" fmla="*/ 4871 w 10000"/>
                <a:gd name="connsiteY168" fmla="*/ 9105 h 10000"/>
                <a:gd name="connsiteX169" fmla="*/ 4893 w 10000"/>
                <a:gd name="connsiteY169" fmla="*/ 9253 h 10000"/>
                <a:gd name="connsiteX170" fmla="*/ 4947 w 10000"/>
                <a:gd name="connsiteY170" fmla="*/ 9384 h 10000"/>
                <a:gd name="connsiteX171" fmla="*/ 4993 w 10000"/>
                <a:gd name="connsiteY171" fmla="*/ 9302 h 10000"/>
                <a:gd name="connsiteX172" fmla="*/ 4981 w 10000"/>
                <a:gd name="connsiteY172" fmla="*/ 9220 h 10000"/>
                <a:gd name="connsiteX173" fmla="*/ 5054 w 10000"/>
                <a:gd name="connsiteY173" fmla="*/ 9203 h 10000"/>
                <a:gd name="connsiteX174" fmla="*/ 5016 w 10000"/>
                <a:gd name="connsiteY174" fmla="*/ 9034 h 10000"/>
                <a:gd name="connsiteX175" fmla="*/ 5115 w 10000"/>
                <a:gd name="connsiteY175" fmla="*/ 9061 h 10000"/>
                <a:gd name="connsiteX176" fmla="*/ 5119 w 10000"/>
                <a:gd name="connsiteY176" fmla="*/ 8972 h 10000"/>
                <a:gd name="connsiteX177" fmla="*/ 5157 w 10000"/>
                <a:gd name="connsiteY177" fmla="*/ 9039 h 10000"/>
                <a:gd name="connsiteX178" fmla="*/ 5326 w 10000"/>
                <a:gd name="connsiteY178" fmla="*/ 8781 h 10000"/>
                <a:gd name="connsiteX179" fmla="*/ 5230 w 10000"/>
                <a:gd name="connsiteY179" fmla="*/ 8584 h 10000"/>
                <a:gd name="connsiteX180" fmla="*/ 5051 w 10000"/>
                <a:gd name="connsiteY180" fmla="*/ 8425 h 10000"/>
                <a:gd name="connsiteX181" fmla="*/ 5153 w 10000"/>
                <a:gd name="connsiteY181" fmla="*/ 8370 h 10000"/>
                <a:gd name="connsiteX182" fmla="*/ 5302 w 10000"/>
                <a:gd name="connsiteY182" fmla="*/ 8633 h 10000"/>
                <a:gd name="connsiteX183" fmla="*/ 5414 w 10000"/>
                <a:gd name="connsiteY183" fmla="*/ 8199 h 10000"/>
                <a:gd name="connsiteX184" fmla="*/ 5421 w 10000"/>
                <a:gd name="connsiteY184" fmla="*/ 8030 h 10000"/>
                <a:gd name="connsiteX185" fmla="*/ 5608 w 10000"/>
                <a:gd name="connsiteY185" fmla="*/ 7942 h 10000"/>
                <a:gd name="connsiteX186" fmla="*/ 5678 w 10000"/>
                <a:gd name="connsiteY186" fmla="*/ 7607 h 10000"/>
                <a:gd name="connsiteX187" fmla="*/ 5689 w 10000"/>
                <a:gd name="connsiteY187" fmla="*/ 7734 h 10000"/>
                <a:gd name="connsiteX188" fmla="*/ 5808 w 10000"/>
                <a:gd name="connsiteY188" fmla="*/ 7596 h 10000"/>
                <a:gd name="connsiteX189" fmla="*/ 5892 w 10000"/>
                <a:gd name="connsiteY189" fmla="*/ 7579 h 10000"/>
                <a:gd name="connsiteX190" fmla="*/ 5976 w 10000"/>
                <a:gd name="connsiteY190" fmla="*/ 7207 h 10000"/>
                <a:gd name="connsiteX191" fmla="*/ 6052 w 10000"/>
                <a:gd name="connsiteY191" fmla="*/ 7486 h 10000"/>
                <a:gd name="connsiteX192" fmla="*/ 6278 w 10000"/>
                <a:gd name="connsiteY192" fmla="*/ 7563 h 10000"/>
                <a:gd name="connsiteX193" fmla="*/ 6106 w 10000"/>
                <a:gd name="connsiteY193" fmla="*/ 7618 h 10000"/>
                <a:gd name="connsiteX194" fmla="*/ 6091 w 10000"/>
                <a:gd name="connsiteY194" fmla="*/ 7679 h 10000"/>
                <a:gd name="connsiteX195" fmla="*/ 5919 w 10000"/>
                <a:gd name="connsiteY195" fmla="*/ 7690 h 10000"/>
                <a:gd name="connsiteX196" fmla="*/ 5831 w 10000"/>
                <a:gd name="connsiteY196" fmla="*/ 7723 h 10000"/>
                <a:gd name="connsiteX197" fmla="*/ 5900 w 10000"/>
                <a:gd name="connsiteY197" fmla="*/ 7772 h 10000"/>
                <a:gd name="connsiteX198" fmla="*/ 5961 w 10000"/>
                <a:gd name="connsiteY198" fmla="*/ 7756 h 10000"/>
                <a:gd name="connsiteX199" fmla="*/ 6129 w 10000"/>
                <a:gd name="connsiteY199" fmla="*/ 7789 h 10000"/>
                <a:gd name="connsiteX200" fmla="*/ 5938 w 10000"/>
                <a:gd name="connsiteY200" fmla="*/ 7964 h 10000"/>
                <a:gd name="connsiteX201" fmla="*/ 6007 w 10000"/>
                <a:gd name="connsiteY201" fmla="*/ 8008 h 10000"/>
                <a:gd name="connsiteX202" fmla="*/ 6182 w 10000"/>
                <a:gd name="connsiteY202" fmla="*/ 7958 h 10000"/>
                <a:gd name="connsiteX203" fmla="*/ 6419 w 10000"/>
                <a:gd name="connsiteY203" fmla="*/ 8101 h 10000"/>
                <a:gd name="connsiteX204" fmla="*/ 6726 w 10000"/>
                <a:gd name="connsiteY204" fmla="*/ 7909 h 10000"/>
                <a:gd name="connsiteX205" fmla="*/ 7028 w 10000"/>
                <a:gd name="connsiteY205" fmla="*/ 7887 h 10000"/>
                <a:gd name="connsiteX206" fmla="*/ 7074 w 10000"/>
                <a:gd name="connsiteY206" fmla="*/ 7745 h 10000"/>
                <a:gd name="connsiteX207" fmla="*/ 7154 w 10000"/>
                <a:gd name="connsiteY207" fmla="*/ 7958 h 10000"/>
                <a:gd name="connsiteX208" fmla="*/ 7238 w 10000"/>
                <a:gd name="connsiteY208" fmla="*/ 7986 h 10000"/>
                <a:gd name="connsiteX209" fmla="*/ 7207 w 10000"/>
                <a:gd name="connsiteY209" fmla="*/ 8134 h 10000"/>
                <a:gd name="connsiteX210" fmla="*/ 6944 w 10000"/>
                <a:gd name="connsiteY210" fmla="*/ 8281 h 10000"/>
                <a:gd name="connsiteX211" fmla="*/ 6925 w 10000"/>
                <a:gd name="connsiteY211" fmla="*/ 8386 h 10000"/>
                <a:gd name="connsiteX212" fmla="*/ 6780 w 10000"/>
                <a:gd name="connsiteY212" fmla="*/ 8523 h 10000"/>
                <a:gd name="connsiteX213" fmla="*/ 6775 w 10000"/>
                <a:gd name="connsiteY213" fmla="*/ 8649 h 10000"/>
                <a:gd name="connsiteX214" fmla="*/ 6687 w 10000"/>
                <a:gd name="connsiteY214" fmla="*/ 8704 h 10000"/>
                <a:gd name="connsiteX215" fmla="*/ 6576 w 10000"/>
                <a:gd name="connsiteY215" fmla="*/ 8989 h 10000"/>
                <a:gd name="connsiteX216" fmla="*/ 6734 w 10000"/>
                <a:gd name="connsiteY216" fmla="*/ 9001 h 10000"/>
                <a:gd name="connsiteX217" fmla="*/ 6826 w 10000"/>
                <a:gd name="connsiteY217" fmla="*/ 8879 h 10000"/>
                <a:gd name="connsiteX218" fmla="*/ 6925 w 10000"/>
                <a:gd name="connsiteY218" fmla="*/ 8912 h 10000"/>
                <a:gd name="connsiteX219" fmla="*/ 6971 w 10000"/>
                <a:gd name="connsiteY219" fmla="*/ 8786 h 10000"/>
                <a:gd name="connsiteX220" fmla="*/ 7035 w 10000"/>
                <a:gd name="connsiteY220" fmla="*/ 9001 h 10000"/>
                <a:gd name="connsiteX221" fmla="*/ 7223 w 10000"/>
                <a:gd name="connsiteY221" fmla="*/ 8994 h 10000"/>
                <a:gd name="connsiteX222" fmla="*/ 7383 w 10000"/>
                <a:gd name="connsiteY222" fmla="*/ 9362 h 10000"/>
                <a:gd name="connsiteX223" fmla="*/ 7398 w 10000"/>
                <a:gd name="connsiteY223" fmla="*/ 9675 h 10000"/>
                <a:gd name="connsiteX224" fmla="*/ 7341 w 10000"/>
                <a:gd name="connsiteY224" fmla="*/ 9692 h 10000"/>
                <a:gd name="connsiteX225" fmla="*/ 7352 w 10000"/>
                <a:gd name="connsiteY225" fmla="*/ 9780 h 10000"/>
                <a:gd name="connsiteX226" fmla="*/ 7594 w 10000"/>
                <a:gd name="connsiteY226" fmla="*/ 9900 h 10000"/>
                <a:gd name="connsiteX227" fmla="*/ 8294 w 10000"/>
                <a:gd name="connsiteY227" fmla="*/ 9023 h 10000"/>
                <a:gd name="connsiteX228" fmla="*/ 8370 w 10000"/>
                <a:gd name="connsiteY228" fmla="*/ 8841 h 10000"/>
                <a:gd name="connsiteX229" fmla="*/ 8458 w 10000"/>
                <a:gd name="connsiteY229" fmla="*/ 8786 h 10000"/>
                <a:gd name="connsiteX230" fmla="*/ 8512 w 10000"/>
                <a:gd name="connsiteY230" fmla="*/ 8512 h 10000"/>
                <a:gd name="connsiteX231" fmla="*/ 8739 w 10000"/>
                <a:gd name="connsiteY231" fmla="*/ 8617 h 10000"/>
                <a:gd name="connsiteX232" fmla="*/ 8872 w 10000"/>
                <a:gd name="connsiteY232" fmla="*/ 8474 h 10000"/>
                <a:gd name="connsiteX233" fmla="*/ 9059 w 10000"/>
                <a:gd name="connsiteY233" fmla="*/ 8343 h 10000"/>
                <a:gd name="connsiteX234" fmla="*/ 8983 w 10000"/>
                <a:gd name="connsiteY234" fmla="*/ 8128 h 10000"/>
                <a:gd name="connsiteX235" fmla="*/ 7885 w 10000"/>
                <a:gd name="connsiteY235" fmla="*/ 7991 h 10000"/>
                <a:gd name="connsiteX236" fmla="*/ 7859 w 10000"/>
                <a:gd name="connsiteY236" fmla="*/ 7904 h 10000"/>
                <a:gd name="connsiteX237" fmla="*/ 7782 w 10000"/>
                <a:gd name="connsiteY237" fmla="*/ 8002 h 10000"/>
                <a:gd name="connsiteX238" fmla="*/ 7893 w 10000"/>
                <a:gd name="connsiteY238" fmla="*/ 7761 h 10000"/>
                <a:gd name="connsiteX239" fmla="*/ 7851 w 10000"/>
                <a:gd name="connsiteY239" fmla="*/ 7717 h 10000"/>
                <a:gd name="connsiteX240" fmla="*/ 7728 w 10000"/>
                <a:gd name="connsiteY240" fmla="*/ 7915 h 10000"/>
                <a:gd name="connsiteX241" fmla="*/ 7793 w 10000"/>
                <a:gd name="connsiteY241" fmla="*/ 7712 h 10000"/>
                <a:gd name="connsiteX242" fmla="*/ 7705 w 10000"/>
                <a:gd name="connsiteY242" fmla="*/ 7767 h 10000"/>
                <a:gd name="connsiteX243" fmla="*/ 7590 w 10000"/>
                <a:gd name="connsiteY243" fmla="*/ 7717 h 10000"/>
                <a:gd name="connsiteX244" fmla="*/ 7502 w 10000"/>
                <a:gd name="connsiteY244" fmla="*/ 7794 h 10000"/>
                <a:gd name="connsiteX245" fmla="*/ 7407 w 10000"/>
                <a:gd name="connsiteY245" fmla="*/ 7728 h 10000"/>
                <a:gd name="connsiteX246" fmla="*/ 7250 w 10000"/>
                <a:gd name="connsiteY246" fmla="*/ 7717 h 10000"/>
                <a:gd name="connsiteX247" fmla="*/ 7253 w 10000"/>
                <a:gd name="connsiteY247" fmla="*/ 7547 h 10000"/>
                <a:gd name="connsiteX248" fmla="*/ 7395 w 10000"/>
                <a:gd name="connsiteY248" fmla="*/ 7662 h 10000"/>
                <a:gd name="connsiteX249" fmla="*/ 7440 w 10000"/>
                <a:gd name="connsiteY249" fmla="*/ 7541 h 10000"/>
                <a:gd name="connsiteX250" fmla="*/ 7403 w 10000"/>
                <a:gd name="connsiteY250" fmla="*/ 7410 h 10000"/>
                <a:gd name="connsiteX251" fmla="*/ 7510 w 10000"/>
                <a:gd name="connsiteY251" fmla="*/ 7547 h 10000"/>
                <a:gd name="connsiteX252" fmla="*/ 7655 w 10000"/>
                <a:gd name="connsiteY252" fmla="*/ 7536 h 10000"/>
                <a:gd name="connsiteX253" fmla="*/ 7679 w 10000"/>
                <a:gd name="connsiteY253" fmla="*/ 7685 h 10000"/>
                <a:gd name="connsiteX254" fmla="*/ 7721 w 10000"/>
                <a:gd name="connsiteY254" fmla="*/ 7685 h 10000"/>
                <a:gd name="connsiteX255" fmla="*/ 7732 w 10000"/>
                <a:gd name="connsiteY255" fmla="*/ 7415 h 10000"/>
                <a:gd name="connsiteX256" fmla="*/ 7782 w 10000"/>
                <a:gd name="connsiteY256" fmla="*/ 7585 h 10000"/>
                <a:gd name="connsiteX257" fmla="*/ 7870 w 10000"/>
                <a:gd name="connsiteY257" fmla="*/ 7590 h 10000"/>
                <a:gd name="connsiteX258" fmla="*/ 7805 w 10000"/>
                <a:gd name="connsiteY258" fmla="*/ 7333 h 10000"/>
                <a:gd name="connsiteX259" fmla="*/ 7965 w 10000"/>
                <a:gd name="connsiteY259" fmla="*/ 7240 h 10000"/>
                <a:gd name="connsiteX260" fmla="*/ 7958 w 10000"/>
                <a:gd name="connsiteY260" fmla="*/ 6987 h 10000"/>
                <a:gd name="connsiteX261" fmla="*/ 8069 w 10000"/>
                <a:gd name="connsiteY261" fmla="*/ 7081 h 10000"/>
                <a:gd name="connsiteX262" fmla="*/ 8088 w 10000"/>
                <a:gd name="connsiteY262" fmla="*/ 7015 h 10000"/>
                <a:gd name="connsiteX263" fmla="*/ 7954 w 10000"/>
                <a:gd name="connsiteY263" fmla="*/ 6735 h 10000"/>
                <a:gd name="connsiteX264" fmla="*/ 8133 w 10000"/>
                <a:gd name="connsiteY264" fmla="*/ 6894 h 10000"/>
                <a:gd name="connsiteX265" fmla="*/ 8359 w 10000"/>
                <a:gd name="connsiteY265" fmla="*/ 6511 h 10000"/>
                <a:gd name="connsiteX266" fmla="*/ 8577 w 10000"/>
                <a:gd name="connsiteY266" fmla="*/ 6483 h 10000"/>
                <a:gd name="connsiteX267" fmla="*/ 8623 w 10000"/>
                <a:gd name="connsiteY267"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6538 w 10000"/>
                <a:gd name="connsiteY8" fmla="*/ 1311 h 10000"/>
                <a:gd name="connsiteX9" fmla="*/ 6454 w 10000"/>
                <a:gd name="connsiteY9" fmla="*/ 1223 h 10000"/>
                <a:gd name="connsiteX10" fmla="*/ 6267 w 10000"/>
                <a:gd name="connsiteY10" fmla="*/ 1273 h 10000"/>
                <a:gd name="connsiteX11" fmla="*/ 6285 w 10000"/>
                <a:gd name="connsiteY11" fmla="*/ 1125 h 10000"/>
                <a:gd name="connsiteX12" fmla="*/ 6213 w 10000"/>
                <a:gd name="connsiteY12" fmla="*/ 1119 h 10000"/>
                <a:gd name="connsiteX13" fmla="*/ 6179 w 10000"/>
                <a:gd name="connsiteY13" fmla="*/ 910 h 10000"/>
                <a:gd name="connsiteX14" fmla="*/ 6079 w 10000"/>
                <a:gd name="connsiteY14" fmla="*/ 795 h 10000"/>
                <a:gd name="connsiteX15" fmla="*/ 6285 w 10000"/>
                <a:gd name="connsiteY15" fmla="*/ 620 h 10000"/>
                <a:gd name="connsiteX16" fmla="*/ 6037 w 10000"/>
                <a:gd name="connsiteY16" fmla="*/ 395 h 10000"/>
                <a:gd name="connsiteX17" fmla="*/ 5988 w 10000"/>
                <a:gd name="connsiteY17" fmla="*/ 142 h 10000"/>
                <a:gd name="connsiteX18" fmla="*/ 5873 w 10000"/>
                <a:gd name="connsiteY18" fmla="*/ 110 h 10000"/>
                <a:gd name="connsiteX19" fmla="*/ 5777 w 10000"/>
                <a:gd name="connsiteY19" fmla="*/ 0 h 10000"/>
                <a:gd name="connsiteX20" fmla="*/ 5675 w 10000"/>
                <a:gd name="connsiteY20" fmla="*/ 120 h 10000"/>
                <a:gd name="connsiteX21" fmla="*/ 5501 w 10000"/>
                <a:gd name="connsiteY21" fmla="*/ 110 h 10000"/>
                <a:gd name="connsiteX22" fmla="*/ 5352 w 10000"/>
                <a:gd name="connsiteY22" fmla="*/ 351 h 10000"/>
                <a:gd name="connsiteX23" fmla="*/ 5066 w 10000"/>
                <a:gd name="connsiteY23" fmla="*/ 329 h 10000"/>
                <a:gd name="connsiteX24" fmla="*/ 4996 w 10000"/>
                <a:gd name="connsiteY24" fmla="*/ 680 h 10000"/>
                <a:gd name="connsiteX25" fmla="*/ 4809 w 10000"/>
                <a:gd name="connsiteY25" fmla="*/ 707 h 10000"/>
                <a:gd name="connsiteX26" fmla="*/ 4905 w 10000"/>
                <a:gd name="connsiteY26" fmla="*/ 844 h 10000"/>
                <a:gd name="connsiteX27" fmla="*/ 4848 w 10000"/>
                <a:gd name="connsiteY27" fmla="*/ 899 h 10000"/>
                <a:gd name="connsiteX28" fmla="*/ 4718 w 10000"/>
                <a:gd name="connsiteY28" fmla="*/ 894 h 10000"/>
                <a:gd name="connsiteX29" fmla="*/ 4541 w 10000"/>
                <a:gd name="connsiteY29" fmla="*/ 1026 h 10000"/>
                <a:gd name="connsiteX30" fmla="*/ 4350 w 10000"/>
                <a:gd name="connsiteY30" fmla="*/ 1668 h 10000"/>
                <a:gd name="connsiteX31" fmla="*/ 4407 w 10000"/>
                <a:gd name="connsiteY31" fmla="*/ 2090 h 10000"/>
                <a:gd name="connsiteX32" fmla="*/ 4216 w 10000"/>
                <a:gd name="connsiteY32" fmla="*/ 1865 h 10000"/>
                <a:gd name="connsiteX33" fmla="*/ 3938 w 10000"/>
                <a:gd name="connsiteY33" fmla="*/ 1991 h 10000"/>
                <a:gd name="connsiteX34" fmla="*/ 3910 w 10000"/>
                <a:gd name="connsiteY34" fmla="*/ 1931 h 10000"/>
                <a:gd name="connsiteX35" fmla="*/ 3780 w 10000"/>
                <a:gd name="connsiteY35" fmla="*/ 2002 h 10000"/>
                <a:gd name="connsiteX36" fmla="*/ 3704 w 10000"/>
                <a:gd name="connsiteY36" fmla="*/ 2144 h 10000"/>
                <a:gd name="connsiteX37" fmla="*/ 3643 w 10000"/>
                <a:gd name="connsiteY37" fmla="*/ 1909 h 10000"/>
                <a:gd name="connsiteX38" fmla="*/ 3558 w 10000"/>
                <a:gd name="connsiteY38" fmla="*/ 1843 h 10000"/>
                <a:gd name="connsiteX39" fmla="*/ 3523 w 10000"/>
                <a:gd name="connsiteY39" fmla="*/ 1964 h 10000"/>
                <a:gd name="connsiteX40" fmla="*/ 3409 w 10000"/>
                <a:gd name="connsiteY40" fmla="*/ 1996 h 10000"/>
                <a:gd name="connsiteX41" fmla="*/ 3347 w 10000"/>
                <a:gd name="connsiteY41" fmla="*/ 2161 h 10000"/>
                <a:gd name="connsiteX42" fmla="*/ 3309 w 10000"/>
                <a:gd name="connsiteY42" fmla="*/ 2013 h 10000"/>
                <a:gd name="connsiteX43" fmla="*/ 3195 w 10000"/>
                <a:gd name="connsiteY43" fmla="*/ 2024 h 10000"/>
                <a:gd name="connsiteX44" fmla="*/ 3149 w 10000"/>
                <a:gd name="connsiteY44" fmla="*/ 2128 h 10000"/>
                <a:gd name="connsiteX45" fmla="*/ 3080 w 10000"/>
                <a:gd name="connsiteY45" fmla="*/ 1975 h 10000"/>
                <a:gd name="connsiteX46" fmla="*/ 2962 w 10000"/>
                <a:gd name="connsiteY46" fmla="*/ 2117 h 10000"/>
                <a:gd name="connsiteX47" fmla="*/ 2847 w 10000"/>
                <a:gd name="connsiteY47" fmla="*/ 2106 h 10000"/>
                <a:gd name="connsiteX48" fmla="*/ 2843 w 10000"/>
                <a:gd name="connsiteY48" fmla="*/ 2276 h 10000"/>
                <a:gd name="connsiteX49" fmla="*/ 2790 w 10000"/>
                <a:gd name="connsiteY49" fmla="*/ 2144 h 10000"/>
                <a:gd name="connsiteX50" fmla="*/ 2618 w 10000"/>
                <a:gd name="connsiteY50" fmla="*/ 2155 h 10000"/>
                <a:gd name="connsiteX51" fmla="*/ 2494 w 10000"/>
                <a:gd name="connsiteY51" fmla="*/ 1980 h 10000"/>
                <a:gd name="connsiteX52" fmla="*/ 2346 w 10000"/>
                <a:gd name="connsiteY52" fmla="*/ 2073 h 10000"/>
                <a:gd name="connsiteX53" fmla="*/ 2192 w 10000"/>
                <a:gd name="connsiteY53" fmla="*/ 1958 h 10000"/>
                <a:gd name="connsiteX54" fmla="*/ 2104 w 10000"/>
                <a:gd name="connsiteY54" fmla="*/ 2035 h 10000"/>
                <a:gd name="connsiteX55" fmla="*/ 2020 w 10000"/>
                <a:gd name="connsiteY55" fmla="*/ 1947 h 10000"/>
                <a:gd name="connsiteX56" fmla="*/ 1895 w 10000"/>
                <a:gd name="connsiteY56" fmla="*/ 1936 h 10000"/>
                <a:gd name="connsiteX57" fmla="*/ 1707 w 10000"/>
                <a:gd name="connsiteY57" fmla="*/ 1925 h 10000"/>
                <a:gd name="connsiteX58" fmla="*/ 1477 w 10000"/>
                <a:gd name="connsiteY58" fmla="*/ 1991 h 10000"/>
                <a:gd name="connsiteX59" fmla="*/ 1233 w 10000"/>
                <a:gd name="connsiteY59" fmla="*/ 2062 h 10000"/>
                <a:gd name="connsiteX60" fmla="*/ 942 w 10000"/>
                <a:gd name="connsiteY60" fmla="*/ 2166 h 10000"/>
                <a:gd name="connsiteX61" fmla="*/ 815 w 10000"/>
                <a:gd name="connsiteY61" fmla="*/ 2496 h 10000"/>
                <a:gd name="connsiteX62" fmla="*/ 617 w 10000"/>
                <a:gd name="connsiteY62" fmla="*/ 2501 h 10000"/>
                <a:gd name="connsiteX63" fmla="*/ 552 w 10000"/>
                <a:gd name="connsiteY63" fmla="*/ 2687 h 10000"/>
                <a:gd name="connsiteX64" fmla="*/ 571 w 10000"/>
                <a:gd name="connsiteY64" fmla="*/ 2764 h 10000"/>
                <a:gd name="connsiteX65" fmla="*/ 590 w 10000"/>
                <a:gd name="connsiteY65" fmla="*/ 2868 h 10000"/>
                <a:gd name="connsiteX66" fmla="*/ 590 w 10000"/>
                <a:gd name="connsiteY66" fmla="*/ 2868 h 10000"/>
                <a:gd name="connsiteX67" fmla="*/ 590 w 10000"/>
                <a:gd name="connsiteY67" fmla="*/ 2896 h 10000"/>
                <a:gd name="connsiteX68" fmla="*/ 698 w 10000"/>
                <a:gd name="connsiteY68" fmla="*/ 3116 h 10000"/>
                <a:gd name="connsiteX69" fmla="*/ 804 w 10000"/>
                <a:gd name="connsiteY69" fmla="*/ 3351 h 10000"/>
                <a:gd name="connsiteX70" fmla="*/ 942 w 10000"/>
                <a:gd name="connsiteY70" fmla="*/ 3488 h 10000"/>
                <a:gd name="connsiteX71" fmla="*/ 896 w 10000"/>
                <a:gd name="connsiteY71" fmla="*/ 3548 h 10000"/>
                <a:gd name="connsiteX72" fmla="*/ 824 w 10000"/>
                <a:gd name="connsiteY72" fmla="*/ 3603 h 10000"/>
                <a:gd name="connsiteX73" fmla="*/ 907 w 10000"/>
                <a:gd name="connsiteY73" fmla="*/ 3697 h 10000"/>
                <a:gd name="connsiteX74" fmla="*/ 896 w 10000"/>
                <a:gd name="connsiteY74" fmla="*/ 4053 h 10000"/>
                <a:gd name="connsiteX75" fmla="*/ 709 w 10000"/>
                <a:gd name="connsiteY75" fmla="*/ 4124 h 10000"/>
                <a:gd name="connsiteX76" fmla="*/ 509 w 10000"/>
                <a:gd name="connsiteY76" fmla="*/ 4531 h 10000"/>
                <a:gd name="connsiteX77" fmla="*/ 380 w 10000"/>
                <a:gd name="connsiteY77" fmla="*/ 4936 h 10000"/>
                <a:gd name="connsiteX78" fmla="*/ 199 w 10000"/>
                <a:gd name="connsiteY78" fmla="*/ 5260 h 10000"/>
                <a:gd name="connsiteX79" fmla="*/ 276 w 10000"/>
                <a:gd name="connsiteY79" fmla="*/ 5517 h 10000"/>
                <a:gd name="connsiteX80" fmla="*/ 283 w 10000"/>
                <a:gd name="connsiteY80" fmla="*/ 5732 h 10000"/>
                <a:gd name="connsiteX81" fmla="*/ 409 w 10000"/>
                <a:gd name="connsiteY81" fmla="*/ 5841 h 10000"/>
                <a:gd name="connsiteX82" fmla="*/ 391 w 10000"/>
                <a:gd name="connsiteY82" fmla="*/ 5945 h 10000"/>
                <a:gd name="connsiteX83" fmla="*/ 207 w 10000"/>
                <a:gd name="connsiteY83" fmla="*/ 5852 h 10000"/>
                <a:gd name="connsiteX84" fmla="*/ 127 w 10000"/>
                <a:gd name="connsiteY84" fmla="*/ 6099 h 10000"/>
                <a:gd name="connsiteX85" fmla="*/ 107 w 10000"/>
                <a:gd name="connsiteY85" fmla="*/ 6346 h 10000"/>
                <a:gd name="connsiteX86" fmla="*/ 1 w 10000"/>
                <a:gd name="connsiteY86" fmla="*/ 6571 h 10000"/>
                <a:gd name="connsiteX87" fmla="*/ 19 w 10000"/>
                <a:gd name="connsiteY87" fmla="*/ 6779 h 10000"/>
                <a:gd name="connsiteX88" fmla="*/ 92 w 10000"/>
                <a:gd name="connsiteY88" fmla="*/ 6828 h 10000"/>
                <a:gd name="connsiteX89" fmla="*/ 158 w 10000"/>
                <a:gd name="connsiteY89" fmla="*/ 6960 h 10000"/>
                <a:gd name="connsiteX90" fmla="*/ 246 w 10000"/>
                <a:gd name="connsiteY90" fmla="*/ 6943 h 10000"/>
                <a:gd name="connsiteX91" fmla="*/ 299 w 10000"/>
                <a:gd name="connsiteY91" fmla="*/ 7076 h 10000"/>
                <a:gd name="connsiteX92" fmla="*/ 455 w 10000"/>
                <a:gd name="connsiteY92" fmla="*/ 7103 h 10000"/>
                <a:gd name="connsiteX93" fmla="*/ 463 w 10000"/>
                <a:gd name="connsiteY93" fmla="*/ 7251 h 10000"/>
                <a:gd name="connsiteX94" fmla="*/ 505 w 10000"/>
                <a:gd name="connsiteY94" fmla="*/ 7278 h 10000"/>
                <a:gd name="connsiteX95" fmla="*/ 537 w 10000"/>
                <a:gd name="connsiteY95" fmla="*/ 7174 h 10000"/>
                <a:gd name="connsiteX96" fmla="*/ 594 w 10000"/>
                <a:gd name="connsiteY96" fmla="*/ 7196 h 10000"/>
                <a:gd name="connsiteX97" fmla="*/ 659 w 10000"/>
                <a:gd name="connsiteY97" fmla="*/ 6992 h 10000"/>
                <a:gd name="connsiteX98" fmla="*/ 839 w 10000"/>
                <a:gd name="connsiteY98" fmla="*/ 7174 h 10000"/>
                <a:gd name="connsiteX99" fmla="*/ 1313 w 10000"/>
                <a:gd name="connsiteY99" fmla="*/ 7163 h 10000"/>
                <a:gd name="connsiteX100" fmla="*/ 1500 w 10000"/>
                <a:gd name="connsiteY100" fmla="*/ 7092 h 10000"/>
                <a:gd name="connsiteX101" fmla="*/ 1807 w 10000"/>
                <a:gd name="connsiteY101" fmla="*/ 7344 h 10000"/>
                <a:gd name="connsiteX102" fmla="*/ 2001 w 10000"/>
                <a:gd name="connsiteY102" fmla="*/ 7087 h 10000"/>
                <a:gd name="connsiteX103" fmla="*/ 2437 w 10000"/>
                <a:gd name="connsiteY103" fmla="*/ 6861 h 10000"/>
                <a:gd name="connsiteX104" fmla="*/ 2594 w 10000"/>
                <a:gd name="connsiteY104" fmla="*/ 6489 h 10000"/>
                <a:gd name="connsiteX105" fmla="*/ 2709 w 10000"/>
                <a:gd name="connsiteY105" fmla="*/ 6439 h 10000"/>
                <a:gd name="connsiteX106" fmla="*/ 2709 w 10000"/>
                <a:gd name="connsiteY106" fmla="*/ 6379 h 10000"/>
                <a:gd name="connsiteX107" fmla="*/ 2755 w 10000"/>
                <a:gd name="connsiteY107" fmla="*/ 6379 h 10000"/>
                <a:gd name="connsiteX108" fmla="*/ 2744 w 10000"/>
                <a:gd name="connsiteY108" fmla="*/ 6230 h 10000"/>
                <a:gd name="connsiteX109" fmla="*/ 2885 w 10000"/>
                <a:gd name="connsiteY109" fmla="*/ 6285 h 10000"/>
                <a:gd name="connsiteX110" fmla="*/ 2904 w 10000"/>
                <a:gd name="connsiteY110" fmla="*/ 6159 h 10000"/>
                <a:gd name="connsiteX111" fmla="*/ 2988 w 10000"/>
                <a:gd name="connsiteY111" fmla="*/ 6230 h 10000"/>
                <a:gd name="connsiteX112" fmla="*/ 3050 w 10000"/>
                <a:gd name="connsiteY112" fmla="*/ 6126 h 10000"/>
                <a:gd name="connsiteX113" fmla="*/ 3149 w 10000"/>
                <a:gd name="connsiteY113" fmla="*/ 6154 h 10000"/>
                <a:gd name="connsiteX114" fmla="*/ 3237 w 10000"/>
                <a:gd name="connsiteY114" fmla="*/ 6055 h 10000"/>
                <a:gd name="connsiteX115" fmla="*/ 3405 w 10000"/>
                <a:gd name="connsiteY115" fmla="*/ 6192 h 10000"/>
                <a:gd name="connsiteX116" fmla="*/ 3490 w 10000"/>
                <a:gd name="connsiteY116" fmla="*/ 6197 h 10000"/>
                <a:gd name="connsiteX117" fmla="*/ 3516 w 10000"/>
                <a:gd name="connsiteY117" fmla="*/ 6307 h 10000"/>
                <a:gd name="connsiteX118" fmla="*/ 3674 w 10000"/>
                <a:gd name="connsiteY118" fmla="*/ 6236 h 10000"/>
                <a:gd name="connsiteX119" fmla="*/ 3658 w 10000"/>
                <a:gd name="connsiteY119" fmla="*/ 6357 h 10000"/>
                <a:gd name="connsiteX120" fmla="*/ 3716 w 10000"/>
                <a:gd name="connsiteY120" fmla="*/ 6341 h 10000"/>
                <a:gd name="connsiteX121" fmla="*/ 3784 w 10000"/>
                <a:gd name="connsiteY121" fmla="*/ 6428 h 10000"/>
                <a:gd name="connsiteX122" fmla="*/ 3788 w 10000"/>
                <a:gd name="connsiteY122" fmla="*/ 6301 h 10000"/>
                <a:gd name="connsiteX123" fmla="*/ 3971 w 10000"/>
                <a:gd name="connsiteY123" fmla="*/ 6341 h 10000"/>
                <a:gd name="connsiteX124" fmla="*/ 4037 w 10000"/>
                <a:gd name="connsiteY124" fmla="*/ 6511 h 10000"/>
                <a:gd name="connsiteX125" fmla="*/ 4140 w 10000"/>
                <a:gd name="connsiteY125" fmla="*/ 6494 h 10000"/>
                <a:gd name="connsiteX126" fmla="*/ 4185 w 10000"/>
                <a:gd name="connsiteY126" fmla="*/ 6417 h 10000"/>
                <a:gd name="connsiteX127" fmla="*/ 4288 w 10000"/>
                <a:gd name="connsiteY127" fmla="*/ 6735 h 10000"/>
                <a:gd name="connsiteX128" fmla="*/ 4251 w 10000"/>
                <a:gd name="connsiteY128" fmla="*/ 6987 h 10000"/>
                <a:gd name="connsiteX129" fmla="*/ 4304 w 10000"/>
                <a:gd name="connsiteY129" fmla="*/ 7114 h 10000"/>
                <a:gd name="connsiteX130" fmla="*/ 4376 w 10000"/>
                <a:gd name="connsiteY130" fmla="*/ 7119 h 10000"/>
                <a:gd name="connsiteX131" fmla="*/ 4488 w 10000"/>
                <a:gd name="connsiteY131" fmla="*/ 7256 h 10000"/>
                <a:gd name="connsiteX132" fmla="*/ 4533 w 10000"/>
                <a:gd name="connsiteY132" fmla="*/ 7152 h 10000"/>
                <a:gd name="connsiteX133" fmla="*/ 4583 w 10000"/>
                <a:gd name="connsiteY133" fmla="*/ 7322 h 10000"/>
                <a:gd name="connsiteX134" fmla="*/ 4646 w 10000"/>
                <a:gd name="connsiteY134" fmla="*/ 7662 h 10000"/>
                <a:gd name="connsiteX135" fmla="*/ 4829 w 10000"/>
                <a:gd name="connsiteY135" fmla="*/ 7739 h 10000"/>
                <a:gd name="connsiteX136" fmla="*/ 4871 w 10000"/>
                <a:gd name="connsiteY136" fmla="*/ 8183 h 10000"/>
                <a:gd name="connsiteX137" fmla="*/ 5027 w 10000"/>
                <a:gd name="connsiteY137" fmla="*/ 8276 h 10000"/>
                <a:gd name="connsiteX138" fmla="*/ 4866 w 10000"/>
                <a:gd name="connsiteY138" fmla="*/ 8370 h 10000"/>
                <a:gd name="connsiteX139" fmla="*/ 4813 w 10000"/>
                <a:gd name="connsiteY139" fmla="*/ 8260 h 10000"/>
                <a:gd name="connsiteX140" fmla="*/ 4752 w 10000"/>
                <a:gd name="connsiteY140" fmla="*/ 8403 h 10000"/>
                <a:gd name="connsiteX141" fmla="*/ 4594 w 10000"/>
                <a:gd name="connsiteY141" fmla="*/ 8287 h 10000"/>
                <a:gd name="connsiteX142" fmla="*/ 4506 w 10000"/>
                <a:gd name="connsiteY142" fmla="*/ 8452 h 10000"/>
                <a:gd name="connsiteX143" fmla="*/ 4323 w 10000"/>
                <a:gd name="connsiteY143" fmla="*/ 8331 h 10000"/>
                <a:gd name="connsiteX144" fmla="*/ 4411 w 10000"/>
                <a:gd name="connsiteY144" fmla="*/ 8699 h 10000"/>
                <a:gd name="connsiteX145" fmla="*/ 4403 w 10000"/>
                <a:gd name="connsiteY145" fmla="*/ 8967 h 10000"/>
                <a:gd name="connsiteX146" fmla="*/ 4285 w 10000"/>
                <a:gd name="connsiteY146" fmla="*/ 9088 h 10000"/>
                <a:gd name="connsiteX147" fmla="*/ 4323 w 10000"/>
                <a:gd name="connsiteY147" fmla="*/ 9193 h 10000"/>
                <a:gd name="connsiteX148" fmla="*/ 4159 w 10000"/>
                <a:gd name="connsiteY148" fmla="*/ 9412 h 10000"/>
                <a:gd name="connsiteX149" fmla="*/ 4224 w 10000"/>
                <a:gd name="connsiteY149" fmla="*/ 9647 h 10000"/>
                <a:gd name="connsiteX150" fmla="*/ 4063 w 10000"/>
                <a:gd name="connsiteY150" fmla="*/ 9681 h 10000"/>
                <a:gd name="connsiteX151" fmla="*/ 4021 w 10000"/>
                <a:gd name="connsiteY151" fmla="*/ 9741 h 10000"/>
                <a:gd name="connsiteX152" fmla="*/ 4090 w 10000"/>
                <a:gd name="connsiteY152" fmla="*/ 9785 h 10000"/>
                <a:gd name="connsiteX153" fmla="*/ 4213 w 10000"/>
                <a:gd name="connsiteY153" fmla="*/ 9944 h 10000"/>
                <a:gd name="connsiteX154" fmla="*/ 4411 w 10000"/>
                <a:gd name="connsiteY154" fmla="*/ 9999 h 10000"/>
                <a:gd name="connsiteX155" fmla="*/ 4418 w 10000"/>
                <a:gd name="connsiteY155" fmla="*/ 9851 h 10000"/>
                <a:gd name="connsiteX156" fmla="*/ 4488 w 10000"/>
                <a:gd name="connsiteY156" fmla="*/ 9856 h 10000"/>
                <a:gd name="connsiteX157" fmla="*/ 4783 w 10000"/>
                <a:gd name="connsiteY157" fmla="*/ 9603 h 10000"/>
                <a:gd name="connsiteX158" fmla="*/ 4978 w 10000"/>
                <a:gd name="connsiteY158" fmla="*/ 9845 h 10000"/>
                <a:gd name="connsiteX159" fmla="*/ 4978 w 10000"/>
                <a:gd name="connsiteY159" fmla="*/ 9862 h 10000"/>
                <a:gd name="connsiteX160" fmla="*/ 5009 w 10000"/>
                <a:gd name="connsiteY160" fmla="*/ 9703 h 10000"/>
                <a:gd name="connsiteX161" fmla="*/ 4954 w 10000"/>
                <a:gd name="connsiteY161" fmla="*/ 9570 h 10000"/>
                <a:gd name="connsiteX162" fmla="*/ 4886 w 10000"/>
                <a:gd name="connsiteY162" fmla="*/ 9549 h 10000"/>
                <a:gd name="connsiteX163" fmla="*/ 4932 w 10000"/>
                <a:gd name="connsiteY163" fmla="*/ 9466 h 10000"/>
                <a:gd name="connsiteX164" fmla="*/ 4917 w 10000"/>
                <a:gd name="connsiteY164" fmla="*/ 9444 h 10000"/>
                <a:gd name="connsiteX165" fmla="*/ 4859 w 10000"/>
                <a:gd name="connsiteY165" fmla="*/ 9439 h 10000"/>
                <a:gd name="connsiteX166" fmla="*/ 4829 w 10000"/>
                <a:gd name="connsiteY166" fmla="*/ 9121 h 10000"/>
                <a:gd name="connsiteX167" fmla="*/ 4871 w 10000"/>
                <a:gd name="connsiteY167" fmla="*/ 9105 h 10000"/>
                <a:gd name="connsiteX168" fmla="*/ 4893 w 10000"/>
                <a:gd name="connsiteY168" fmla="*/ 9253 h 10000"/>
                <a:gd name="connsiteX169" fmla="*/ 4947 w 10000"/>
                <a:gd name="connsiteY169" fmla="*/ 9384 h 10000"/>
                <a:gd name="connsiteX170" fmla="*/ 4993 w 10000"/>
                <a:gd name="connsiteY170" fmla="*/ 9302 h 10000"/>
                <a:gd name="connsiteX171" fmla="*/ 4981 w 10000"/>
                <a:gd name="connsiteY171" fmla="*/ 9220 h 10000"/>
                <a:gd name="connsiteX172" fmla="*/ 5054 w 10000"/>
                <a:gd name="connsiteY172" fmla="*/ 9203 h 10000"/>
                <a:gd name="connsiteX173" fmla="*/ 5016 w 10000"/>
                <a:gd name="connsiteY173" fmla="*/ 9034 h 10000"/>
                <a:gd name="connsiteX174" fmla="*/ 5115 w 10000"/>
                <a:gd name="connsiteY174" fmla="*/ 9061 h 10000"/>
                <a:gd name="connsiteX175" fmla="*/ 5119 w 10000"/>
                <a:gd name="connsiteY175" fmla="*/ 8972 h 10000"/>
                <a:gd name="connsiteX176" fmla="*/ 5157 w 10000"/>
                <a:gd name="connsiteY176" fmla="*/ 9039 h 10000"/>
                <a:gd name="connsiteX177" fmla="*/ 5326 w 10000"/>
                <a:gd name="connsiteY177" fmla="*/ 8781 h 10000"/>
                <a:gd name="connsiteX178" fmla="*/ 5230 w 10000"/>
                <a:gd name="connsiteY178" fmla="*/ 8584 h 10000"/>
                <a:gd name="connsiteX179" fmla="*/ 5051 w 10000"/>
                <a:gd name="connsiteY179" fmla="*/ 8425 h 10000"/>
                <a:gd name="connsiteX180" fmla="*/ 5153 w 10000"/>
                <a:gd name="connsiteY180" fmla="*/ 8370 h 10000"/>
                <a:gd name="connsiteX181" fmla="*/ 5302 w 10000"/>
                <a:gd name="connsiteY181" fmla="*/ 8633 h 10000"/>
                <a:gd name="connsiteX182" fmla="*/ 5414 w 10000"/>
                <a:gd name="connsiteY182" fmla="*/ 8199 h 10000"/>
                <a:gd name="connsiteX183" fmla="*/ 5421 w 10000"/>
                <a:gd name="connsiteY183" fmla="*/ 8030 h 10000"/>
                <a:gd name="connsiteX184" fmla="*/ 5608 w 10000"/>
                <a:gd name="connsiteY184" fmla="*/ 7942 h 10000"/>
                <a:gd name="connsiteX185" fmla="*/ 5678 w 10000"/>
                <a:gd name="connsiteY185" fmla="*/ 7607 h 10000"/>
                <a:gd name="connsiteX186" fmla="*/ 5689 w 10000"/>
                <a:gd name="connsiteY186" fmla="*/ 7734 h 10000"/>
                <a:gd name="connsiteX187" fmla="*/ 5808 w 10000"/>
                <a:gd name="connsiteY187" fmla="*/ 7596 h 10000"/>
                <a:gd name="connsiteX188" fmla="*/ 5892 w 10000"/>
                <a:gd name="connsiteY188" fmla="*/ 7579 h 10000"/>
                <a:gd name="connsiteX189" fmla="*/ 5976 w 10000"/>
                <a:gd name="connsiteY189" fmla="*/ 7207 h 10000"/>
                <a:gd name="connsiteX190" fmla="*/ 6052 w 10000"/>
                <a:gd name="connsiteY190" fmla="*/ 7486 h 10000"/>
                <a:gd name="connsiteX191" fmla="*/ 6278 w 10000"/>
                <a:gd name="connsiteY191" fmla="*/ 7563 h 10000"/>
                <a:gd name="connsiteX192" fmla="*/ 6106 w 10000"/>
                <a:gd name="connsiteY192" fmla="*/ 7618 h 10000"/>
                <a:gd name="connsiteX193" fmla="*/ 6091 w 10000"/>
                <a:gd name="connsiteY193" fmla="*/ 7679 h 10000"/>
                <a:gd name="connsiteX194" fmla="*/ 5919 w 10000"/>
                <a:gd name="connsiteY194" fmla="*/ 7690 h 10000"/>
                <a:gd name="connsiteX195" fmla="*/ 5831 w 10000"/>
                <a:gd name="connsiteY195" fmla="*/ 7723 h 10000"/>
                <a:gd name="connsiteX196" fmla="*/ 5900 w 10000"/>
                <a:gd name="connsiteY196" fmla="*/ 7772 h 10000"/>
                <a:gd name="connsiteX197" fmla="*/ 5961 w 10000"/>
                <a:gd name="connsiteY197" fmla="*/ 7756 h 10000"/>
                <a:gd name="connsiteX198" fmla="*/ 6129 w 10000"/>
                <a:gd name="connsiteY198" fmla="*/ 7789 h 10000"/>
                <a:gd name="connsiteX199" fmla="*/ 5938 w 10000"/>
                <a:gd name="connsiteY199" fmla="*/ 7964 h 10000"/>
                <a:gd name="connsiteX200" fmla="*/ 6007 w 10000"/>
                <a:gd name="connsiteY200" fmla="*/ 8008 h 10000"/>
                <a:gd name="connsiteX201" fmla="*/ 6182 w 10000"/>
                <a:gd name="connsiteY201" fmla="*/ 7958 h 10000"/>
                <a:gd name="connsiteX202" fmla="*/ 6419 w 10000"/>
                <a:gd name="connsiteY202" fmla="*/ 8101 h 10000"/>
                <a:gd name="connsiteX203" fmla="*/ 6726 w 10000"/>
                <a:gd name="connsiteY203" fmla="*/ 7909 h 10000"/>
                <a:gd name="connsiteX204" fmla="*/ 7028 w 10000"/>
                <a:gd name="connsiteY204" fmla="*/ 7887 h 10000"/>
                <a:gd name="connsiteX205" fmla="*/ 7074 w 10000"/>
                <a:gd name="connsiteY205" fmla="*/ 7745 h 10000"/>
                <a:gd name="connsiteX206" fmla="*/ 7154 w 10000"/>
                <a:gd name="connsiteY206" fmla="*/ 7958 h 10000"/>
                <a:gd name="connsiteX207" fmla="*/ 7238 w 10000"/>
                <a:gd name="connsiteY207" fmla="*/ 7986 h 10000"/>
                <a:gd name="connsiteX208" fmla="*/ 7207 w 10000"/>
                <a:gd name="connsiteY208" fmla="*/ 8134 h 10000"/>
                <a:gd name="connsiteX209" fmla="*/ 6944 w 10000"/>
                <a:gd name="connsiteY209" fmla="*/ 8281 h 10000"/>
                <a:gd name="connsiteX210" fmla="*/ 6925 w 10000"/>
                <a:gd name="connsiteY210" fmla="*/ 8386 h 10000"/>
                <a:gd name="connsiteX211" fmla="*/ 6780 w 10000"/>
                <a:gd name="connsiteY211" fmla="*/ 8523 h 10000"/>
                <a:gd name="connsiteX212" fmla="*/ 6775 w 10000"/>
                <a:gd name="connsiteY212" fmla="*/ 8649 h 10000"/>
                <a:gd name="connsiteX213" fmla="*/ 6687 w 10000"/>
                <a:gd name="connsiteY213" fmla="*/ 8704 h 10000"/>
                <a:gd name="connsiteX214" fmla="*/ 6576 w 10000"/>
                <a:gd name="connsiteY214" fmla="*/ 8989 h 10000"/>
                <a:gd name="connsiteX215" fmla="*/ 6734 w 10000"/>
                <a:gd name="connsiteY215" fmla="*/ 9001 h 10000"/>
                <a:gd name="connsiteX216" fmla="*/ 6826 w 10000"/>
                <a:gd name="connsiteY216" fmla="*/ 8879 h 10000"/>
                <a:gd name="connsiteX217" fmla="*/ 6925 w 10000"/>
                <a:gd name="connsiteY217" fmla="*/ 8912 h 10000"/>
                <a:gd name="connsiteX218" fmla="*/ 6971 w 10000"/>
                <a:gd name="connsiteY218" fmla="*/ 8786 h 10000"/>
                <a:gd name="connsiteX219" fmla="*/ 7035 w 10000"/>
                <a:gd name="connsiteY219" fmla="*/ 9001 h 10000"/>
                <a:gd name="connsiteX220" fmla="*/ 7223 w 10000"/>
                <a:gd name="connsiteY220" fmla="*/ 8994 h 10000"/>
                <a:gd name="connsiteX221" fmla="*/ 7383 w 10000"/>
                <a:gd name="connsiteY221" fmla="*/ 9362 h 10000"/>
                <a:gd name="connsiteX222" fmla="*/ 7398 w 10000"/>
                <a:gd name="connsiteY222" fmla="*/ 9675 h 10000"/>
                <a:gd name="connsiteX223" fmla="*/ 7341 w 10000"/>
                <a:gd name="connsiteY223" fmla="*/ 9692 h 10000"/>
                <a:gd name="connsiteX224" fmla="*/ 7352 w 10000"/>
                <a:gd name="connsiteY224" fmla="*/ 9780 h 10000"/>
                <a:gd name="connsiteX225" fmla="*/ 7594 w 10000"/>
                <a:gd name="connsiteY225" fmla="*/ 9900 h 10000"/>
                <a:gd name="connsiteX226" fmla="*/ 8294 w 10000"/>
                <a:gd name="connsiteY226" fmla="*/ 9023 h 10000"/>
                <a:gd name="connsiteX227" fmla="*/ 8370 w 10000"/>
                <a:gd name="connsiteY227" fmla="*/ 8841 h 10000"/>
                <a:gd name="connsiteX228" fmla="*/ 8458 w 10000"/>
                <a:gd name="connsiteY228" fmla="*/ 8786 h 10000"/>
                <a:gd name="connsiteX229" fmla="*/ 8512 w 10000"/>
                <a:gd name="connsiteY229" fmla="*/ 8512 h 10000"/>
                <a:gd name="connsiteX230" fmla="*/ 8739 w 10000"/>
                <a:gd name="connsiteY230" fmla="*/ 8617 h 10000"/>
                <a:gd name="connsiteX231" fmla="*/ 8872 w 10000"/>
                <a:gd name="connsiteY231" fmla="*/ 8474 h 10000"/>
                <a:gd name="connsiteX232" fmla="*/ 9059 w 10000"/>
                <a:gd name="connsiteY232" fmla="*/ 8343 h 10000"/>
                <a:gd name="connsiteX233" fmla="*/ 8983 w 10000"/>
                <a:gd name="connsiteY233" fmla="*/ 8128 h 10000"/>
                <a:gd name="connsiteX234" fmla="*/ 7885 w 10000"/>
                <a:gd name="connsiteY234" fmla="*/ 7991 h 10000"/>
                <a:gd name="connsiteX235" fmla="*/ 7859 w 10000"/>
                <a:gd name="connsiteY235" fmla="*/ 7904 h 10000"/>
                <a:gd name="connsiteX236" fmla="*/ 7782 w 10000"/>
                <a:gd name="connsiteY236" fmla="*/ 8002 h 10000"/>
                <a:gd name="connsiteX237" fmla="*/ 7893 w 10000"/>
                <a:gd name="connsiteY237" fmla="*/ 7761 h 10000"/>
                <a:gd name="connsiteX238" fmla="*/ 7851 w 10000"/>
                <a:gd name="connsiteY238" fmla="*/ 7717 h 10000"/>
                <a:gd name="connsiteX239" fmla="*/ 7728 w 10000"/>
                <a:gd name="connsiteY239" fmla="*/ 7915 h 10000"/>
                <a:gd name="connsiteX240" fmla="*/ 7793 w 10000"/>
                <a:gd name="connsiteY240" fmla="*/ 7712 h 10000"/>
                <a:gd name="connsiteX241" fmla="*/ 7705 w 10000"/>
                <a:gd name="connsiteY241" fmla="*/ 7767 h 10000"/>
                <a:gd name="connsiteX242" fmla="*/ 7590 w 10000"/>
                <a:gd name="connsiteY242" fmla="*/ 7717 h 10000"/>
                <a:gd name="connsiteX243" fmla="*/ 7502 w 10000"/>
                <a:gd name="connsiteY243" fmla="*/ 7794 h 10000"/>
                <a:gd name="connsiteX244" fmla="*/ 7407 w 10000"/>
                <a:gd name="connsiteY244" fmla="*/ 7728 h 10000"/>
                <a:gd name="connsiteX245" fmla="*/ 7250 w 10000"/>
                <a:gd name="connsiteY245" fmla="*/ 7717 h 10000"/>
                <a:gd name="connsiteX246" fmla="*/ 7253 w 10000"/>
                <a:gd name="connsiteY246" fmla="*/ 7547 h 10000"/>
                <a:gd name="connsiteX247" fmla="*/ 7395 w 10000"/>
                <a:gd name="connsiteY247" fmla="*/ 7662 h 10000"/>
                <a:gd name="connsiteX248" fmla="*/ 7440 w 10000"/>
                <a:gd name="connsiteY248" fmla="*/ 7541 h 10000"/>
                <a:gd name="connsiteX249" fmla="*/ 7403 w 10000"/>
                <a:gd name="connsiteY249" fmla="*/ 7410 h 10000"/>
                <a:gd name="connsiteX250" fmla="*/ 7510 w 10000"/>
                <a:gd name="connsiteY250" fmla="*/ 7547 h 10000"/>
                <a:gd name="connsiteX251" fmla="*/ 7655 w 10000"/>
                <a:gd name="connsiteY251" fmla="*/ 7536 h 10000"/>
                <a:gd name="connsiteX252" fmla="*/ 7679 w 10000"/>
                <a:gd name="connsiteY252" fmla="*/ 7685 h 10000"/>
                <a:gd name="connsiteX253" fmla="*/ 7721 w 10000"/>
                <a:gd name="connsiteY253" fmla="*/ 7685 h 10000"/>
                <a:gd name="connsiteX254" fmla="*/ 7732 w 10000"/>
                <a:gd name="connsiteY254" fmla="*/ 7415 h 10000"/>
                <a:gd name="connsiteX255" fmla="*/ 7782 w 10000"/>
                <a:gd name="connsiteY255" fmla="*/ 7585 h 10000"/>
                <a:gd name="connsiteX256" fmla="*/ 7870 w 10000"/>
                <a:gd name="connsiteY256" fmla="*/ 7590 h 10000"/>
                <a:gd name="connsiteX257" fmla="*/ 7805 w 10000"/>
                <a:gd name="connsiteY257" fmla="*/ 7333 h 10000"/>
                <a:gd name="connsiteX258" fmla="*/ 7965 w 10000"/>
                <a:gd name="connsiteY258" fmla="*/ 7240 h 10000"/>
                <a:gd name="connsiteX259" fmla="*/ 7958 w 10000"/>
                <a:gd name="connsiteY259" fmla="*/ 6987 h 10000"/>
                <a:gd name="connsiteX260" fmla="*/ 8069 w 10000"/>
                <a:gd name="connsiteY260" fmla="*/ 7081 h 10000"/>
                <a:gd name="connsiteX261" fmla="*/ 8088 w 10000"/>
                <a:gd name="connsiteY261" fmla="*/ 7015 h 10000"/>
                <a:gd name="connsiteX262" fmla="*/ 7954 w 10000"/>
                <a:gd name="connsiteY262" fmla="*/ 6735 h 10000"/>
                <a:gd name="connsiteX263" fmla="*/ 8133 w 10000"/>
                <a:gd name="connsiteY263" fmla="*/ 6894 h 10000"/>
                <a:gd name="connsiteX264" fmla="*/ 8359 w 10000"/>
                <a:gd name="connsiteY264" fmla="*/ 6511 h 10000"/>
                <a:gd name="connsiteX265" fmla="*/ 8577 w 10000"/>
                <a:gd name="connsiteY265" fmla="*/ 6483 h 10000"/>
                <a:gd name="connsiteX266" fmla="*/ 8623 w 10000"/>
                <a:gd name="connsiteY266"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353 w 10000"/>
                <a:gd name="connsiteY5" fmla="*/ 1838 h 10000"/>
                <a:gd name="connsiteX6" fmla="*/ 9300 w 10000"/>
                <a:gd name="connsiteY6" fmla="*/ 1712 h 10000"/>
                <a:gd name="connsiteX7" fmla="*/ 6538 w 10000"/>
                <a:gd name="connsiteY7" fmla="*/ 1311 h 10000"/>
                <a:gd name="connsiteX8" fmla="*/ 6454 w 10000"/>
                <a:gd name="connsiteY8" fmla="*/ 1223 h 10000"/>
                <a:gd name="connsiteX9" fmla="*/ 6267 w 10000"/>
                <a:gd name="connsiteY9" fmla="*/ 1273 h 10000"/>
                <a:gd name="connsiteX10" fmla="*/ 6285 w 10000"/>
                <a:gd name="connsiteY10" fmla="*/ 1125 h 10000"/>
                <a:gd name="connsiteX11" fmla="*/ 6213 w 10000"/>
                <a:gd name="connsiteY11" fmla="*/ 1119 h 10000"/>
                <a:gd name="connsiteX12" fmla="*/ 6179 w 10000"/>
                <a:gd name="connsiteY12" fmla="*/ 910 h 10000"/>
                <a:gd name="connsiteX13" fmla="*/ 6079 w 10000"/>
                <a:gd name="connsiteY13" fmla="*/ 795 h 10000"/>
                <a:gd name="connsiteX14" fmla="*/ 6285 w 10000"/>
                <a:gd name="connsiteY14" fmla="*/ 620 h 10000"/>
                <a:gd name="connsiteX15" fmla="*/ 6037 w 10000"/>
                <a:gd name="connsiteY15" fmla="*/ 395 h 10000"/>
                <a:gd name="connsiteX16" fmla="*/ 5988 w 10000"/>
                <a:gd name="connsiteY16" fmla="*/ 142 h 10000"/>
                <a:gd name="connsiteX17" fmla="*/ 5873 w 10000"/>
                <a:gd name="connsiteY17" fmla="*/ 110 h 10000"/>
                <a:gd name="connsiteX18" fmla="*/ 5777 w 10000"/>
                <a:gd name="connsiteY18" fmla="*/ 0 h 10000"/>
                <a:gd name="connsiteX19" fmla="*/ 5675 w 10000"/>
                <a:gd name="connsiteY19" fmla="*/ 120 h 10000"/>
                <a:gd name="connsiteX20" fmla="*/ 5501 w 10000"/>
                <a:gd name="connsiteY20" fmla="*/ 110 h 10000"/>
                <a:gd name="connsiteX21" fmla="*/ 5352 w 10000"/>
                <a:gd name="connsiteY21" fmla="*/ 351 h 10000"/>
                <a:gd name="connsiteX22" fmla="*/ 5066 w 10000"/>
                <a:gd name="connsiteY22" fmla="*/ 329 h 10000"/>
                <a:gd name="connsiteX23" fmla="*/ 4996 w 10000"/>
                <a:gd name="connsiteY23" fmla="*/ 680 h 10000"/>
                <a:gd name="connsiteX24" fmla="*/ 4809 w 10000"/>
                <a:gd name="connsiteY24" fmla="*/ 707 h 10000"/>
                <a:gd name="connsiteX25" fmla="*/ 4905 w 10000"/>
                <a:gd name="connsiteY25" fmla="*/ 844 h 10000"/>
                <a:gd name="connsiteX26" fmla="*/ 4848 w 10000"/>
                <a:gd name="connsiteY26" fmla="*/ 899 h 10000"/>
                <a:gd name="connsiteX27" fmla="*/ 4718 w 10000"/>
                <a:gd name="connsiteY27" fmla="*/ 894 h 10000"/>
                <a:gd name="connsiteX28" fmla="*/ 4541 w 10000"/>
                <a:gd name="connsiteY28" fmla="*/ 1026 h 10000"/>
                <a:gd name="connsiteX29" fmla="*/ 4350 w 10000"/>
                <a:gd name="connsiteY29" fmla="*/ 1668 h 10000"/>
                <a:gd name="connsiteX30" fmla="*/ 4407 w 10000"/>
                <a:gd name="connsiteY30" fmla="*/ 2090 h 10000"/>
                <a:gd name="connsiteX31" fmla="*/ 4216 w 10000"/>
                <a:gd name="connsiteY31" fmla="*/ 1865 h 10000"/>
                <a:gd name="connsiteX32" fmla="*/ 3938 w 10000"/>
                <a:gd name="connsiteY32" fmla="*/ 1991 h 10000"/>
                <a:gd name="connsiteX33" fmla="*/ 3910 w 10000"/>
                <a:gd name="connsiteY33" fmla="*/ 1931 h 10000"/>
                <a:gd name="connsiteX34" fmla="*/ 3780 w 10000"/>
                <a:gd name="connsiteY34" fmla="*/ 2002 h 10000"/>
                <a:gd name="connsiteX35" fmla="*/ 3704 w 10000"/>
                <a:gd name="connsiteY35" fmla="*/ 2144 h 10000"/>
                <a:gd name="connsiteX36" fmla="*/ 3643 w 10000"/>
                <a:gd name="connsiteY36" fmla="*/ 1909 h 10000"/>
                <a:gd name="connsiteX37" fmla="*/ 3558 w 10000"/>
                <a:gd name="connsiteY37" fmla="*/ 1843 h 10000"/>
                <a:gd name="connsiteX38" fmla="*/ 3523 w 10000"/>
                <a:gd name="connsiteY38" fmla="*/ 1964 h 10000"/>
                <a:gd name="connsiteX39" fmla="*/ 3409 w 10000"/>
                <a:gd name="connsiteY39" fmla="*/ 1996 h 10000"/>
                <a:gd name="connsiteX40" fmla="*/ 3347 w 10000"/>
                <a:gd name="connsiteY40" fmla="*/ 2161 h 10000"/>
                <a:gd name="connsiteX41" fmla="*/ 3309 w 10000"/>
                <a:gd name="connsiteY41" fmla="*/ 2013 h 10000"/>
                <a:gd name="connsiteX42" fmla="*/ 3195 w 10000"/>
                <a:gd name="connsiteY42" fmla="*/ 2024 h 10000"/>
                <a:gd name="connsiteX43" fmla="*/ 3149 w 10000"/>
                <a:gd name="connsiteY43" fmla="*/ 2128 h 10000"/>
                <a:gd name="connsiteX44" fmla="*/ 3080 w 10000"/>
                <a:gd name="connsiteY44" fmla="*/ 1975 h 10000"/>
                <a:gd name="connsiteX45" fmla="*/ 2962 w 10000"/>
                <a:gd name="connsiteY45" fmla="*/ 2117 h 10000"/>
                <a:gd name="connsiteX46" fmla="*/ 2847 w 10000"/>
                <a:gd name="connsiteY46" fmla="*/ 2106 h 10000"/>
                <a:gd name="connsiteX47" fmla="*/ 2843 w 10000"/>
                <a:gd name="connsiteY47" fmla="*/ 2276 h 10000"/>
                <a:gd name="connsiteX48" fmla="*/ 2790 w 10000"/>
                <a:gd name="connsiteY48" fmla="*/ 2144 h 10000"/>
                <a:gd name="connsiteX49" fmla="*/ 2618 w 10000"/>
                <a:gd name="connsiteY49" fmla="*/ 2155 h 10000"/>
                <a:gd name="connsiteX50" fmla="*/ 2494 w 10000"/>
                <a:gd name="connsiteY50" fmla="*/ 1980 h 10000"/>
                <a:gd name="connsiteX51" fmla="*/ 2346 w 10000"/>
                <a:gd name="connsiteY51" fmla="*/ 2073 h 10000"/>
                <a:gd name="connsiteX52" fmla="*/ 2192 w 10000"/>
                <a:gd name="connsiteY52" fmla="*/ 1958 h 10000"/>
                <a:gd name="connsiteX53" fmla="*/ 2104 w 10000"/>
                <a:gd name="connsiteY53" fmla="*/ 2035 h 10000"/>
                <a:gd name="connsiteX54" fmla="*/ 2020 w 10000"/>
                <a:gd name="connsiteY54" fmla="*/ 1947 h 10000"/>
                <a:gd name="connsiteX55" fmla="*/ 1895 w 10000"/>
                <a:gd name="connsiteY55" fmla="*/ 1936 h 10000"/>
                <a:gd name="connsiteX56" fmla="*/ 1707 w 10000"/>
                <a:gd name="connsiteY56" fmla="*/ 1925 h 10000"/>
                <a:gd name="connsiteX57" fmla="*/ 1477 w 10000"/>
                <a:gd name="connsiteY57" fmla="*/ 1991 h 10000"/>
                <a:gd name="connsiteX58" fmla="*/ 1233 w 10000"/>
                <a:gd name="connsiteY58" fmla="*/ 2062 h 10000"/>
                <a:gd name="connsiteX59" fmla="*/ 942 w 10000"/>
                <a:gd name="connsiteY59" fmla="*/ 2166 h 10000"/>
                <a:gd name="connsiteX60" fmla="*/ 815 w 10000"/>
                <a:gd name="connsiteY60" fmla="*/ 2496 h 10000"/>
                <a:gd name="connsiteX61" fmla="*/ 617 w 10000"/>
                <a:gd name="connsiteY61" fmla="*/ 2501 h 10000"/>
                <a:gd name="connsiteX62" fmla="*/ 552 w 10000"/>
                <a:gd name="connsiteY62" fmla="*/ 2687 h 10000"/>
                <a:gd name="connsiteX63" fmla="*/ 571 w 10000"/>
                <a:gd name="connsiteY63" fmla="*/ 2764 h 10000"/>
                <a:gd name="connsiteX64" fmla="*/ 590 w 10000"/>
                <a:gd name="connsiteY64" fmla="*/ 2868 h 10000"/>
                <a:gd name="connsiteX65" fmla="*/ 590 w 10000"/>
                <a:gd name="connsiteY65" fmla="*/ 2868 h 10000"/>
                <a:gd name="connsiteX66" fmla="*/ 590 w 10000"/>
                <a:gd name="connsiteY66" fmla="*/ 2896 h 10000"/>
                <a:gd name="connsiteX67" fmla="*/ 698 w 10000"/>
                <a:gd name="connsiteY67" fmla="*/ 3116 h 10000"/>
                <a:gd name="connsiteX68" fmla="*/ 804 w 10000"/>
                <a:gd name="connsiteY68" fmla="*/ 3351 h 10000"/>
                <a:gd name="connsiteX69" fmla="*/ 942 w 10000"/>
                <a:gd name="connsiteY69" fmla="*/ 3488 h 10000"/>
                <a:gd name="connsiteX70" fmla="*/ 896 w 10000"/>
                <a:gd name="connsiteY70" fmla="*/ 3548 h 10000"/>
                <a:gd name="connsiteX71" fmla="*/ 824 w 10000"/>
                <a:gd name="connsiteY71" fmla="*/ 3603 h 10000"/>
                <a:gd name="connsiteX72" fmla="*/ 907 w 10000"/>
                <a:gd name="connsiteY72" fmla="*/ 3697 h 10000"/>
                <a:gd name="connsiteX73" fmla="*/ 896 w 10000"/>
                <a:gd name="connsiteY73" fmla="*/ 4053 h 10000"/>
                <a:gd name="connsiteX74" fmla="*/ 709 w 10000"/>
                <a:gd name="connsiteY74" fmla="*/ 4124 h 10000"/>
                <a:gd name="connsiteX75" fmla="*/ 509 w 10000"/>
                <a:gd name="connsiteY75" fmla="*/ 4531 h 10000"/>
                <a:gd name="connsiteX76" fmla="*/ 380 w 10000"/>
                <a:gd name="connsiteY76" fmla="*/ 4936 h 10000"/>
                <a:gd name="connsiteX77" fmla="*/ 199 w 10000"/>
                <a:gd name="connsiteY77" fmla="*/ 5260 h 10000"/>
                <a:gd name="connsiteX78" fmla="*/ 276 w 10000"/>
                <a:gd name="connsiteY78" fmla="*/ 5517 h 10000"/>
                <a:gd name="connsiteX79" fmla="*/ 283 w 10000"/>
                <a:gd name="connsiteY79" fmla="*/ 5732 h 10000"/>
                <a:gd name="connsiteX80" fmla="*/ 409 w 10000"/>
                <a:gd name="connsiteY80" fmla="*/ 5841 h 10000"/>
                <a:gd name="connsiteX81" fmla="*/ 391 w 10000"/>
                <a:gd name="connsiteY81" fmla="*/ 5945 h 10000"/>
                <a:gd name="connsiteX82" fmla="*/ 207 w 10000"/>
                <a:gd name="connsiteY82" fmla="*/ 5852 h 10000"/>
                <a:gd name="connsiteX83" fmla="*/ 127 w 10000"/>
                <a:gd name="connsiteY83" fmla="*/ 6099 h 10000"/>
                <a:gd name="connsiteX84" fmla="*/ 107 w 10000"/>
                <a:gd name="connsiteY84" fmla="*/ 6346 h 10000"/>
                <a:gd name="connsiteX85" fmla="*/ 1 w 10000"/>
                <a:gd name="connsiteY85" fmla="*/ 6571 h 10000"/>
                <a:gd name="connsiteX86" fmla="*/ 19 w 10000"/>
                <a:gd name="connsiteY86" fmla="*/ 6779 h 10000"/>
                <a:gd name="connsiteX87" fmla="*/ 92 w 10000"/>
                <a:gd name="connsiteY87" fmla="*/ 6828 h 10000"/>
                <a:gd name="connsiteX88" fmla="*/ 158 w 10000"/>
                <a:gd name="connsiteY88" fmla="*/ 6960 h 10000"/>
                <a:gd name="connsiteX89" fmla="*/ 246 w 10000"/>
                <a:gd name="connsiteY89" fmla="*/ 6943 h 10000"/>
                <a:gd name="connsiteX90" fmla="*/ 299 w 10000"/>
                <a:gd name="connsiteY90" fmla="*/ 7076 h 10000"/>
                <a:gd name="connsiteX91" fmla="*/ 455 w 10000"/>
                <a:gd name="connsiteY91" fmla="*/ 7103 h 10000"/>
                <a:gd name="connsiteX92" fmla="*/ 463 w 10000"/>
                <a:gd name="connsiteY92" fmla="*/ 7251 h 10000"/>
                <a:gd name="connsiteX93" fmla="*/ 505 w 10000"/>
                <a:gd name="connsiteY93" fmla="*/ 7278 h 10000"/>
                <a:gd name="connsiteX94" fmla="*/ 537 w 10000"/>
                <a:gd name="connsiteY94" fmla="*/ 7174 h 10000"/>
                <a:gd name="connsiteX95" fmla="*/ 594 w 10000"/>
                <a:gd name="connsiteY95" fmla="*/ 7196 h 10000"/>
                <a:gd name="connsiteX96" fmla="*/ 659 w 10000"/>
                <a:gd name="connsiteY96" fmla="*/ 6992 h 10000"/>
                <a:gd name="connsiteX97" fmla="*/ 839 w 10000"/>
                <a:gd name="connsiteY97" fmla="*/ 7174 h 10000"/>
                <a:gd name="connsiteX98" fmla="*/ 1313 w 10000"/>
                <a:gd name="connsiteY98" fmla="*/ 7163 h 10000"/>
                <a:gd name="connsiteX99" fmla="*/ 1500 w 10000"/>
                <a:gd name="connsiteY99" fmla="*/ 7092 h 10000"/>
                <a:gd name="connsiteX100" fmla="*/ 1807 w 10000"/>
                <a:gd name="connsiteY100" fmla="*/ 7344 h 10000"/>
                <a:gd name="connsiteX101" fmla="*/ 2001 w 10000"/>
                <a:gd name="connsiteY101" fmla="*/ 7087 h 10000"/>
                <a:gd name="connsiteX102" fmla="*/ 2437 w 10000"/>
                <a:gd name="connsiteY102" fmla="*/ 6861 h 10000"/>
                <a:gd name="connsiteX103" fmla="*/ 2594 w 10000"/>
                <a:gd name="connsiteY103" fmla="*/ 6489 h 10000"/>
                <a:gd name="connsiteX104" fmla="*/ 2709 w 10000"/>
                <a:gd name="connsiteY104" fmla="*/ 6439 h 10000"/>
                <a:gd name="connsiteX105" fmla="*/ 2709 w 10000"/>
                <a:gd name="connsiteY105" fmla="*/ 6379 h 10000"/>
                <a:gd name="connsiteX106" fmla="*/ 2755 w 10000"/>
                <a:gd name="connsiteY106" fmla="*/ 6379 h 10000"/>
                <a:gd name="connsiteX107" fmla="*/ 2744 w 10000"/>
                <a:gd name="connsiteY107" fmla="*/ 6230 h 10000"/>
                <a:gd name="connsiteX108" fmla="*/ 2885 w 10000"/>
                <a:gd name="connsiteY108" fmla="*/ 6285 h 10000"/>
                <a:gd name="connsiteX109" fmla="*/ 2904 w 10000"/>
                <a:gd name="connsiteY109" fmla="*/ 6159 h 10000"/>
                <a:gd name="connsiteX110" fmla="*/ 2988 w 10000"/>
                <a:gd name="connsiteY110" fmla="*/ 6230 h 10000"/>
                <a:gd name="connsiteX111" fmla="*/ 3050 w 10000"/>
                <a:gd name="connsiteY111" fmla="*/ 6126 h 10000"/>
                <a:gd name="connsiteX112" fmla="*/ 3149 w 10000"/>
                <a:gd name="connsiteY112" fmla="*/ 6154 h 10000"/>
                <a:gd name="connsiteX113" fmla="*/ 3237 w 10000"/>
                <a:gd name="connsiteY113" fmla="*/ 6055 h 10000"/>
                <a:gd name="connsiteX114" fmla="*/ 3405 w 10000"/>
                <a:gd name="connsiteY114" fmla="*/ 6192 h 10000"/>
                <a:gd name="connsiteX115" fmla="*/ 3490 w 10000"/>
                <a:gd name="connsiteY115" fmla="*/ 6197 h 10000"/>
                <a:gd name="connsiteX116" fmla="*/ 3516 w 10000"/>
                <a:gd name="connsiteY116" fmla="*/ 6307 h 10000"/>
                <a:gd name="connsiteX117" fmla="*/ 3674 w 10000"/>
                <a:gd name="connsiteY117" fmla="*/ 6236 h 10000"/>
                <a:gd name="connsiteX118" fmla="*/ 3658 w 10000"/>
                <a:gd name="connsiteY118" fmla="*/ 6357 h 10000"/>
                <a:gd name="connsiteX119" fmla="*/ 3716 w 10000"/>
                <a:gd name="connsiteY119" fmla="*/ 6341 h 10000"/>
                <a:gd name="connsiteX120" fmla="*/ 3784 w 10000"/>
                <a:gd name="connsiteY120" fmla="*/ 6428 h 10000"/>
                <a:gd name="connsiteX121" fmla="*/ 3788 w 10000"/>
                <a:gd name="connsiteY121" fmla="*/ 6301 h 10000"/>
                <a:gd name="connsiteX122" fmla="*/ 3971 w 10000"/>
                <a:gd name="connsiteY122" fmla="*/ 6341 h 10000"/>
                <a:gd name="connsiteX123" fmla="*/ 4037 w 10000"/>
                <a:gd name="connsiteY123" fmla="*/ 6511 h 10000"/>
                <a:gd name="connsiteX124" fmla="*/ 4140 w 10000"/>
                <a:gd name="connsiteY124" fmla="*/ 6494 h 10000"/>
                <a:gd name="connsiteX125" fmla="*/ 4185 w 10000"/>
                <a:gd name="connsiteY125" fmla="*/ 6417 h 10000"/>
                <a:gd name="connsiteX126" fmla="*/ 4288 w 10000"/>
                <a:gd name="connsiteY126" fmla="*/ 6735 h 10000"/>
                <a:gd name="connsiteX127" fmla="*/ 4251 w 10000"/>
                <a:gd name="connsiteY127" fmla="*/ 6987 h 10000"/>
                <a:gd name="connsiteX128" fmla="*/ 4304 w 10000"/>
                <a:gd name="connsiteY128" fmla="*/ 7114 h 10000"/>
                <a:gd name="connsiteX129" fmla="*/ 4376 w 10000"/>
                <a:gd name="connsiteY129" fmla="*/ 7119 h 10000"/>
                <a:gd name="connsiteX130" fmla="*/ 4488 w 10000"/>
                <a:gd name="connsiteY130" fmla="*/ 7256 h 10000"/>
                <a:gd name="connsiteX131" fmla="*/ 4533 w 10000"/>
                <a:gd name="connsiteY131" fmla="*/ 7152 h 10000"/>
                <a:gd name="connsiteX132" fmla="*/ 4583 w 10000"/>
                <a:gd name="connsiteY132" fmla="*/ 7322 h 10000"/>
                <a:gd name="connsiteX133" fmla="*/ 4646 w 10000"/>
                <a:gd name="connsiteY133" fmla="*/ 7662 h 10000"/>
                <a:gd name="connsiteX134" fmla="*/ 4829 w 10000"/>
                <a:gd name="connsiteY134" fmla="*/ 7739 h 10000"/>
                <a:gd name="connsiteX135" fmla="*/ 4871 w 10000"/>
                <a:gd name="connsiteY135" fmla="*/ 8183 h 10000"/>
                <a:gd name="connsiteX136" fmla="*/ 5027 w 10000"/>
                <a:gd name="connsiteY136" fmla="*/ 8276 h 10000"/>
                <a:gd name="connsiteX137" fmla="*/ 4866 w 10000"/>
                <a:gd name="connsiteY137" fmla="*/ 8370 h 10000"/>
                <a:gd name="connsiteX138" fmla="*/ 4813 w 10000"/>
                <a:gd name="connsiteY138" fmla="*/ 8260 h 10000"/>
                <a:gd name="connsiteX139" fmla="*/ 4752 w 10000"/>
                <a:gd name="connsiteY139" fmla="*/ 8403 h 10000"/>
                <a:gd name="connsiteX140" fmla="*/ 4594 w 10000"/>
                <a:gd name="connsiteY140" fmla="*/ 8287 h 10000"/>
                <a:gd name="connsiteX141" fmla="*/ 4506 w 10000"/>
                <a:gd name="connsiteY141" fmla="*/ 8452 h 10000"/>
                <a:gd name="connsiteX142" fmla="*/ 4323 w 10000"/>
                <a:gd name="connsiteY142" fmla="*/ 8331 h 10000"/>
                <a:gd name="connsiteX143" fmla="*/ 4411 w 10000"/>
                <a:gd name="connsiteY143" fmla="*/ 8699 h 10000"/>
                <a:gd name="connsiteX144" fmla="*/ 4403 w 10000"/>
                <a:gd name="connsiteY144" fmla="*/ 8967 h 10000"/>
                <a:gd name="connsiteX145" fmla="*/ 4285 w 10000"/>
                <a:gd name="connsiteY145" fmla="*/ 9088 h 10000"/>
                <a:gd name="connsiteX146" fmla="*/ 4323 w 10000"/>
                <a:gd name="connsiteY146" fmla="*/ 9193 h 10000"/>
                <a:gd name="connsiteX147" fmla="*/ 4159 w 10000"/>
                <a:gd name="connsiteY147" fmla="*/ 9412 h 10000"/>
                <a:gd name="connsiteX148" fmla="*/ 4224 w 10000"/>
                <a:gd name="connsiteY148" fmla="*/ 9647 h 10000"/>
                <a:gd name="connsiteX149" fmla="*/ 4063 w 10000"/>
                <a:gd name="connsiteY149" fmla="*/ 9681 h 10000"/>
                <a:gd name="connsiteX150" fmla="*/ 4021 w 10000"/>
                <a:gd name="connsiteY150" fmla="*/ 9741 h 10000"/>
                <a:gd name="connsiteX151" fmla="*/ 4090 w 10000"/>
                <a:gd name="connsiteY151" fmla="*/ 9785 h 10000"/>
                <a:gd name="connsiteX152" fmla="*/ 4213 w 10000"/>
                <a:gd name="connsiteY152" fmla="*/ 9944 h 10000"/>
                <a:gd name="connsiteX153" fmla="*/ 4411 w 10000"/>
                <a:gd name="connsiteY153" fmla="*/ 9999 h 10000"/>
                <a:gd name="connsiteX154" fmla="*/ 4418 w 10000"/>
                <a:gd name="connsiteY154" fmla="*/ 9851 h 10000"/>
                <a:gd name="connsiteX155" fmla="*/ 4488 w 10000"/>
                <a:gd name="connsiteY155" fmla="*/ 9856 h 10000"/>
                <a:gd name="connsiteX156" fmla="*/ 4783 w 10000"/>
                <a:gd name="connsiteY156" fmla="*/ 9603 h 10000"/>
                <a:gd name="connsiteX157" fmla="*/ 4978 w 10000"/>
                <a:gd name="connsiteY157" fmla="*/ 9845 h 10000"/>
                <a:gd name="connsiteX158" fmla="*/ 4978 w 10000"/>
                <a:gd name="connsiteY158" fmla="*/ 9862 h 10000"/>
                <a:gd name="connsiteX159" fmla="*/ 5009 w 10000"/>
                <a:gd name="connsiteY159" fmla="*/ 9703 h 10000"/>
                <a:gd name="connsiteX160" fmla="*/ 4954 w 10000"/>
                <a:gd name="connsiteY160" fmla="*/ 9570 h 10000"/>
                <a:gd name="connsiteX161" fmla="*/ 4886 w 10000"/>
                <a:gd name="connsiteY161" fmla="*/ 9549 h 10000"/>
                <a:gd name="connsiteX162" fmla="*/ 4932 w 10000"/>
                <a:gd name="connsiteY162" fmla="*/ 9466 h 10000"/>
                <a:gd name="connsiteX163" fmla="*/ 4917 w 10000"/>
                <a:gd name="connsiteY163" fmla="*/ 9444 h 10000"/>
                <a:gd name="connsiteX164" fmla="*/ 4859 w 10000"/>
                <a:gd name="connsiteY164" fmla="*/ 9439 h 10000"/>
                <a:gd name="connsiteX165" fmla="*/ 4829 w 10000"/>
                <a:gd name="connsiteY165" fmla="*/ 9121 h 10000"/>
                <a:gd name="connsiteX166" fmla="*/ 4871 w 10000"/>
                <a:gd name="connsiteY166" fmla="*/ 9105 h 10000"/>
                <a:gd name="connsiteX167" fmla="*/ 4893 w 10000"/>
                <a:gd name="connsiteY167" fmla="*/ 9253 h 10000"/>
                <a:gd name="connsiteX168" fmla="*/ 4947 w 10000"/>
                <a:gd name="connsiteY168" fmla="*/ 9384 h 10000"/>
                <a:gd name="connsiteX169" fmla="*/ 4993 w 10000"/>
                <a:gd name="connsiteY169" fmla="*/ 9302 h 10000"/>
                <a:gd name="connsiteX170" fmla="*/ 4981 w 10000"/>
                <a:gd name="connsiteY170" fmla="*/ 9220 h 10000"/>
                <a:gd name="connsiteX171" fmla="*/ 5054 w 10000"/>
                <a:gd name="connsiteY171" fmla="*/ 9203 h 10000"/>
                <a:gd name="connsiteX172" fmla="*/ 5016 w 10000"/>
                <a:gd name="connsiteY172" fmla="*/ 9034 h 10000"/>
                <a:gd name="connsiteX173" fmla="*/ 5115 w 10000"/>
                <a:gd name="connsiteY173" fmla="*/ 9061 h 10000"/>
                <a:gd name="connsiteX174" fmla="*/ 5119 w 10000"/>
                <a:gd name="connsiteY174" fmla="*/ 8972 h 10000"/>
                <a:gd name="connsiteX175" fmla="*/ 5157 w 10000"/>
                <a:gd name="connsiteY175" fmla="*/ 9039 h 10000"/>
                <a:gd name="connsiteX176" fmla="*/ 5326 w 10000"/>
                <a:gd name="connsiteY176" fmla="*/ 8781 h 10000"/>
                <a:gd name="connsiteX177" fmla="*/ 5230 w 10000"/>
                <a:gd name="connsiteY177" fmla="*/ 8584 h 10000"/>
                <a:gd name="connsiteX178" fmla="*/ 5051 w 10000"/>
                <a:gd name="connsiteY178" fmla="*/ 8425 h 10000"/>
                <a:gd name="connsiteX179" fmla="*/ 5153 w 10000"/>
                <a:gd name="connsiteY179" fmla="*/ 8370 h 10000"/>
                <a:gd name="connsiteX180" fmla="*/ 5302 w 10000"/>
                <a:gd name="connsiteY180" fmla="*/ 8633 h 10000"/>
                <a:gd name="connsiteX181" fmla="*/ 5414 w 10000"/>
                <a:gd name="connsiteY181" fmla="*/ 8199 h 10000"/>
                <a:gd name="connsiteX182" fmla="*/ 5421 w 10000"/>
                <a:gd name="connsiteY182" fmla="*/ 8030 h 10000"/>
                <a:gd name="connsiteX183" fmla="*/ 5608 w 10000"/>
                <a:gd name="connsiteY183" fmla="*/ 7942 h 10000"/>
                <a:gd name="connsiteX184" fmla="*/ 5678 w 10000"/>
                <a:gd name="connsiteY184" fmla="*/ 7607 h 10000"/>
                <a:gd name="connsiteX185" fmla="*/ 5689 w 10000"/>
                <a:gd name="connsiteY185" fmla="*/ 7734 h 10000"/>
                <a:gd name="connsiteX186" fmla="*/ 5808 w 10000"/>
                <a:gd name="connsiteY186" fmla="*/ 7596 h 10000"/>
                <a:gd name="connsiteX187" fmla="*/ 5892 w 10000"/>
                <a:gd name="connsiteY187" fmla="*/ 7579 h 10000"/>
                <a:gd name="connsiteX188" fmla="*/ 5976 w 10000"/>
                <a:gd name="connsiteY188" fmla="*/ 7207 h 10000"/>
                <a:gd name="connsiteX189" fmla="*/ 6052 w 10000"/>
                <a:gd name="connsiteY189" fmla="*/ 7486 h 10000"/>
                <a:gd name="connsiteX190" fmla="*/ 6278 w 10000"/>
                <a:gd name="connsiteY190" fmla="*/ 7563 h 10000"/>
                <a:gd name="connsiteX191" fmla="*/ 6106 w 10000"/>
                <a:gd name="connsiteY191" fmla="*/ 7618 h 10000"/>
                <a:gd name="connsiteX192" fmla="*/ 6091 w 10000"/>
                <a:gd name="connsiteY192" fmla="*/ 7679 h 10000"/>
                <a:gd name="connsiteX193" fmla="*/ 5919 w 10000"/>
                <a:gd name="connsiteY193" fmla="*/ 7690 h 10000"/>
                <a:gd name="connsiteX194" fmla="*/ 5831 w 10000"/>
                <a:gd name="connsiteY194" fmla="*/ 7723 h 10000"/>
                <a:gd name="connsiteX195" fmla="*/ 5900 w 10000"/>
                <a:gd name="connsiteY195" fmla="*/ 7772 h 10000"/>
                <a:gd name="connsiteX196" fmla="*/ 5961 w 10000"/>
                <a:gd name="connsiteY196" fmla="*/ 7756 h 10000"/>
                <a:gd name="connsiteX197" fmla="*/ 6129 w 10000"/>
                <a:gd name="connsiteY197" fmla="*/ 7789 h 10000"/>
                <a:gd name="connsiteX198" fmla="*/ 5938 w 10000"/>
                <a:gd name="connsiteY198" fmla="*/ 7964 h 10000"/>
                <a:gd name="connsiteX199" fmla="*/ 6007 w 10000"/>
                <a:gd name="connsiteY199" fmla="*/ 8008 h 10000"/>
                <a:gd name="connsiteX200" fmla="*/ 6182 w 10000"/>
                <a:gd name="connsiteY200" fmla="*/ 7958 h 10000"/>
                <a:gd name="connsiteX201" fmla="*/ 6419 w 10000"/>
                <a:gd name="connsiteY201" fmla="*/ 8101 h 10000"/>
                <a:gd name="connsiteX202" fmla="*/ 6726 w 10000"/>
                <a:gd name="connsiteY202" fmla="*/ 7909 h 10000"/>
                <a:gd name="connsiteX203" fmla="*/ 7028 w 10000"/>
                <a:gd name="connsiteY203" fmla="*/ 7887 h 10000"/>
                <a:gd name="connsiteX204" fmla="*/ 7074 w 10000"/>
                <a:gd name="connsiteY204" fmla="*/ 7745 h 10000"/>
                <a:gd name="connsiteX205" fmla="*/ 7154 w 10000"/>
                <a:gd name="connsiteY205" fmla="*/ 7958 h 10000"/>
                <a:gd name="connsiteX206" fmla="*/ 7238 w 10000"/>
                <a:gd name="connsiteY206" fmla="*/ 7986 h 10000"/>
                <a:gd name="connsiteX207" fmla="*/ 7207 w 10000"/>
                <a:gd name="connsiteY207" fmla="*/ 8134 h 10000"/>
                <a:gd name="connsiteX208" fmla="*/ 6944 w 10000"/>
                <a:gd name="connsiteY208" fmla="*/ 8281 h 10000"/>
                <a:gd name="connsiteX209" fmla="*/ 6925 w 10000"/>
                <a:gd name="connsiteY209" fmla="*/ 8386 h 10000"/>
                <a:gd name="connsiteX210" fmla="*/ 6780 w 10000"/>
                <a:gd name="connsiteY210" fmla="*/ 8523 h 10000"/>
                <a:gd name="connsiteX211" fmla="*/ 6775 w 10000"/>
                <a:gd name="connsiteY211" fmla="*/ 8649 h 10000"/>
                <a:gd name="connsiteX212" fmla="*/ 6687 w 10000"/>
                <a:gd name="connsiteY212" fmla="*/ 8704 h 10000"/>
                <a:gd name="connsiteX213" fmla="*/ 6576 w 10000"/>
                <a:gd name="connsiteY213" fmla="*/ 8989 h 10000"/>
                <a:gd name="connsiteX214" fmla="*/ 6734 w 10000"/>
                <a:gd name="connsiteY214" fmla="*/ 9001 h 10000"/>
                <a:gd name="connsiteX215" fmla="*/ 6826 w 10000"/>
                <a:gd name="connsiteY215" fmla="*/ 8879 h 10000"/>
                <a:gd name="connsiteX216" fmla="*/ 6925 w 10000"/>
                <a:gd name="connsiteY216" fmla="*/ 8912 h 10000"/>
                <a:gd name="connsiteX217" fmla="*/ 6971 w 10000"/>
                <a:gd name="connsiteY217" fmla="*/ 8786 h 10000"/>
                <a:gd name="connsiteX218" fmla="*/ 7035 w 10000"/>
                <a:gd name="connsiteY218" fmla="*/ 9001 h 10000"/>
                <a:gd name="connsiteX219" fmla="*/ 7223 w 10000"/>
                <a:gd name="connsiteY219" fmla="*/ 8994 h 10000"/>
                <a:gd name="connsiteX220" fmla="*/ 7383 w 10000"/>
                <a:gd name="connsiteY220" fmla="*/ 9362 h 10000"/>
                <a:gd name="connsiteX221" fmla="*/ 7398 w 10000"/>
                <a:gd name="connsiteY221" fmla="*/ 9675 h 10000"/>
                <a:gd name="connsiteX222" fmla="*/ 7341 w 10000"/>
                <a:gd name="connsiteY222" fmla="*/ 9692 h 10000"/>
                <a:gd name="connsiteX223" fmla="*/ 7352 w 10000"/>
                <a:gd name="connsiteY223" fmla="*/ 9780 h 10000"/>
                <a:gd name="connsiteX224" fmla="*/ 7594 w 10000"/>
                <a:gd name="connsiteY224" fmla="*/ 9900 h 10000"/>
                <a:gd name="connsiteX225" fmla="*/ 8294 w 10000"/>
                <a:gd name="connsiteY225" fmla="*/ 9023 h 10000"/>
                <a:gd name="connsiteX226" fmla="*/ 8370 w 10000"/>
                <a:gd name="connsiteY226" fmla="*/ 8841 h 10000"/>
                <a:gd name="connsiteX227" fmla="*/ 8458 w 10000"/>
                <a:gd name="connsiteY227" fmla="*/ 8786 h 10000"/>
                <a:gd name="connsiteX228" fmla="*/ 8512 w 10000"/>
                <a:gd name="connsiteY228" fmla="*/ 8512 h 10000"/>
                <a:gd name="connsiteX229" fmla="*/ 8739 w 10000"/>
                <a:gd name="connsiteY229" fmla="*/ 8617 h 10000"/>
                <a:gd name="connsiteX230" fmla="*/ 8872 w 10000"/>
                <a:gd name="connsiteY230" fmla="*/ 8474 h 10000"/>
                <a:gd name="connsiteX231" fmla="*/ 9059 w 10000"/>
                <a:gd name="connsiteY231" fmla="*/ 8343 h 10000"/>
                <a:gd name="connsiteX232" fmla="*/ 8983 w 10000"/>
                <a:gd name="connsiteY232" fmla="*/ 8128 h 10000"/>
                <a:gd name="connsiteX233" fmla="*/ 7885 w 10000"/>
                <a:gd name="connsiteY233" fmla="*/ 7991 h 10000"/>
                <a:gd name="connsiteX234" fmla="*/ 7859 w 10000"/>
                <a:gd name="connsiteY234" fmla="*/ 7904 h 10000"/>
                <a:gd name="connsiteX235" fmla="*/ 7782 w 10000"/>
                <a:gd name="connsiteY235" fmla="*/ 8002 h 10000"/>
                <a:gd name="connsiteX236" fmla="*/ 7893 w 10000"/>
                <a:gd name="connsiteY236" fmla="*/ 7761 h 10000"/>
                <a:gd name="connsiteX237" fmla="*/ 7851 w 10000"/>
                <a:gd name="connsiteY237" fmla="*/ 7717 h 10000"/>
                <a:gd name="connsiteX238" fmla="*/ 7728 w 10000"/>
                <a:gd name="connsiteY238" fmla="*/ 7915 h 10000"/>
                <a:gd name="connsiteX239" fmla="*/ 7793 w 10000"/>
                <a:gd name="connsiteY239" fmla="*/ 7712 h 10000"/>
                <a:gd name="connsiteX240" fmla="*/ 7705 w 10000"/>
                <a:gd name="connsiteY240" fmla="*/ 7767 h 10000"/>
                <a:gd name="connsiteX241" fmla="*/ 7590 w 10000"/>
                <a:gd name="connsiteY241" fmla="*/ 7717 h 10000"/>
                <a:gd name="connsiteX242" fmla="*/ 7502 w 10000"/>
                <a:gd name="connsiteY242" fmla="*/ 7794 h 10000"/>
                <a:gd name="connsiteX243" fmla="*/ 7407 w 10000"/>
                <a:gd name="connsiteY243" fmla="*/ 7728 h 10000"/>
                <a:gd name="connsiteX244" fmla="*/ 7250 w 10000"/>
                <a:gd name="connsiteY244" fmla="*/ 7717 h 10000"/>
                <a:gd name="connsiteX245" fmla="*/ 7253 w 10000"/>
                <a:gd name="connsiteY245" fmla="*/ 7547 h 10000"/>
                <a:gd name="connsiteX246" fmla="*/ 7395 w 10000"/>
                <a:gd name="connsiteY246" fmla="*/ 7662 h 10000"/>
                <a:gd name="connsiteX247" fmla="*/ 7440 w 10000"/>
                <a:gd name="connsiteY247" fmla="*/ 7541 h 10000"/>
                <a:gd name="connsiteX248" fmla="*/ 7403 w 10000"/>
                <a:gd name="connsiteY248" fmla="*/ 7410 h 10000"/>
                <a:gd name="connsiteX249" fmla="*/ 7510 w 10000"/>
                <a:gd name="connsiteY249" fmla="*/ 7547 h 10000"/>
                <a:gd name="connsiteX250" fmla="*/ 7655 w 10000"/>
                <a:gd name="connsiteY250" fmla="*/ 7536 h 10000"/>
                <a:gd name="connsiteX251" fmla="*/ 7679 w 10000"/>
                <a:gd name="connsiteY251" fmla="*/ 7685 h 10000"/>
                <a:gd name="connsiteX252" fmla="*/ 7721 w 10000"/>
                <a:gd name="connsiteY252" fmla="*/ 7685 h 10000"/>
                <a:gd name="connsiteX253" fmla="*/ 7732 w 10000"/>
                <a:gd name="connsiteY253" fmla="*/ 7415 h 10000"/>
                <a:gd name="connsiteX254" fmla="*/ 7782 w 10000"/>
                <a:gd name="connsiteY254" fmla="*/ 7585 h 10000"/>
                <a:gd name="connsiteX255" fmla="*/ 7870 w 10000"/>
                <a:gd name="connsiteY255" fmla="*/ 7590 h 10000"/>
                <a:gd name="connsiteX256" fmla="*/ 7805 w 10000"/>
                <a:gd name="connsiteY256" fmla="*/ 7333 h 10000"/>
                <a:gd name="connsiteX257" fmla="*/ 7965 w 10000"/>
                <a:gd name="connsiteY257" fmla="*/ 7240 h 10000"/>
                <a:gd name="connsiteX258" fmla="*/ 7958 w 10000"/>
                <a:gd name="connsiteY258" fmla="*/ 6987 h 10000"/>
                <a:gd name="connsiteX259" fmla="*/ 8069 w 10000"/>
                <a:gd name="connsiteY259" fmla="*/ 7081 h 10000"/>
                <a:gd name="connsiteX260" fmla="*/ 8088 w 10000"/>
                <a:gd name="connsiteY260" fmla="*/ 7015 h 10000"/>
                <a:gd name="connsiteX261" fmla="*/ 7954 w 10000"/>
                <a:gd name="connsiteY261" fmla="*/ 6735 h 10000"/>
                <a:gd name="connsiteX262" fmla="*/ 8133 w 10000"/>
                <a:gd name="connsiteY262" fmla="*/ 6894 h 10000"/>
                <a:gd name="connsiteX263" fmla="*/ 8359 w 10000"/>
                <a:gd name="connsiteY263" fmla="*/ 6511 h 10000"/>
                <a:gd name="connsiteX264" fmla="*/ 8577 w 10000"/>
                <a:gd name="connsiteY264" fmla="*/ 6483 h 10000"/>
                <a:gd name="connsiteX265" fmla="*/ 8623 w 10000"/>
                <a:gd name="connsiteY265"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353 w 10000"/>
                <a:gd name="connsiteY4" fmla="*/ 1838 h 10000"/>
                <a:gd name="connsiteX5" fmla="*/ 9300 w 10000"/>
                <a:gd name="connsiteY5" fmla="*/ 1712 h 10000"/>
                <a:gd name="connsiteX6" fmla="*/ 6538 w 10000"/>
                <a:gd name="connsiteY6" fmla="*/ 1311 h 10000"/>
                <a:gd name="connsiteX7" fmla="*/ 6454 w 10000"/>
                <a:gd name="connsiteY7" fmla="*/ 1223 h 10000"/>
                <a:gd name="connsiteX8" fmla="*/ 6267 w 10000"/>
                <a:gd name="connsiteY8" fmla="*/ 1273 h 10000"/>
                <a:gd name="connsiteX9" fmla="*/ 6285 w 10000"/>
                <a:gd name="connsiteY9" fmla="*/ 1125 h 10000"/>
                <a:gd name="connsiteX10" fmla="*/ 6213 w 10000"/>
                <a:gd name="connsiteY10" fmla="*/ 1119 h 10000"/>
                <a:gd name="connsiteX11" fmla="*/ 6179 w 10000"/>
                <a:gd name="connsiteY11" fmla="*/ 910 h 10000"/>
                <a:gd name="connsiteX12" fmla="*/ 6079 w 10000"/>
                <a:gd name="connsiteY12" fmla="*/ 795 h 10000"/>
                <a:gd name="connsiteX13" fmla="*/ 6285 w 10000"/>
                <a:gd name="connsiteY13" fmla="*/ 620 h 10000"/>
                <a:gd name="connsiteX14" fmla="*/ 6037 w 10000"/>
                <a:gd name="connsiteY14" fmla="*/ 395 h 10000"/>
                <a:gd name="connsiteX15" fmla="*/ 5988 w 10000"/>
                <a:gd name="connsiteY15" fmla="*/ 142 h 10000"/>
                <a:gd name="connsiteX16" fmla="*/ 5873 w 10000"/>
                <a:gd name="connsiteY16" fmla="*/ 110 h 10000"/>
                <a:gd name="connsiteX17" fmla="*/ 5777 w 10000"/>
                <a:gd name="connsiteY17" fmla="*/ 0 h 10000"/>
                <a:gd name="connsiteX18" fmla="*/ 5675 w 10000"/>
                <a:gd name="connsiteY18" fmla="*/ 120 h 10000"/>
                <a:gd name="connsiteX19" fmla="*/ 5501 w 10000"/>
                <a:gd name="connsiteY19" fmla="*/ 110 h 10000"/>
                <a:gd name="connsiteX20" fmla="*/ 5352 w 10000"/>
                <a:gd name="connsiteY20" fmla="*/ 351 h 10000"/>
                <a:gd name="connsiteX21" fmla="*/ 5066 w 10000"/>
                <a:gd name="connsiteY21" fmla="*/ 329 h 10000"/>
                <a:gd name="connsiteX22" fmla="*/ 4996 w 10000"/>
                <a:gd name="connsiteY22" fmla="*/ 680 h 10000"/>
                <a:gd name="connsiteX23" fmla="*/ 4809 w 10000"/>
                <a:gd name="connsiteY23" fmla="*/ 707 h 10000"/>
                <a:gd name="connsiteX24" fmla="*/ 4905 w 10000"/>
                <a:gd name="connsiteY24" fmla="*/ 844 h 10000"/>
                <a:gd name="connsiteX25" fmla="*/ 4848 w 10000"/>
                <a:gd name="connsiteY25" fmla="*/ 899 h 10000"/>
                <a:gd name="connsiteX26" fmla="*/ 4718 w 10000"/>
                <a:gd name="connsiteY26" fmla="*/ 894 h 10000"/>
                <a:gd name="connsiteX27" fmla="*/ 4541 w 10000"/>
                <a:gd name="connsiteY27" fmla="*/ 1026 h 10000"/>
                <a:gd name="connsiteX28" fmla="*/ 4350 w 10000"/>
                <a:gd name="connsiteY28" fmla="*/ 1668 h 10000"/>
                <a:gd name="connsiteX29" fmla="*/ 4407 w 10000"/>
                <a:gd name="connsiteY29" fmla="*/ 2090 h 10000"/>
                <a:gd name="connsiteX30" fmla="*/ 4216 w 10000"/>
                <a:gd name="connsiteY30" fmla="*/ 1865 h 10000"/>
                <a:gd name="connsiteX31" fmla="*/ 3938 w 10000"/>
                <a:gd name="connsiteY31" fmla="*/ 1991 h 10000"/>
                <a:gd name="connsiteX32" fmla="*/ 3910 w 10000"/>
                <a:gd name="connsiteY32" fmla="*/ 1931 h 10000"/>
                <a:gd name="connsiteX33" fmla="*/ 3780 w 10000"/>
                <a:gd name="connsiteY33" fmla="*/ 2002 h 10000"/>
                <a:gd name="connsiteX34" fmla="*/ 3704 w 10000"/>
                <a:gd name="connsiteY34" fmla="*/ 2144 h 10000"/>
                <a:gd name="connsiteX35" fmla="*/ 3643 w 10000"/>
                <a:gd name="connsiteY35" fmla="*/ 1909 h 10000"/>
                <a:gd name="connsiteX36" fmla="*/ 3558 w 10000"/>
                <a:gd name="connsiteY36" fmla="*/ 1843 h 10000"/>
                <a:gd name="connsiteX37" fmla="*/ 3523 w 10000"/>
                <a:gd name="connsiteY37" fmla="*/ 1964 h 10000"/>
                <a:gd name="connsiteX38" fmla="*/ 3409 w 10000"/>
                <a:gd name="connsiteY38" fmla="*/ 1996 h 10000"/>
                <a:gd name="connsiteX39" fmla="*/ 3347 w 10000"/>
                <a:gd name="connsiteY39" fmla="*/ 2161 h 10000"/>
                <a:gd name="connsiteX40" fmla="*/ 3309 w 10000"/>
                <a:gd name="connsiteY40" fmla="*/ 2013 h 10000"/>
                <a:gd name="connsiteX41" fmla="*/ 3195 w 10000"/>
                <a:gd name="connsiteY41" fmla="*/ 2024 h 10000"/>
                <a:gd name="connsiteX42" fmla="*/ 3149 w 10000"/>
                <a:gd name="connsiteY42" fmla="*/ 2128 h 10000"/>
                <a:gd name="connsiteX43" fmla="*/ 3080 w 10000"/>
                <a:gd name="connsiteY43" fmla="*/ 1975 h 10000"/>
                <a:gd name="connsiteX44" fmla="*/ 2962 w 10000"/>
                <a:gd name="connsiteY44" fmla="*/ 2117 h 10000"/>
                <a:gd name="connsiteX45" fmla="*/ 2847 w 10000"/>
                <a:gd name="connsiteY45" fmla="*/ 2106 h 10000"/>
                <a:gd name="connsiteX46" fmla="*/ 2843 w 10000"/>
                <a:gd name="connsiteY46" fmla="*/ 2276 h 10000"/>
                <a:gd name="connsiteX47" fmla="*/ 2790 w 10000"/>
                <a:gd name="connsiteY47" fmla="*/ 2144 h 10000"/>
                <a:gd name="connsiteX48" fmla="*/ 2618 w 10000"/>
                <a:gd name="connsiteY48" fmla="*/ 2155 h 10000"/>
                <a:gd name="connsiteX49" fmla="*/ 2494 w 10000"/>
                <a:gd name="connsiteY49" fmla="*/ 1980 h 10000"/>
                <a:gd name="connsiteX50" fmla="*/ 2346 w 10000"/>
                <a:gd name="connsiteY50" fmla="*/ 2073 h 10000"/>
                <a:gd name="connsiteX51" fmla="*/ 2192 w 10000"/>
                <a:gd name="connsiteY51" fmla="*/ 1958 h 10000"/>
                <a:gd name="connsiteX52" fmla="*/ 2104 w 10000"/>
                <a:gd name="connsiteY52" fmla="*/ 2035 h 10000"/>
                <a:gd name="connsiteX53" fmla="*/ 2020 w 10000"/>
                <a:gd name="connsiteY53" fmla="*/ 1947 h 10000"/>
                <a:gd name="connsiteX54" fmla="*/ 1895 w 10000"/>
                <a:gd name="connsiteY54" fmla="*/ 1936 h 10000"/>
                <a:gd name="connsiteX55" fmla="*/ 1707 w 10000"/>
                <a:gd name="connsiteY55" fmla="*/ 1925 h 10000"/>
                <a:gd name="connsiteX56" fmla="*/ 1477 w 10000"/>
                <a:gd name="connsiteY56" fmla="*/ 1991 h 10000"/>
                <a:gd name="connsiteX57" fmla="*/ 1233 w 10000"/>
                <a:gd name="connsiteY57" fmla="*/ 2062 h 10000"/>
                <a:gd name="connsiteX58" fmla="*/ 942 w 10000"/>
                <a:gd name="connsiteY58" fmla="*/ 2166 h 10000"/>
                <a:gd name="connsiteX59" fmla="*/ 815 w 10000"/>
                <a:gd name="connsiteY59" fmla="*/ 2496 h 10000"/>
                <a:gd name="connsiteX60" fmla="*/ 617 w 10000"/>
                <a:gd name="connsiteY60" fmla="*/ 2501 h 10000"/>
                <a:gd name="connsiteX61" fmla="*/ 552 w 10000"/>
                <a:gd name="connsiteY61" fmla="*/ 2687 h 10000"/>
                <a:gd name="connsiteX62" fmla="*/ 571 w 10000"/>
                <a:gd name="connsiteY62" fmla="*/ 2764 h 10000"/>
                <a:gd name="connsiteX63" fmla="*/ 590 w 10000"/>
                <a:gd name="connsiteY63" fmla="*/ 2868 h 10000"/>
                <a:gd name="connsiteX64" fmla="*/ 590 w 10000"/>
                <a:gd name="connsiteY64" fmla="*/ 2868 h 10000"/>
                <a:gd name="connsiteX65" fmla="*/ 590 w 10000"/>
                <a:gd name="connsiteY65" fmla="*/ 2896 h 10000"/>
                <a:gd name="connsiteX66" fmla="*/ 698 w 10000"/>
                <a:gd name="connsiteY66" fmla="*/ 3116 h 10000"/>
                <a:gd name="connsiteX67" fmla="*/ 804 w 10000"/>
                <a:gd name="connsiteY67" fmla="*/ 3351 h 10000"/>
                <a:gd name="connsiteX68" fmla="*/ 942 w 10000"/>
                <a:gd name="connsiteY68" fmla="*/ 3488 h 10000"/>
                <a:gd name="connsiteX69" fmla="*/ 896 w 10000"/>
                <a:gd name="connsiteY69" fmla="*/ 3548 h 10000"/>
                <a:gd name="connsiteX70" fmla="*/ 824 w 10000"/>
                <a:gd name="connsiteY70" fmla="*/ 3603 h 10000"/>
                <a:gd name="connsiteX71" fmla="*/ 907 w 10000"/>
                <a:gd name="connsiteY71" fmla="*/ 3697 h 10000"/>
                <a:gd name="connsiteX72" fmla="*/ 896 w 10000"/>
                <a:gd name="connsiteY72" fmla="*/ 4053 h 10000"/>
                <a:gd name="connsiteX73" fmla="*/ 709 w 10000"/>
                <a:gd name="connsiteY73" fmla="*/ 4124 h 10000"/>
                <a:gd name="connsiteX74" fmla="*/ 509 w 10000"/>
                <a:gd name="connsiteY74" fmla="*/ 4531 h 10000"/>
                <a:gd name="connsiteX75" fmla="*/ 380 w 10000"/>
                <a:gd name="connsiteY75" fmla="*/ 4936 h 10000"/>
                <a:gd name="connsiteX76" fmla="*/ 199 w 10000"/>
                <a:gd name="connsiteY76" fmla="*/ 5260 h 10000"/>
                <a:gd name="connsiteX77" fmla="*/ 276 w 10000"/>
                <a:gd name="connsiteY77" fmla="*/ 5517 h 10000"/>
                <a:gd name="connsiteX78" fmla="*/ 283 w 10000"/>
                <a:gd name="connsiteY78" fmla="*/ 5732 h 10000"/>
                <a:gd name="connsiteX79" fmla="*/ 409 w 10000"/>
                <a:gd name="connsiteY79" fmla="*/ 5841 h 10000"/>
                <a:gd name="connsiteX80" fmla="*/ 391 w 10000"/>
                <a:gd name="connsiteY80" fmla="*/ 5945 h 10000"/>
                <a:gd name="connsiteX81" fmla="*/ 207 w 10000"/>
                <a:gd name="connsiteY81" fmla="*/ 5852 h 10000"/>
                <a:gd name="connsiteX82" fmla="*/ 127 w 10000"/>
                <a:gd name="connsiteY82" fmla="*/ 6099 h 10000"/>
                <a:gd name="connsiteX83" fmla="*/ 107 w 10000"/>
                <a:gd name="connsiteY83" fmla="*/ 6346 h 10000"/>
                <a:gd name="connsiteX84" fmla="*/ 1 w 10000"/>
                <a:gd name="connsiteY84" fmla="*/ 6571 h 10000"/>
                <a:gd name="connsiteX85" fmla="*/ 19 w 10000"/>
                <a:gd name="connsiteY85" fmla="*/ 6779 h 10000"/>
                <a:gd name="connsiteX86" fmla="*/ 92 w 10000"/>
                <a:gd name="connsiteY86" fmla="*/ 6828 h 10000"/>
                <a:gd name="connsiteX87" fmla="*/ 158 w 10000"/>
                <a:gd name="connsiteY87" fmla="*/ 6960 h 10000"/>
                <a:gd name="connsiteX88" fmla="*/ 246 w 10000"/>
                <a:gd name="connsiteY88" fmla="*/ 6943 h 10000"/>
                <a:gd name="connsiteX89" fmla="*/ 299 w 10000"/>
                <a:gd name="connsiteY89" fmla="*/ 7076 h 10000"/>
                <a:gd name="connsiteX90" fmla="*/ 455 w 10000"/>
                <a:gd name="connsiteY90" fmla="*/ 7103 h 10000"/>
                <a:gd name="connsiteX91" fmla="*/ 463 w 10000"/>
                <a:gd name="connsiteY91" fmla="*/ 7251 h 10000"/>
                <a:gd name="connsiteX92" fmla="*/ 505 w 10000"/>
                <a:gd name="connsiteY92" fmla="*/ 7278 h 10000"/>
                <a:gd name="connsiteX93" fmla="*/ 537 w 10000"/>
                <a:gd name="connsiteY93" fmla="*/ 7174 h 10000"/>
                <a:gd name="connsiteX94" fmla="*/ 594 w 10000"/>
                <a:gd name="connsiteY94" fmla="*/ 7196 h 10000"/>
                <a:gd name="connsiteX95" fmla="*/ 659 w 10000"/>
                <a:gd name="connsiteY95" fmla="*/ 6992 h 10000"/>
                <a:gd name="connsiteX96" fmla="*/ 839 w 10000"/>
                <a:gd name="connsiteY96" fmla="*/ 7174 h 10000"/>
                <a:gd name="connsiteX97" fmla="*/ 1313 w 10000"/>
                <a:gd name="connsiteY97" fmla="*/ 7163 h 10000"/>
                <a:gd name="connsiteX98" fmla="*/ 1500 w 10000"/>
                <a:gd name="connsiteY98" fmla="*/ 7092 h 10000"/>
                <a:gd name="connsiteX99" fmla="*/ 1807 w 10000"/>
                <a:gd name="connsiteY99" fmla="*/ 7344 h 10000"/>
                <a:gd name="connsiteX100" fmla="*/ 2001 w 10000"/>
                <a:gd name="connsiteY100" fmla="*/ 7087 h 10000"/>
                <a:gd name="connsiteX101" fmla="*/ 2437 w 10000"/>
                <a:gd name="connsiteY101" fmla="*/ 6861 h 10000"/>
                <a:gd name="connsiteX102" fmla="*/ 2594 w 10000"/>
                <a:gd name="connsiteY102" fmla="*/ 6489 h 10000"/>
                <a:gd name="connsiteX103" fmla="*/ 2709 w 10000"/>
                <a:gd name="connsiteY103" fmla="*/ 6439 h 10000"/>
                <a:gd name="connsiteX104" fmla="*/ 2709 w 10000"/>
                <a:gd name="connsiteY104" fmla="*/ 6379 h 10000"/>
                <a:gd name="connsiteX105" fmla="*/ 2755 w 10000"/>
                <a:gd name="connsiteY105" fmla="*/ 6379 h 10000"/>
                <a:gd name="connsiteX106" fmla="*/ 2744 w 10000"/>
                <a:gd name="connsiteY106" fmla="*/ 6230 h 10000"/>
                <a:gd name="connsiteX107" fmla="*/ 2885 w 10000"/>
                <a:gd name="connsiteY107" fmla="*/ 6285 h 10000"/>
                <a:gd name="connsiteX108" fmla="*/ 2904 w 10000"/>
                <a:gd name="connsiteY108" fmla="*/ 6159 h 10000"/>
                <a:gd name="connsiteX109" fmla="*/ 2988 w 10000"/>
                <a:gd name="connsiteY109" fmla="*/ 6230 h 10000"/>
                <a:gd name="connsiteX110" fmla="*/ 3050 w 10000"/>
                <a:gd name="connsiteY110" fmla="*/ 6126 h 10000"/>
                <a:gd name="connsiteX111" fmla="*/ 3149 w 10000"/>
                <a:gd name="connsiteY111" fmla="*/ 6154 h 10000"/>
                <a:gd name="connsiteX112" fmla="*/ 3237 w 10000"/>
                <a:gd name="connsiteY112" fmla="*/ 6055 h 10000"/>
                <a:gd name="connsiteX113" fmla="*/ 3405 w 10000"/>
                <a:gd name="connsiteY113" fmla="*/ 6192 h 10000"/>
                <a:gd name="connsiteX114" fmla="*/ 3490 w 10000"/>
                <a:gd name="connsiteY114" fmla="*/ 6197 h 10000"/>
                <a:gd name="connsiteX115" fmla="*/ 3516 w 10000"/>
                <a:gd name="connsiteY115" fmla="*/ 6307 h 10000"/>
                <a:gd name="connsiteX116" fmla="*/ 3674 w 10000"/>
                <a:gd name="connsiteY116" fmla="*/ 6236 h 10000"/>
                <a:gd name="connsiteX117" fmla="*/ 3658 w 10000"/>
                <a:gd name="connsiteY117" fmla="*/ 6357 h 10000"/>
                <a:gd name="connsiteX118" fmla="*/ 3716 w 10000"/>
                <a:gd name="connsiteY118" fmla="*/ 6341 h 10000"/>
                <a:gd name="connsiteX119" fmla="*/ 3784 w 10000"/>
                <a:gd name="connsiteY119" fmla="*/ 6428 h 10000"/>
                <a:gd name="connsiteX120" fmla="*/ 3788 w 10000"/>
                <a:gd name="connsiteY120" fmla="*/ 6301 h 10000"/>
                <a:gd name="connsiteX121" fmla="*/ 3971 w 10000"/>
                <a:gd name="connsiteY121" fmla="*/ 6341 h 10000"/>
                <a:gd name="connsiteX122" fmla="*/ 4037 w 10000"/>
                <a:gd name="connsiteY122" fmla="*/ 6511 h 10000"/>
                <a:gd name="connsiteX123" fmla="*/ 4140 w 10000"/>
                <a:gd name="connsiteY123" fmla="*/ 6494 h 10000"/>
                <a:gd name="connsiteX124" fmla="*/ 4185 w 10000"/>
                <a:gd name="connsiteY124" fmla="*/ 6417 h 10000"/>
                <a:gd name="connsiteX125" fmla="*/ 4288 w 10000"/>
                <a:gd name="connsiteY125" fmla="*/ 6735 h 10000"/>
                <a:gd name="connsiteX126" fmla="*/ 4251 w 10000"/>
                <a:gd name="connsiteY126" fmla="*/ 6987 h 10000"/>
                <a:gd name="connsiteX127" fmla="*/ 4304 w 10000"/>
                <a:gd name="connsiteY127" fmla="*/ 7114 h 10000"/>
                <a:gd name="connsiteX128" fmla="*/ 4376 w 10000"/>
                <a:gd name="connsiteY128" fmla="*/ 7119 h 10000"/>
                <a:gd name="connsiteX129" fmla="*/ 4488 w 10000"/>
                <a:gd name="connsiteY129" fmla="*/ 7256 h 10000"/>
                <a:gd name="connsiteX130" fmla="*/ 4533 w 10000"/>
                <a:gd name="connsiteY130" fmla="*/ 7152 h 10000"/>
                <a:gd name="connsiteX131" fmla="*/ 4583 w 10000"/>
                <a:gd name="connsiteY131" fmla="*/ 7322 h 10000"/>
                <a:gd name="connsiteX132" fmla="*/ 4646 w 10000"/>
                <a:gd name="connsiteY132" fmla="*/ 7662 h 10000"/>
                <a:gd name="connsiteX133" fmla="*/ 4829 w 10000"/>
                <a:gd name="connsiteY133" fmla="*/ 7739 h 10000"/>
                <a:gd name="connsiteX134" fmla="*/ 4871 w 10000"/>
                <a:gd name="connsiteY134" fmla="*/ 8183 h 10000"/>
                <a:gd name="connsiteX135" fmla="*/ 5027 w 10000"/>
                <a:gd name="connsiteY135" fmla="*/ 8276 h 10000"/>
                <a:gd name="connsiteX136" fmla="*/ 4866 w 10000"/>
                <a:gd name="connsiteY136" fmla="*/ 8370 h 10000"/>
                <a:gd name="connsiteX137" fmla="*/ 4813 w 10000"/>
                <a:gd name="connsiteY137" fmla="*/ 8260 h 10000"/>
                <a:gd name="connsiteX138" fmla="*/ 4752 w 10000"/>
                <a:gd name="connsiteY138" fmla="*/ 8403 h 10000"/>
                <a:gd name="connsiteX139" fmla="*/ 4594 w 10000"/>
                <a:gd name="connsiteY139" fmla="*/ 8287 h 10000"/>
                <a:gd name="connsiteX140" fmla="*/ 4506 w 10000"/>
                <a:gd name="connsiteY140" fmla="*/ 8452 h 10000"/>
                <a:gd name="connsiteX141" fmla="*/ 4323 w 10000"/>
                <a:gd name="connsiteY141" fmla="*/ 8331 h 10000"/>
                <a:gd name="connsiteX142" fmla="*/ 4411 w 10000"/>
                <a:gd name="connsiteY142" fmla="*/ 8699 h 10000"/>
                <a:gd name="connsiteX143" fmla="*/ 4403 w 10000"/>
                <a:gd name="connsiteY143" fmla="*/ 8967 h 10000"/>
                <a:gd name="connsiteX144" fmla="*/ 4285 w 10000"/>
                <a:gd name="connsiteY144" fmla="*/ 9088 h 10000"/>
                <a:gd name="connsiteX145" fmla="*/ 4323 w 10000"/>
                <a:gd name="connsiteY145" fmla="*/ 9193 h 10000"/>
                <a:gd name="connsiteX146" fmla="*/ 4159 w 10000"/>
                <a:gd name="connsiteY146" fmla="*/ 9412 h 10000"/>
                <a:gd name="connsiteX147" fmla="*/ 4224 w 10000"/>
                <a:gd name="connsiteY147" fmla="*/ 9647 h 10000"/>
                <a:gd name="connsiteX148" fmla="*/ 4063 w 10000"/>
                <a:gd name="connsiteY148" fmla="*/ 9681 h 10000"/>
                <a:gd name="connsiteX149" fmla="*/ 4021 w 10000"/>
                <a:gd name="connsiteY149" fmla="*/ 9741 h 10000"/>
                <a:gd name="connsiteX150" fmla="*/ 4090 w 10000"/>
                <a:gd name="connsiteY150" fmla="*/ 9785 h 10000"/>
                <a:gd name="connsiteX151" fmla="*/ 4213 w 10000"/>
                <a:gd name="connsiteY151" fmla="*/ 9944 h 10000"/>
                <a:gd name="connsiteX152" fmla="*/ 4411 w 10000"/>
                <a:gd name="connsiteY152" fmla="*/ 9999 h 10000"/>
                <a:gd name="connsiteX153" fmla="*/ 4418 w 10000"/>
                <a:gd name="connsiteY153" fmla="*/ 9851 h 10000"/>
                <a:gd name="connsiteX154" fmla="*/ 4488 w 10000"/>
                <a:gd name="connsiteY154" fmla="*/ 9856 h 10000"/>
                <a:gd name="connsiteX155" fmla="*/ 4783 w 10000"/>
                <a:gd name="connsiteY155" fmla="*/ 9603 h 10000"/>
                <a:gd name="connsiteX156" fmla="*/ 4978 w 10000"/>
                <a:gd name="connsiteY156" fmla="*/ 9845 h 10000"/>
                <a:gd name="connsiteX157" fmla="*/ 4978 w 10000"/>
                <a:gd name="connsiteY157" fmla="*/ 9862 h 10000"/>
                <a:gd name="connsiteX158" fmla="*/ 5009 w 10000"/>
                <a:gd name="connsiteY158" fmla="*/ 9703 h 10000"/>
                <a:gd name="connsiteX159" fmla="*/ 4954 w 10000"/>
                <a:gd name="connsiteY159" fmla="*/ 9570 h 10000"/>
                <a:gd name="connsiteX160" fmla="*/ 4886 w 10000"/>
                <a:gd name="connsiteY160" fmla="*/ 9549 h 10000"/>
                <a:gd name="connsiteX161" fmla="*/ 4932 w 10000"/>
                <a:gd name="connsiteY161" fmla="*/ 9466 h 10000"/>
                <a:gd name="connsiteX162" fmla="*/ 4917 w 10000"/>
                <a:gd name="connsiteY162" fmla="*/ 9444 h 10000"/>
                <a:gd name="connsiteX163" fmla="*/ 4859 w 10000"/>
                <a:gd name="connsiteY163" fmla="*/ 9439 h 10000"/>
                <a:gd name="connsiteX164" fmla="*/ 4829 w 10000"/>
                <a:gd name="connsiteY164" fmla="*/ 9121 h 10000"/>
                <a:gd name="connsiteX165" fmla="*/ 4871 w 10000"/>
                <a:gd name="connsiteY165" fmla="*/ 9105 h 10000"/>
                <a:gd name="connsiteX166" fmla="*/ 4893 w 10000"/>
                <a:gd name="connsiteY166" fmla="*/ 9253 h 10000"/>
                <a:gd name="connsiteX167" fmla="*/ 4947 w 10000"/>
                <a:gd name="connsiteY167" fmla="*/ 9384 h 10000"/>
                <a:gd name="connsiteX168" fmla="*/ 4993 w 10000"/>
                <a:gd name="connsiteY168" fmla="*/ 9302 h 10000"/>
                <a:gd name="connsiteX169" fmla="*/ 4981 w 10000"/>
                <a:gd name="connsiteY169" fmla="*/ 9220 h 10000"/>
                <a:gd name="connsiteX170" fmla="*/ 5054 w 10000"/>
                <a:gd name="connsiteY170" fmla="*/ 9203 h 10000"/>
                <a:gd name="connsiteX171" fmla="*/ 5016 w 10000"/>
                <a:gd name="connsiteY171" fmla="*/ 9034 h 10000"/>
                <a:gd name="connsiteX172" fmla="*/ 5115 w 10000"/>
                <a:gd name="connsiteY172" fmla="*/ 9061 h 10000"/>
                <a:gd name="connsiteX173" fmla="*/ 5119 w 10000"/>
                <a:gd name="connsiteY173" fmla="*/ 8972 h 10000"/>
                <a:gd name="connsiteX174" fmla="*/ 5157 w 10000"/>
                <a:gd name="connsiteY174" fmla="*/ 9039 h 10000"/>
                <a:gd name="connsiteX175" fmla="*/ 5326 w 10000"/>
                <a:gd name="connsiteY175" fmla="*/ 8781 h 10000"/>
                <a:gd name="connsiteX176" fmla="*/ 5230 w 10000"/>
                <a:gd name="connsiteY176" fmla="*/ 8584 h 10000"/>
                <a:gd name="connsiteX177" fmla="*/ 5051 w 10000"/>
                <a:gd name="connsiteY177" fmla="*/ 8425 h 10000"/>
                <a:gd name="connsiteX178" fmla="*/ 5153 w 10000"/>
                <a:gd name="connsiteY178" fmla="*/ 8370 h 10000"/>
                <a:gd name="connsiteX179" fmla="*/ 5302 w 10000"/>
                <a:gd name="connsiteY179" fmla="*/ 8633 h 10000"/>
                <a:gd name="connsiteX180" fmla="*/ 5414 w 10000"/>
                <a:gd name="connsiteY180" fmla="*/ 8199 h 10000"/>
                <a:gd name="connsiteX181" fmla="*/ 5421 w 10000"/>
                <a:gd name="connsiteY181" fmla="*/ 8030 h 10000"/>
                <a:gd name="connsiteX182" fmla="*/ 5608 w 10000"/>
                <a:gd name="connsiteY182" fmla="*/ 7942 h 10000"/>
                <a:gd name="connsiteX183" fmla="*/ 5678 w 10000"/>
                <a:gd name="connsiteY183" fmla="*/ 7607 h 10000"/>
                <a:gd name="connsiteX184" fmla="*/ 5689 w 10000"/>
                <a:gd name="connsiteY184" fmla="*/ 7734 h 10000"/>
                <a:gd name="connsiteX185" fmla="*/ 5808 w 10000"/>
                <a:gd name="connsiteY185" fmla="*/ 7596 h 10000"/>
                <a:gd name="connsiteX186" fmla="*/ 5892 w 10000"/>
                <a:gd name="connsiteY186" fmla="*/ 7579 h 10000"/>
                <a:gd name="connsiteX187" fmla="*/ 5976 w 10000"/>
                <a:gd name="connsiteY187" fmla="*/ 7207 h 10000"/>
                <a:gd name="connsiteX188" fmla="*/ 6052 w 10000"/>
                <a:gd name="connsiteY188" fmla="*/ 7486 h 10000"/>
                <a:gd name="connsiteX189" fmla="*/ 6278 w 10000"/>
                <a:gd name="connsiteY189" fmla="*/ 7563 h 10000"/>
                <a:gd name="connsiteX190" fmla="*/ 6106 w 10000"/>
                <a:gd name="connsiteY190" fmla="*/ 7618 h 10000"/>
                <a:gd name="connsiteX191" fmla="*/ 6091 w 10000"/>
                <a:gd name="connsiteY191" fmla="*/ 7679 h 10000"/>
                <a:gd name="connsiteX192" fmla="*/ 5919 w 10000"/>
                <a:gd name="connsiteY192" fmla="*/ 7690 h 10000"/>
                <a:gd name="connsiteX193" fmla="*/ 5831 w 10000"/>
                <a:gd name="connsiteY193" fmla="*/ 7723 h 10000"/>
                <a:gd name="connsiteX194" fmla="*/ 5900 w 10000"/>
                <a:gd name="connsiteY194" fmla="*/ 7772 h 10000"/>
                <a:gd name="connsiteX195" fmla="*/ 5961 w 10000"/>
                <a:gd name="connsiteY195" fmla="*/ 7756 h 10000"/>
                <a:gd name="connsiteX196" fmla="*/ 6129 w 10000"/>
                <a:gd name="connsiteY196" fmla="*/ 7789 h 10000"/>
                <a:gd name="connsiteX197" fmla="*/ 5938 w 10000"/>
                <a:gd name="connsiteY197" fmla="*/ 7964 h 10000"/>
                <a:gd name="connsiteX198" fmla="*/ 6007 w 10000"/>
                <a:gd name="connsiteY198" fmla="*/ 8008 h 10000"/>
                <a:gd name="connsiteX199" fmla="*/ 6182 w 10000"/>
                <a:gd name="connsiteY199" fmla="*/ 7958 h 10000"/>
                <a:gd name="connsiteX200" fmla="*/ 6419 w 10000"/>
                <a:gd name="connsiteY200" fmla="*/ 8101 h 10000"/>
                <a:gd name="connsiteX201" fmla="*/ 6726 w 10000"/>
                <a:gd name="connsiteY201" fmla="*/ 7909 h 10000"/>
                <a:gd name="connsiteX202" fmla="*/ 7028 w 10000"/>
                <a:gd name="connsiteY202" fmla="*/ 7887 h 10000"/>
                <a:gd name="connsiteX203" fmla="*/ 7074 w 10000"/>
                <a:gd name="connsiteY203" fmla="*/ 7745 h 10000"/>
                <a:gd name="connsiteX204" fmla="*/ 7154 w 10000"/>
                <a:gd name="connsiteY204" fmla="*/ 7958 h 10000"/>
                <a:gd name="connsiteX205" fmla="*/ 7238 w 10000"/>
                <a:gd name="connsiteY205" fmla="*/ 7986 h 10000"/>
                <a:gd name="connsiteX206" fmla="*/ 7207 w 10000"/>
                <a:gd name="connsiteY206" fmla="*/ 8134 h 10000"/>
                <a:gd name="connsiteX207" fmla="*/ 6944 w 10000"/>
                <a:gd name="connsiteY207" fmla="*/ 8281 h 10000"/>
                <a:gd name="connsiteX208" fmla="*/ 6925 w 10000"/>
                <a:gd name="connsiteY208" fmla="*/ 8386 h 10000"/>
                <a:gd name="connsiteX209" fmla="*/ 6780 w 10000"/>
                <a:gd name="connsiteY209" fmla="*/ 8523 h 10000"/>
                <a:gd name="connsiteX210" fmla="*/ 6775 w 10000"/>
                <a:gd name="connsiteY210" fmla="*/ 8649 h 10000"/>
                <a:gd name="connsiteX211" fmla="*/ 6687 w 10000"/>
                <a:gd name="connsiteY211" fmla="*/ 8704 h 10000"/>
                <a:gd name="connsiteX212" fmla="*/ 6576 w 10000"/>
                <a:gd name="connsiteY212" fmla="*/ 8989 h 10000"/>
                <a:gd name="connsiteX213" fmla="*/ 6734 w 10000"/>
                <a:gd name="connsiteY213" fmla="*/ 9001 h 10000"/>
                <a:gd name="connsiteX214" fmla="*/ 6826 w 10000"/>
                <a:gd name="connsiteY214" fmla="*/ 8879 h 10000"/>
                <a:gd name="connsiteX215" fmla="*/ 6925 w 10000"/>
                <a:gd name="connsiteY215" fmla="*/ 8912 h 10000"/>
                <a:gd name="connsiteX216" fmla="*/ 6971 w 10000"/>
                <a:gd name="connsiteY216" fmla="*/ 8786 h 10000"/>
                <a:gd name="connsiteX217" fmla="*/ 7035 w 10000"/>
                <a:gd name="connsiteY217" fmla="*/ 9001 h 10000"/>
                <a:gd name="connsiteX218" fmla="*/ 7223 w 10000"/>
                <a:gd name="connsiteY218" fmla="*/ 8994 h 10000"/>
                <a:gd name="connsiteX219" fmla="*/ 7383 w 10000"/>
                <a:gd name="connsiteY219" fmla="*/ 9362 h 10000"/>
                <a:gd name="connsiteX220" fmla="*/ 7398 w 10000"/>
                <a:gd name="connsiteY220" fmla="*/ 9675 h 10000"/>
                <a:gd name="connsiteX221" fmla="*/ 7341 w 10000"/>
                <a:gd name="connsiteY221" fmla="*/ 9692 h 10000"/>
                <a:gd name="connsiteX222" fmla="*/ 7352 w 10000"/>
                <a:gd name="connsiteY222" fmla="*/ 9780 h 10000"/>
                <a:gd name="connsiteX223" fmla="*/ 7594 w 10000"/>
                <a:gd name="connsiteY223" fmla="*/ 9900 h 10000"/>
                <a:gd name="connsiteX224" fmla="*/ 8294 w 10000"/>
                <a:gd name="connsiteY224" fmla="*/ 9023 h 10000"/>
                <a:gd name="connsiteX225" fmla="*/ 8370 w 10000"/>
                <a:gd name="connsiteY225" fmla="*/ 8841 h 10000"/>
                <a:gd name="connsiteX226" fmla="*/ 8458 w 10000"/>
                <a:gd name="connsiteY226" fmla="*/ 8786 h 10000"/>
                <a:gd name="connsiteX227" fmla="*/ 8512 w 10000"/>
                <a:gd name="connsiteY227" fmla="*/ 8512 h 10000"/>
                <a:gd name="connsiteX228" fmla="*/ 8739 w 10000"/>
                <a:gd name="connsiteY228" fmla="*/ 8617 h 10000"/>
                <a:gd name="connsiteX229" fmla="*/ 8872 w 10000"/>
                <a:gd name="connsiteY229" fmla="*/ 8474 h 10000"/>
                <a:gd name="connsiteX230" fmla="*/ 9059 w 10000"/>
                <a:gd name="connsiteY230" fmla="*/ 8343 h 10000"/>
                <a:gd name="connsiteX231" fmla="*/ 8983 w 10000"/>
                <a:gd name="connsiteY231" fmla="*/ 8128 h 10000"/>
                <a:gd name="connsiteX232" fmla="*/ 7885 w 10000"/>
                <a:gd name="connsiteY232" fmla="*/ 7991 h 10000"/>
                <a:gd name="connsiteX233" fmla="*/ 7859 w 10000"/>
                <a:gd name="connsiteY233" fmla="*/ 7904 h 10000"/>
                <a:gd name="connsiteX234" fmla="*/ 7782 w 10000"/>
                <a:gd name="connsiteY234" fmla="*/ 8002 h 10000"/>
                <a:gd name="connsiteX235" fmla="*/ 7893 w 10000"/>
                <a:gd name="connsiteY235" fmla="*/ 7761 h 10000"/>
                <a:gd name="connsiteX236" fmla="*/ 7851 w 10000"/>
                <a:gd name="connsiteY236" fmla="*/ 7717 h 10000"/>
                <a:gd name="connsiteX237" fmla="*/ 7728 w 10000"/>
                <a:gd name="connsiteY237" fmla="*/ 7915 h 10000"/>
                <a:gd name="connsiteX238" fmla="*/ 7793 w 10000"/>
                <a:gd name="connsiteY238" fmla="*/ 7712 h 10000"/>
                <a:gd name="connsiteX239" fmla="*/ 7705 w 10000"/>
                <a:gd name="connsiteY239" fmla="*/ 7767 h 10000"/>
                <a:gd name="connsiteX240" fmla="*/ 7590 w 10000"/>
                <a:gd name="connsiteY240" fmla="*/ 7717 h 10000"/>
                <a:gd name="connsiteX241" fmla="*/ 7502 w 10000"/>
                <a:gd name="connsiteY241" fmla="*/ 7794 h 10000"/>
                <a:gd name="connsiteX242" fmla="*/ 7407 w 10000"/>
                <a:gd name="connsiteY242" fmla="*/ 7728 h 10000"/>
                <a:gd name="connsiteX243" fmla="*/ 7250 w 10000"/>
                <a:gd name="connsiteY243" fmla="*/ 7717 h 10000"/>
                <a:gd name="connsiteX244" fmla="*/ 7253 w 10000"/>
                <a:gd name="connsiteY244" fmla="*/ 7547 h 10000"/>
                <a:gd name="connsiteX245" fmla="*/ 7395 w 10000"/>
                <a:gd name="connsiteY245" fmla="*/ 7662 h 10000"/>
                <a:gd name="connsiteX246" fmla="*/ 7440 w 10000"/>
                <a:gd name="connsiteY246" fmla="*/ 7541 h 10000"/>
                <a:gd name="connsiteX247" fmla="*/ 7403 w 10000"/>
                <a:gd name="connsiteY247" fmla="*/ 7410 h 10000"/>
                <a:gd name="connsiteX248" fmla="*/ 7510 w 10000"/>
                <a:gd name="connsiteY248" fmla="*/ 7547 h 10000"/>
                <a:gd name="connsiteX249" fmla="*/ 7655 w 10000"/>
                <a:gd name="connsiteY249" fmla="*/ 7536 h 10000"/>
                <a:gd name="connsiteX250" fmla="*/ 7679 w 10000"/>
                <a:gd name="connsiteY250" fmla="*/ 7685 h 10000"/>
                <a:gd name="connsiteX251" fmla="*/ 7721 w 10000"/>
                <a:gd name="connsiteY251" fmla="*/ 7685 h 10000"/>
                <a:gd name="connsiteX252" fmla="*/ 7732 w 10000"/>
                <a:gd name="connsiteY252" fmla="*/ 7415 h 10000"/>
                <a:gd name="connsiteX253" fmla="*/ 7782 w 10000"/>
                <a:gd name="connsiteY253" fmla="*/ 7585 h 10000"/>
                <a:gd name="connsiteX254" fmla="*/ 7870 w 10000"/>
                <a:gd name="connsiteY254" fmla="*/ 7590 h 10000"/>
                <a:gd name="connsiteX255" fmla="*/ 7805 w 10000"/>
                <a:gd name="connsiteY255" fmla="*/ 7333 h 10000"/>
                <a:gd name="connsiteX256" fmla="*/ 7965 w 10000"/>
                <a:gd name="connsiteY256" fmla="*/ 7240 h 10000"/>
                <a:gd name="connsiteX257" fmla="*/ 7958 w 10000"/>
                <a:gd name="connsiteY257" fmla="*/ 6987 h 10000"/>
                <a:gd name="connsiteX258" fmla="*/ 8069 w 10000"/>
                <a:gd name="connsiteY258" fmla="*/ 7081 h 10000"/>
                <a:gd name="connsiteX259" fmla="*/ 8088 w 10000"/>
                <a:gd name="connsiteY259" fmla="*/ 7015 h 10000"/>
                <a:gd name="connsiteX260" fmla="*/ 7954 w 10000"/>
                <a:gd name="connsiteY260" fmla="*/ 6735 h 10000"/>
                <a:gd name="connsiteX261" fmla="*/ 8133 w 10000"/>
                <a:gd name="connsiteY261" fmla="*/ 6894 h 10000"/>
                <a:gd name="connsiteX262" fmla="*/ 8359 w 10000"/>
                <a:gd name="connsiteY262" fmla="*/ 6511 h 10000"/>
                <a:gd name="connsiteX263" fmla="*/ 8577 w 10000"/>
                <a:gd name="connsiteY263" fmla="*/ 6483 h 10000"/>
                <a:gd name="connsiteX264" fmla="*/ 8623 w 10000"/>
                <a:gd name="connsiteY264" fmla="*/ 6363 h 10000"/>
                <a:gd name="connsiteX0" fmla="*/ 8623 w 9565"/>
                <a:gd name="connsiteY0" fmla="*/ 6363 h 10000"/>
                <a:gd name="connsiteX1" fmla="*/ 9479 w 9565"/>
                <a:gd name="connsiteY1" fmla="*/ 5079 h 10000"/>
                <a:gd name="connsiteX2" fmla="*/ 9521 w 9565"/>
                <a:gd name="connsiteY2" fmla="*/ 4640 h 10000"/>
                <a:gd name="connsiteX3" fmla="*/ 9353 w 9565"/>
                <a:gd name="connsiteY3" fmla="*/ 1838 h 10000"/>
                <a:gd name="connsiteX4" fmla="*/ 9300 w 9565"/>
                <a:gd name="connsiteY4" fmla="*/ 1712 h 10000"/>
                <a:gd name="connsiteX5" fmla="*/ 6538 w 9565"/>
                <a:gd name="connsiteY5" fmla="*/ 1311 h 10000"/>
                <a:gd name="connsiteX6" fmla="*/ 6454 w 9565"/>
                <a:gd name="connsiteY6" fmla="*/ 1223 h 10000"/>
                <a:gd name="connsiteX7" fmla="*/ 6267 w 9565"/>
                <a:gd name="connsiteY7" fmla="*/ 1273 h 10000"/>
                <a:gd name="connsiteX8" fmla="*/ 6285 w 9565"/>
                <a:gd name="connsiteY8" fmla="*/ 1125 h 10000"/>
                <a:gd name="connsiteX9" fmla="*/ 6213 w 9565"/>
                <a:gd name="connsiteY9" fmla="*/ 1119 h 10000"/>
                <a:gd name="connsiteX10" fmla="*/ 6179 w 9565"/>
                <a:gd name="connsiteY10" fmla="*/ 910 h 10000"/>
                <a:gd name="connsiteX11" fmla="*/ 6079 w 9565"/>
                <a:gd name="connsiteY11" fmla="*/ 795 h 10000"/>
                <a:gd name="connsiteX12" fmla="*/ 6285 w 9565"/>
                <a:gd name="connsiteY12" fmla="*/ 620 h 10000"/>
                <a:gd name="connsiteX13" fmla="*/ 6037 w 9565"/>
                <a:gd name="connsiteY13" fmla="*/ 395 h 10000"/>
                <a:gd name="connsiteX14" fmla="*/ 5988 w 9565"/>
                <a:gd name="connsiteY14" fmla="*/ 142 h 10000"/>
                <a:gd name="connsiteX15" fmla="*/ 5873 w 9565"/>
                <a:gd name="connsiteY15" fmla="*/ 110 h 10000"/>
                <a:gd name="connsiteX16" fmla="*/ 5777 w 9565"/>
                <a:gd name="connsiteY16" fmla="*/ 0 h 10000"/>
                <a:gd name="connsiteX17" fmla="*/ 5675 w 9565"/>
                <a:gd name="connsiteY17" fmla="*/ 120 h 10000"/>
                <a:gd name="connsiteX18" fmla="*/ 5501 w 9565"/>
                <a:gd name="connsiteY18" fmla="*/ 110 h 10000"/>
                <a:gd name="connsiteX19" fmla="*/ 5352 w 9565"/>
                <a:gd name="connsiteY19" fmla="*/ 351 h 10000"/>
                <a:gd name="connsiteX20" fmla="*/ 5066 w 9565"/>
                <a:gd name="connsiteY20" fmla="*/ 329 h 10000"/>
                <a:gd name="connsiteX21" fmla="*/ 4996 w 9565"/>
                <a:gd name="connsiteY21" fmla="*/ 680 h 10000"/>
                <a:gd name="connsiteX22" fmla="*/ 4809 w 9565"/>
                <a:gd name="connsiteY22" fmla="*/ 707 h 10000"/>
                <a:gd name="connsiteX23" fmla="*/ 4905 w 9565"/>
                <a:gd name="connsiteY23" fmla="*/ 844 h 10000"/>
                <a:gd name="connsiteX24" fmla="*/ 4848 w 9565"/>
                <a:gd name="connsiteY24" fmla="*/ 899 h 10000"/>
                <a:gd name="connsiteX25" fmla="*/ 4718 w 9565"/>
                <a:gd name="connsiteY25" fmla="*/ 894 h 10000"/>
                <a:gd name="connsiteX26" fmla="*/ 4541 w 9565"/>
                <a:gd name="connsiteY26" fmla="*/ 1026 h 10000"/>
                <a:gd name="connsiteX27" fmla="*/ 4350 w 9565"/>
                <a:gd name="connsiteY27" fmla="*/ 1668 h 10000"/>
                <a:gd name="connsiteX28" fmla="*/ 4407 w 9565"/>
                <a:gd name="connsiteY28" fmla="*/ 2090 h 10000"/>
                <a:gd name="connsiteX29" fmla="*/ 4216 w 9565"/>
                <a:gd name="connsiteY29" fmla="*/ 1865 h 10000"/>
                <a:gd name="connsiteX30" fmla="*/ 3938 w 9565"/>
                <a:gd name="connsiteY30" fmla="*/ 1991 h 10000"/>
                <a:gd name="connsiteX31" fmla="*/ 3910 w 9565"/>
                <a:gd name="connsiteY31" fmla="*/ 1931 h 10000"/>
                <a:gd name="connsiteX32" fmla="*/ 3780 w 9565"/>
                <a:gd name="connsiteY32" fmla="*/ 2002 h 10000"/>
                <a:gd name="connsiteX33" fmla="*/ 3704 w 9565"/>
                <a:gd name="connsiteY33" fmla="*/ 2144 h 10000"/>
                <a:gd name="connsiteX34" fmla="*/ 3643 w 9565"/>
                <a:gd name="connsiteY34" fmla="*/ 1909 h 10000"/>
                <a:gd name="connsiteX35" fmla="*/ 3558 w 9565"/>
                <a:gd name="connsiteY35" fmla="*/ 1843 h 10000"/>
                <a:gd name="connsiteX36" fmla="*/ 3523 w 9565"/>
                <a:gd name="connsiteY36" fmla="*/ 1964 h 10000"/>
                <a:gd name="connsiteX37" fmla="*/ 3409 w 9565"/>
                <a:gd name="connsiteY37" fmla="*/ 1996 h 10000"/>
                <a:gd name="connsiteX38" fmla="*/ 3347 w 9565"/>
                <a:gd name="connsiteY38" fmla="*/ 2161 h 10000"/>
                <a:gd name="connsiteX39" fmla="*/ 3309 w 9565"/>
                <a:gd name="connsiteY39" fmla="*/ 2013 h 10000"/>
                <a:gd name="connsiteX40" fmla="*/ 3195 w 9565"/>
                <a:gd name="connsiteY40" fmla="*/ 2024 h 10000"/>
                <a:gd name="connsiteX41" fmla="*/ 3149 w 9565"/>
                <a:gd name="connsiteY41" fmla="*/ 2128 h 10000"/>
                <a:gd name="connsiteX42" fmla="*/ 3080 w 9565"/>
                <a:gd name="connsiteY42" fmla="*/ 1975 h 10000"/>
                <a:gd name="connsiteX43" fmla="*/ 2962 w 9565"/>
                <a:gd name="connsiteY43" fmla="*/ 2117 h 10000"/>
                <a:gd name="connsiteX44" fmla="*/ 2847 w 9565"/>
                <a:gd name="connsiteY44" fmla="*/ 2106 h 10000"/>
                <a:gd name="connsiteX45" fmla="*/ 2843 w 9565"/>
                <a:gd name="connsiteY45" fmla="*/ 2276 h 10000"/>
                <a:gd name="connsiteX46" fmla="*/ 2790 w 9565"/>
                <a:gd name="connsiteY46" fmla="*/ 2144 h 10000"/>
                <a:gd name="connsiteX47" fmla="*/ 2618 w 9565"/>
                <a:gd name="connsiteY47" fmla="*/ 2155 h 10000"/>
                <a:gd name="connsiteX48" fmla="*/ 2494 w 9565"/>
                <a:gd name="connsiteY48" fmla="*/ 1980 h 10000"/>
                <a:gd name="connsiteX49" fmla="*/ 2346 w 9565"/>
                <a:gd name="connsiteY49" fmla="*/ 2073 h 10000"/>
                <a:gd name="connsiteX50" fmla="*/ 2192 w 9565"/>
                <a:gd name="connsiteY50" fmla="*/ 1958 h 10000"/>
                <a:gd name="connsiteX51" fmla="*/ 2104 w 9565"/>
                <a:gd name="connsiteY51" fmla="*/ 2035 h 10000"/>
                <a:gd name="connsiteX52" fmla="*/ 2020 w 9565"/>
                <a:gd name="connsiteY52" fmla="*/ 1947 h 10000"/>
                <a:gd name="connsiteX53" fmla="*/ 1895 w 9565"/>
                <a:gd name="connsiteY53" fmla="*/ 1936 h 10000"/>
                <a:gd name="connsiteX54" fmla="*/ 1707 w 9565"/>
                <a:gd name="connsiteY54" fmla="*/ 1925 h 10000"/>
                <a:gd name="connsiteX55" fmla="*/ 1477 w 9565"/>
                <a:gd name="connsiteY55" fmla="*/ 1991 h 10000"/>
                <a:gd name="connsiteX56" fmla="*/ 1233 w 9565"/>
                <a:gd name="connsiteY56" fmla="*/ 2062 h 10000"/>
                <a:gd name="connsiteX57" fmla="*/ 942 w 9565"/>
                <a:gd name="connsiteY57" fmla="*/ 2166 h 10000"/>
                <a:gd name="connsiteX58" fmla="*/ 815 w 9565"/>
                <a:gd name="connsiteY58" fmla="*/ 2496 h 10000"/>
                <a:gd name="connsiteX59" fmla="*/ 617 w 9565"/>
                <a:gd name="connsiteY59" fmla="*/ 2501 h 10000"/>
                <a:gd name="connsiteX60" fmla="*/ 552 w 9565"/>
                <a:gd name="connsiteY60" fmla="*/ 2687 h 10000"/>
                <a:gd name="connsiteX61" fmla="*/ 571 w 9565"/>
                <a:gd name="connsiteY61" fmla="*/ 2764 h 10000"/>
                <a:gd name="connsiteX62" fmla="*/ 590 w 9565"/>
                <a:gd name="connsiteY62" fmla="*/ 2868 h 10000"/>
                <a:gd name="connsiteX63" fmla="*/ 590 w 9565"/>
                <a:gd name="connsiteY63" fmla="*/ 2868 h 10000"/>
                <a:gd name="connsiteX64" fmla="*/ 590 w 9565"/>
                <a:gd name="connsiteY64" fmla="*/ 2896 h 10000"/>
                <a:gd name="connsiteX65" fmla="*/ 698 w 9565"/>
                <a:gd name="connsiteY65" fmla="*/ 3116 h 10000"/>
                <a:gd name="connsiteX66" fmla="*/ 804 w 9565"/>
                <a:gd name="connsiteY66" fmla="*/ 3351 h 10000"/>
                <a:gd name="connsiteX67" fmla="*/ 942 w 9565"/>
                <a:gd name="connsiteY67" fmla="*/ 3488 h 10000"/>
                <a:gd name="connsiteX68" fmla="*/ 896 w 9565"/>
                <a:gd name="connsiteY68" fmla="*/ 3548 h 10000"/>
                <a:gd name="connsiteX69" fmla="*/ 824 w 9565"/>
                <a:gd name="connsiteY69" fmla="*/ 3603 h 10000"/>
                <a:gd name="connsiteX70" fmla="*/ 907 w 9565"/>
                <a:gd name="connsiteY70" fmla="*/ 3697 h 10000"/>
                <a:gd name="connsiteX71" fmla="*/ 896 w 9565"/>
                <a:gd name="connsiteY71" fmla="*/ 4053 h 10000"/>
                <a:gd name="connsiteX72" fmla="*/ 709 w 9565"/>
                <a:gd name="connsiteY72" fmla="*/ 4124 h 10000"/>
                <a:gd name="connsiteX73" fmla="*/ 509 w 9565"/>
                <a:gd name="connsiteY73" fmla="*/ 4531 h 10000"/>
                <a:gd name="connsiteX74" fmla="*/ 380 w 9565"/>
                <a:gd name="connsiteY74" fmla="*/ 4936 h 10000"/>
                <a:gd name="connsiteX75" fmla="*/ 199 w 9565"/>
                <a:gd name="connsiteY75" fmla="*/ 5260 h 10000"/>
                <a:gd name="connsiteX76" fmla="*/ 276 w 9565"/>
                <a:gd name="connsiteY76" fmla="*/ 5517 h 10000"/>
                <a:gd name="connsiteX77" fmla="*/ 283 w 9565"/>
                <a:gd name="connsiteY77" fmla="*/ 5732 h 10000"/>
                <a:gd name="connsiteX78" fmla="*/ 409 w 9565"/>
                <a:gd name="connsiteY78" fmla="*/ 5841 h 10000"/>
                <a:gd name="connsiteX79" fmla="*/ 391 w 9565"/>
                <a:gd name="connsiteY79" fmla="*/ 5945 h 10000"/>
                <a:gd name="connsiteX80" fmla="*/ 207 w 9565"/>
                <a:gd name="connsiteY80" fmla="*/ 5852 h 10000"/>
                <a:gd name="connsiteX81" fmla="*/ 127 w 9565"/>
                <a:gd name="connsiteY81" fmla="*/ 6099 h 10000"/>
                <a:gd name="connsiteX82" fmla="*/ 107 w 9565"/>
                <a:gd name="connsiteY82" fmla="*/ 6346 h 10000"/>
                <a:gd name="connsiteX83" fmla="*/ 1 w 9565"/>
                <a:gd name="connsiteY83" fmla="*/ 6571 h 10000"/>
                <a:gd name="connsiteX84" fmla="*/ 19 w 9565"/>
                <a:gd name="connsiteY84" fmla="*/ 6779 h 10000"/>
                <a:gd name="connsiteX85" fmla="*/ 92 w 9565"/>
                <a:gd name="connsiteY85" fmla="*/ 6828 h 10000"/>
                <a:gd name="connsiteX86" fmla="*/ 158 w 9565"/>
                <a:gd name="connsiteY86" fmla="*/ 6960 h 10000"/>
                <a:gd name="connsiteX87" fmla="*/ 246 w 9565"/>
                <a:gd name="connsiteY87" fmla="*/ 6943 h 10000"/>
                <a:gd name="connsiteX88" fmla="*/ 299 w 9565"/>
                <a:gd name="connsiteY88" fmla="*/ 7076 h 10000"/>
                <a:gd name="connsiteX89" fmla="*/ 455 w 9565"/>
                <a:gd name="connsiteY89" fmla="*/ 7103 h 10000"/>
                <a:gd name="connsiteX90" fmla="*/ 463 w 9565"/>
                <a:gd name="connsiteY90" fmla="*/ 7251 h 10000"/>
                <a:gd name="connsiteX91" fmla="*/ 505 w 9565"/>
                <a:gd name="connsiteY91" fmla="*/ 7278 h 10000"/>
                <a:gd name="connsiteX92" fmla="*/ 537 w 9565"/>
                <a:gd name="connsiteY92" fmla="*/ 7174 h 10000"/>
                <a:gd name="connsiteX93" fmla="*/ 594 w 9565"/>
                <a:gd name="connsiteY93" fmla="*/ 7196 h 10000"/>
                <a:gd name="connsiteX94" fmla="*/ 659 w 9565"/>
                <a:gd name="connsiteY94" fmla="*/ 6992 h 10000"/>
                <a:gd name="connsiteX95" fmla="*/ 839 w 9565"/>
                <a:gd name="connsiteY95" fmla="*/ 7174 h 10000"/>
                <a:gd name="connsiteX96" fmla="*/ 1313 w 9565"/>
                <a:gd name="connsiteY96" fmla="*/ 7163 h 10000"/>
                <a:gd name="connsiteX97" fmla="*/ 1500 w 9565"/>
                <a:gd name="connsiteY97" fmla="*/ 7092 h 10000"/>
                <a:gd name="connsiteX98" fmla="*/ 1807 w 9565"/>
                <a:gd name="connsiteY98" fmla="*/ 7344 h 10000"/>
                <a:gd name="connsiteX99" fmla="*/ 2001 w 9565"/>
                <a:gd name="connsiteY99" fmla="*/ 7087 h 10000"/>
                <a:gd name="connsiteX100" fmla="*/ 2437 w 9565"/>
                <a:gd name="connsiteY100" fmla="*/ 6861 h 10000"/>
                <a:gd name="connsiteX101" fmla="*/ 2594 w 9565"/>
                <a:gd name="connsiteY101" fmla="*/ 6489 h 10000"/>
                <a:gd name="connsiteX102" fmla="*/ 2709 w 9565"/>
                <a:gd name="connsiteY102" fmla="*/ 6439 h 10000"/>
                <a:gd name="connsiteX103" fmla="*/ 2709 w 9565"/>
                <a:gd name="connsiteY103" fmla="*/ 6379 h 10000"/>
                <a:gd name="connsiteX104" fmla="*/ 2755 w 9565"/>
                <a:gd name="connsiteY104" fmla="*/ 6379 h 10000"/>
                <a:gd name="connsiteX105" fmla="*/ 2744 w 9565"/>
                <a:gd name="connsiteY105" fmla="*/ 6230 h 10000"/>
                <a:gd name="connsiteX106" fmla="*/ 2885 w 9565"/>
                <a:gd name="connsiteY106" fmla="*/ 6285 h 10000"/>
                <a:gd name="connsiteX107" fmla="*/ 2904 w 9565"/>
                <a:gd name="connsiteY107" fmla="*/ 6159 h 10000"/>
                <a:gd name="connsiteX108" fmla="*/ 2988 w 9565"/>
                <a:gd name="connsiteY108" fmla="*/ 6230 h 10000"/>
                <a:gd name="connsiteX109" fmla="*/ 3050 w 9565"/>
                <a:gd name="connsiteY109" fmla="*/ 6126 h 10000"/>
                <a:gd name="connsiteX110" fmla="*/ 3149 w 9565"/>
                <a:gd name="connsiteY110" fmla="*/ 6154 h 10000"/>
                <a:gd name="connsiteX111" fmla="*/ 3237 w 9565"/>
                <a:gd name="connsiteY111" fmla="*/ 6055 h 10000"/>
                <a:gd name="connsiteX112" fmla="*/ 3405 w 9565"/>
                <a:gd name="connsiteY112" fmla="*/ 6192 h 10000"/>
                <a:gd name="connsiteX113" fmla="*/ 3490 w 9565"/>
                <a:gd name="connsiteY113" fmla="*/ 6197 h 10000"/>
                <a:gd name="connsiteX114" fmla="*/ 3516 w 9565"/>
                <a:gd name="connsiteY114" fmla="*/ 6307 h 10000"/>
                <a:gd name="connsiteX115" fmla="*/ 3674 w 9565"/>
                <a:gd name="connsiteY115" fmla="*/ 6236 h 10000"/>
                <a:gd name="connsiteX116" fmla="*/ 3658 w 9565"/>
                <a:gd name="connsiteY116" fmla="*/ 6357 h 10000"/>
                <a:gd name="connsiteX117" fmla="*/ 3716 w 9565"/>
                <a:gd name="connsiteY117" fmla="*/ 6341 h 10000"/>
                <a:gd name="connsiteX118" fmla="*/ 3784 w 9565"/>
                <a:gd name="connsiteY118" fmla="*/ 6428 h 10000"/>
                <a:gd name="connsiteX119" fmla="*/ 3788 w 9565"/>
                <a:gd name="connsiteY119" fmla="*/ 6301 h 10000"/>
                <a:gd name="connsiteX120" fmla="*/ 3971 w 9565"/>
                <a:gd name="connsiteY120" fmla="*/ 6341 h 10000"/>
                <a:gd name="connsiteX121" fmla="*/ 4037 w 9565"/>
                <a:gd name="connsiteY121" fmla="*/ 6511 h 10000"/>
                <a:gd name="connsiteX122" fmla="*/ 4140 w 9565"/>
                <a:gd name="connsiteY122" fmla="*/ 6494 h 10000"/>
                <a:gd name="connsiteX123" fmla="*/ 4185 w 9565"/>
                <a:gd name="connsiteY123" fmla="*/ 6417 h 10000"/>
                <a:gd name="connsiteX124" fmla="*/ 4288 w 9565"/>
                <a:gd name="connsiteY124" fmla="*/ 6735 h 10000"/>
                <a:gd name="connsiteX125" fmla="*/ 4251 w 9565"/>
                <a:gd name="connsiteY125" fmla="*/ 6987 h 10000"/>
                <a:gd name="connsiteX126" fmla="*/ 4304 w 9565"/>
                <a:gd name="connsiteY126" fmla="*/ 7114 h 10000"/>
                <a:gd name="connsiteX127" fmla="*/ 4376 w 9565"/>
                <a:gd name="connsiteY127" fmla="*/ 7119 h 10000"/>
                <a:gd name="connsiteX128" fmla="*/ 4488 w 9565"/>
                <a:gd name="connsiteY128" fmla="*/ 7256 h 10000"/>
                <a:gd name="connsiteX129" fmla="*/ 4533 w 9565"/>
                <a:gd name="connsiteY129" fmla="*/ 7152 h 10000"/>
                <a:gd name="connsiteX130" fmla="*/ 4583 w 9565"/>
                <a:gd name="connsiteY130" fmla="*/ 7322 h 10000"/>
                <a:gd name="connsiteX131" fmla="*/ 4646 w 9565"/>
                <a:gd name="connsiteY131" fmla="*/ 7662 h 10000"/>
                <a:gd name="connsiteX132" fmla="*/ 4829 w 9565"/>
                <a:gd name="connsiteY132" fmla="*/ 7739 h 10000"/>
                <a:gd name="connsiteX133" fmla="*/ 4871 w 9565"/>
                <a:gd name="connsiteY133" fmla="*/ 8183 h 10000"/>
                <a:gd name="connsiteX134" fmla="*/ 5027 w 9565"/>
                <a:gd name="connsiteY134" fmla="*/ 8276 h 10000"/>
                <a:gd name="connsiteX135" fmla="*/ 4866 w 9565"/>
                <a:gd name="connsiteY135" fmla="*/ 8370 h 10000"/>
                <a:gd name="connsiteX136" fmla="*/ 4813 w 9565"/>
                <a:gd name="connsiteY136" fmla="*/ 8260 h 10000"/>
                <a:gd name="connsiteX137" fmla="*/ 4752 w 9565"/>
                <a:gd name="connsiteY137" fmla="*/ 8403 h 10000"/>
                <a:gd name="connsiteX138" fmla="*/ 4594 w 9565"/>
                <a:gd name="connsiteY138" fmla="*/ 8287 h 10000"/>
                <a:gd name="connsiteX139" fmla="*/ 4506 w 9565"/>
                <a:gd name="connsiteY139" fmla="*/ 8452 h 10000"/>
                <a:gd name="connsiteX140" fmla="*/ 4323 w 9565"/>
                <a:gd name="connsiteY140" fmla="*/ 8331 h 10000"/>
                <a:gd name="connsiteX141" fmla="*/ 4411 w 9565"/>
                <a:gd name="connsiteY141" fmla="*/ 8699 h 10000"/>
                <a:gd name="connsiteX142" fmla="*/ 4403 w 9565"/>
                <a:gd name="connsiteY142" fmla="*/ 8967 h 10000"/>
                <a:gd name="connsiteX143" fmla="*/ 4285 w 9565"/>
                <a:gd name="connsiteY143" fmla="*/ 9088 h 10000"/>
                <a:gd name="connsiteX144" fmla="*/ 4323 w 9565"/>
                <a:gd name="connsiteY144" fmla="*/ 9193 h 10000"/>
                <a:gd name="connsiteX145" fmla="*/ 4159 w 9565"/>
                <a:gd name="connsiteY145" fmla="*/ 9412 h 10000"/>
                <a:gd name="connsiteX146" fmla="*/ 4224 w 9565"/>
                <a:gd name="connsiteY146" fmla="*/ 9647 h 10000"/>
                <a:gd name="connsiteX147" fmla="*/ 4063 w 9565"/>
                <a:gd name="connsiteY147" fmla="*/ 9681 h 10000"/>
                <a:gd name="connsiteX148" fmla="*/ 4021 w 9565"/>
                <a:gd name="connsiteY148" fmla="*/ 9741 h 10000"/>
                <a:gd name="connsiteX149" fmla="*/ 4090 w 9565"/>
                <a:gd name="connsiteY149" fmla="*/ 9785 h 10000"/>
                <a:gd name="connsiteX150" fmla="*/ 4213 w 9565"/>
                <a:gd name="connsiteY150" fmla="*/ 9944 h 10000"/>
                <a:gd name="connsiteX151" fmla="*/ 4411 w 9565"/>
                <a:gd name="connsiteY151" fmla="*/ 9999 h 10000"/>
                <a:gd name="connsiteX152" fmla="*/ 4418 w 9565"/>
                <a:gd name="connsiteY152" fmla="*/ 9851 h 10000"/>
                <a:gd name="connsiteX153" fmla="*/ 4488 w 9565"/>
                <a:gd name="connsiteY153" fmla="*/ 9856 h 10000"/>
                <a:gd name="connsiteX154" fmla="*/ 4783 w 9565"/>
                <a:gd name="connsiteY154" fmla="*/ 9603 h 10000"/>
                <a:gd name="connsiteX155" fmla="*/ 4978 w 9565"/>
                <a:gd name="connsiteY155" fmla="*/ 9845 h 10000"/>
                <a:gd name="connsiteX156" fmla="*/ 4978 w 9565"/>
                <a:gd name="connsiteY156" fmla="*/ 9862 h 10000"/>
                <a:gd name="connsiteX157" fmla="*/ 5009 w 9565"/>
                <a:gd name="connsiteY157" fmla="*/ 9703 h 10000"/>
                <a:gd name="connsiteX158" fmla="*/ 4954 w 9565"/>
                <a:gd name="connsiteY158" fmla="*/ 9570 h 10000"/>
                <a:gd name="connsiteX159" fmla="*/ 4886 w 9565"/>
                <a:gd name="connsiteY159" fmla="*/ 9549 h 10000"/>
                <a:gd name="connsiteX160" fmla="*/ 4932 w 9565"/>
                <a:gd name="connsiteY160" fmla="*/ 9466 h 10000"/>
                <a:gd name="connsiteX161" fmla="*/ 4917 w 9565"/>
                <a:gd name="connsiteY161" fmla="*/ 9444 h 10000"/>
                <a:gd name="connsiteX162" fmla="*/ 4859 w 9565"/>
                <a:gd name="connsiteY162" fmla="*/ 9439 h 10000"/>
                <a:gd name="connsiteX163" fmla="*/ 4829 w 9565"/>
                <a:gd name="connsiteY163" fmla="*/ 9121 h 10000"/>
                <a:gd name="connsiteX164" fmla="*/ 4871 w 9565"/>
                <a:gd name="connsiteY164" fmla="*/ 9105 h 10000"/>
                <a:gd name="connsiteX165" fmla="*/ 4893 w 9565"/>
                <a:gd name="connsiteY165" fmla="*/ 9253 h 10000"/>
                <a:gd name="connsiteX166" fmla="*/ 4947 w 9565"/>
                <a:gd name="connsiteY166" fmla="*/ 9384 h 10000"/>
                <a:gd name="connsiteX167" fmla="*/ 4993 w 9565"/>
                <a:gd name="connsiteY167" fmla="*/ 9302 h 10000"/>
                <a:gd name="connsiteX168" fmla="*/ 4981 w 9565"/>
                <a:gd name="connsiteY168" fmla="*/ 9220 h 10000"/>
                <a:gd name="connsiteX169" fmla="*/ 5054 w 9565"/>
                <a:gd name="connsiteY169" fmla="*/ 9203 h 10000"/>
                <a:gd name="connsiteX170" fmla="*/ 5016 w 9565"/>
                <a:gd name="connsiteY170" fmla="*/ 9034 h 10000"/>
                <a:gd name="connsiteX171" fmla="*/ 5115 w 9565"/>
                <a:gd name="connsiteY171" fmla="*/ 9061 h 10000"/>
                <a:gd name="connsiteX172" fmla="*/ 5119 w 9565"/>
                <a:gd name="connsiteY172" fmla="*/ 8972 h 10000"/>
                <a:gd name="connsiteX173" fmla="*/ 5157 w 9565"/>
                <a:gd name="connsiteY173" fmla="*/ 9039 h 10000"/>
                <a:gd name="connsiteX174" fmla="*/ 5326 w 9565"/>
                <a:gd name="connsiteY174" fmla="*/ 8781 h 10000"/>
                <a:gd name="connsiteX175" fmla="*/ 5230 w 9565"/>
                <a:gd name="connsiteY175" fmla="*/ 8584 h 10000"/>
                <a:gd name="connsiteX176" fmla="*/ 5051 w 9565"/>
                <a:gd name="connsiteY176" fmla="*/ 8425 h 10000"/>
                <a:gd name="connsiteX177" fmla="*/ 5153 w 9565"/>
                <a:gd name="connsiteY177" fmla="*/ 8370 h 10000"/>
                <a:gd name="connsiteX178" fmla="*/ 5302 w 9565"/>
                <a:gd name="connsiteY178" fmla="*/ 8633 h 10000"/>
                <a:gd name="connsiteX179" fmla="*/ 5414 w 9565"/>
                <a:gd name="connsiteY179" fmla="*/ 8199 h 10000"/>
                <a:gd name="connsiteX180" fmla="*/ 5421 w 9565"/>
                <a:gd name="connsiteY180" fmla="*/ 8030 h 10000"/>
                <a:gd name="connsiteX181" fmla="*/ 5608 w 9565"/>
                <a:gd name="connsiteY181" fmla="*/ 7942 h 10000"/>
                <a:gd name="connsiteX182" fmla="*/ 5678 w 9565"/>
                <a:gd name="connsiteY182" fmla="*/ 7607 h 10000"/>
                <a:gd name="connsiteX183" fmla="*/ 5689 w 9565"/>
                <a:gd name="connsiteY183" fmla="*/ 7734 h 10000"/>
                <a:gd name="connsiteX184" fmla="*/ 5808 w 9565"/>
                <a:gd name="connsiteY184" fmla="*/ 7596 h 10000"/>
                <a:gd name="connsiteX185" fmla="*/ 5892 w 9565"/>
                <a:gd name="connsiteY185" fmla="*/ 7579 h 10000"/>
                <a:gd name="connsiteX186" fmla="*/ 5976 w 9565"/>
                <a:gd name="connsiteY186" fmla="*/ 7207 h 10000"/>
                <a:gd name="connsiteX187" fmla="*/ 6052 w 9565"/>
                <a:gd name="connsiteY187" fmla="*/ 7486 h 10000"/>
                <a:gd name="connsiteX188" fmla="*/ 6278 w 9565"/>
                <a:gd name="connsiteY188" fmla="*/ 7563 h 10000"/>
                <a:gd name="connsiteX189" fmla="*/ 6106 w 9565"/>
                <a:gd name="connsiteY189" fmla="*/ 7618 h 10000"/>
                <a:gd name="connsiteX190" fmla="*/ 6091 w 9565"/>
                <a:gd name="connsiteY190" fmla="*/ 7679 h 10000"/>
                <a:gd name="connsiteX191" fmla="*/ 5919 w 9565"/>
                <a:gd name="connsiteY191" fmla="*/ 7690 h 10000"/>
                <a:gd name="connsiteX192" fmla="*/ 5831 w 9565"/>
                <a:gd name="connsiteY192" fmla="*/ 7723 h 10000"/>
                <a:gd name="connsiteX193" fmla="*/ 5900 w 9565"/>
                <a:gd name="connsiteY193" fmla="*/ 7772 h 10000"/>
                <a:gd name="connsiteX194" fmla="*/ 5961 w 9565"/>
                <a:gd name="connsiteY194" fmla="*/ 7756 h 10000"/>
                <a:gd name="connsiteX195" fmla="*/ 6129 w 9565"/>
                <a:gd name="connsiteY195" fmla="*/ 7789 h 10000"/>
                <a:gd name="connsiteX196" fmla="*/ 5938 w 9565"/>
                <a:gd name="connsiteY196" fmla="*/ 7964 h 10000"/>
                <a:gd name="connsiteX197" fmla="*/ 6007 w 9565"/>
                <a:gd name="connsiteY197" fmla="*/ 8008 h 10000"/>
                <a:gd name="connsiteX198" fmla="*/ 6182 w 9565"/>
                <a:gd name="connsiteY198" fmla="*/ 7958 h 10000"/>
                <a:gd name="connsiteX199" fmla="*/ 6419 w 9565"/>
                <a:gd name="connsiteY199" fmla="*/ 8101 h 10000"/>
                <a:gd name="connsiteX200" fmla="*/ 6726 w 9565"/>
                <a:gd name="connsiteY200" fmla="*/ 7909 h 10000"/>
                <a:gd name="connsiteX201" fmla="*/ 7028 w 9565"/>
                <a:gd name="connsiteY201" fmla="*/ 7887 h 10000"/>
                <a:gd name="connsiteX202" fmla="*/ 7074 w 9565"/>
                <a:gd name="connsiteY202" fmla="*/ 7745 h 10000"/>
                <a:gd name="connsiteX203" fmla="*/ 7154 w 9565"/>
                <a:gd name="connsiteY203" fmla="*/ 7958 h 10000"/>
                <a:gd name="connsiteX204" fmla="*/ 7238 w 9565"/>
                <a:gd name="connsiteY204" fmla="*/ 7986 h 10000"/>
                <a:gd name="connsiteX205" fmla="*/ 7207 w 9565"/>
                <a:gd name="connsiteY205" fmla="*/ 8134 h 10000"/>
                <a:gd name="connsiteX206" fmla="*/ 6944 w 9565"/>
                <a:gd name="connsiteY206" fmla="*/ 8281 h 10000"/>
                <a:gd name="connsiteX207" fmla="*/ 6925 w 9565"/>
                <a:gd name="connsiteY207" fmla="*/ 8386 h 10000"/>
                <a:gd name="connsiteX208" fmla="*/ 6780 w 9565"/>
                <a:gd name="connsiteY208" fmla="*/ 8523 h 10000"/>
                <a:gd name="connsiteX209" fmla="*/ 6775 w 9565"/>
                <a:gd name="connsiteY209" fmla="*/ 8649 h 10000"/>
                <a:gd name="connsiteX210" fmla="*/ 6687 w 9565"/>
                <a:gd name="connsiteY210" fmla="*/ 8704 h 10000"/>
                <a:gd name="connsiteX211" fmla="*/ 6576 w 9565"/>
                <a:gd name="connsiteY211" fmla="*/ 8989 h 10000"/>
                <a:gd name="connsiteX212" fmla="*/ 6734 w 9565"/>
                <a:gd name="connsiteY212" fmla="*/ 9001 h 10000"/>
                <a:gd name="connsiteX213" fmla="*/ 6826 w 9565"/>
                <a:gd name="connsiteY213" fmla="*/ 8879 h 10000"/>
                <a:gd name="connsiteX214" fmla="*/ 6925 w 9565"/>
                <a:gd name="connsiteY214" fmla="*/ 8912 h 10000"/>
                <a:gd name="connsiteX215" fmla="*/ 6971 w 9565"/>
                <a:gd name="connsiteY215" fmla="*/ 8786 h 10000"/>
                <a:gd name="connsiteX216" fmla="*/ 7035 w 9565"/>
                <a:gd name="connsiteY216" fmla="*/ 9001 h 10000"/>
                <a:gd name="connsiteX217" fmla="*/ 7223 w 9565"/>
                <a:gd name="connsiteY217" fmla="*/ 8994 h 10000"/>
                <a:gd name="connsiteX218" fmla="*/ 7383 w 9565"/>
                <a:gd name="connsiteY218" fmla="*/ 9362 h 10000"/>
                <a:gd name="connsiteX219" fmla="*/ 7398 w 9565"/>
                <a:gd name="connsiteY219" fmla="*/ 9675 h 10000"/>
                <a:gd name="connsiteX220" fmla="*/ 7341 w 9565"/>
                <a:gd name="connsiteY220" fmla="*/ 9692 h 10000"/>
                <a:gd name="connsiteX221" fmla="*/ 7352 w 9565"/>
                <a:gd name="connsiteY221" fmla="*/ 9780 h 10000"/>
                <a:gd name="connsiteX222" fmla="*/ 7594 w 9565"/>
                <a:gd name="connsiteY222" fmla="*/ 9900 h 10000"/>
                <a:gd name="connsiteX223" fmla="*/ 8294 w 9565"/>
                <a:gd name="connsiteY223" fmla="*/ 9023 h 10000"/>
                <a:gd name="connsiteX224" fmla="*/ 8370 w 9565"/>
                <a:gd name="connsiteY224" fmla="*/ 8841 h 10000"/>
                <a:gd name="connsiteX225" fmla="*/ 8458 w 9565"/>
                <a:gd name="connsiteY225" fmla="*/ 8786 h 10000"/>
                <a:gd name="connsiteX226" fmla="*/ 8512 w 9565"/>
                <a:gd name="connsiteY226" fmla="*/ 8512 h 10000"/>
                <a:gd name="connsiteX227" fmla="*/ 8739 w 9565"/>
                <a:gd name="connsiteY227" fmla="*/ 8617 h 10000"/>
                <a:gd name="connsiteX228" fmla="*/ 8872 w 9565"/>
                <a:gd name="connsiteY228" fmla="*/ 8474 h 10000"/>
                <a:gd name="connsiteX229" fmla="*/ 9059 w 9565"/>
                <a:gd name="connsiteY229" fmla="*/ 8343 h 10000"/>
                <a:gd name="connsiteX230" fmla="*/ 8983 w 9565"/>
                <a:gd name="connsiteY230" fmla="*/ 8128 h 10000"/>
                <a:gd name="connsiteX231" fmla="*/ 7885 w 9565"/>
                <a:gd name="connsiteY231" fmla="*/ 7991 h 10000"/>
                <a:gd name="connsiteX232" fmla="*/ 7859 w 9565"/>
                <a:gd name="connsiteY232" fmla="*/ 7904 h 10000"/>
                <a:gd name="connsiteX233" fmla="*/ 7782 w 9565"/>
                <a:gd name="connsiteY233" fmla="*/ 8002 h 10000"/>
                <a:gd name="connsiteX234" fmla="*/ 7893 w 9565"/>
                <a:gd name="connsiteY234" fmla="*/ 7761 h 10000"/>
                <a:gd name="connsiteX235" fmla="*/ 7851 w 9565"/>
                <a:gd name="connsiteY235" fmla="*/ 7717 h 10000"/>
                <a:gd name="connsiteX236" fmla="*/ 7728 w 9565"/>
                <a:gd name="connsiteY236" fmla="*/ 7915 h 10000"/>
                <a:gd name="connsiteX237" fmla="*/ 7793 w 9565"/>
                <a:gd name="connsiteY237" fmla="*/ 7712 h 10000"/>
                <a:gd name="connsiteX238" fmla="*/ 7705 w 9565"/>
                <a:gd name="connsiteY238" fmla="*/ 7767 h 10000"/>
                <a:gd name="connsiteX239" fmla="*/ 7590 w 9565"/>
                <a:gd name="connsiteY239" fmla="*/ 7717 h 10000"/>
                <a:gd name="connsiteX240" fmla="*/ 7502 w 9565"/>
                <a:gd name="connsiteY240" fmla="*/ 7794 h 10000"/>
                <a:gd name="connsiteX241" fmla="*/ 7407 w 9565"/>
                <a:gd name="connsiteY241" fmla="*/ 7728 h 10000"/>
                <a:gd name="connsiteX242" fmla="*/ 7250 w 9565"/>
                <a:gd name="connsiteY242" fmla="*/ 7717 h 10000"/>
                <a:gd name="connsiteX243" fmla="*/ 7253 w 9565"/>
                <a:gd name="connsiteY243" fmla="*/ 7547 h 10000"/>
                <a:gd name="connsiteX244" fmla="*/ 7395 w 9565"/>
                <a:gd name="connsiteY244" fmla="*/ 7662 h 10000"/>
                <a:gd name="connsiteX245" fmla="*/ 7440 w 9565"/>
                <a:gd name="connsiteY245" fmla="*/ 7541 h 10000"/>
                <a:gd name="connsiteX246" fmla="*/ 7403 w 9565"/>
                <a:gd name="connsiteY246" fmla="*/ 7410 h 10000"/>
                <a:gd name="connsiteX247" fmla="*/ 7510 w 9565"/>
                <a:gd name="connsiteY247" fmla="*/ 7547 h 10000"/>
                <a:gd name="connsiteX248" fmla="*/ 7655 w 9565"/>
                <a:gd name="connsiteY248" fmla="*/ 7536 h 10000"/>
                <a:gd name="connsiteX249" fmla="*/ 7679 w 9565"/>
                <a:gd name="connsiteY249" fmla="*/ 7685 h 10000"/>
                <a:gd name="connsiteX250" fmla="*/ 7721 w 9565"/>
                <a:gd name="connsiteY250" fmla="*/ 7685 h 10000"/>
                <a:gd name="connsiteX251" fmla="*/ 7732 w 9565"/>
                <a:gd name="connsiteY251" fmla="*/ 7415 h 10000"/>
                <a:gd name="connsiteX252" fmla="*/ 7782 w 9565"/>
                <a:gd name="connsiteY252" fmla="*/ 7585 h 10000"/>
                <a:gd name="connsiteX253" fmla="*/ 7870 w 9565"/>
                <a:gd name="connsiteY253" fmla="*/ 7590 h 10000"/>
                <a:gd name="connsiteX254" fmla="*/ 7805 w 9565"/>
                <a:gd name="connsiteY254" fmla="*/ 7333 h 10000"/>
                <a:gd name="connsiteX255" fmla="*/ 7965 w 9565"/>
                <a:gd name="connsiteY255" fmla="*/ 7240 h 10000"/>
                <a:gd name="connsiteX256" fmla="*/ 7958 w 9565"/>
                <a:gd name="connsiteY256" fmla="*/ 6987 h 10000"/>
                <a:gd name="connsiteX257" fmla="*/ 8069 w 9565"/>
                <a:gd name="connsiteY257" fmla="*/ 7081 h 10000"/>
                <a:gd name="connsiteX258" fmla="*/ 8088 w 9565"/>
                <a:gd name="connsiteY258" fmla="*/ 7015 h 10000"/>
                <a:gd name="connsiteX259" fmla="*/ 7954 w 9565"/>
                <a:gd name="connsiteY259" fmla="*/ 6735 h 10000"/>
                <a:gd name="connsiteX260" fmla="*/ 8133 w 9565"/>
                <a:gd name="connsiteY260" fmla="*/ 6894 h 10000"/>
                <a:gd name="connsiteX261" fmla="*/ 8359 w 9565"/>
                <a:gd name="connsiteY261" fmla="*/ 6511 h 10000"/>
                <a:gd name="connsiteX262" fmla="*/ 8577 w 9565"/>
                <a:gd name="connsiteY262" fmla="*/ 6483 h 10000"/>
                <a:gd name="connsiteX263" fmla="*/ 8623 w 9565"/>
                <a:gd name="connsiteY26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084 w 10000"/>
                <a:gd name="connsiteY250" fmla="*/ 7415 h 10000"/>
                <a:gd name="connsiteX251" fmla="*/ 8136 w 10000"/>
                <a:gd name="connsiteY251" fmla="*/ 7585 h 10000"/>
                <a:gd name="connsiteX252" fmla="*/ 8228 w 10000"/>
                <a:gd name="connsiteY252" fmla="*/ 7590 h 10000"/>
                <a:gd name="connsiteX253" fmla="*/ 8160 w 10000"/>
                <a:gd name="connsiteY253" fmla="*/ 7333 h 10000"/>
                <a:gd name="connsiteX254" fmla="*/ 8327 w 10000"/>
                <a:gd name="connsiteY254" fmla="*/ 7240 h 10000"/>
                <a:gd name="connsiteX255" fmla="*/ 8320 w 10000"/>
                <a:gd name="connsiteY255" fmla="*/ 6987 h 10000"/>
                <a:gd name="connsiteX256" fmla="*/ 8436 w 10000"/>
                <a:gd name="connsiteY256" fmla="*/ 7081 h 10000"/>
                <a:gd name="connsiteX257" fmla="*/ 8456 w 10000"/>
                <a:gd name="connsiteY257" fmla="*/ 7015 h 10000"/>
                <a:gd name="connsiteX258" fmla="*/ 8316 w 10000"/>
                <a:gd name="connsiteY258" fmla="*/ 6735 h 10000"/>
                <a:gd name="connsiteX259" fmla="*/ 8503 w 10000"/>
                <a:gd name="connsiteY259" fmla="*/ 6894 h 10000"/>
                <a:gd name="connsiteX260" fmla="*/ 8739 w 10000"/>
                <a:gd name="connsiteY260" fmla="*/ 6511 h 10000"/>
                <a:gd name="connsiteX261" fmla="*/ 8967 w 10000"/>
                <a:gd name="connsiteY261" fmla="*/ 6483 h 10000"/>
                <a:gd name="connsiteX262" fmla="*/ 9015 w 10000"/>
                <a:gd name="connsiteY26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084 w 10000"/>
                <a:gd name="connsiteY250" fmla="*/ 7415 h 10000"/>
                <a:gd name="connsiteX251" fmla="*/ 8228 w 10000"/>
                <a:gd name="connsiteY251" fmla="*/ 7590 h 10000"/>
                <a:gd name="connsiteX252" fmla="*/ 8160 w 10000"/>
                <a:gd name="connsiteY252" fmla="*/ 7333 h 10000"/>
                <a:gd name="connsiteX253" fmla="*/ 8327 w 10000"/>
                <a:gd name="connsiteY253" fmla="*/ 7240 h 10000"/>
                <a:gd name="connsiteX254" fmla="*/ 8320 w 10000"/>
                <a:gd name="connsiteY254" fmla="*/ 6987 h 10000"/>
                <a:gd name="connsiteX255" fmla="*/ 8436 w 10000"/>
                <a:gd name="connsiteY255" fmla="*/ 7081 h 10000"/>
                <a:gd name="connsiteX256" fmla="*/ 8456 w 10000"/>
                <a:gd name="connsiteY256" fmla="*/ 7015 h 10000"/>
                <a:gd name="connsiteX257" fmla="*/ 8316 w 10000"/>
                <a:gd name="connsiteY257" fmla="*/ 6735 h 10000"/>
                <a:gd name="connsiteX258" fmla="*/ 8503 w 10000"/>
                <a:gd name="connsiteY258" fmla="*/ 6894 h 10000"/>
                <a:gd name="connsiteX259" fmla="*/ 8739 w 10000"/>
                <a:gd name="connsiteY259" fmla="*/ 6511 h 10000"/>
                <a:gd name="connsiteX260" fmla="*/ 8967 w 10000"/>
                <a:gd name="connsiteY260" fmla="*/ 6483 h 10000"/>
                <a:gd name="connsiteX261" fmla="*/ 9015 w 10000"/>
                <a:gd name="connsiteY26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228 w 10000"/>
                <a:gd name="connsiteY250" fmla="*/ 7590 h 10000"/>
                <a:gd name="connsiteX251" fmla="*/ 8160 w 10000"/>
                <a:gd name="connsiteY251" fmla="*/ 7333 h 10000"/>
                <a:gd name="connsiteX252" fmla="*/ 8327 w 10000"/>
                <a:gd name="connsiteY252" fmla="*/ 7240 h 10000"/>
                <a:gd name="connsiteX253" fmla="*/ 8320 w 10000"/>
                <a:gd name="connsiteY253" fmla="*/ 6987 h 10000"/>
                <a:gd name="connsiteX254" fmla="*/ 8436 w 10000"/>
                <a:gd name="connsiteY254" fmla="*/ 7081 h 10000"/>
                <a:gd name="connsiteX255" fmla="*/ 8456 w 10000"/>
                <a:gd name="connsiteY255" fmla="*/ 7015 h 10000"/>
                <a:gd name="connsiteX256" fmla="*/ 8316 w 10000"/>
                <a:gd name="connsiteY256" fmla="*/ 6735 h 10000"/>
                <a:gd name="connsiteX257" fmla="*/ 8503 w 10000"/>
                <a:gd name="connsiteY257" fmla="*/ 6894 h 10000"/>
                <a:gd name="connsiteX258" fmla="*/ 8739 w 10000"/>
                <a:gd name="connsiteY258" fmla="*/ 6511 h 10000"/>
                <a:gd name="connsiteX259" fmla="*/ 8967 w 10000"/>
                <a:gd name="connsiteY259" fmla="*/ 6483 h 10000"/>
                <a:gd name="connsiteX260" fmla="*/ 9015 w 10000"/>
                <a:gd name="connsiteY26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228 w 10000"/>
                <a:gd name="connsiteY249" fmla="*/ 7590 h 10000"/>
                <a:gd name="connsiteX250" fmla="*/ 8160 w 10000"/>
                <a:gd name="connsiteY250" fmla="*/ 7333 h 10000"/>
                <a:gd name="connsiteX251" fmla="*/ 8327 w 10000"/>
                <a:gd name="connsiteY251" fmla="*/ 7240 h 10000"/>
                <a:gd name="connsiteX252" fmla="*/ 8320 w 10000"/>
                <a:gd name="connsiteY252" fmla="*/ 6987 h 10000"/>
                <a:gd name="connsiteX253" fmla="*/ 8436 w 10000"/>
                <a:gd name="connsiteY253" fmla="*/ 7081 h 10000"/>
                <a:gd name="connsiteX254" fmla="*/ 8456 w 10000"/>
                <a:gd name="connsiteY254" fmla="*/ 7015 h 10000"/>
                <a:gd name="connsiteX255" fmla="*/ 8316 w 10000"/>
                <a:gd name="connsiteY255" fmla="*/ 6735 h 10000"/>
                <a:gd name="connsiteX256" fmla="*/ 8503 w 10000"/>
                <a:gd name="connsiteY256" fmla="*/ 6894 h 10000"/>
                <a:gd name="connsiteX257" fmla="*/ 8739 w 10000"/>
                <a:gd name="connsiteY257" fmla="*/ 6511 h 10000"/>
                <a:gd name="connsiteX258" fmla="*/ 8967 w 10000"/>
                <a:gd name="connsiteY258" fmla="*/ 6483 h 10000"/>
                <a:gd name="connsiteX259" fmla="*/ 9015 w 10000"/>
                <a:gd name="connsiteY25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228 w 10000"/>
                <a:gd name="connsiteY248" fmla="*/ 7590 h 10000"/>
                <a:gd name="connsiteX249" fmla="*/ 8160 w 10000"/>
                <a:gd name="connsiteY249" fmla="*/ 7333 h 10000"/>
                <a:gd name="connsiteX250" fmla="*/ 8327 w 10000"/>
                <a:gd name="connsiteY250" fmla="*/ 7240 h 10000"/>
                <a:gd name="connsiteX251" fmla="*/ 8320 w 10000"/>
                <a:gd name="connsiteY251" fmla="*/ 6987 h 10000"/>
                <a:gd name="connsiteX252" fmla="*/ 8436 w 10000"/>
                <a:gd name="connsiteY252" fmla="*/ 7081 h 10000"/>
                <a:gd name="connsiteX253" fmla="*/ 8456 w 10000"/>
                <a:gd name="connsiteY253" fmla="*/ 7015 h 10000"/>
                <a:gd name="connsiteX254" fmla="*/ 8316 w 10000"/>
                <a:gd name="connsiteY254" fmla="*/ 6735 h 10000"/>
                <a:gd name="connsiteX255" fmla="*/ 8503 w 10000"/>
                <a:gd name="connsiteY255" fmla="*/ 6894 h 10000"/>
                <a:gd name="connsiteX256" fmla="*/ 8739 w 10000"/>
                <a:gd name="connsiteY256" fmla="*/ 6511 h 10000"/>
                <a:gd name="connsiteX257" fmla="*/ 8967 w 10000"/>
                <a:gd name="connsiteY257" fmla="*/ 6483 h 10000"/>
                <a:gd name="connsiteX258" fmla="*/ 9015 w 10000"/>
                <a:gd name="connsiteY25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228 w 10000"/>
                <a:gd name="connsiteY247" fmla="*/ 7590 h 10000"/>
                <a:gd name="connsiteX248" fmla="*/ 8160 w 10000"/>
                <a:gd name="connsiteY248" fmla="*/ 7333 h 10000"/>
                <a:gd name="connsiteX249" fmla="*/ 8327 w 10000"/>
                <a:gd name="connsiteY249" fmla="*/ 7240 h 10000"/>
                <a:gd name="connsiteX250" fmla="*/ 8320 w 10000"/>
                <a:gd name="connsiteY250" fmla="*/ 6987 h 10000"/>
                <a:gd name="connsiteX251" fmla="*/ 8436 w 10000"/>
                <a:gd name="connsiteY251" fmla="*/ 7081 h 10000"/>
                <a:gd name="connsiteX252" fmla="*/ 8456 w 10000"/>
                <a:gd name="connsiteY252" fmla="*/ 7015 h 10000"/>
                <a:gd name="connsiteX253" fmla="*/ 8316 w 10000"/>
                <a:gd name="connsiteY253" fmla="*/ 6735 h 10000"/>
                <a:gd name="connsiteX254" fmla="*/ 8503 w 10000"/>
                <a:gd name="connsiteY254" fmla="*/ 6894 h 10000"/>
                <a:gd name="connsiteX255" fmla="*/ 8739 w 10000"/>
                <a:gd name="connsiteY255" fmla="*/ 6511 h 10000"/>
                <a:gd name="connsiteX256" fmla="*/ 8967 w 10000"/>
                <a:gd name="connsiteY256" fmla="*/ 6483 h 10000"/>
                <a:gd name="connsiteX257" fmla="*/ 9015 w 10000"/>
                <a:gd name="connsiteY25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8228 w 10000"/>
                <a:gd name="connsiteY246" fmla="*/ 7590 h 10000"/>
                <a:gd name="connsiteX247" fmla="*/ 8160 w 10000"/>
                <a:gd name="connsiteY247" fmla="*/ 7333 h 10000"/>
                <a:gd name="connsiteX248" fmla="*/ 8327 w 10000"/>
                <a:gd name="connsiteY248" fmla="*/ 7240 h 10000"/>
                <a:gd name="connsiteX249" fmla="*/ 8320 w 10000"/>
                <a:gd name="connsiteY249" fmla="*/ 6987 h 10000"/>
                <a:gd name="connsiteX250" fmla="*/ 8436 w 10000"/>
                <a:gd name="connsiteY250" fmla="*/ 7081 h 10000"/>
                <a:gd name="connsiteX251" fmla="*/ 8456 w 10000"/>
                <a:gd name="connsiteY251" fmla="*/ 7015 h 10000"/>
                <a:gd name="connsiteX252" fmla="*/ 8316 w 10000"/>
                <a:gd name="connsiteY252" fmla="*/ 6735 h 10000"/>
                <a:gd name="connsiteX253" fmla="*/ 8503 w 10000"/>
                <a:gd name="connsiteY253" fmla="*/ 6894 h 10000"/>
                <a:gd name="connsiteX254" fmla="*/ 8739 w 10000"/>
                <a:gd name="connsiteY254" fmla="*/ 6511 h 10000"/>
                <a:gd name="connsiteX255" fmla="*/ 8967 w 10000"/>
                <a:gd name="connsiteY255" fmla="*/ 6483 h 10000"/>
                <a:gd name="connsiteX256" fmla="*/ 9015 w 10000"/>
                <a:gd name="connsiteY25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8228 w 10000"/>
                <a:gd name="connsiteY245" fmla="*/ 7590 h 10000"/>
                <a:gd name="connsiteX246" fmla="*/ 8160 w 10000"/>
                <a:gd name="connsiteY246" fmla="*/ 7333 h 10000"/>
                <a:gd name="connsiteX247" fmla="*/ 8327 w 10000"/>
                <a:gd name="connsiteY247" fmla="*/ 7240 h 10000"/>
                <a:gd name="connsiteX248" fmla="*/ 8320 w 10000"/>
                <a:gd name="connsiteY248" fmla="*/ 6987 h 10000"/>
                <a:gd name="connsiteX249" fmla="*/ 8436 w 10000"/>
                <a:gd name="connsiteY249" fmla="*/ 7081 h 10000"/>
                <a:gd name="connsiteX250" fmla="*/ 8456 w 10000"/>
                <a:gd name="connsiteY250" fmla="*/ 7015 h 10000"/>
                <a:gd name="connsiteX251" fmla="*/ 8316 w 10000"/>
                <a:gd name="connsiteY251" fmla="*/ 6735 h 10000"/>
                <a:gd name="connsiteX252" fmla="*/ 8503 w 10000"/>
                <a:gd name="connsiteY252" fmla="*/ 6894 h 10000"/>
                <a:gd name="connsiteX253" fmla="*/ 8739 w 10000"/>
                <a:gd name="connsiteY253" fmla="*/ 6511 h 10000"/>
                <a:gd name="connsiteX254" fmla="*/ 8967 w 10000"/>
                <a:gd name="connsiteY254" fmla="*/ 6483 h 10000"/>
                <a:gd name="connsiteX255" fmla="*/ 9015 w 10000"/>
                <a:gd name="connsiteY25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8228 w 10000"/>
                <a:gd name="connsiteY244" fmla="*/ 7590 h 10000"/>
                <a:gd name="connsiteX245" fmla="*/ 8160 w 10000"/>
                <a:gd name="connsiteY245" fmla="*/ 7333 h 10000"/>
                <a:gd name="connsiteX246" fmla="*/ 8327 w 10000"/>
                <a:gd name="connsiteY246" fmla="*/ 7240 h 10000"/>
                <a:gd name="connsiteX247" fmla="*/ 8320 w 10000"/>
                <a:gd name="connsiteY247" fmla="*/ 6987 h 10000"/>
                <a:gd name="connsiteX248" fmla="*/ 8436 w 10000"/>
                <a:gd name="connsiteY248" fmla="*/ 7081 h 10000"/>
                <a:gd name="connsiteX249" fmla="*/ 8456 w 10000"/>
                <a:gd name="connsiteY249" fmla="*/ 7015 h 10000"/>
                <a:gd name="connsiteX250" fmla="*/ 8316 w 10000"/>
                <a:gd name="connsiteY250" fmla="*/ 6735 h 10000"/>
                <a:gd name="connsiteX251" fmla="*/ 8503 w 10000"/>
                <a:gd name="connsiteY251" fmla="*/ 6894 h 10000"/>
                <a:gd name="connsiteX252" fmla="*/ 8739 w 10000"/>
                <a:gd name="connsiteY252" fmla="*/ 6511 h 10000"/>
                <a:gd name="connsiteX253" fmla="*/ 8967 w 10000"/>
                <a:gd name="connsiteY253" fmla="*/ 6483 h 10000"/>
                <a:gd name="connsiteX254" fmla="*/ 9015 w 10000"/>
                <a:gd name="connsiteY25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8228 w 10000"/>
                <a:gd name="connsiteY243" fmla="*/ 7590 h 10000"/>
                <a:gd name="connsiteX244" fmla="*/ 8160 w 10000"/>
                <a:gd name="connsiteY244" fmla="*/ 7333 h 10000"/>
                <a:gd name="connsiteX245" fmla="*/ 8327 w 10000"/>
                <a:gd name="connsiteY245" fmla="*/ 7240 h 10000"/>
                <a:gd name="connsiteX246" fmla="*/ 8320 w 10000"/>
                <a:gd name="connsiteY246" fmla="*/ 6987 h 10000"/>
                <a:gd name="connsiteX247" fmla="*/ 8436 w 10000"/>
                <a:gd name="connsiteY247" fmla="*/ 7081 h 10000"/>
                <a:gd name="connsiteX248" fmla="*/ 8456 w 10000"/>
                <a:gd name="connsiteY248" fmla="*/ 7015 h 10000"/>
                <a:gd name="connsiteX249" fmla="*/ 8316 w 10000"/>
                <a:gd name="connsiteY249" fmla="*/ 6735 h 10000"/>
                <a:gd name="connsiteX250" fmla="*/ 8503 w 10000"/>
                <a:gd name="connsiteY250" fmla="*/ 6894 h 10000"/>
                <a:gd name="connsiteX251" fmla="*/ 8739 w 10000"/>
                <a:gd name="connsiteY251" fmla="*/ 6511 h 10000"/>
                <a:gd name="connsiteX252" fmla="*/ 8967 w 10000"/>
                <a:gd name="connsiteY252" fmla="*/ 6483 h 10000"/>
                <a:gd name="connsiteX253" fmla="*/ 9015 w 10000"/>
                <a:gd name="connsiteY25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8228 w 10000"/>
                <a:gd name="connsiteY242" fmla="*/ 7590 h 10000"/>
                <a:gd name="connsiteX243" fmla="*/ 8160 w 10000"/>
                <a:gd name="connsiteY243" fmla="*/ 7333 h 10000"/>
                <a:gd name="connsiteX244" fmla="*/ 8327 w 10000"/>
                <a:gd name="connsiteY244" fmla="*/ 7240 h 10000"/>
                <a:gd name="connsiteX245" fmla="*/ 8320 w 10000"/>
                <a:gd name="connsiteY245" fmla="*/ 6987 h 10000"/>
                <a:gd name="connsiteX246" fmla="*/ 8436 w 10000"/>
                <a:gd name="connsiteY246" fmla="*/ 7081 h 10000"/>
                <a:gd name="connsiteX247" fmla="*/ 8456 w 10000"/>
                <a:gd name="connsiteY247" fmla="*/ 7015 h 10000"/>
                <a:gd name="connsiteX248" fmla="*/ 8316 w 10000"/>
                <a:gd name="connsiteY248" fmla="*/ 6735 h 10000"/>
                <a:gd name="connsiteX249" fmla="*/ 8503 w 10000"/>
                <a:gd name="connsiteY249" fmla="*/ 6894 h 10000"/>
                <a:gd name="connsiteX250" fmla="*/ 8739 w 10000"/>
                <a:gd name="connsiteY250" fmla="*/ 6511 h 10000"/>
                <a:gd name="connsiteX251" fmla="*/ 8967 w 10000"/>
                <a:gd name="connsiteY251" fmla="*/ 6483 h 10000"/>
                <a:gd name="connsiteX252" fmla="*/ 9015 w 10000"/>
                <a:gd name="connsiteY25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8228 w 10000"/>
                <a:gd name="connsiteY241" fmla="*/ 7590 h 10000"/>
                <a:gd name="connsiteX242" fmla="*/ 8160 w 10000"/>
                <a:gd name="connsiteY242" fmla="*/ 7333 h 10000"/>
                <a:gd name="connsiteX243" fmla="*/ 8327 w 10000"/>
                <a:gd name="connsiteY243" fmla="*/ 7240 h 10000"/>
                <a:gd name="connsiteX244" fmla="*/ 8320 w 10000"/>
                <a:gd name="connsiteY244" fmla="*/ 6987 h 10000"/>
                <a:gd name="connsiteX245" fmla="*/ 8436 w 10000"/>
                <a:gd name="connsiteY245" fmla="*/ 7081 h 10000"/>
                <a:gd name="connsiteX246" fmla="*/ 8456 w 10000"/>
                <a:gd name="connsiteY246" fmla="*/ 7015 h 10000"/>
                <a:gd name="connsiteX247" fmla="*/ 8316 w 10000"/>
                <a:gd name="connsiteY247" fmla="*/ 6735 h 10000"/>
                <a:gd name="connsiteX248" fmla="*/ 8503 w 10000"/>
                <a:gd name="connsiteY248" fmla="*/ 6894 h 10000"/>
                <a:gd name="connsiteX249" fmla="*/ 8739 w 10000"/>
                <a:gd name="connsiteY249" fmla="*/ 6511 h 10000"/>
                <a:gd name="connsiteX250" fmla="*/ 8967 w 10000"/>
                <a:gd name="connsiteY250" fmla="*/ 6483 h 10000"/>
                <a:gd name="connsiteX251" fmla="*/ 9015 w 10000"/>
                <a:gd name="connsiteY25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8228 w 10000"/>
                <a:gd name="connsiteY240" fmla="*/ 7590 h 10000"/>
                <a:gd name="connsiteX241" fmla="*/ 8160 w 10000"/>
                <a:gd name="connsiteY241" fmla="*/ 7333 h 10000"/>
                <a:gd name="connsiteX242" fmla="*/ 8327 w 10000"/>
                <a:gd name="connsiteY242" fmla="*/ 7240 h 10000"/>
                <a:gd name="connsiteX243" fmla="*/ 8320 w 10000"/>
                <a:gd name="connsiteY243" fmla="*/ 6987 h 10000"/>
                <a:gd name="connsiteX244" fmla="*/ 8436 w 10000"/>
                <a:gd name="connsiteY244" fmla="*/ 7081 h 10000"/>
                <a:gd name="connsiteX245" fmla="*/ 8456 w 10000"/>
                <a:gd name="connsiteY245" fmla="*/ 7015 h 10000"/>
                <a:gd name="connsiteX246" fmla="*/ 8316 w 10000"/>
                <a:gd name="connsiteY246" fmla="*/ 6735 h 10000"/>
                <a:gd name="connsiteX247" fmla="*/ 8503 w 10000"/>
                <a:gd name="connsiteY247" fmla="*/ 6894 h 10000"/>
                <a:gd name="connsiteX248" fmla="*/ 8739 w 10000"/>
                <a:gd name="connsiteY248" fmla="*/ 6511 h 10000"/>
                <a:gd name="connsiteX249" fmla="*/ 8967 w 10000"/>
                <a:gd name="connsiteY249" fmla="*/ 6483 h 10000"/>
                <a:gd name="connsiteX250" fmla="*/ 9015 w 10000"/>
                <a:gd name="connsiteY25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8228 w 10000"/>
                <a:gd name="connsiteY239" fmla="*/ 7590 h 10000"/>
                <a:gd name="connsiteX240" fmla="*/ 8160 w 10000"/>
                <a:gd name="connsiteY240" fmla="*/ 7333 h 10000"/>
                <a:gd name="connsiteX241" fmla="*/ 8327 w 10000"/>
                <a:gd name="connsiteY241" fmla="*/ 7240 h 10000"/>
                <a:gd name="connsiteX242" fmla="*/ 8320 w 10000"/>
                <a:gd name="connsiteY242" fmla="*/ 6987 h 10000"/>
                <a:gd name="connsiteX243" fmla="*/ 8436 w 10000"/>
                <a:gd name="connsiteY243" fmla="*/ 7081 h 10000"/>
                <a:gd name="connsiteX244" fmla="*/ 8456 w 10000"/>
                <a:gd name="connsiteY244" fmla="*/ 7015 h 10000"/>
                <a:gd name="connsiteX245" fmla="*/ 8316 w 10000"/>
                <a:gd name="connsiteY245" fmla="*/ 6735 h 10000"/>
                <a:gd name="connsiteX246" fmla="*/ 8503 w 10000"/>
                <a:gd name="connsiteY246" fmla="*/ 6894 h 10000"/>
                <a:gd name="connsiteX247" fmla="*/ 8739 w 10000"/>
                <a:gd name="connsiteY247" fmla="*/ 6511 h 10000"/>
                <a:gd name="connsiteX248" fmla="*/ 8967 w 10000"/>
                <a:gd name="connsiteY248" fmla="*/ 6483 h 10000"/>
                <a:gd name="connsiteX249" fmla="*/ 9015 w 10000"/>
                <a:gd name="connsiteY24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8228 w 10000"/>
                <a:gd name="connsiteY238" fmla="*/ 7590 h 10000"/>
                <a:gd name="connsiteX239" fmla="*/ 8160 w 10000"/>
                <a:gd name="connsiteY239" fmla="*/ 7333 h 10000"/>
                <a:gd name="connsiteX240" fmla="*/ 8327 w 10000"/>
                <a:gd name="connsiteY240" fmla="*/ 7240 h 10000"/>
                <a:gd name="connsiteX241" fmla="*/ 8320 w 10000"/>
                <a:gd name="connsiteY241" fmla="*/ 6987 h 10000"/>
                <a:gd name="connsiteX242" fmla="*/ 8436 w 10000"/>
                <a:gd name="connsiteY242" fmla="*/ 7081 h 10000"/>
                <a:gd name="connsiteX243" fmla="*/ 8456 w 10000"/>
                <a:gd name="connsiteY243" fmla="*/ 7015 h 10000"/>
                <a:gd name="connsiteX244" fmla="*/ 8316 w 10000"/>
                <a:gd name="connsiteY244" fmla="*/ 6735 h 10000"/>
                <a:gd name="connsiteX245" fmla="*/ 8503 w 10000"/>
                <a:gd name="connsiteY245" fmla="*/ 6894 h 10000"/>
                <a:gd name="connsiteX246" fmla="*/ 8739 w 10000"/>
                <a:gd name="connsiteY246" fmla="*/ 6511 h 10000"/>
                <a:gd name="connsiteX247" fmla="*/ 8967 w 10000"/>
                <a:gd name="connsiteY247" fmla="*/ 6483 h 10000"/>
                <a:gd name="connsiteX248" fmla="*/ 9015 w 10000"/>
                <a:gd name="connsiteY24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260 w 10000"/>
                <a:gd name="connsiteY204" fmla="*/ 8281 h 10000"/>
                <a:gd name="connsiteX205" fmla="*/ 7240 w 10000"/>
                <a:gd name="connsiteY205" fmla="*/ 8386 h 10000"/>
                <a:gd name="connsiteX206" fmla="*/ 7088 w 10000"/>
                <a:gd name="connsiteY206" fmla="*/ 8523 h 10000"/>
                <a:gd name="connsiteX207" fmla="*/ 7083 w 10000"/>
                <a:gd name="connsiteY207" fmla="*/ 8649 h 10000"/>
                <a:gd name="connsiteX208" fmla="*/ 6991 w 10000"/>
                <a:gd name="connsiteY208" fmla="*/ 8704 h 10000"/>
                <a:gd name="connsiteX209" fmla="*/ 6875 w 10000"/>
                <a:gd name="connsiteY209" fmla="*/ 8989 h 10000"/>
                <a:gd name="connsiteX210" fmla="*/ 7040 w 10000"/>
                <a:gd name="connsiteY210" fmla="*/ 9001 h 10000"/>
                <a:gd name="connsiteX211" fmla="*/ 7136 w 10000"/>
                <a:gd name="connsiteY211" fmla="*/ 8879 h 10000"/>
                <a:gd name="connsiteX212" fmla="*/ 7240 w 10000"/>
                <a:gd name="connsiteY212" fmla="*/ 8912 h 10000"/>
                <a:gd name="connsiteX213" fmla="*/ 7288 w 10000"/>
                <a:gd name="connsiteY213" fmla="*/ 8786 h 10000"/>
                <a:gd name="connsiteX214" fmla="*/ 7355 w 10000"/>
                <a:gd name="connsiteY214" fmla="*/ 9001 h 10000"/>
                <a:gd name="connsiteX215" fmla="*/ 7551 w 10000"/>
                <a:gd name="connsiteY215" fmla="*/ 8994 h 10000"/>
                <a:gd name="connsiteX216" fmla="*/ 7719 w 10000"/>
                <a:gd name="connsiteY216" fmla="*/ 9362 h 10000"/>
                <a:gd name="connsiteX217" fmla="*/ 7734 w 10000"/>
                <a:gd name="connsiteY217" fmla="*/ 9675 h 10000"/>
                <a:gd name="connsiteX218" fmla="*/ 7675 w 10000"/>
                <a:gd name="connsiteY218" fmla="*/ 9692 h 10000"/>
                <a:gd name="connsiteX219" fmla="*/ 7686 w 10000"/>
                <a:gd name="connsiteY219" fmla="*/ 9780 h 10000"/>
                <a:gd name="connsiteX220" fmla="*/ 7939 w 10000"/>
                <a:gd name="connsiteY220" fmla="*/ 9900 h 10000"/>
                <a:gd name="connsiteX221" fmla="*/ 8671 w 10000"/>
                <a:gd name="connsiteY221" fmla="*/ 9023 h 10000"/>
                <a:gd name="connsiteX222" fmla="*/ 8751 w 10000"/>
                <a:gd name="connsiteY222" fmla="*/ 8841 h 10000"/>
                <a:gd name="connsiteX223" fmla="*/ 8843 w 10000"/>
                <a:gd name="connsiteY223" fmla="*/ 8786 h 10000"/>
                <a:gd name="connsiteX224" fmla="*/ 8899 w 10000"/>
                <a:gd name="connsiteY224" fmla="*/ 8512 h 10000"/>
                <a:gd name="connsiteX225" fmla="*/ 9136 w 10000"/>
                <a:gd name="connsiteY225" fmla="*/ 8617 h 10000"/>
                <a:gd name="connsiteX226" fmla="*/ 9275 w 10000"/>
                <a:gd name="connsiteY226" fmla="*/ 8474 h 10000"/>
                <a:gd name="connsiteX227" fmla="*/ 9471 w 10000"/>
                <a:gd name="connsiteY227" fmla="*/ 8343 h 10000"/>
                <a:gd name="connsiteX228" fmla="*/ 9392 w 10000"/>
                <a:gd name="connsiteY228" fmla="*/ 8128 h 10000"/>
                <a:gd name="connsiteX229" fmla="*/ 8244 w 10000"/>
                <a:gd name="connsiteY229" fmla="*/ 7991 h 10000"/>
                <a:gd name="connsiteX230" fmla="*/ 8216 w 10000"/>
                <a:gd name="connsiteY230" fmla="*/ 7904 h 10000"/>
                <a:gd name="connsiteX231" fmla="*/ 8136 w 10000"/>
                <a:gd name="connsiteY231" fmla="*/ 8002 h 10000"/>
                <a:gd name="connsiteX232" fmla="*/ 8252 w 10000"/>
                <a:gd name="connsiteY232" fmla="*/ 7761 h 10000"/>
                <a:gd name="connsiteX233" fmla="*/ 8208 w 10000"/>
                <a:gd name="connsiteY233" fmla="*/ 7717 h 10000"/>
                <a:gd name="connsiteX234" fmla="*/ 8079 w 10000"/>
                <a:gd name="connsiteY234" fmla="*/ 7915 h 10000"/>
                <a:gd name="connsiteX235" fmla="*/ 8147 w 10000"/>
                <a:gd name="connsiteY235" fmla="*/ 7712 h 10000"/>
                <a:gd name="connsiteX236" fmla="*/ 8055 w 10000"/>
                <a:gd name="connsiteY236" fmla="*/ 7767 h 10000"/>
                <a:gd name="connsiteX237" fmla="*/ 8228 w 10000"/>
                <a:gd name="connsiteY237" fmla="*/ 7590 h 10000"/>
                <a:gd name="connsiteX238" fmla="*/ 8160 w 10000"/>
                <a:gd name="connsiteY238" fmla="*/ 7333 h 10000"/>
                <a:gd name="connsiteX239" fmla="*/ 8327 w 10000"/>
                <a:gd name="connsiteY239" fmla="*/ 7240 h 10000"/>
                <a:gd name="connsiteX240" fmla="*/ 8320 w 10000"/>
                <a:gd name="connsiteY240" fmla="*/ 6987 h 10000"/>
                <a:gd name="connsiteX241" fmla="*/ 8436 w 10000"/>
                <a:gd name="connsiteY241" fmla="*/ 7081 h 10000"/>
                <a:gd name="connsiteX242" fmla="*/ 8456 w 10000"/>
                <a:gd name="connsiteY242" fmla="*/ 7015 h 10000"/>
                <a:gd name="connsiteX243" fmla="*/ 8316 w 10000"/>
                <a:gd name="connsiteY243" fmla="*/ 6735 h 10000"/>
                <a:gd name="connsiteX244" fmla="*/ 8503 w 10000"/>
                <a:gd name="connsiteY244" fmla="*/ 6894 h 10000"/>
                <a:gd name="connsiteX245" fmla="*/ 8739 w 10000"/>
                <a:gd name="connsiteY245" fmla="*/ 6511 h 10000"/>
                <a:gd name="connsiteX246" fmla="*/ 8967 w 10000"/>
                <a:gd name="connsiteY246" fmla="*/ 6483 h 10000"/>
                <a:gd name="connsiteX247" fmla="*/ 9015 w 10000"/>
                <a:gd name="connsiteY24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991 w 10000"/>
                <a:gd name="connsiteY207" fmla="*/ 8704 h 10000"/>
                <a:gd name="connsiteX208" fmla="*/ 6875 w 10000"/>
                <a:gd name="connsiteY208" fmla="*/ 8989 h 10000"/>
                <a:gd name="connsiteX209" fmla="*/ 7040 w 10000"/>
                <a:gd name="connsiteY209" fmla="*/ 9001 h 10000"/>
                <a:gd name="connsiteX210" fmla="*/ 7136 w 10000"/>
                <a:gd name="connsiteY210" fmla="*/ 8879 h 10000"/>
                <a:gd name="connsiteX211" fmla="*/ 7240 w 10000"/>
                <a:gd name="connsiteY211" fmla="*/ 8912 h 10000"/>
                <a:gd name="connsiteX212" fmla="*/ 7288 w 10000"/>
                <a:gd name="connsiteY212" fmla="*/ 8786 h 10000"/>
                <a:gd name="connsiteX213" fmla="*/ 7355 w 10000"/>
                <a:gd name="connsiteY213" fmla="*/ 9001 h 10000"/>
                <a:gd name="connsiteX214" fmla="*/ 7551 w 10000"/>
                <a:gd name="connsiteY214" fmla="*/ 8994 h 10000"/>
                <a:gd name="connsiteX215" fmla="*/ 7719 w 10000"/>
                <a:gd name="connsiteY215" fmla="*/ 9362 h 10000"/>
                <a:gd name="connsiteX216" fmla="*/ 7734 w 10000"/>
                <a:gd name="connsiteY216" fmla="*/ 9675 h 10000"/>
                <a:gd name="connsiteX217" fmla="*/ 7675 w 10000"/>
                <a:gd name="connsiteY217" fmla="*/ 9692 h 10000"/>
                <a:gd name="connsiteX218" fmla="*/ 7686 w 10000"/>
                <a:gd name="connsiteY218" fmla="*/ 9780 h 10000"/>
                <a:gd name="connsiteX219" fmla="*/ 7939 w 10000"/>
                <a:gd name="connsiteY219" fmla="*/ 9900 h 10000"/>
                <a:gd name="connsiteX220" fmla="*/ 8671 w 10000"/>
                <a:gd name="connsiteY220" fmla="*/ 9023 h 10000"/>
                <a:gd name="connsiteX221" fmla="*/ 8751 w 10000"/>
                <a:gd name="connsiteY221" fmla="*/ 8841 h 10000"/>
                <a:gd name="connsiteX222" fmla="*/ 8843 w 10000"/>
                <a:gd name="connsiteY222" fmla="*/ 8786 h 10000"/>
                <a:gd name="connsiteX223" fmla="*/ 8899 w 10000"/>
                <a:gd name="connsiteY223" fmla="*/ 8512 h 10000"/>
                <a:gd name="connsiteX224" fmla="*/ 9136 w 10000"/>
                <a:gd name="connsiteY224" fmla="*/ 8617 h 10000"/>
                <a:gd name="connsiteX225" fmla="*/ 9275 w 10000"/>
                <a:gd name="connsiteY225" fmla="*/ 8474 h 10000"/>
                <a:gd name="connsiteX226" fmla="*/ 9471 w 10000"/>
                <a:gd name="connsiteY226" fmla="*/ 8343 h 10000"/>
                <a:gd name="connsiteX227" fmla="*/ 9392 w 10000"/>
                <a:gd name="connsiteY227" fmla="*/ 8128 h 10000"/>
                <a:gd name="connsiteX228" fmla="*/ 8244 w 10000"/>
                <a:gd name="connsiteY228" fmla="*/ 7991 h 10000"/>
                <a:gd name="connsiteX229" fmla="*/ 8216 w 10000"/>
                <a:gd name="connsiteY229" fmla="*/ 7904 h 10000"/>
                <a:gd name="connsiteX230" fmla="*/ 8136 w 10000"/>
                <a:gd name="connsiteY230" fmla="*/ 8002 h 10000"/>
                <a:gd name="connsiteX231" fmla="*/ 8252 w 10000"/>
                <a:gd name="connsiteY231" fmla="*/ 7761 h 10000"/>
                <a:gd name="connsiteX232" fmla="*/ 8208 w 10000"/>
                <a:gd name="connsiteY232" fmla="*/ 7717 h 10000"/>
                <a:gd name="connsiteX233" fmla="*/ 8079 w 10000"/>
                <a:gd name="connsiteY233" fmla="*/ 7915 h 10000"/>
                <a:gd name="connsiteX234" fmla="*/ 8147 w 10000"/>
                <a:gd name="connsiteY234" fmla="*/ 7712 h 10000"/>
                <a:gd name="connsiteX235" fmla="*/ 8055 w 10000"/>
                <a:gd name="connsiteY235" fmla="*/ 7767 h 10000"/>
                <a:gd name="connsiteX236" fmla="*/ 8228 w 10000"/>
                <a:gd name="connsiteY236" fmla="*/ 7590 h 10000"/>
                <a:gd name="connsiteX237" fmla="*/ 8160 w 10000"/>
                <a:gd name="connsiteY237" fmla="*/ 7333 h 10000"/>
                <a:gd name="connsiteX238" fmla="*/ 8327 w 10000"/>
                <a:gd name="connsiteY238" fmla="*/ 7240 h 10000"/>
                <a:gd name="connsiteX239" fmla="*/ 8320 w 10000"/>
                <a:gd name="connsiteY239" fmla="*/ 6987 h 10000"/>
                <a:gd name="connsiteX240" fmla="*/ 8436 w 10000"/>
                <a:gd name="connsiteY240" fmla="*/ 7081 h 10000"/>
                <a:gd name="connsiteX241" fmla="*/ 8456 w 10000"/>
                <a:gd name="connsiteY241" fmla="*/ 7015 h 10000"/>
                <a:gd name="connsiteX242" fmla="*/ 8316 w 10000"/>
                <a:gd name="connsiteY242" fmla="*/ 6735 h 10000"/>
                <a:gd name="connsiteX243" fmla="*/ 8503 w 10000"/>
                <a:gd name="connsiteY243" fmla="*/ 6894 h 10000"/>
                <a:gd name="connsiteX244" fmla="*/ 8739 w 10000"/>
                <a:gd name="connsiteY244" fmla="*/ 6511 h 10000"/>
                <a:gd name="connsiteX245" fmla="*/ 8967 w 10000"/>
                <a:gd name="connsiteY245" fmla="*/ 6483 h 10000"/>
                <a:gd name="connsiteX246" fmla="*/ 9015 w 10000"/>
                <a:gd name="connsiteY24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991 w 10000"/>
                <a:gd name="connsiteY207" fmla="*/ 8704 h 10000"/>
                <a:gd name="connsiteX208" fmla="*/ 6875 w 10000"/>
                <a:gd name="connsiteY208" fmla="*/ 8989 h 10000"/>
                <a:gd name="connsiteX209" fmla="*/ 7040 w 10000"/>
                <a:gd name="connsiteY209" fmla="*/ 9001 h 10000"/>
                <a:gd name="connsiteX210" fmla="*/ 7136 w 10000"/>
                <a:gd name="connsiteY210" fmla="*/ 8879 h 10000"/>
                <a:gd name="connsiteX211" fmla="*/ 7240 w 10000"/>
                <a:gd name="connsiteY211" fmla="*/ 8912 h 10000"/>
                <a:gd name="connsiteX212" fmla="*/ 7355 w 10000"/>
                <a:gd name="connsiteY212" fmla="*/ 9001 h 10000"/>
                <a:gd name="connsiteX213" fmla="*/ 7551 w 10000"/>
                <a:gd name="connsiteY213" fmla="*/ 8994 h 10000"/>
                <a:gd name="connsiteX214" fmla="*/ 7719 w 10000"/>
                <a:gd name="connsiteY214" fmla="*/ 9362 h 10000"/>
                <a:gd name="connsiteX215" fmla="*/ 7734 w 10000"/>
                <a:gd name="connsiteY215" fmla="*/ 9675 h 10000"/>
                <a:gd name="connsiteX216" fmla="*/ 7675 w 10000"/>
                <a:gd name="connsiteY216" fmla="*/ 9692 h 10000"/>
                <a:gd name="connsiteX217" fmla="*/ 7686 w 10000"/>
                <a:gd name="connsiteY217" fmla="*/ 9780 h 10000"/>
                <a:gd name="connsiteX218" fmla="*/ 7939 w 10000"/>
                <a:gd name="connsiteY218" fmla="*/ 9900 h 10000"/>
                <a:gd name="connsiteX219" fmla="*/ 8671 w 10000"/>
                <a:gd name="connsiteY219" fmla="*/ 9023 h 10000"/>
                <a:gd name="connsiteX220" fmla="*/ 8751 w 10000"/>
                <a:gd name="connsiteY220" fmla="*/ 8841 h 10000"/>
                <a:gd name="connsiteX221" fmla="*/ 8843 w 10000"/>
                <a:gd name="connsiteY221" fmla="*/ 8786 h 10000"/>
                <a:gd name="connsiteX222" fmla="*/ 8899 w 10000"/>
                <a:gd name="connsiteY222" fmla="*/ 8512 h 10000"/>
                <a:gd name="connsiteX223" fmla="*/ 9136 w 10000"/>
                <a:gd name="connsiteY223" fmla="*/ 8617 h 10000"/>
                <a:gd name="connsiteX224" fmla="*/ 9275 w 10000"/>
                <a:gd name="connsiteY224" fmla="*/ 8474 h 10000"/>
                <a:gd name="connsiteX225" fmla="*/ 9471 w 10000"/>
                <a:gd name="connsiteY225" fmla="*/ 8343 h 10000"/>
                <a:gd name="connsiteX226" fmla="*/ 9392 w 10000"/>
                <a:gd name="connsiteY226" fmla="*/ 8128 h 10000"/>
                <a:gd name="connsiteX227" fmla="*/ 8244 w 10000"/>
                <a:gd name="connsiteY227" fmla="*/ 7991 h 10000"/>
                <a:gd name="connsiteX228" fmla="*/ 8216 w 10000"/>
                <a:gd name="connsiteY228" fmla="*/ 7904 h 10000"/>
                <a:gd name="connsiteX229" fmla="*/ 8136 w 10000"/>
                <a:gd name="connsiteY229" fmla="*/ 8002 h 10000"/>
                <a:gd name="connsiteX230" fmla="*/ 8252 w 10000"/>
                <a:gd name="connsiteY230" fmla="*/ 7761 h 10000"/>
                <a:gd name="connsiteX231" fmla="*/ 8208 w 10000"/>
                <a:gd name="connsiteY231" fmla="*/ 7717 h 10000"/>
                <a:gd name="connsiteX232" fmla="*/ 8079 w 10000"/>
                <a:gd name="connsiteY232" fmla="*/ 7915 h 10000"/>
                <a:gd name="connsiteX233" fmla="*/ 8147 w 10000"/>
                <a:gd name="connsiteY233" fmla="*/ 7712 h 10000"/>
                <a:gd name="connsiteX234" fmla="*/ 8055 w 10000"/>
                <a:gd name="connsiteY234" fmla="*/ 7767 h 10000"/>
                <a:gd name="connsiteX235" fmla="*/ 8228 w 10000"/>
                <a:gd name="connsiteY235" fmla="*/ 7590 h 10000"/>
                <a:gd name="connsiteX236" fmla="*/ 8160 w 10000"/>
                <a:gd name="connsiteY236" fmla="*/ 7333 h 10000"/>
                <a:gd name="connsiteX237" fmla="*/ 8327 w 10000"/>
                <a:gd name="connsiteY237" fmla="*/ 7240 h 10000"/>
                <a:gd name="connsiteX238" fmla="*/ 8320 w 10000"/>
                <a:gd name="connsiteY238" fmla="*/ 6987 h 10000"/>
                <a:gd name="connsiteX239" fmla="*/ 8436 w 10000"/>
                <a:gd name="connsiteY239" fmla="*/ 7081 h 10000"/>
                <a:gd name="connsiteX240" fmla="*/ 8456 w 10000"/>
                <a:gd name="connsiteY240" fmla="*/ 7015 h 10000"/>
                <a:gd name="connsiteX241" fmla="*/ 8316 w 10000"/>
                <a:gd name="connsiteY241" fmla="*/ 6735 h 10000"/>
                <a:gd name="connsiteX242" fmla="*/ 8503 w 10000"/>
                <a:gd name="connsiteY242" fmla="*/ 6894 h 10000"/>
                <a:gd name="connsiteX243" fmla="*/ 8739 w 10000"/>
                <a:gd name="connsiteY243" fmla="*/ 6511 h 10000"/>
                <a:gd name="connsiteX244" fmla="*/ 8967 w 10000"/>
                <a:gd name="connsiteY244" fmla="*/ 6483 h 10000"/>
                <a:gd name="connsiteX245" fmla="*/ 9015 w 10000"/>
                <a:gd name="connsiteY24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875 w 10000"/>
                <a:gd name="connsiteY207" fmla="*/ 8989 h 10000"/>
                <a:gd name="connsiteX208" fmla="*/ 7040 w 10000"/>
                <a:gd name="connsiteY208" fmla="*/ 9001 h 10000"/>
                <a:gd name="connsiteX209" fmla="*/ 7136 w 10000"/>
                <a:gd name="connsiteY209" fmla="*/ 8879 h 10000"/>
                <a:gd name="connsiteX210" fmla="*/ 7240 w 10000"/>
                <a:gd name="connsiteY210" fmla="*/ 8912 h 10000"/>
                <a:gd name="connsiteX211" fmla="*/ 7355 w 10000"/>
                <a:gd name="connsiteY211" fmla="*/ 9001 h 10000"/>
                <a:gd name="connsiteX212" fmla="*/ 7551 w 10000"/>
                <a:gd name="connsiteY212" fmla="*/ 8994 h 10000"/>
                <a:gd name="connsiteX213" fmla="*/ 7719 w 10000"/>
                <a:gd name="connsiteY213" fmla="*/ 9362 h 10000"/>
                <a:gd name="connsiteX214" fmla="*/ 7734 w 10000"/>
                <a:gd name="connsiteY214" fmla="*/ 9675 h 10000"/>
                <a:gd name="connsiteX215" fmla="*/ 7675 w 10000"/>
                <a:gd name="connsiteY215" fmla="*/ 9692 h 10000"/>
                <a:gd name="connsiteX216" fmla="*/ 7686 w 10000"/>
                <a:gd name="connsiteY216" fmla="*/ 9780 h 10000"/>
                <a:gd name="connsiteX217" fmla="*/ 7939 w 10000"/>
                <a:gd name="connsiteY217" fmla="*/ 9900 h 10000"/>
                <a:gd name="connsiteX218" fmla="*/ 8671 w 10000"/>
                <a:gd name="connsiteY218" fmla="*/ 9023 h 10000"/>
                <a:gd name="connsiteX219" fmla="*/ 8751 w 10000"/>
                <a:gd name="connsiteY219" fmla="*/ 8841 h 10000"/>
                <a:gd name="connsiteX220" fmla="*/ 8843 w 10000"/>
                <a:gd name="connsiteY220" fmla="*/ 8786 h 10000"/>
                <a:gd name="connsiteX221" fmla="*/ 8899 w 10000"/>
                <a:gd name="connsiteY221" fmla="*/ 8512 h 10000"/>
                <a:gd name="connsiteX222" fmla="*/ 9136 w 10000"/>
                <a:gd name="connsiteY222" fmla="*/ 8617 h 10000"/>
                <a:gd name="connsiteX223" fmla="*/ 9275 w 10000"/>
                <a:gd name="connsiteY223" fmla="*/ 8474 h 10000"/>
                <a:gd name="connsiteX224" fmla="*/ 9471 w 10000"/>
                <a:gd name="connsiteY224" fmla="*/ 8343 h 10000"/>
                <a:gd name="connsiteX225" fmla="*/ 9392 w 10000"/>
                <a:gd name="connsiteY225" fmla="*/ 8128 h 10000"/>
                <a:gd name="connsiteX226" fmla="*/ 8244 w 10000"/>
                <a:gd name="connsiteY226" fmla="*/ 7991 h 10000"/>
                <a:gd name="connsiteX227" fmla="*/ 8216 w 10000"/>
                <a:gd name="connsiteY227" fmla="*/ 7904 h 10000"/>
                <a:gd name="connsiteX228" fmla="*/ 8136 w 10000"/>
                <a:gd name="connsiteY228" fmla="*/ 8002 h 10000"/>
                <a:gd name="connsiteX229" fmla="*/ 8252 w 10000"/>
                <a:gd name="connsiteY229" fmla="*/ 7761 h 10000"/>
                <a:gd name="connsiteX230" fmla="*/ 8208 w 10000"/>
                <a:gd name="connsiteY230" fmla="*/ 7717 h 10000"/>
                <a:gd name="connsiteX231" fmla="*/ 8079 w 10000"/>
                <a:gd name="connsiteY231" fmla="*/ 7915 h 10000"/>
                <a:gd name="connsiteX232" fmla="*/ 8147 w 10000"/>
                <a:gd name="connsiteY232" fmla="*/ 7712 h 10000"/>
                <a:gd name="connsiteX233" fmla="*/ 8055 w 10000"/>
                <a:gd name="connsiteY233" fmla="*/ 7767 h 10000"/>
                <a:gd name="connsiteX234" fmla="*/ 8228 w 10000"/>
                <a:gd name="connsiteY234" fmla="*/ 7590 h 10000"/>
                <a:gd name="connsiteX235" fmla="*/ 8160 w 10000"/>
                <a:gd name="connsiteY235" fmla="*/ 7333 h 10000"/>
                <a:gd name="connsiteX236" fmla="*/ 8327 w 10000"/>
                <a:gd name="connsiteY236" fmla="*/ 7240 h 10000"/>
                <a:gd name="connsiteX237" fmla="*/ 8320 w 10000"/>
                <a:gd name="connsiteY237" fmla="*/ 6987 h 10000"/>
                <a:gd name="connsiteX238" fmla="*/ 8436 w 10000"/>
                <a:gd name="connsiteY238" fmla="*/ 7081 h 10000"/>
                <a:gd name="connsiteX239" fmla="*/ 8456 w 10000"/>
                <a:gd name="connsiteY239" fmla="*/ 7015 h 10000"/>
                <a:gd name="connsiteX240" fmla="*/ 8316 w 10000"/>
                <a:gd name="connsiteY240" fmla="*/ 6735 h 10000"/>
                <a:gd name="connsiteX241" fmla="*/ 8503 w 10000"/>
                <a:gd name="connsiteY241" fmla="*/ 6894 h 10000"/>
                <a:gd name="connsiteX242" fmla="*/ 8739 w 10000"/>
                <a:gd name="connsiteY242" fmla="*/ 6511 h 10000"/>
                <a:gd name="connsiteX243" fmla="*/ 8967 w 10000"/>
                <a:gd name="connsiteY243" fmla="*/ 6483 h 10000"/>
                <a:gd name="connsiteX244" fmla="*/ 9015 w 10000"/>
                <a:gd name="connsiteY24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6875 w 10000"/>
                <a:gd name="connsiteY206" fmla="*/ 8989 h 10000"/>
                <a:gd name="connsiteX207" fmla="*/ 7040 w 10000"/>
                <a:gd name="connsiteY207" fmla="*/ 9001 h 10000"/>
                <a:gd name="connsiteX208" fmla="*/ 7136 w 10000"/>
                <a:gd name="connsiteY208" fmla="*/ 8879 h 10000"/>
                <a:gd name="connsiteX209" fmla="*/ 7240 w 10000"/>
                <a:gd name="connsiteY209" fmla="*/ 8912 h 10000"/>
                <a:gd name="connsiteX210" fmla="*/ 7355 w 10000"/>
                <a:gd name="connsiteY210" fmla="*/ 9001 h 10000"/>
                <a:gd name="connsiteX211" fmla="*/ 7551 w 10000"/>
                <a:gd name="connsiteY211" fmla="*/ 8994 h 10000"/>
                <a:gd name="connsiteX212" fmla="*/ 7719 w 10000"/>
                <a:gd name="connsiteY212" fmla="*/ 9362 h 10000"/>
                <a:gd name="connsiteX213" fmla="*/ 7734 w 10000"/>
                <a:gd name="connsiteY213" fmla="*/ 9675 h 10000"/>
                <a:gd name="connsiteX214" fmla="*/ 7675 w 10000"/>
                <a:gd name="connsiteY214" fmla="*/ 9692 h 10000"/>
                <a:gd name="connsiteX215" fmla="*/ 7686 w 10000"/>
                <a:gd name="connsiteY215" fmla="*/ 9780 h 10000"/>
                <a:gd name="connsiteX216" fmla="*/ 7939 w 10000"/>
                <a:gd name="connsiteY216" fmla="*/ 9900 h 10000"/>
                <a:gd name="connsiteX217" fmla="*/ 8671 w 10000"/>
                <a:gd name="connsiteY217" fmla="*/ 9023 h 10000"/>
                <a:gd name="connsiteX218" fmla="*/ 8751 w 10000"/>
                <a:gd name="connsiteY218" fmla="*/ 8841 h 10000"/>
                <a:gd name="connsiteX219" fmla="*/ 8843 w 10000"/>
                <a:gd name="connsiteY219" fmla="*/ 8786 h 10000"/>
                <a:gd name="connsiteX220" fmla="*/ 8899 w 10000"/>
                <a:gd name="connsiteY220" fmla="*/ 8512 h 10000"/>
                <a:gd name="connsiteX221" fmla="*/ 9136 w 10000"/>
                <a:gd name="connsiteY221" fmla="*/ 8617 h 10000"/>
                <a:gd name="connsiteX222" fmla="*/ 9275 w 10000"/>
                <a:gd name="connsiteY222" fmla="*/ 8474 h 10000"/>
                <a:gd name="connsiteX223" fmla="*/ 9471 w 10000"/>
                <a:gd name="connsiteY223" fmla="*/ 8343 h 10000"/>
                <a:gd name="connsiteX224" fmla="*/ 9392 w 10000"/>
                <a:gd name="connsiteY224" fmla="*/ 8128 h 10000"/>
                <a:gd name="connsiteX225" fmla="*/ 8244 w 10000"/>
                <a:gd name="connsiteY225" fmla="*/ 7991 h 10000"/>
                <a:gd name="connsiteX226" fmla="*/ 8216 w 10000"/>
                <a:gd name="connsiteY226" fmla="*/ 7904 h 10000"/>
                <a:gd name="connsiteX227" fmla="*/ 8136 w 10000"/>
                <a:gd name="connsiteY227" fmla="*/ 8002 h 10000"/>
                <a:gd name="connsiteX228" fmla="*/ 8252 w 10000"/>
                <a:gd name="connsiteY228" fmla="*/ 7761 h 10000"/>
                <a:gd name="connsiteX229" fmla="*/ 8208 w 10000"/>
                <a:gd name="connsiteY229" fmla="*/ 7717 h 10000"/>
                <a:gd name="connsiteX230" fmla="*/ 8079 w 10000"/>
                <a:gd name="connsiteY230" fmla="*/ 7915 h 10000"/>
                <a:gd name="connsiteX231" fmla="*/ 8147 w 10000"/>
                <a:gd name="connsiteY231" fmla="*/ 7712 h 10000"/>
                <a:gd name="connsiteX232" fmla="*/ 8055 w 10000"/>
                <a:gd name="connsiteY232" fmla="*/ 7767 h 10000"/>
                <a:gd name="connsiteX233" fmla="*/ 8228 w 10000"/>
                <a:gd name="connsiteY233" fmla="*/ 7590 h 10000"/>
                <a:gd name="connsiteX234" fmla="*/ 8160 w 10000"/>
                <a:gd name="connsiteY234" fmla="*/ 7333 h 10000"/>
                <a:gd name="connsiteX235" fmla="*/ 8327 w 10000"/>
                <a:gd name="connsiteY235" fmla="*/ 7240 h 10000"/>
                <a:gd name="connsiteX236" fmla="*/ 8320 w 10000"/>
                <a:gd name="connsiteY236" fmla="*/ 6987 h 10000"/>
                <a:gd name="connsiteX237" fmla="*/ 8436 w 10000"/>
                <a:gd name="connsiteY237" fmla="*/ 7081 h 10000"/>
                <a:gd name="connsiteX238" fmla="*/ 8456 w 10000"/>
                <a:gd name="connsiteY238" fmla="*/ 7015 h 10000"/>
                <a:gd name="connsiteX239" fmla="*/ 8316 w 10000"/>
                <a:gd name="connsiteY239" fmla="*/ 6735 h 10000"/>
                <a:gd name="connsiteX240" fmla="*/ 8503 w 10000"/>
                <a:gd name="connsiteY240" fmla="*/ 6894 h 10000"/>
                <a:gd name="connsiteX241" fmla="*/ 8739 w 10000"/>
                <a:gd name="connsiteY241" fmla="*/ 6511 h 10000"/>
                <a:gd name="connsiteX242" fmla="*/ 8967 w 10000"/>
                <a:gd name="connsiteY242" fmla="*/ 6483 h 10000"/>
                <a:gd name="connsiteX243" fmla="*/ 9015 w 10000"/>
                <a:gd name="connsiteY24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6875 w 10000"/>
                <a:gd name="connsiteY205" fmla="*/ 8989 h 10000"/>
                <a:gd name="connsiteX206" fmla="*/ 7040 w 10000"/>
                <a:gd name="connsiteY206" fmla="*/ 9001 h 10000"/>
                <a:gd name="connsiteX207" fmla="*/ 7136 w 10000"/>
                <a:gd name="connsiteY207" fmla="*/ 8879 h 10000"/>
                <a:gd name="connsiteX208" fmla="*/ 7240 w 10000"/>
                <a:gd name="connsiteY208" fmla="*/ 8912 h 10000"/>
                <a:gd name="connsiteX209" fmla="*/ 7355 w 10000"/>
                <a:gd name="connsiteY209" fmla="*/ 9001 h 10000"/>
                <a:gd name="connsiteX210" fmla="*/ 7551 w 10000"/>
                <a:gd name="connsiteY210" fmla="*/ 8994 h 10000"/>
                <a:gd name="connsiteX211" fmla="*/ 7719 w 10000"/>
                <a:gd name="connsiteY211" fmla="*/ 9362 h 10000"/>
                <a:gd name="connsiteX212" fmla="*/ 7734 w 10000"/>
                <a:gd name="connsiteY212" fmla="*/ 9675 h 10000"/>
                <a:gd name="connsiteX213" fmla="*/ 7675 w 10000"/>
                <a:gd name="connsiteY213" fmla="*/ 9692 h 10000"/>
                <a:gd name="connsiteX214" fmla="*/ 7686 w 10000"/>
                <a:gd name="connsiteY214" fmla="*/ 9780 h 10000"/>
                <a:gd name="connsiteX215" fmla="*/ 7939 w 10000"/>
                <a:gd name="connsiteY215" fmla="*/ 9900 h 10000"/>
                <a:gd name="connsiteX216" fmla="*/ 8671 w 10000"/>
                <a:gd name="connsiteY216" fmla="*/ 9023 h 10000"/>
                <a:gd name="connsiteX217" fmla="*/ 8751 w 10000"/>
                <a:gd name="connsiteY217" fmla="*/ 8841 h 10000"/>
                <a:gd name="connsiteX218" fmla="*/ 8843 w 10000"/>
                <a:gd name="connsiteY218" fmla="*/ 8786 h 10000"/>
                <a:gd name="connsiteX219" fmla="*/ 8899 w 10000"/>
                <a:gd name="connsiteY219" fmla="*/ 8512 h 10000"/>
                <a:gd name="connsiteX220" fmla="*/ 9136 w 10000"/>
                <a:gd name="connsiteY220" fmla="*/ 8617 h 10000"/>
                <a:gd name="connsiteX221" fmla="*/ 9275 w 10000"/>
                <a:gd name="connsiteY221" fmla="*/ 8474 h 10000"/>
                <a:gd name="connsiteX222" fmla="*/ 9471 w 10000"/>
                <a:gd name="connsiteY222" fmla="*/ 8343 h 10000"/>
                <a:gd name="connsiteX223" fmla="*/ 9392 w 10000"/>
                <a:gd name="connsiteY223" fmla="*/ 8128 h 10000"/>
                <a:gd name="connsiteX224" fmla="*/ 8244 w 10000"/>
                <a:gd name="connsiteY224" fmla="*/ 7991 h 10000"/>
                <a:gd name="connsiteX225" fmla="*/ 8216 w 10000"/>
                <a:gd name="connsiteY225" fmla="*/ 7904 h 10000"/>
                <a:gd name="connsiteX226" fmla="*/ 8136 w 10000"/>
                <a:gd name="connsiteY226" fmla="*/ 8002 h 10000"/>
                <a:gd name="connsiteX227" fmla="*/ 8252 w 10000"/>
                <a:gd name="connsiteY227" fmla="*/ 7761 h 10000"/>
                <a:gd name="connsiteX228" fmla="*/ 8208 w 10000"/>
                <a:gd name="connsiteY228" fmla="*/ 7717 h 10000"/>
                <a:gd name="connsiteX229" fmla="*/ 8079 w 10000"/>
                <a:gd name="connsiteY229" fmla="*/ 7915 h 10000"/>
                <a:gd name="connsiteX230" fmla="*/ 8147 w 10000"/>
                <a:gd name="connsiteY230" fmla="*/ 7712 h 10000"/>
                <a:gd name="connsiteX231" fmla="*/ 8055 w 10000"/>
                <a:gd name="connsiteY231" fmla="*/ 7767 h 10000"/>
                <a:gd name="connsiteX232" fmla="*/ 8228 w 10000"/>
                <a:gd name="connsiteY232" fmla="*/ 7590 h 10000"/>
                <a:gd name="connsiteX233" fmla="*/ 8160 w 10000"/>
                <a:gd name="connsiteY233" fmla="*/ 7333 h 10000"/>
                <a:gd name="connsiteX234" fmla="*/ 8327 w 10000"/>
                <a:gd name="connsiteY234" fmla="*/ 7240 h 10000"/>
                <a:gd name="connsiteX235" fmla="*/ 8320 w 10000"/>
                <a:gd name="connsiteY235" fmla="*/ 6987 h 10000"/>
                <a:gd name="connsiteX236" fmla="*/ 8436 w 10000"/>
                <a:gd name="connsiteY236" fmla="*/ 7081 h 10000"/>
                <a:gd name="connsiteX237" fmla="*/ 8456 w 10000"/>
                <a:gd name="connsiteY237" fmla="*/ 7015 h 10000"/>
                <a:gd name="connsiteX238" fmla="*/ 8316 w 10000"/>
                <a:gd name="connsiteY238" fmla="*/ 6735 h 10000"/>
                <a:gd name="connsiteX239" fmla="*/ 8503 w 10000"/>
                <a:gd name="connsiteY239" fmla="*/ 6894 h 10000"/>
                <a:gd name="connsiteX240" fmla="*/ 8739 w 10000"/>
                <a:gd name="connsiteY240" fmla="*/ 6511 h 10000"/>
                <a:gd name="connsiteX241" fmla="*/ 8967 w 10000"/>
                <a:gd name="connsiteY241" fmla="*/ 6483 h 10000"/>
                <a:gd name="connsiteX242" fmla="*/ 9015 w 10000"/>
                <a:gd name="connsiteY24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6875 w 10000"/>
                <a:gd name="connsiteY204" fmla="*/ 8989 h 10000"/>
                <a:gd name="connsiteX205" fmla="*/ 7040 w 10000"/>
                <a:gd name="connsiteY205" fmla="*/ 9001 h 10000"/>
                <a:gd name="connsiteX206" fmla="*/ 7136 w 10000"/>
                <a:gd name="connsiteY206" fmla="*/ 8879 h 10000"/>
                <a:gd name="connsiteX207" fmla="*/ 7240 w 10000"/>
                <a:gd name="connsiteY207" fmla="*/ 8912 h 10000"/>
                <a:gd name="connsiteX208" fmla="*/ 7355 w 10000"/>
                <a:gd name="connsiteY208" fmla="*/ 9001 h 10000"/>
                <a:gd name="connsiteX209" fmla="*/ 7551 w 10000"/>
                <a:gd name="connsiteY209" fmla="*/ 8994 h 10000"/>
                <a:gd name="connsiteX210" fmla="*/ 7719 w 10000"/>
                <a:gd name="connsiteY210" fmla="*/ 9362 h 10000"/>
                <a:gd name="connsiteX211" fmla="*/ 7734 w 10000"/>
                <a:gd name="connsiteY211" fmla="*/ 9675 h 10000"/>
                <a:gd name="connsiteX212" fmla="*/ 7675 w 10000"/>
                <a:gd name="connsiteY212" fmla="*/ 9692 h 10000"/>
                <a:gd name="connsiteX213" fmla="*/ 7686 w 10000"/>
                <a:gd name="connsiteY213" fmla="*/ 9780 h 10000"/>
                <a:gd name="connsiteX214" fmla="*/ 7939 w 10000"/>
                <a:gd name="connsiteY214" fmla="*/ 9900 h 10000"/>
                <a:gd name="connsiteX215" fmla="*/ 8671 w 10000"/>
                <a:gd name="connsiteY215" fmla="*/ 9023 h 10000"/>
                <a:gd name="connsiteX216" fmla="*/ 8751 w 10000"/>
                <a:gd name="connsiteY216" fmla="*/ 8841 h 10000"/>
                <a:gd name="connsiteX217" fmla="*/ 8843 w 10000"/>
                <a:gd name="connsiteY217" fmla="*/ 8786 h 10000"/>
                <a:gd name="connsiteX218" fmla="*/ 8899 w 10000"/>
                <a:gd name="connsiteY218" fmla="*/ 8512 h 10000"/>
                <a:gd name="connsiteX219" fmla="*/ 9136 w 10000"/>
                <a:gd name="connsiteY219" fmla="*/ 8617 h 10000"/>
                <a:gd name="connsiteX220" fmla="*/ 9275 w 10000"/>
                <a:gd name="connsiteY220" fmla="*/ 8474 h 10000"/>
                <a:gd name="connsiteX221" fmla="*/ 9471 w 10000"/>
                <a:gd name="connsiteY221" fmla="*/ 8343 h 10000"/>
                <a:gd name="connsiteX222" fmla="*/ 9392 w 10000"/>
                <a:gd name="connsiteY222" fmla="*/ 8128 h 10000"/>
                <a:gd name="connsiteX223" fmla="*/ 8244 w 10000"/>
                <a:gd name="connsiteY223" fmla="*/ 7991 h 10000"/>
                <a:gd name="connsiteX224" fmla="*/ 8216 w 10000"/>
                <a:gd name="connsiteY224" fmla="*/ 7904 h 10000"/>
                <a:gd name="connsiteX225" fmla="*/ 8136 w 10000"/>
                <a:gd name="connsiteY225" fmla="*/ 8002 h 10000"/>
                <a:gd name="connsiteX226" fmla="*/ 8252 w 10000"/>
                <a:gd name="connsiteY226" fmla="*/ 7761 h 10000"/>
                <a:gd name="connsiteX227" fmla="*/ 8208 w 10000"/>
                <a:gd name="connsiteY227" fmla="*/ 7717 h 10000"/>
                <a:gd name="connsiteX228" fmla="*/ 8079 w 10000"/>
                <a:gd name="connsiteY228" fmla="*/ 7915 h 10000"/>
                <a:gd name="connsiteX229" fmla="*/ 8147 w 10000"/>
                <a:gd name="connsiteY229" fmla="*/ 7712 h 10000"/>
                <a:gd name="connsiteX230" fmla="*/ 8055 w 10000"/>
                <a:gd name="connsiteY230" fmla="*/ 7767 h 10000"/>
                <a:gd name="connsiteX231" fmla="*/ 8228 w 10000"/>
                <a:gd name="connsiteY231" fmla="*/ 7590 h 10000"/>
                <a:gd name="connsiteX232" fmla="*/ 8160 w 10000"/>
                <a:gd name="connsiteY232" fmla="*/ 7333 h 10000"/>
                <a:gd name="connsiteX233" fmla="*/ 8327 w 10000"/>
                <a:gd name="connsiteY233" fmla="*/ 7240 h 10000"/>
                <a:gd name="connsiteX234" fmla="*/ 8320 w 10000"/>
                <a:gd name="connsiteY234" fmla="*/ 6987 h 10000"/>
                <a:gd name="connsiteX235" fmla="*/ 8436 w 10000"/>
                <a:gd name="connsiteY235" fmla="*/ 7081 h 10000"/>
                <a:gd name="connsiteX236" fmla="*/ 8456 w 10000"/>
                <a:gd name="connsiteY236" fmla="*/ 7015 h 10000"/>
                <a:gd name="connsiteX237" fmla="*/ 8316 w 10000"/>
                <a:gd name="connsiteY237" fmla="*/ 6735 h 10000"/>
                <a:gd name="connsiteX238" fmla="*/ 8503 w 10000"/>
                <a:gd name="connsiteY238" fmla="*/ 6894 h 10000"/>
                <a:gd name="connsiteX239" fmla="*/ 8739 w 10000"/>
                <a:gd name="connsiteY239" fmla="*/ 6511 h 10000"/>
                <a:gd name="connsiteX240" fmla="*/ 8967 w 10000"/>
                <a:gd name="connsiteY240" fmla="*/ 6483 h 10000"/>
                <a:gd name="connsiteX241" fmla="*/ 9015 w 10000"/>
                <a:gd name="connsiteY24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6875 w 10000"/>
                <a:gd name="connsiteY203" fmla="*/ 8989 h 10000"/>
                <a:gd name="connsiteX204" fmla="*/ 7040 w 10000"/>
                <a:gd name="connsiteY204" fmla="*/ 9001 h 10000"/>
                <a:gd name="connsiteX205" fmla="*/ 7136 w 10000"/>
                <a:gd name="connsiteY205" fmla="*/ 8879 h 10000"/>
                <a:gd name="connsiteX206" fmla="*/ 7240 w 10000"/>
                <a:gd name="connsiteY206" fmla="*/ 8912 h 10000"/>
                <a:gd name="connsiteX207" fmla="*/ 7355 w 10000"/>
                <a:gd name="connsiteY207" fmla="*/ 9001 h 10000"/>
                <a:gd name="connsiteX208" fmla="*/ 7551 w 10000"/>
                <a:gd name="connsiteY208" fmla="*/ 8994 h 10000"/>
                <a:gd name="connsiteX209" fmla="*/ 7719 w 10000"/>
                <a:gd name="connsiteY209" fmla="*/ 9362 h 10000"/>
                <a:gd name="connsiteX210" fmla="*/ 7734 w 10000"/>
                <a:gd name="connsiteY210" fmla="*/ 9675 h 10000"/>
                <a:gd name="connsiteX211" fmla="*/ 7675 w 10000"/>
                <a:gd name="connsiteY211" fmla="*/ 9692 h 10000"/>
                <a:gd name="connsiteX212" fmla="*/ 7686 w 10000"/>
                <a:gd name="connsiteY212" fmla="*/ 9780 h 10000"/>
                <a:gd name="connsiteX213" fmla="*/ 7939 w 10000"/>
                <a:gd name="connsiteY213" fmla="*/ 9900 h 10000"/>
                <a:gd name="connsiteX214" fmla="*/ 8671 w 10000"/>
                <a:gd name="connsiteY214" fmla="*/ 9023 h 10000"/>
                <a:gd name="connsiteX215" fmla="*/ 8751 w 10000"/>
                <a:gd name="connsiteY215" fmla="*/ 8841 h 10000"/>
                <a:gd name="connsiteX216" fmla="*/ 8843 w 10000"/>
                <a:gd name="connsiteY216" fmla="*/ 8786 h 10000"/>
                <a:gd name="connsiteX217" fmla="*/ 8899 w 10000"/>
                <a:gd name="connsiteY217" fmla="*/ 8512 h 10000"/>
                <a:gd name="connsiteX218" fmla="*/ 9136 w 10000"/>
                <a:gd name="connsiteY218" fmla="*/ 8617 h 10000"/>
                <a:gd name="connsiteX219" fmla="*/ 9275 w 10000"/>
                <a:gd name="connsiteY219" fmla="*/ 8474 h 10000"/>
                <a:gd name="connsiteX220" fmla="*/ 9471 w 10000"/>
                <a:gd name="connsiteY220" fmla="*/ 8343 h 10000"/>
                <a:gd name="connsiteX221" fmla="*/ 9392 w 10000"/>
                <a:gd name="connsiteY221" fmla="*/ 8128 h 10000"/>
                <a:gd name="connsiteX222" fmla="*/ 8244 w 10000"/>
                <a:gd name="connsiteY222" fmla="*/ 7991 h 10000"/>
                <a:gd name="connsiteX223" fmla="*/ 8216 w 10000"/>
                <a:gd name="connsiteY223" fmla="*/ 7904 h 10000"/>
                <a:gd name="connsiteX224" fmla="*/ 8136 w 10000"/>
                <a:gd name="connsiteY224" fmla="*/ 8002 h 10000"/>
                <a:gd name="connsiteX225" fmla="*/ 8252 w 10000"/>
                <a:gd name="connsiteY225" fmla="*/ 7761 h 10000"/>
                <a:gd name="connsiteX226" fmla="*/ 8208 w 10000"/>
                <a:gd name="connsiteY226" fmla="*/ 7717 h 10000"/>
                <a:gd name="connsiteX227" fmla="*/ 8079 w 10000"/>
                <a:gd name="connsiteY227" fmla="*/ 7915 h 10000"/>
                <a:gd name="connsiteX228" fmla="*/ 8147 w 10000"/>
                <a:gd name="connsiteY228" fmla="*/ 7712 h 10000"/>
                <a:gd name="connsiteX229" fmla="*/ 8055 w 10000"/>
                <a:gd name="connsiteY229" fmla="*/ 7767 h 10000"/>
                <a:gd name="connsiteX230" fmla="*/ 8228 w 10000"/>
                <a:gd name="connsiteY230" fmla="*/ 7590 h 10000"/>
                <a:gd name="connsiteX231" fmla="*/ 8160 w 10000"/>
                <a:gd name="connsiteY231" fmla="*/ 7333 h 10000"/>
                <a:gd name="connsiteX232" fmla="*/ 8327 w 10000"/>
                <a:gd name="connsiteY232" fmla="*/ 7240 h 10000"/>
                <a:gd name="connsiteX233" fmla="*/ 8320 w 10000"/>
                <a:gd name="connsiteY233" fmla="*/ 6987 h 10000"/>
                <a:gd name="connsiteX234" fmla="*/ 8436 w 10000"/>
                <a:gd name="connsiteY234" fmla="*/ 7081 h 10000"/>
                <a:gd name="connsiteX235" fmla="*/ 8456 w 10000"/>
                <a:gd name="connsiteY235" fmla="*/ 7015 h 10000"/>
                <a:gd name="connsiteX236" fmla="*/ 8316 w 10000"/>
                <a:gd name="connsiteY236" fmla="*/ 6735 h 10000"/>
                <a:gd name="connsiteX237" fmla="*/ 8503 w 10000"/>
                <a:gd name="connsiteY237" fmla="*/ 6894 h 10000"/>
                <a:gd name="connsiteX238" fmla="*/ 8739 w 10000"/>
                <a:gd name="connsiteY238" fmla="*/ 6511 h 10000"/>
                <a:gd name="connsiteX239" fmla="*/ 8967 w 10000"/>
                <a:gd name="connsiteY239" fmla="*/ 6483 h 10000"/>
                <a:gd name="connsiteX240" fmla="*/ 9015 w 10000"/>
                <a:gd name="connsiteY24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6875 w 10000"/>
                <a:gd name="connsiteY202" fmla="*/ 8989 h 10000"/>
                <a:gd name="connsiteX203" fmla="*/ 7040 w 10000"/>
                <a:gd name="connsiteY203" fmla="*/ 9001 h 10000"/>
                <a:gd name="connsiteX204" fmla="*/ 7136 w 10000"/>
                <a:gd name="connsiteY204" fmla="*/ 8879 h 10000"/>
                <a:gd name="connsiteX205" fmla="*/ 7240 w 10000"/>
                <a:gd name="connsiteY205" fmla="*/ 8912 h 10000"/>
                <a:gd name="connsiteX206" fmla="*/ 7355 w 10000"/>
                <a:gd name="connsiteY206" fmla="*/ 9001 h 10000"/>
                <a:gd name="connsiteX207" fmla="*/ 7551 w 10000"/>
                <a:gd name="connsiteY207" fmla="*/ 8994 h 10000"/>
                <a:gd name="connsiteX208" fmla="*/ 7719 w 10000"/>
                <a:gd name="connsiteY208" fmla="*/ 9362 h 10000"/>
                <a:gd name="connsiteX209" fmla="*/ 7734 w 10000"/>
                <a:gd name="connsiteY209" fmla="*/ 9675 h 10000"/>
                <a:gd name="connsiteX210" fmla="*/ 7675 w 10000"/>
                <a:gd name="connsiteY210" fmla="*/ 9692 h 10000"/>
                <a:gd name="connsiteX211" fmla="*/ 7686 w 10000"/>
                <a:gd name="connsiteY211" fmla="*/ 9780 h 10000"/>
                <a:gd name="connsiteX212" fmla="*/ 7939 w 10000"/>
                <a:gd name="connsiteY212" fmla="*/ 9900 h 10000"/>
                <a:gd name="connsiteX213" fmla="*/ 8671 w 10000"/>
                <a:gd name="connsiteY213" fmla="*/ 9023 h 10000"/>
                <a:gd name="connsiteX214" fmla="*/ 8751 w 10000"/>
                <a:gd name="connsiteY214" fmla="*/ 8841 h 10000"/>
                <a:gd name="connsiteX215" fmla="*/ 8843 w 10000"/>
                <a:gd name="connsiteY215" fmla="*/ 8786 h 10000"/>
                <a:gd name="connsiteX216" fmla="*/ 8899 w 10000"/>
                <a:gd name="connsiteY216" fmla="*/ 8512 h 10000"/>
                <a:gd name="connsiteX217" fmla="*/ 9136 w 10000"/>
                <a:gd name="connsiteY217" fmla="*/ 8617 h 10000"/>
                <a:gd name="connsiteX218" fmla="*/ 9275 w 10000"/>
                <a:gd name="connsiteY218" fmla="*/ 8474 h 10000"/>
                <a:gd name="connsiteX219" fmla="*/ 9471 w 10000"/>
                <a:gd name="connsiteY219" fmla="*/ 8343 h 10000"/>
                <a:gd name="connsiteX220" fmla="*/ 9392 w 10000"/>
                <a:gd name="connsiteY220" fmla="*/ 8128 h 10000"/>
                <a:gd name="connsiteX221" fmla="*/ 8244 w 10000"/>
                <a:gd name="connsiteY221" fmla="*/ 7991 h 10000"/>
                <a:gd name="connsiteX222" fmla="*/ 8216 w 10000"/>
                <a:gd name="connsiteY222" fmla="*/ 7904 h 10000"/>
                <a:gd name="connsiteX223" fmla="*/ 8136 w 10000"/>
                <a:gd name="connsiteY223" fmla="*/ 8002 h 10000"/>
                <a:gd name="connsiteX224" fmla="*/ 8252 w 10000"/>
                <a:gd name="connsiteY224" fmla="*/ 7761 h 10000"/>
                <a:gd name="connsiteX225" fmla="*/ 8208 w 10000"/>
                <a:gd name="connsiteY225" fmla="*/ 7717 h 10000"/>
                <a:gd name="connsiteX226" fmla="*/ 8079 w 10000"/>
                <a:gd name="connsiteY226" fmla="*/ 7915 h 10000"/>
                <a:gd name="connsiteX227" fmla="*/ 8147 w 10000"/>
                <a:gd name="connsiteY227" fmla="*/ 7712 h 10000"/>
                <a:gd name="connsiteX228" fmla="*/ 8055 w 10000"/>
                <a:gd name="connsiteY228" fmla="*/ 7767 h 10000"/>
                <a:gd name="connsiteX229" fmla="*/ 8228 w 10000"/>
                <a:gd name="connsiteY229" fmla="*/ 7590 h 10000"/>
                <a:gd name="connsiteX230" fmla="*/ 8160 w 10000"/>
                <a:gd name="connsiteY230" fmla="*/ 7333 h 10000"/>
                <a:gd name="connsiteX231" fmla="*/ 8327 w 10000"/>
                <a:gd name="connsiteY231" fmla="*/ 7240 h 10000"/>
                <a:gd name="connsiteX232" fmla="*/ 8320 w 10000"/>
                <a:gd name="connsiteY232" fmla="*/ 6987 h 10000"/>
                <a:gd name="connsiteX233" fmla="*/ 8436 w 10000"/>
                <a:gd name="connsiteY233" fmla="*/ 7081 h 10000"/>
                <a:gd name="connsiteX234" fmla="*/ 8456 w 10000"/>
                <a:gd name="connsiteY234" fmla="*/ 7015 h 10000"/>
                <a:gd name="connsiteX235" fmla="*/ 8316 w 10000"/>
                <a:gd name="connsiteY235" fmla="*/ 6735 h 10000"/>
                <a:gd name="connsiteX236" fmla="*/ 8503 w 10000"/>
                <a:gd name="connsiteY236" fmla="*/ 6894 h 10000"/>
                <a:gd name="connsiteX237" fmla="*/ 8739 w 10000"/>
                <a:gd name="connsiteY237" fmla="*/ 6511 h 10000"/>
                <a:gd name="connsiteX238" fmla="*/ 8967 w 10000"/>
                <a:gd name="connsiteY238" fmla="*/ 6483 h 10000"/>
                <a:gd name="connsiteX239" fmla="*/ 9015 w 10000"/>
                <a:gd name="connsiteY23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551 w 10000"/>
                <a:gd name="connsiteY206" fmla="*/ 8994 h 10000"/>
                <a:gd name="connsiteX207" fmla="*/ 7719 w 10000"/>
                <a:gd name="connsiteY207" fmla="*/ 9362 h 10000"/>
                <a:gd name="connsiteX208" fmla="*/ 7734 w 10000"/>
                <a:gd name="connsiteY208" fmla="*/ 9675 h 10000"/>
                <a:gd name="connsiteX209" fmla="*/ 7675 w 10000"/>
                <a:gd name="connsiteY209" fmla="*/ 9692 h 10000"/>
                <a:gd name="connsiteX210" fmla="*/ 7686 w 10000"/>
                <a:gd name="connsiteY210" fmla="*/ 9780 h 10000"/>
                <a:gd name="connsiteX211" fmla="*/ 7939 w 10000"/>
                <a:gd name="connsiteY211" fmla="*/ 9900 h 10000"/>
                <a:gd name="connsiteX212" fmla="*/ 8671 w 10000"/>
                <a:gd name="connsiteY212" fmla="*/ 9023 h 10000"/>
                <a:gd name="connsiteX213" fmla="*/ 8751 w 10000"/>
                <a:gd name="connsiteY213" fmla="*/ 8841 h 10000"/>
                <a:gd name="connsiteX214" fmla="*/ 8843 w 10000"/>
                <a:gd name="connsiteY214" fmla="*/ 8786 h 10000"/>
                <a:gd name="connsiteX215" fmla="*/ 8899 w 10000"/>
                <a:gd name="connsiteY215" fmla="*/ 8512 h 10000"/>
                <a:gd name="connsiteX216" fmla="*/ 9136 w 10000"/>
                <a:gd name="connsiteY216" fmla="*/ 8617 h 10000"/>
                <a:gd name="connsiteX217" fmla="*/ 9275 w 10000"/>
                <a:gd name="connsiteY217" fmla="*/ 8474 h 10000"/>
                <a:gd name="connsiteX218" fmla="*/ 9471 w 10000"/>
                <a:gd name="connsiteY218" fmla="*/ 8343 h 10000"/>
                <a:gd name="connsiteX219" fmla="*/ 9392 w 10000"/>
                <a:gd name="connsiteY219" fmla="*/ 8128 h 10000"/>
                <a:gd name="connsiteX220" fmla="*/ 8244 w 10000"/>
                <a:gd name="connsiteY220" fmla="*/ 7991 h 10000"/>
                <a:gd name="connsiteX221" fmla="*/ 8216 w 10000"/>
                <a:gd name="connsiteY221" fmla="*/ 7904 h 10000"/>
                <a:gd name="connsiteX222" fmla="*/ 8136 w 10000"/>
                <a:gd name="connsiteY222" fmla="*/ 8002 h 10000"/>
                <a:gd name="connsiteX223" fmla="*/ 8252 w 10000"/>
                <a:gd name="connsiteY223" fmla="*/ 7761 h 10000"/>
                <a:gd name="connsiteX224" fmla="*/ 8208 w 10000"/>
                <a:gd name="connsiteY224" fmla="*/ 7717 h 10000"/>
                <a:gd name="connsiteX225" fmla="*/ 8079 w 10000"/>
                <a:gd name="connsiteY225" fmla="*/ 7915 h 10000"/>
                <a:gd name="connsiteX226" fmla="*/ 8147 w 10000"/>
                <a:gd name="connsiteY226" fmla="*/ 7712 h 10000"/>
                <a:gd name="connsiteX227" fmla="*/ 8055 w 10000"/>
                <a:gd name="connsiteY227" fmla="*/ 7767 h 10000"/>
                <a:gd name="connsiteX228" fmla="*/ 8228 w 10000"/>
                <a:gd name="connsiteY228" fmla="*/ 7590 h 10000"/>
                <a:gd name="connsiteX229" fmla="*/ 8160 w 10000"/>
                <a:gd name="connsiteY229" fmla="*/ 7333 h 10000"/>
                <a:gd name="connsiteX230" fmla="*/ 8327 w 10000"/>
                <a:gd name="connsiteY230" fmla="*/ 7240 h 10000"/>
                <a:gd name="connsiteX231" fmla="*/ 8320 w 10000"/>
                <a:gd name="connsiteY231" fmla="*/ 6987 h 10000"/>
                <a:gd name="connsiteX232" fmla="*/ 8436 w 10000"/>
                <a:gd name="connsiteY232" fmla="*/ 7081 h 10000"/>
                <a:gd name="connsiteX233" fmla="*/ 8456 w 10000"/>
                <a:gd name="connsiteY233" fmla="*/ 7015 h 10000"/>
                <a:gd name="connsiteX234" fmla="*/ 8316 w 10000"/>
                <a:gd name="connsiteY234" fmla="*/ 6735 h 10000"/>
                <a:gd name="connsiteX235" fmla="*/ 8503 w 10000"/>
                <a:gd name="connsiteY235" fmla="*/ 6894 h 10000"/>
                <a:gd name="connsiteX236" fmla="*/ 8739 w 10000"/>
                <a:gd name="connsiteY236" fmla="*/ 6511 h 10000"/>
                <a:gd name="connsiteX237" fmla="*/ 8967 w 10000"/>
                <a:gd name="connsiteY237" fmla="*/ 6483 h 10000"/>
                <a:gd name="connsiteX238" fmla="*/ 9015 w 10000"/>
                <a:gd name="connsiteY23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551 w 10000"/>
                <a:gd name="connsiteY206" fmla="*/ 8994 h 10000"/>
                <a:gd name="connsiteX207" fmla="*/ 7734 w 10000"/>
                <a:gd name="connsiteY207" fmla="*/ 9675 h 10000"/>
                <a:gd name="connsiteX208" fmla="*/ 7675 w 10000"/>
                <a:gd name="connsiteY208" fmla="*/ 9692 h 10000"/>
                <a:gd name="connsiteX209" fmla="*/ 7686 w 10000"/>
                <a:gd name="connsiteY209" fmla="*/ 9780 h 10000"/>
                <a:gd name="connsiteX210" fmla="*/ 7939 w 10000"/>
                <a:gd name="connsiteY210" fmla="*/ 9900 h 10000"/>
                <a:gd name="connsiteX211" fmla="*/ 8671 w 10000"/>
                <a:gd name="connsiteY211" fmla="*/ 9023 h 10000"/>
                <a:gd name="connsiteX212" fmla="*/ 8751 w 10000"/>
                <a:gd name="connsiteY212" fmla="*/ 8841 h 10000"/>
                <a:gd name="connsiteX213" fmla="*/ 8843 w 10000"/>
                <a:gd name="connsiteY213" fmla="*/ 8786 h 10000"/>
                <a:gd name="connsiteX214" fmla="*/ 8899 w 10000"/>
                <a:gd name="connsiteY214" fmla="*/ 8512 h 10000"/>
                <a:gd name="connsiteX215" fmla="*/ 9136 w 10000"/>
                <a:gd name="connsiteY215" fmla="*/ 8617 h 10000"/>
                <a:gd name="connsiteX216" fmla="*/ 9275 w 10000"/>
                <a:gd name="connsiteY216" fmla="*/ 8474 h 10000"/>
                <a:gd name="connsiteX217" fmla="*/ 9471 w 10000"/>
                <a:gd name="connsiteY217" fmla="*/ 8343 h 10000"/>
                <a:gd name="connsiteX218" fmla="*/ 9392 w 10000"/>
                <a:gd name="connsiteY218" fmla="*/ 8128 h 10000"/>
                <a:gd name="connsiteX219" fmla="*/ 8244 w 10000"/>
                <a:gd name="connsiteY219" fmla="*/ 7991 h 10000"/>
                <a:gd name="connsiteX220" fmla="*/ 8216 w 10000"/>
                <a:gd name="connsiteY220" fmla="*/ 7904 h 10000"/>
                <a:gd name="connsiteX221" fmla="*/ 8136 w 10000"/>
                <a:gd name="connsiteY221" fmla="*/ 8002 h 10000"/>
                <a:gd name="connsiteX222" fmla="*/ 8252 w 10000"/>
                <a:gd name="connsiteY222" fmla="*/ 7761 h 10000"/>
                <a:gd name="connsiteX223" fmla="*/ 8208 w 10000"/>
                <a:gd name="connsiteY223" fmla="*/ 7717 h 10000"/>
                <a:gd name="connsiteX224" fmla="*/ 8079 w 10000"/>
                <a:gd name="connsiteY224" fmla="*/ 7915 h 10000"/>
                <a:gd name="connsiteX225" fmla="*/ 8147 w 10000"/>
                <a:gd name="connsiteY225" fmla="*/ 7712 h 10000"/>
                <a:gd name="connsiteX226" fmla="*/ 8055 w 10000"/>
                <a:gd name="connsiteY226" fmla="*/ 7767 h 10000"/>
                <a:gd name="connsiteX227" fmla="*/ 8228 w 10000"/>
                <a:gd name="connsiteY227" fmla="*/ 7590 h 10000"/>
                <a:gd name="connsiteX228" fmla="*/ 8160 w 10000"/>
                <a:gd name="connsiteY228" fmla="*/ 7333 h 10000"/>
                <a:gd name="connsiteX229" fmla="*/ 8327 w 10000"/>
                <a:gd name="connsiteY229" fmla="*/ 7240 h 10000"/>
                <a:gd name="connsiteX230" fmla="*/ 8320 w 10000"/>
                <a:gd name="connsiteY230" fmla="*/ 6987 h 10000"/>
                <a:gd name="connsiteX231" fmla="*/ 8436 w 10000"/>
                <a:gd name="connsiteY231" fmla="*/ 7081 h 10000"/>
                <a:gd name="connsiteX232" fmla="*/ 8456 w 10000"/>
                <a:gd name="connsiteY232" fmla="*/ 7015 h 10000"/>
                <a:gd name="connsiteX233" fmla="*/ 8316 w 10000"/>
                <a:gd name="connsiteY233" fmla="*/ 6735 h 10000"/>
                <a:gd name="connsiteX234" fmla="*/ 8503 w 10000"/>
                <a:gd name="connsiteY234" fmla="*/ 6894 h 10000"/>
                <a:gd name="connsiteX235" fmla="*/ 8739 w 10000"/>
                <a:gd name="connsiteY235" fmla="*/ 6511 h 10000"/>
                <a:gd name="connsiteX236" fmla="*/ 8967 w 10000"/>
                <a:gd name="connsiteY236" fmla="*/ 6483 h 10000"/>
                <a:gd name="connsiteX237" fmla="*/ 9015 w 10000"/>
                <a:gd name="connsiteY23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734 w 10000"/>
                <a:gd name="connsiteY206" fmla="*/ 9675 h 10000"/>
                <a:gd name="connsiteX207" fmla="*/ 7675 w 10000"/>
                <a:gd name="connsiteY207" fmla="*/ 9692 h 10000"/>
                <a:gd name="connsiteX208" fmla="*/ 7686 w 10000"/>
                <a:gd name="connsiteY208" fmla="*/ 9780 h 10000"/>
                <a:gd name="connsiteX209" fmla="*/ 7939 w 10000"/>
                <a:gd name="connsiteY209" fmla="*/ 9900 h 10000"/>
                <a:gd name="connsiteX210" fmla="*/ 8671 w 10000"/>
                <a:gd name="connsiteY210" fmla="*/ 9023 h 10000"/>
                <a:gd name="connsiteX211" fmla="*/ 8751 w 10000"/>
                <a:gd name="connsiteY211" fmla="*/ 8841 h 10000"/>
                <a:gd name="connsiteX212" fmla="*/ 8843 w 10000"/>
                <a:gd name="connsiteY212" fmla="*/ 8786 h 10000"/>
                <a:gd name="connsiteX213" fmla="*/ 8899 w 10000"/>
                <a:gd name="connsiteY213" fmla="*/ 8512 h 10000"/>
                <a:gd name="connsiteX214" fmla="*/ 9136 w 10000"/>
                <a:gd name="connsiteY214" fmla="*/ 8617 h 10000"/>
                <a:gd name="connsiteX215" fmla="*/ 9275 w 10000"/>
                <a:gd name="connsiteY215" fmla="*/ 8474 h 10000"/>
                <a:gd name="connsiteX216" fmla="*/ 9471 w 10000"/>
                <a:gd name="connsiteY216" fmla="*/ 8343 h 10000"/>
                <a:gd name="connsiteX217" fmla="*/ 9392 w 10000"/>
                <a:gd name="connsiteY217" fmla="*/ 8128 h 10000"/>
                <a:gd name="connsiteX218" fmla="*/ 8244 w 10000"/>
                <a:gd name="connsiteY218" fmla="*/ 7991 h 10000"/>
                <a:gd name="connsiteX219" fmla="*/ 8216 w 10000"/>
                <a:gd name="connsiteY219" fmla="*/ 7904 h 10000"/>
                <a:gd name="connsiteX220" fmla="*/ 8136 w 10000"/>
                <a:gd name="connsiteY220" fmla="*/ 8002 h 10000"/>
                <a:gd name="connsiteX221" fmla="*/ 8252 w 10000"/>
                <a:gd name="connsiteY221" fmla="*/ 7761 h 10000"/>
                <a:gd name="connsiteX222" fmla="*/ 8208 w 10000"/>
                <a:gd name="connsiteY222" fmla="*/ 7717 h 10000"/>
                <a:gd name="connsiteX223" fmla="*/ 8079 w 10000"/>
                <a:gd name="connsiteY223" fmla="*/ 7915 h 10000"/>
                <a:gd name="connsiteX224" fmla="*/ 8147 w 10000"/>
                <a:gd name="connsiteY224" fmla="*/ 7712 h 10000"/>
                <a:gd name="connsiteX225" fmla="*/ 8055 w 10000"/>
                <a:gd name="connsiteY225" fmla="*/ 7767 h 10000"/>
                <a:gd name="connsiteX226" fmla="*/ 8228 w 10000"/>
                <a:gd name="connsiteY226" fmla="*/ 7590 h 10000"/>
                <a:gd name="connsiteX227" fmla="*/ 8160 w 10000"/>
                <a:gd name="connsiteY227" fmla="*/ 7333 h 10000"/>
                <a:gd name="connsiteX228" fmla="*/ 8327 w 10000"/>
                <a:gd name="connsiteY228" fmla="*/ 7240 h 10000"/>
                <a:gd name="connsiteX229" fmla="*/ 8320 w 10000"/>
                <a:gd name="connsiteY229" fmla="*/ 6987 h 10000"/>
                <a:gd name="connsiteX230" fmla="*/ 8436 w 10000"/>
                <a:gd name="connsiteY230" fmla="*/ 7081 h 10000"/>
                <a:gd name="connsiteX231" fmla="*/ 8456 w 10000"/>
                <a:gd name="connsiteY231" fmla="*/ 7015 h 10000"/>
                <a:gd name="connsiteX232" fmla="*/ 8316 w 10000"/>
                <a:gd name="connsiteY232" fmla="*/ 6735 h 10000"/>
                <a:gd name="connsiteX233" fmla="*/ 8503 w 10000"/>
                <a:gd name="connsiteY233" fmla="*/ 6894 h 10000"/>
                <a:gd name="connsiteX234" fmla="*/ 8739 w 10000"/>
                <a:gd name="connsiteY234" fmla="*/ 6511 h 10000"/>
                <a:gd name="connsiteX235" fmla="*/ 8967 w 10000"/>
                <a:gd name="connsiteY235" fmla="*/ 6483 h 10000"/>
                <a:gd name="connsiteX236" fmla="*/ 9015 w 10000"/>
                <a:gd name="connsiteY23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734 w 10000"/>
                <a:gd name="connsiteY205" fmla="*/ 9675 h 10000"/>
                <a:gd name="connsiteX206" fmla="*/ 7675 w 10000"/>
                <a:gd name="connsiteY206" fmla="*/ 9692 h 10000"/>
                <a:gd name="connsiteX207" fmla="*/ 7686 w 10000"/>
                <a:gd name="connsiteY207" fmla="*/ 9780 h 10000"/>
                <a:gd name="connsiteX208" fmla="*/ 7939 w 10000"/>
                <a:gd name="connsiteY208" fmla="*/ 9900 h 10000"/>
                <a:gd name="connsiteX209" fmla="*/ 8671 w 10000"/>
                <a:gd name="connsiteY209" fmla="*/ 9023 h 10000"/>
                <a:gd name="connsiteX210" fmla="*/ 8751 w 10000"/>
                <a:gd name="connsiteY210" fmla="*/ 8841 h 10000"/>
                <a:gd name="connsiteX211" fmla="*/ 8843 w 10000"/>
                <a:gd name="connsiteY211" fmla="*/ 8786 h 10000"/>
                <a:gd name="connsiteX212" fmla="*/ 8899 w 10000"/>
                <a:gd name="connsiteY212" fmla="*/ 8512 h 10000"/>
                <a:gd name="connsiteX213" fmla="*/ 9136 w 10000"/>
                <a:gd name="connsiteY213" fmla="*/ 8617 h 10000"/>
                <a:gd name="connsiteX214" fmla="*/ 9275 w 10000"/>
                <a:gd name="connsiteY214" fmla="*/ 8474 h 10000"/>
                <a:gd name="connsiteX215" fmla="*/ 9471 w 10000"/>
                <a:gd name="connsiteY215" fmla="*/ 8343 h 10000"/>
                <a:gd name="connsiteX216" fmla="*/ 9392 w 10000"/>
                <a:gd name="connsiteY216" fmla="*/ 8128 h 10000"/>
                <a:gd name="connsiteX217" fmla="*/ 8244 w 10000"/>
                <a:gd name="connsiteY217" fmla="*/ 7991 h 10000"/>
                <a:gd name="connsiteX218" fmla="*/ 8216 w 10000"/>
                <a:gd name="connsiteY218" fmla="*/ 7904 h 10000"/>
                <a:gd name="connsiteX219" fmla="*/ 8136 w 10000"/>
                <a:gd name="connsiteY219" fmla="*/ 8002 h 10000"/>
                <a:gd name="connsiteX220" fmla="*/ 8252 w 10000"/>
                <a:gd name="connsiteY220" fmla="*/ 7761 h 10000"/>
                <a:gd name="connsiteX221" fmla="*/ 8208 w 10000"/>
                <a:gd name="connsiteY221" fmla="*/ 7717 h 10000"/>
                <a:gd name="connsiteX222" fmla="*/ 8079 w 10000"/>
                <a:gd name="connsiteY222" fmla="*/ 7915 h 10000"/>
                <a:gd name="connsiteX223" fmla="*/ 8147 w 10000"/>
                <a:gd name="connsiteY223" fmla="*/ 7712 h 10000"/>
                <a:gd name="connsiteX224" fmla="*/ 8055 w 10000"/>
                <a:gd name="connsiteY224" fmla="*/ 7767 h 10000"/>
                <a:gd name="connsiteX225" fmla="*/ 8228 w 10000"/>
                <a:gd name="connsiteY225" fmla="*/ 7590 h 10000"/>
                <a:gd name="connsiteX226" fmla="*/ 8160 w 10000"/>
                <a:gd name="connsiteY226" fmla="*/ 7333 h 10000"/>
                <a:gd name="connsiteX227" fmla="*/ 8327 w 10000"/>
                <a:gd name="connsiteY227" fmla="*/ 7240 h 10000"/>
                <a:gd name="connsiteX228" fmla="*/ 8320 w 10000"/>
                <a:gd name="connsiteY228" fmla="*/ 6987 h 10000"/>
                <a:gd name="connsiteX229" fmla="*/ 8436 w 10000"/>
                <a:gd name="connsiteY229" fmla="*/ 7081 h 10000"/>
                <a:gd name="connsiteX230" fmla="*/ 8456 w 10000"/>
                <a:gd name="connsiteY230" fmla="*/ 7015 h 10000"/>
                <a:gd name="connsiteX231" fmla="*/ 8316 w 10000"/>
                <a:gd name="connsiteY231" fmla="*/ 6735 h 10000"/>
                <a:gd name="connsiteX232" fmla="*/ 8503 w 10000"/>
                <a:gd name="connsiteY232" fmla="*/ 6894 h 10000"/>
                <a:gd name="connsiteX233" fmla="*/ 8739 w 10000"/>
                <a:gd name="connsiteY233" fmla="*/ 6511 h 10000"/>
                <a:gd name="connsiteX234" fmla="*/ 8967 w 10000"/>
                <a:gd name="connsiteY234" fmla="*/ 6483 h 10000"/>
                <a:gd name="connsiteX235" fmla="*/ 9015 w 10000"/>
                <a:gd name="connsiteY23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734 w 10000"/>
                <a:gd name="connsiteY204" fmla="*/ 9675 h 10000"/>
                <a:gd name="connsiteX205" fmla="*/ 7675 w 10000"/>
                <a:gd name="connsiteY205" fmla="*/ 9692 h 10000"/>
                <a:gd name="connsiteX206" fmla="*/ 7686 w 10000"/>
                <a:gd name="connsiteY206" fmla="*/ 9780 h 10000"/>
                <a:gd name="connsiteX207" fmla="*/ 7939 w 10000"/>
                <a:gd name="connsiteY207" fmla="*/ 9900 h 10000"/>
                <a:gd name="connsiteX208" fmla="*/ 8671 w 10000"/>
                <a:gd name="connsiteY208" fmla="*/ 9023 h 10000"/>
                <a:gd name="connsiteX209" fmla="*/ 8751 w 10000"/>
                <a:gd name="connsiteY209" fmla="*/ 8841 h 10000"/>
                <a:gd name="connsiteX210" fmla="*/ 8843 w 10000"/>
                <a:gd name="connsiteY210" fmla="*/ 8786 h 10000"/>
                <a:gd name="connsiteX211" fmla="*/ 8899 w 10000"/>
                <a:gd name="connsiteY211" fmla="*/ 8512 h 10000"/>
                <a:gd name="connsiteX212" fmla="*/ 9136 w 10000"/>
                <a:gd name="connsiteY212" fmla="*/ 8617 h 10000"/>
                <a:gd name="connsiteX213" fmla="*/ 9275 w 10000"/>
                <a:gd name="connsiteY213" fmla="*/ 8474 h 10000"/>
                <a:gd name="connsiteX214" fmla="*/ 9471 w 10000"/>
                <a:gd name="connsiteY214" fmla="*/ 8343 h 10000"/>
                <a:gd name="connsiteX215" fmla="*/ 9392 w 10000"/>
                <a:gd name="connsiteY215" fmla="*/ 8128 h 10000"/>
                <a:gd name="connsiteX216" fmla="*/ 8244 w 10000"/>
                <a:gd name="connsiteY216" fmla="*/ 7991 h 10000"/>
                <a:gd name="connsiteX217" fmla="*/ 8216 w 10000"/>
                <a:gd name="connsiteY217" fmla="*/ 7904 h 10000"/>
                <a:gd name="connsiteX218" fmla="*/ 8136 w 10000"/>
                <a:gd name="connsiteY218" fmla="*/ 8002 h 10000"/>
                <a:gd name="connsiteX219" fmla="*/ 8252 w 10000"/>
                <a:gd name="connsiteY219" fmla="*/ 7761 h 10000"/>
                <a:gd name="connsiteX220" fmla="*/ 8208 w 10000"/>
                <a:gd name="connsiteY220" fmla="*/ 7717 h 10000"/>
                <a:gd name="connsiteX221" fmla="*/ 8079 w 10000"/>
                <a:gd name="connsiteY221" fmla="*/ 7915 h 10000"/>
                <a:gd name="connsiteX222" fmla="*/ 8147 w 10000"/>
                <a:gd name="connsiteY222" fmla="*/ 7712 h 10000"/>
                <a:gd name="connsiteX223" fmla="*/ 8055 w 10000"/>
                <a:gd name="connsiteY223" fmla="*/ 7767 h 10000"/>
                <a:gd name="connsiteX224" fmla="*/ 8228 w 10000"/>
                <a:gd name="connsiteY224" fmla="*/ 7590 h 10000"/>
                <a:gd name="connsiteX225" fmla="*/ 8160 w 10000"/>
                <a:gd name="connsiteY225" fmla="*/ 7333 h 10000"/>
                <a:gd name="connsiteX226" fmla="*/ 8327 w 10000"/>
                <a:gd name="connsiteY226" fmla="*/ 7240 h 10000"/>
                <a:gd name="connsiteX227" fmla="*/ 8320 w 10000"/>
                <a:gd name="connsiteY227" fmla="*/ 6987 h 10000"/>
                <a:gd name="connsiteX228" fmla="*/ 8436 w 10000"/>
                <a:gd name="connsiteY228" fmla="*/ 7081 h 10000"/>
                <a:gd name="connsiteX229" fmla="*/ 8456 w 10000"/>
                <a:gd name="connsiteY229" fmla="*/ 7015 h 10000"/>
                <a:gd name="connsiteX230" fmla="*/ 8316 w 10000"/>
                <a:gd name="connsiteY230" fmla="*/ 6735 h 10000"/>
                <a:gd name="connsiteX231" fmla="*/ 8503 w 10000"/>
                <a:gd name="connsiteY231" fmla="*/ 6894 h 10000"/>
                <a:gd name="connsiteX232" fmla="*/ 8739 w 10000"/>
                <a:gd name="connsiteY232" fmla="*/ 6511 h 10000"/>
                <a:gd name="connsiteX233" fmla="*/ 8967 w 10000"/>
                <a:gd name="connsiteY233" fmla="*/ 6483 h 10000"/>
                <a:gd name="connsiteX234" fmla="*/ 9015 w 10000"/>
                <a:gd name="connsiteY23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734 w 10000"/>
                <a:gd name="connsiteY203" fmla="*/ 9675 h 10000"/>
                <a:gd name="connsiteX204" fmla="*/ 7675 w 10000"/>
                <a:gd name="connsiteY204" fmla="*/ 9692 h 10000"/>
                <a:gd name="connsiteX205" fmla="*/ 7686 w 10000"/>
                <a:gd name="connsiteY205" fmla="*/ 9780 h 10000"/>
                <a:gd name="connsiteX206" fmla="*/ 7939 w 10000"/>
                <a:gd name="connsiteY206" fmla="*/ 9900 h 10000"/>
                <a:gd name="connsiteX207" fmla="*/ 8671 w 10000"/>
                <a:gd name="connsiteY207" fmla="*/ 9023 h 10000"/>
                <a:gd name="connsiteX208" fmla="*/ 8751 w 10000"/>
                <a:gd name="connsiteY208" fmla="*/ 8841 h 10000"/>
                <a:gd name="connsiteX209" fmla="*/ 8843 w 10000"/>
                <a:gd name="connsiteY209" fmla="*/ 8786 h 10000"/>
                <a:gd name="connsiteX210" fmla="*/ 8899 w 10000"/>
                <a:gd name="connsiteY210" fmla="*/ 8512 h 10000"/>
                <a:gd name="connsiteX211" fmla="*/ 9136 w 10000"/>
                <a:gd name="connsiteY211" fmla="*/ 8617 h 10000"/>
                <a:gd name="connsiteX212" fmla="*/ 9275 w 10000"/>
                <a:gd name="connsiteY212" fmla="*/ 8474 h 10000"/>
                <a:gd name="connsiteX213" fmla="*/ 9471 w 10000"/>
                <a:gd name="connsiteY213" fmla="*/ 8343 h 10000"/>
                <a:gd name="connsiteX214" fmla="*/ 9392 w 10000"/>
                <a:gd name="connsiteY214" fmla="*/ 8128 h 10000"/>
                <a:gd name="connsiteX215" fmla="*/ 8244 w 10000"/>
                <a:gd name="connsiteY215" fmla="*/ 7991 h 10000"/>
                <a:gd name="connsiteX216" fmla="*/ 8216 w 10000"/>
                <a:gd name="connsiteY216" fmla="*/ 7904 h 10000"/>
                <a:gd name="connsiteX217" fmla="*/ 8136 w 10000"/>
                <a:gd name="connsiteY217" fmla="*/ 8002 h 10000"/>
                <a:gd name="connsiteX218" fmla="*/ 8252 w 10000"/>
                <a:gd name="connsiteY218" fmla="*/ 7761 h 10000"/>
                <a:gd name="connsiteX219" fmla="*/ 8208 w 10000"/>
                <a:gd name="connsiteY219" fmla="*/ 7717 h 10000"/>
                <a:gd name="connsiteX220" fmla="*/ 8079 w 10000"/>
                <a:gd name="connsiteY220" fmla="*/ 7915 h 10000"/>
                <a:gd name="connsiteX221" fmla="*/ 8147 w 10000"/>
                <a:gd name="connsiteY221" fmla="*/ 7712 h 10000"/>
                <a:gd name="connsiteX222" fmla="*/ 8055 w 10000"/>
                <a:gd name="connsiteY222" fmla="*/ 7767 h 10000"/>
                <a:gd name="connsiteX223" fmla="*/ 8228 w 10000"/>
                <a:gd name="connsiteY223" fmla="*/ 7590 h 10000"/>
                <a:gd name="connsiteX224" fmla="*/ 8160 w 10000"/>
                <a:gd name="connsiteY224" fmla="*/ 7333 h 10000"/>
                <a:gd name="connsiteX225" fmla="*/ 8327 w 10000"/>
                <a:gd name="connsiteY225" fmla="*/ 7240 h 10000"/>
                <a:gd name="connsiteX226" fmla="*/ 8320 w 10000"/>
                <a:gd name="connsiteY226" fmla="*/ 6987 h 10000"/>
                <a:gd name="connsiteX227" fmla="*/ 8436 w 10000"/>
                <a:gd name="connsiteY227" fmla="*/ 7081 h 10000"/>
                <a:gd name="connsiteX228" fmla="*/ 8456 w 10000"/>
                <a:gd name="connsiteY228" fmla="*/ 7015 h 10000"/>
                <a:gd name="connsiteX229" fmla="*/ 8316 w 10000"/>
                <a:gd name="connsiteY229" fmla="*/ 6735 h 10000"/>
                <a:gd name="connsiteX230" fmla="*/ 8503 w 10000"/>
                <a:gd name="connsiteY230" fmla="*/ 6894 h 10000"/>
                <a:gd name="connsiteX231" fmla="*/ 8739 w 10000"/>
                <a:gd name="connsiteY231" fmla="*/ 6511 h 10000"/>
                <a:gd name="connsiteX232" fmla="*/ 8967 w 10000"/>
                <a:gd name="connsiteY232" fmla="*/ 6483 h 10000"/>
                <a:gd name="connsiteX233" fmla="*/ 9015 w 10000"/>
                <a:gd name="connsiteY23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7686 w 10000"/>
                <a:gd name="connsiteY204" fmla="*/ 9780 h 10000"/>
                <a:gd name="connsiteX205" fmla="*/ 7939 w 10000"/>
                <a:gd name="connsiteY205" fmla="*/ 9900 h 10000"/>
                <a:gd name="connsiteX206" fmla="*/ 8671 w 10000"/>
                <a:gd name="connsiteY206" fmla="*/ 9023 h 10000"/>
                <a:gd name="connsiteX207" fmla="*/ 8751 w 10000"/>
                <a:gd name="connsiteY207" fmla="*/ 8841 h 10000"/>
                <a:gd name="connsiteX208" fmla="*/ 8843 w 10000"/>
                <a:gd name="connsiteY208" fmla="*/ 8786 h 10000"/>
                <a:gd name="connsiteX209" fmla="*/ 8899 w 10000"/>
                <a:gd name="connsiteY209" fmla="*/ 8512 h 10000"/>
                <a:gd name="connsiteX210" fmla="*/ 9136 w 10000"/>
                <a:gd name="connsiteY210" fmla="*/ 8617 h 10000"/>
                <a:gd name="connsiteX211" fmla="*/ 9275 w 10000"/>
                <a:gd name="connsiteY211" fmla="*/ 8474 h 10000"/>
                <a:gd name="connsiteX212" fmla="*/ 9471 w 10000"/>
                <a:gd name="connsiteY212" fmla="*/ 8343 h 10000"/>
                <a:gd name="connsiteX213" fmla="*/ 9392 w 10000"/>
                <a:gd name="connsiteY213" fmla="*/ 8128 h 10000"/>
                <a:gd name="connsiteX214" fmla="*/ 8244 w 10000"/>
                <a:gd name="connsiteY214" fmla="*/ 7991 h 10000"/>
                <a:gd name="connsiteX215" fmla="*/ 8216 w 10000"/>
                <a:gd name="connsiteY215" fmla="*/ 7904 h 10000"/>
                <a:gd name="connsiteX216" fmla="*/ 8136 w 10000"/>
                <a:gd name="connsiteY216" fmla="*/ 8002 h 10000"/>
                <a:gd name="connsiteX217" fmla="*/ 8252 w 10000"/>
                <a:gd name="connsiteY217" fmla="*/ 7761 h 10000"/>
                <a:gd name="connsiteX218" fmla="*/ 8208 w 10000"/>
                <a:gd name="connsiteY218" fmla="*/ 7717 h 10000"/>
                <a:gd name="connsiteX219" fmla="*/ 8079 w 10000"/>
                <a:gd name="connsiteY219" fmla="*/ 7915 h 10000"/>
                <a:gd name="connsiteX220" fmla="*/ 8147 w 10000"/>
                <a:gd name="connsiteY220" fmla="*/ 7712 h 10000"/>
                <a:gd name="connsiteX221" fmla="*/ 8055 w 10000"/>
                <a:gd name="connsiteY221" fmla="*/ 7767 h 10000"/>
                <a:gd name="connsiteX222" fmla="*/ 8228 w 10000"/>
                <a:gd name="connsiteY222" fmla="*/ 7590 h 10000"/>
                <a:gd name="connsiteX223" fmla="*/ 8160 w 10000"/>
                <a:gd name="connsiteY223" fmla="*/ 7333 h 10000"/>
                <a:gd name="connsiteX224" fmla="*/ 8327 w 10000"/>
                <a:gd name="connsiteY224" fmla="*/ 7240 h 10000"/>
                <a:gd name="connsiteX225" fmla="*/ 8320 w 10000"/>
                <a:gd name="connsiteY225" fmla="*/ 6987 h 10000"/>
                <a:gd name="connsiteX226" fmla="*/ 8436 w 10000"/>
                <a:gd name="connsiteY226" fmla="*/ 7081 h 10000"/>
                <a:gd name="connsiteX227" fmla="*/ 8456 w 10000"/>
                <a:gd name="connsiteY227" fmla="*/ 7015 h 10000"/>
                <a:gd name="connsiteX228" fmla="*/ 8316 w 10000"/>
                <a:gd name="connsiteY228" fmla="*/ 6735 h 10000"/>
                <a:gd name="connsiteX229" fmla="*/ 8503 w 10000"/>
                <a:gd name="connsiteY229" fmla="*/ 6894 h 10000"/>
                <a:gd name="connsiteX230" fmla="*/ 8739 w 10000"/>
                <a:gd name="connsiteY230" fmla="*/ 6511 h 10000"/>
                <a:gd name="connsiteX231" fmla="*/ 8967 w 10000"/>
                <a:gd name="connsiteY231" fmla="*/ 6483 h 10000"/>
                <a:gd name="connsiteX232" fmla="*/ 9015 w 10000"/>
                <a:gd name="connsiteY23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7686 w 10000"/>
                <a:gd name="connsiteY204" fmla="*/ 9780 h 10000"/>
                <a:gd name="connsiteX205" fmla="*/ 8671 w 10000"/>
                <a:gd name="connsiteY205" fmla="*/ 9023 h 10000"/>
                <a:gd name="connsiteX206" fmla="*/ 8751 w 10000"/>
                <a:gd name="connsiteY206" fmla="*/ 8841 h 10000"/>
                <a:gd name="connsiteX207" fmla="*/ 8843 w 10000"/>
                <a:gd name="connsiteY207" fmla="*/ 8786 h 10000"/>
                <a:gd name="connsiteX208" fmla="*/ 8899 w 10000"/>
                <a:gd name="connsiteY208" fmla="*/ 8512 h 10000"/>
                <a:gd name="connsiteX209" fmla="*/ 9136 w 10000"/>
                <a:gd name="connsiteY209" fmla="*/ 8617 h 10000"/>
                <a:gd name="connsiteX210" fmla="*/ 9275 w 10000"/>
                <a:gd name="connsiteY210" fmla="*/ 8474 h 10000"/>
                <a:gd name="connsiteX211" fmla="*/ 9471 w 10000"/>
                <a:gd name="connsiteY211" fmla="*/ 8343 h 10000"/>
                <a:gd name="connsiteX212" fmla="*/ 9392 w 10000"/>
                <a:gd name="connsiteY212" fmla="*/ 8128 h 10000"/>
                <a:gd name="connsiteX213" fmla="*/ 8244 w 10000"/>
                <a:gd name="connsiteY213" fmla="*/ 7991 h 10000"/>
                <a:gd name="connsiteX214" fmla="*/ 8216 w 10000"/>
                <a:gd name="connsiteY214" fmla="*/ 7904 h 10000"/>
                <a:gd name="connsiteX215" fmla="*/ 8136 w 10000"/>
                <a:gd name="connsiteY215" fmla="*/ 8002 h 10000"/>
                <a:gd name="connsiteX216" fmla="*/ 8252 w 10000"/>
                <a:gd name="connsiteY216" fmla="*/ 7761 h 10000"/>
                <a:gd name="connsiteX217" fmla="*/ 8208 w 10000"/>
                <a:gd name="connsiteY217" fmla="*/ 7717 h 10000"/>
                <a:gd name="connsiteX218" fmla="*/ 8079 w 10000"/>
                <a:gd name="connsiteY218" fmla="*/ 7915 h 10000"/>
                <a:gd name="connsiteX219" fmla="*/ 8147 w 10000"/>
                <a:gd name="connsiteY219" fmla="*/ 7712 h 10000"/>
                <a:gd name="connsiteX220" fmla="*/ 8055 w 10000"/>
                <a:gd name="connsiteY220" fmla="*/ 7767 h 10000"/>
                <a:gd name="connsiteX221" fmla="*/ 8228 w 10000"/>
                <a:gd name="connsiteY221" fmla="*/ 7590 h 10000"/>
                <a:gd name="connsiteX222" fmla="*/ 8160 w 10000"/>
                <a:gd name="connsiteY222" fmla="*/ 7333 h 10000"/>
                <a:gd name="connsiteX223" fmla="*/ 8327 w 10000"/>
                <a:gd name="connsiteY223" fmla="*/ 7240 h 10000"/>
                <a:gd name="connsiteX224" fmla="*/ 8320 w 10000"/>
                <a:gd name="connsiteY224" fmla="*/ 6987 h 10000"/>
                <a:gd name="connsiteX225" fmla="*/ 8436 w 10000"/>
                <a:gd name="connsiteY225" fmla="*/ 7081 h 10000"/>
                <a:gd name="connsiteX226" fmla="*/ 8456 w 10000"/>
                <a:gd name="connsiteY226" fmla="*/ 7015 h 10000"/>
                <a:gd name="connsiteX227" fmla="*/ 8316 w 10000"/>
                <a:gd name="connsiteY227" fmla="*/ 6735 h 10000"/>
                <a:gd name="connsiteX228" fmla="*/ 8503 w 10000"/>
                <a:gd name="connsiteY228" fmla="*/ 6894 h 10000"/>
                <a:gd name="connsiteX229" fmla="*/ 8739 w 10000"/>
                <a:gd name="connsiteY229" fmla="*/ 6511 h 10000"/>
                <a:gd name="connsiteX230" fmla="*/ 8967 w 10000"/>
                <a:gd name="connsiteY230" fmla="*/ 6483 h 10000"/>
                <a:gd name="connsiteX231" fmla="*/ 9015 w 10000"/>
                <a:gd name="connsiteY23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136 w 10000"/>
                <a:gd name="connsiteY208" fmla="*/ 8617 h 10000"/>
                <a:gd name="connsiteX209" fmla="*/ 9275 w 10000"/>
                <a:gd name="connsiteY209" fmla="*/ 8474 h 10000"/>
                <a:gd name="connsiteX210" fmla="*/ 9471 w 10000"/>
                <a:gd name="connsiteY210" fmla="*/ 8343 h 10000"/>
                <a:gd name="connsiteX211" fmla="*/ 9392 w 10000"/>
                <a:gd name="connsiteY211" fmla="*/ 8128 h 10000"/>
                <a:gd name="connsiteX212" fmla="*/ 8244 w 10000"/>
                <a:gd name="connsiteY212" fmla="*/ 7991 h 10000"/>
                <a:gd name="connsiteX213" fmla="*/ 8216 w 10000"/>
                <a:gd name="connsiteY213" fmla="*/ 7904 h 10000"/>
                <a:gd name="connsiteX214" fmla="*/ 8136 w 10000"/>
                <a:gd name="connsiteY214" fmla="*/ 8002 h 10000"/>
                <a:gd name="connsiteX215" fmla="*/ 8252 w 10000"/>
                <a:gd name="connsiteY215" fmla="*/ 7761 h 10000"/>
                <a:gd name="connsiteX216" fmla="*/ 8208 w 10000"/>
                <a:gd name="connsiteY216" fmla="*/ 7717 h 10000"/>
                <a:gd name="connsiteX217" fmla="*/ 8079 w 10000"/>
                <a:gd name="connsiteY217" fmla="*/ 7915 h 10000"/>
                <a:gd name="connsiteX218" fmla="*/ 8147 w 10000"/>
                <a:gd name="connsiteY218" fmla="*/ 7712 h 10000"/>
                <a:gd name="connsiteX219" fmla="*/ 8055 w 10000"/>
                <a:gd name="connsiteY219" fmla="*/ 7767 h 10000"/>
                <a:gd name="connsiteX220" fmla="*/ 8228 w 10000"/>
                <a:gd name="connsiteY220" fmla="*/ 7590 h 10000"/>
                <a:gd name="connsiteX221" fmla="*/ 8160 w 10000"/>
                <a:gd name="connsiteY221" fmla="*/ 7333 h 10000"/>
                <a:gd name="connsiteX222" fmla="*/ 8327 w 10000"/>
                <a:gd name="connsiteY222" fmla="*/ 7240 h 10000"/>
                <a:gd name="connsiteX223" fmla="*/ 8320 w 10000"/>
                <a:gd name="connsiteY223" fmla="*/ 6987 h 10000"/>
                <a:gd name="connsiteX224" fmla="*/ 8436 w 10000"/>
                <a:gd name="connsiteY224" fmla="*/ 7081 h 10000"/>
                <a:gd name="connsiteX225" fmla="*/ 8456 w 10000"/>
                <a:gd name="connsiteY225" fmla="*/ 7015 h 10000"/>
                <a:gd name="connsiteX226" fmla="*/ 8316 w 10000"/>
                <a:gd name="connsiteY226" fmla="*/ 6735 h 10000"/>
                <a:gd name="connsiteX227" fmla="*/ 8503 w 10000"/>
                <a:gd name="connsiteY227" fmla="*/ 6894 h 10000"/>
                <a:gd name="connsiteX228" fmla="*/ 8739 w 10000"/>
                <a:gd name="connsiteY228" fmla="*/ 6511 h 10000"/>
                <a:gd name="connsiteX229" fmla="*/ 8967 w 10000"/>
                <a:gd name="connsiteY229" fmla="*/ 6483 h 10000"/>
                <a:gd name="connsiteX230" fmla="*/ 9015 w 10000"/>
                <a:gd name="connsiteY23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136 w 10000"/>
                <a:gd name="connsiteY208" fmla="*/ 8617 h 10000"/>
                <a:gd name="connsiteX209" fmla="*/ 9471 w 10000"/>
                <a:gd name="connsiteY209" fmla="*/ 8343 h 10000"/>
                <a:gd name="connsiteX210" fmla="*/ 9392 w 10000"/>
                <a:gd name="connsiteY210" fmla="*/ 8128 h 10000"/>
                <a:gd name="connsiteX211" fmla="*/ 8244 w 10000"/>
                <a:gd name="connsiteY211" fmla="*/ 7991 h 10000"/>
                <a:gd name="connsiteX212" fmla="*/ 8216 w 10000"/>
                <a:gd name="connsiteY212" fmla="*/ 7904 h 10000"/>
                <a:gd name="connsiteX213" fmla="*/ 8136 w 10000"/>
                <a:gd name="connsiteY213" fmla="*/ 8002 h 10000"/>
                <a:gd name="connsiteX214" fmla="*/ 8252 w 10000"/>
                <a:gd name="connsiteY214" fmla="*/ 7761 h 10000"/>
                <a:gd name="connsiteX215" fmla="*/ 8208 w 10000"/>
                <a:gd name="connsiteY215" fmla="*/ 7717 h 10000"/>
                <a:gd name="connsiteX216" fmla="*/ 8079 w 10000"/>
                <a:gd name="connsiteY216" fmla="*/ 7915 h 10000"/>
                <a:gd name="connsiteX217" fmla="*/ 8147 w 10000"/>
                <a:gd name="connsiteY217" fmla="*/ 7712 h 10000"/>
                <a:gd name="connsiteX218" fmla="*/ 8055 w 10000"/>
                <a:gd name="connsiteY218" fmla="*/ 7767 h 10000"/>
                <a:gd name="connsiteX219" fmla="*/ 8228 w 10000"/>
                <a:gd name="connsiteY219" fmla="*/ 7590 h 10000"/>
                <a:gd name="connsiteX220" fmla="*/ 8160 w 10000"/>
                <a:gd name="connsiteY220" fmla="*/ 7333 h 10000"/>
                <a:gd name="connsiteX221" fmla="*/ 8327 w 10000"/>
                <a:gd name="connsiteY221" fmla="*/ 7240 h 10000"/>
                <a:gd name="connsiteX222" fmla="*/ 8320 w 10000"/>
                <a:gd name="connsiteY222" fmla="*/ 6987 h 10000"/>
                <a:gd name="connsiteX223" fmla="*/ 8436 w 10000"/>
                <a:gd name="connsiteY223" fmla="*/ 7081 h 10000"/>
                <a:gd name="connsiteX224" fmla="*/ 8456 w 10000"/>
                <a:gd name="connsiteY224" fmla="*/ 7015 h 10000"/>
                <a:gd name="connsiteX225" fmla="*/ 8316 w 10000"/>
                <a:gd name="connsiteY225" fmla="*/ 6735 h 10000"/>
                <a:gd name="connsiteX226" fmla="*/ 8503 w 10000"/>
                <a:gd name="connsiteY226" fmla="*/ 6894 h 10000"/>
                <a:gd name="connsiteX227" fmla="*/ 8739 w 10000"/>
                <a:gd name="connsiteY227" fmla="*/ 6511 h 10000"/>
                <a:gd name="connsiteX228" fmla="*/ 8967 w 10000"/>
                <a:gd name="connsiteY228" fmla="*/ 6483 h 10000"/>
                <a:gd name="connsiteX229" fmla="*/ 9015 w 10000"/>
                <a:gd name="connsiteY22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471 w 10000"/>
                <a:gd name="connsiteY208" fmla="*/ 8343 h 10000"/>
                <a:gd name="connsiteX209" fmla="*/ 9392 w 10000"/>
                <a:gd name="connsiteY209" fmla="*/ 8128 h 10000"/>
                <a:gd name="connsiteX210" fmla="*/ 8244 w 10000"/>
                <a:gd name="connsiteY210" fmla="*/ 7991 h 10000"/>
                <a:gd name="connsiteX211" fmla="*/ 8216 w 10000"/>
                <a:gd name="connsiteY211" fmla="*/ 7904 h 10000"/>
                <a:gd name="connsiteX212" fmla="*/ 8136 w 10000"/>
                <a:gd name="connsiteY212" fmla="*/ 8002 h 10000"/>
                <a:gd name="connsiteX213" fmla="*/ 8252 w 10000"/>
                <a:gd name="connsiteY213" fmla="*/ 7761 h 10000"/>
                <a:gd name="connsiteX214" fmla="*/ 8208 w 10000"/>
                <a:gd name="connsiteY214" fmla="*/ 7717 h 10000"/>
                <a:gd name="connsiteX215" fmla="*/ 8079 w 10000"/>
                <a:gd name="connsiteY215" fmla="*/ 7915 h 10000"/>
                <a:gd name="connsiteX216" fmla="*/ 8147 w 10000"/>
                <a:gd name="connsiteY216" fmla="*/ 7712 h 10000"/>
                <a:gd name="connsiteX217" fmla="*/ 8055 w 10000"/>
                <a:gd name="connsiteY217" fmla="*/ 7767 h 10000"/>
                <a:gd name="connsiteX218" fmla="*/ 8228 w 10000"/>
                <a:gd name="connsiteY218" fmla="*/ 7590 h 10000"/>
                <a:gd name="connsiteX219" fmla="*/ 8160 w 10000"/>
                <a:gd name="connsiteY219" fmla="*/ 7333 h 10000"/>
                <a:gd name="connsiteX220" fmla="*/ 8327 w 10000"/>
                <a:gd name="connsiteY220" fmla="*/ 7240 h 10000"/>
                <a:gd name="connsiteX221" fmla="*/ 8320 w 10000"/>
                <a:gd name="connsiteY221" fmla="*/ 6987 h 10000"/>
                <a:gd name="connsiteX222" fmla="*/ 8436 w 10000"/>
                <a:gd name="connsiteY222" fmla="*/ 7081 h 10000"/>
                <a:gd name="connsiteX223" fmla="*/ 8456 w 10000"/>
                <a:gd name="connsiteY223" fmla="*/ 7015 h 10000"/>
                <a:gd name="connsiteX224" fmla="*/ 8316 w 10000"/>
                <a:gd name="connsiteY224" fmla="*/ 6735 h 10000"/>
                <a:gd name="connsiteX225" fmla="*/ 8503 w 10000"/>
                <a:gd name="connsiteY225" fmla="*/ 6894 h 10000"/>
                <a:gd name="connsiteX226" fmla="*/ 8739 w 10000"/>
                <a:gd name="connsiteY226" fmla="*/ 6511 h 10000"/>
                <a:gd name="connsiteX227" fmla="*/ 8967 w 10000"/>
                <a:gd name="connsiteY227" fmla="*/ 6483 h 10000"/>
                <a:gd name="connsiteX228" fmla="*/ 9015 w 10000"/>
                <a:gd name="connsiteY22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9471 w 10000"/>
                <a:gd name="connsiteY207" fmla="*/ 8343 h 10000"/>
                <a:gd name="connsiteX208" fmla="*/ 9392 w 10000"/>
                <a:gd name="connsiteY208" fmla="*/ 8128 h 10000"/>
                <a:gd name="connsiteX209" fmla="*/ 8244 w 10000"/>
                <a:gd name="connsiteY209" fmla="*/ 7991 h 10000"/>
                <a:gd name="connsiteX210" fmla="*/ 8216 w 10000"/>
                <a:gd name="connsiteY210" fmla="*/ 7904 h 10000"/>
                <a:gd name="connsiteX211" fmla="*/ 8136 w 10000"/>
                <a:gd name="connsiteY211" fmla="*/ 8002 h 10000"/>
                <a:gd name="connsiteX212" fmla="*/ 8252 w 10000"/>
                <a:gd name="connsiteY212" fmla="*/ 7761 h 10000"/>
                <a:gd name="connsiteX213" fmla="*/ 8208 w 10000"/>
                <a:gd name="connsiteY213" fmla="*/ 7717 h 10000"/>
                <a:gd name="connsiteX214" fmla="*/ 8079 w 10000"/>
                <a:gd name="connsiteY214" fmla="*/ 7915 h 10000"/>
                <a:gd name="connsiteX215" fmla="*/ 8147 w 10000"/>
                <a:gd name="connsiteY215" fmla="*/ 7712 h 10000"/>
                <a:gd name="connsiteX216" fmla="*/ 8055 w 10000"/>
                <a:gd name="connsiteY216" fmla="*/ 7767 h 10000"/>
                <a:gd name="connsiteX217" fmla="*/ 8228 w 10000"/>
                <a:gd name="connsiteY217" fmla="*/ 7590 h 10000"/>
                <a:gd name="connsiteX218" fmla="*/ 8160 w 10000"/>
                <a:gd name="connsiteY218" fmla="*/ 7333 h 10000"/>
                <a:gd name="connsiteX219" fmla="*/ 8327 w 10000"/>
                <a:gd name="connsiteY219" fmla="*/ 7240 h 10000"/>
                <a:gd name="connsiteX220" fmla="*/ 8320 w 10000"/>
                <a:gd name="connsiteY220" fmla="*/ 6987 h 10000"/>
                <a:gd name="connsiteX221" fmla="*/ 8436 w 10000"/>
                <a:gd name="connsiteY221" fmla="*/ 7081 h 10000"/>
                <a:gd name="connsiteX222" fmla="*/ 8456 w 10000"/>
                <a:gd name="connsiteY222" fmla="*/ 7015 h 10000"/>
                <a:gd name="connsiteX223" fmla="*/ 8316 w 10000"/>
                <a:gd name="connsiteY223" fmla="*/ 6735 h 10000"/>
                <a:gd name="connsiteX224" fmla="*/ 8503 w 10000"/>
                <a:gd name="connsiteY224" fmla="*/ 6894 h 10000"/>
                <a:gd name="connsiteX225" fmla="*/ 8739 w 10000"/>
                <a:gd name="connsiteY225" fmla="*/ 6511 h 10000"/>
                <a:gd name="connsiteX226" fmla="*/ 8967 w 10000"/>
                <a:gd name="connsiteY226" fmla="*/ 6483 h 10000"/>
                <a:gd name="connsiteX227" fmla="*/ 9015 w 10000"/>
                <a:gd name="connsiteY22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9471 w 10000"/>
                <a:gd name="connsiteY206" fmla="*/ 8343 h 10000"/>
                <a:gd name="connsiteX207" fmla="*/ 9392 w 10000"/>
                <a:gd name="connsiteY207" fmla="*/ 8128 h 10000"/>
                <a:gd name="connsiteX208" fmla="*/ 8244 w 10000"/>
                <a:gd name="connsiteY208" fmla="*/ 7991 h 10000"/>
                <a:gd name="connsiteX209" fmla="*/ 8216 w 10000"/>
                <a:gd name="connsiteY209" fmla="*/ 7904 h 10000"/>
                <a:gd name="connsiteX210" fmla="*/ 8136 w 10000"/>
                <a:gd name="connsiteY210" fmla="*/ 8002 h 10000"/>
                <a:gd name="connsiteX211" fmla="*/ 8252 w 10000"/>
                <a:gd name="connsiteY211" fmla="*/ 7761 h 10000"/>
                <a:gd name="connsiteX212" fmla="*/ 8208 w 10000"/>
                <a:gd name="connsiteY212" fmla="*/ 7717 h 10000"/>
                <a:gd name="connsiteX213" fmla="*/ 8079 w 10000"/>
                <a:gd name="connsiteY213" fmla="*/ 7915 h 10000"/>
                <a:gd name="connsiteX214" fmla="*/ 8147 w 10000"/>
                <a:gd name="connsiteY214" fmla="*/ 7712 h 10000"/>
                <a:gd name="connsiteX215" fmla="*/ 8055 w 10000"/>
                <a:gd name="connsiteY215" fmla="*/ 7767 h 10000"/>
                <a:gd name="connsiteX216" fmla="*/ 8228 w 10000"/>
                <a:gd name="connsiteY216" fmla="*/ 7590 h 10000"/>
                <a:gd name="connsiteX217" fmla="*/ 8160 w 10000"/>
                <a:gd name="connsiteY217" fmla="*/ 7333 h 10000"/>
                <a:gd name="connsiteX218" fmla="*/ 8327 w 10000"/>
                <a:gd name="connsiteY218" fmla="*/ 7240 h 10000"/>
                <a:gd name="connsiteX219" fmla="*/ 8320 w 10000"/>
                <a:gd name="connsiteY219" fmla="*/ 6987 h 10000"/>
                <a:gd name="connsiteX220" fmla="*/ 8436 w 10000"/>
                <a:gd name="connsiteY220" fmla="*/ 7081 h 10000"/>
                <a:gd name="connsiteX221" fmla="*/ 8456 w 10000"/>
                <a:gd name="connsiteY221" fmla="*/ 7015 h 10000"/>
                <a:gd name="connsiteX222" fmla="*/ 8316 w 10000"/>
                <a:gd name="connsiteY222" fmla="*/ 6735 h 10000"/>
                <a:gd name="connsiteX223" fmla="*/ 8503 w 10000"/>
                <a:gd name="connsiteY223" fmla="*/ 6894 h 10000"/>
                <a:gd name="connsiteX224" fmla="*/ 8739 w 10000"/>
                <a:gd name="connsiteY224" fmla="*/ 6511 h 10000"/>
                <a:gd name="connsiteX225" fmla="*/ 8967 w 10000"/>
                <a:gd name="connsiteY225" fmla="*/ 6483 h 10000"/>
                <a:gd name="connsiteX226" fmla="*/ 9015 w 10000"/>
                <a:gd name="connsiteY22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9471 w 10000"/>
                <a:gd name="connsiteY205" fmla="*/ 8343 h 10000"/>
                <a:gd name="connsiteX206" fmla="*/ 9392 w 10000"/>
                <a:gd name="connsiteY206" fmla="*/ 8128 h 10000"/>
                <a:gd name="connsiteX207" fmla="*/ 8244 w 10000"/>
                <a:gd name="connsiteY207" fmla="*/ 7991 h 10000"/>
                <a:gd name="connsiteX208" fmla="*/ 8216 w 10000"/>
                <a:gd name="connsiteY208" fmla="*/ 7904 h 10000"/>
                <a:gd name="connsiteX209" fmla="*/ 8136 w 10000"/>
                <a:gd name="connsiteY209" fmla="*/ 8002 h 10000"/>
                <a:gd name="connsiteX210" fmla="*/ 8252 w 10000"/>
                <a:gd name="connsiteY210" fmla="*/ 7761 h 10000"/>
                <a:gd name="connsiteX211" fmla="*/ 8208 w 10000"/>
                <a:gd name="connsiteY211" fmla="*/ 7717 h 10000"/>
                <a:gd name="connsiteX212" fmla="*/ 8079 w 10000"/>
                <a:gd name="connsiteY212" fmla="*/ 7915 h 10000"/>
                <a:gd name="connsiteX213" fmla="*/ 8147 w 10000"/>
                <a:gd name="connsiteY213" fmla="*/ 7712 h 10000"/>
                <a:gd name="connsiteX214" fmla="*/ 8055 w 10000"/>
                <a:gd name="connsiteY214" fmla="*/ 7767 h 10000"/>
                <a:gd name="connsiteX215" fmla="*/ 8228 w 10000"/>
                <a:gd name="connsiteY215" fmla="*/ 7590 h 10000"/>
                <a:gd name="connsiteX216" fmla="*/ 8160 w 10000"/>
                <a:gd name="connsiteY216" fmla="*/ 7333 h 10000"/>
                <a:gd name="connsiteX217" fmla="*/ 8327 w 10000"/>
                <a:gd name="connsiteY217" fmla="*/ 7240 h 10000"/>
                <a:gd name="connsiteX218" fmla="*/ 8320 w 10000"/>
                <a:gd name="connsiteY218" fmla="*/ 6987 h 10000"/>
                <a:gd name="connsiteX219" fmla="*/ 8436 w 10000"/>
                <a:gd name="connsiteY219" fmla="*/ 7081 h 10000"/>
                <a:gd name="connsiteX220" fmla="*/ 8456 w 10000"/>
                <a:gd name="connsiteY220" fmla="*/ 7015 h 10000"/>
                <a:gd name="connsiteX221" fmla="*/ 8316 w 10000"/>
                <a:gd name="connsiteY221" fmla="*/ 6735 h 10000"/>
                <a:gd name="connsiteX222" fmla="*/ 8503 w 10000"/>
                <a:gd name="connsiteY222" fmla="*/ 6894 h 10000"/>
                <a:gd name="connsiteX223" fmla="*/ 8739 w 10000"/>
                <a:gd name="connsiteY223" fmla="*/ 6511 h 10000"/>
                <a:gd name="connsiteX224" fmla="*/ 8967 w 10000"/>
                <a:gd name="connsiteY224" fmla="*/ 6483 h 10000"/>
                <a:gd name="connsiteX225" fmla="*/ 9015 w 10000"/>
                <a:gd name="connsiteY22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9471 w 10000"/>
                <a:gd name="connsiteY205" fmla="*/ 8343 h 10000"/>
                <a:gd name="connsiteX206" fmla="*/ 8244 w 10000"/>
                <a:gd name="connsiteY206" fmla="*/ 7991 h 10000"/>
                <a:gd name="connsiteX207" fmla="*/ 8216 w 10000"/>
                <a:gd name="connsiteY207" fmla="*/ 7904 h 10000"/>
                <a:gd name="connsiteX208" fmla="*/ 8136 w 10000"/>
                <a:gd name="connsiteY208" fmla="*/ 8002 h 10000"/>
                <a:gd name="connsiteX209" fmla="*/ 8252 w 10000"/>
                <a:gd name="connsiteY209" fmla="*/ 7761 h 10000"/>
                <a:gd name="connsiteX210" fmla="*/ 8208 w 10000"/>
                <a:gd name="connsiteY210" fmla="*/ 7717 h 10000"/>
                <a:gd name="connsiteX211" fmla="*/ 8079 w 10000"/>
                <a:gd name="connsiteY211" fmla="*/ 7915 h 10000"/>
                <a:gd name="connsiteX212" fmla="*/ 8147 w 10000"/>
                <a:gd name="connsiteY212" fmla="*/ 7712 h 10000"/>
                <a:gd name="connsiteX213" fmla="*/ 8055 w 10000"/>
                <a:gd name="connsiteY213" fmla="*/ 7767 h 10000"/>
                <a:gd name="connsiteX214" fmla="*/ 8228 w 10000"/>
                <a:gd name="connsiteY214" fmla="*/ 7590 h 10000"/>
                <a:gd name="connsiteX215" fmla="*/ 8160 w 10000"/>
                <a:gd name="connsiteY215" fmla="*/ 7333 h 10000"/>
                <a:gd name="connsiteX216" fmla="*/ 8327 w 10000"/>
                <a:gd name="connsiteY216" fmla="*/ 7240 h 10000"/>
                <a:gd name="connsiteX217" fmla="*/ 8320 w 10000"/>
                <a:gd name="connsiteY217" fmla="*/ 6987 h 10000"/>
                <a:gd name="connsiteX218" fmla="*/ 8436 w 10000"/>
                <a:gd name="connsiteY218" fmla="*/ 7081 h 10000"/>
                <a:gd name="connsiteX219" fmla="*/ 8456 w 10000"/>
                <a:gd name="connsiteY219" fmla="*/ 7015 h 10000"/>
                <a:gd name="connsiteX220" fmla="*/ 8316 w 10000"/>
                <a:gd name="connsiteY220" fmla="*/ 6735 h 10000"/>
                <a:gd name="connsiteX221" fmla="*/ 8503 w 10000"/>
                <a:gd name="connsiteY221" fmla="*/ 6894 h 10000"/>
                <a:gd name="connsiteX222" fmla="*/ 8739 w 10000"/>
                <a:gd name="connsiteY222" fmla="*/ 6511 h 10000"/>
                <a:gd name="connsiteX223" fmla="*/ 8967 w 10000"/>
                <a:gd name="connsiteY223" fmla="*/ 6483 h 10000"/>
                <a:gd name="connsiteX224" fmla="*/ 9015 w 10000"/>
                <a:gd name="connsiteY22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9471 w 10000"/>
                <a:gd name="connsiteY204" fmla="*/ 8343 h 10000"/>
                <a:gd name="connsiteX205" fmla="*/ 8244 w 10000"/>
                <a:gd name="connsiteY205" fmla="*/ 7991 h 10000"/>
                <a:gd name="connsiteX206" fmla="*/ 8216 w 10000"/>
                <a:gd name="connsiteY206" fmla="*/ 7904 h 10000"/>
                <a:gd name="connsiteX207" fmla="*/ 8136 w 10000"/>
                <a:gd name="connsiteY207" fmla="*/ 8002 h 10000"/>
                <a:gd name="connsiteX208" fmla="*/ 8252 w 10000"/>
                <a:gd name="connsiteY208" fmla="*/ 7761 h 10000"/>
                <a:gd name="connsiteX209" fmla="*/ 8208 w 10000"/>
                <a:gd name="connsiteY209" fmla="*/ 7717 h 10000"/>
                <a:gd name="connsiteX210" fmla="*/ 8079 w 10000"/>
                <a:gd name="connsiteY210" fmla="*/ 7915 h 10000"/>
                <a:gd name="connsiteX211" fmla="*/ 8147 w 10000"/>
                <a:gd name="connsiteY211" fmla="*/ 7712 h 10000"/>
                <a:gd name="connsiteX212" fmla="*/ 8055 w 10000"/>
                <a:gd name="connsiteY212" fmla="*/ 7767 h 10000"/>
                <a:gd name="connsiteX213" fmla="*/ 8228 w 10000"/>
                <a:gd name="connsiteY213" fmla="*/ 7590 h 10000"/>
                <a:gd name="connsiteX214" fmla="*/ 8160 w 10000"/>
                <a:gd name="connsiteY214" fmla="*/ 7333 h 10000"/>
                <a:gd name="connsiteX215" fmla="*/ 8327 w 10000"/>
                <a:gd name="connsiteY215" fmla="*/ 7240 h 10000"/>
                <a:gd name="connsiteX216" fmla="*/ 8320 w 10000"/>
                <a:gd name="connsiteY216" fmla="*/ 6987 h 10000"/>
                <a:gd name="connsiteX217" fmla="*/ 8436 w 10000"/>
                <a:gd name="connsiteY217" fmla="*/ 7081 h 10000"/>
                <a:gd name="connsiteX218" fmla="*/ 8456 w 10000"/>
                <a:gd name="connsiteY218" fmla="*/ 7015 h 10000"/>
                <a:gd name="connsiteX219" fmla="*/ 8316 w 10000"/>
                <a:gd name="connsiteY219" fmla="*/ 6735 h 10000"/>
                <a:gd name="connsiteX220" fmla="*/ 8503 w 10000"/>
                <a:gd name="connsiteY220" fmla="*/ 6894 h 10000"/>
                <a:gd name="connsiteX221" fmla="*/ 8739 w 10000"/>
                <a:gd name="connsiteY221" fmla="*/ 6511 h 10000"/>
                <a:gd name="connsiteX222" fmla="*/ 8967 w 10000"/>
                <a:gd name="connsiteY222" fmla="*/ 6483 h 10000"/>
                <a:gd name="connsiteX223" fmla="*/ 9015 w 10000"/>
                <a:gd name="connsiteY22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160 w 10000"/>
                <a:gd name="connsiteY213" fmla="*/ 7333 h 10000"/>
                <a:gd name="connsiteX214" fmla="*/ 8327 w 10000"/>
                <a:gd name="connsiteY214" fmla="*/ 7240 h 10000"/>
                <a:gd name="connsiteX215" fmla="*/ 8320 w 10000"/>
                <a:gd name="connsiteY215" fmla="*/ 6987 h 10000"/>
                <a:gd name="connsiteX216" fmla="*/ 8436 w 10000"/>
                <a:gd name="connsiteY216" fmla="*/ 7081 h 10000"/>
                <a:gd name="connsiteX217" fmla="*/ 8456 w 10000"/>
                <a:gd name="connsiteY217" fmla="*/ 7015 h 10000"/>
                <a:gd name="connsiteX218" fmla="*/ 8316 w 10000"/>
                <a:gd name="connsiteY218" fmla="*/ 6735 h 10000"/>
                <a:gd name="connsiteX219" fmla="*/ 8503 w 10000"/>
                <a:gd name="connsiteY219" fmla="*/ 6894 h 10000"/>
                <a:gd name="connsiteX220" fmla="*/ 8739 w 10000"/>
                <a:gd name="connsiteY220" fmla="*/ 6511 h 10000"/>
                <a:gd name="connsiteX221" fmla="*/ 8967 w 10000"/>
                <a:gd name="connsiteY221" fmla="*/ 6483 h 10000"/>
                <a:gd name="connsiteX222" fmla="*/ 9015 w 10000"/>
                <a:gd name="connsiteY22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160 w 10000"/>
                <a:gd name="connsiteY213" fmla="*/ 7333 h 10000"/>
                <a:gd name="connsiteX214" fmla="*/ 8320 w 10000"/>
                <a:gd name="connsiteY214" fmla="*/ 6987 h 10000"/>
                <a:gd name="connsiteX215" fmla="*/ 8436 w 10000"/>
                <a:gd name="connsiteY215" fmla="*/ 7081 h 10000"/>
                <a:gd name="connsiteX216" fmla="*/ 8456 w 10000"/>
                <a:gd name="connsiteY216" fmla="*/ 7015 h 10000"/>
                <a:gd name="connsiteX217" fmla="*/ 8316 w 10000"/>
                <a:gd name="connsiteY217" fmla="*/ 6735 h 10000"/>
                <a:gd name="connsiteX218" fmla="*/ 8503 w 10000"/>
                <a:gd name="connsiteY218" fmla="*/ 6894 h 10000"/>
                <a:gd name="connsiteX219" fmla="*/ 8739 w 10000"/>
                <a:gd name="connsiteY219" fmla="*/ 6511 h 10000"/>
                <a:gd name="connsiteX220" fmla="*/ 8967 w 10000"/>
                <a:gd name="connsiteY220" fmla="*/ 6483 h 10000"/>
                <a:gd name="connsiteX221" fmla="*/ 9015 w 10000"/>
                <a:gd name="connsiteY22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320 w 10000"/>
                <a:gd name="connsiteY213" fmla="*/ 6987 h 10000"/>
                <a:gd name="connsiteX214" fmla="*/ 8436 w 10000"/>
                <a:gd name="connsiteY214" fmla="*/ 7081 h 10000"/>
                <a:gd name="connsiteX215" fmla="*/ 8456 w 10000"/>
                <a:gd name="connsiteY215" fmla="*/ 7015 h 10000"/>
                <a:gd name="connsiteX216" fmla="*/ 8316 w 10000"/>
                <a:gd name="connsiteY216" fmla="*/ 6735 h 10000"/>
                <a:gd name="connsiteX217" fmla="*/ 8503 w 10000"/>
                <a:gd name="connsiteY217" fmla="*/ 6894 h 10000"/>
                <a:gd name="connsiteX218" fmla="*/ 8739 w 10000"/>
                <a:gd name="connsiteY218" fmla="*/ 6511 h 10000"/>
                <a:gd name="connsiteX219" fmla="*/ 8967 w 10000"/>
                <a:gd name="connsiteY219" fmla="*/ 6483 h 10000"/>
                <a:gd name="connsiteX220" fmla="*/ 9015 w 10000"/>
                <a:gd name="connsiteY22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320 w 10000"/>
                <a:gd name="connsiteY212" fmla="*/ 6987 h 10000"/>
                <a:gd name="connsiteX213" fmla="*/ 8436 w 10000"/>
                <a:gd name="connsiteY213" fmla="*/ 7081 h 10000"/>
                <a:gd name="connsiteX214" fmla="*/ 8456 w 10000"/>
                <a:gd name="connsiteY214" fmla="*/ 7015 h 10000"/>
                <a:gd name="connsiteX215" fmla="*/ 8316 w 10000"/>
                <a:gd name="connsiteY215" fmla="*/ 6735 h 10000"/>
                <a:gd name="connsiteX216" fmla="*/ 8503 w 10000"/>
                <a:gd name="connsiteY216" fmla="*/ 6894 h 10000"/>
                <a:gd name="connsiteX217" fmla="*/ 8739 w 10000"/>
                <a:gd name="connsiteY217" fmla="*/ 6511 h 10000"/>
                <a:gd name="connsiteX218" fmla="*/ 8967 w 10000"/>
                <a:gd name="connsiteY218" fmla="*/ 6483 h 10000"/>
                <a:gd name="connsiteX219" fmla="*/ 9015 w 10000"/>
                <a:gd name="connsiteY21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320 w 10000"/>
                <a:gd name="connsiteY211" fmla="*/ 6987 h 10000"/>
                <a:gd name="connsiteX212" fmla="*/ 8436 w 10000"/>
                <a:gd name="connsiteY212" fmla="*/ 7081 h 10000"/>
                <a:gd name="connsiteX213" fmla="*/ 8456 w 10000"/>
                <a:gd name="connsiteY213" fmla="*/ 7015 h 10000"/>
                <a:gd name="connsiteX214" fmla="*/ 8316 w 10000"/>
                <a:gd name="connsiteY214" fmla="*/ 6735 h 10000"/>
                <a:gd name="connsiteX215" fmla="*/ 8503 w 10000"/>
                <a:gd name="connsiteY215" fmla="*/ 6894 h 10000"/>
                <a:gd name="connsiteX216" fmla="*/ 8739 w 10000"/>
                <a:gd name="connsiteY216" fmla="*/ 6511 h 10000"/>
                <a:gd name="connsiteX217" fmla="*/ 8967 w 10000"/>
                <a:gd name="connsiteY217" fmla="*/ 6483 h 10000"/>
                <a:gd name="connsiteX218" fmla="*/ 9015 w 10000"/>
                <a:gd name="connsiteY21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320 w 10000"/>
                <a:gd name="connsiteY210" fmla="*/ 6987 h 10000"/>
                <a:gd name="connsiteX211" fmla="*/ 8436 w 10000"/>
                <a:gd name="connsiteY211" fmla="*/ 7081 h 10000"/>
                <a:gd name="connsiteX212" fmla="*/ 8456 w 10000"/>
                <a:gd name="connsiteY212" fmla="*/ 7015 h 10000"/>
                <a:gd name="connsiteX213" fmla="*/ 8316 w 10000"/>
                <a:gd name="connsiteY213" fmla="*/ 6735 h 10000"/>
                <a:gd name="connsiteX214" fmla="*/ 8503 w 10000"/>
                <a:gd name="connsiteY214" fmla="*/ 6894 h 10000"/>
                <a:gd name="connsiteX215" fmla="*/ 8739 w 10000"/>
                <a:gd name="connsiteY215" fmla="*/ 6511 h 10000"/>
                <a:gd name="connsiteX216" fmla="*/ 8967 w 10000"/>
                <a:gd name="connsiteY216" fmla="*/ 6483 h 10000"/>
                <a:gd name="connsiteX217" fmla="*/ 9015 w 10000"/>
                <a:gd name="connsiteY21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320 w 10000"/>
                <a:gd name="connsiteY209" fmla="*/ 6987 h 10000"/>
                <a:gd name="connsiteX210" fmla="*/ 8436 w 10000"/>
                <a:gd name="connsiteY210" fmla="*/ 7081 h 10000"/>
                <a:gd name="connsiteX211" fmla="*/ 8456 w 10000"/>
                <a:gd name="connsiteY211" fmla="*/ 7015 h 10000"/>
                <a:gd name="connsiteX212" fmla="*/ 8316 w 10000"/>
                <a:gd name="connsiteY212" fmla="*/ 6735 h 10000"/>
                <a:gd name="connsiteX213" fmla="*/ 8503 w 10000"/>
                <a:gd name="connsiteY213" fmla="*/ 6894 h 10000"/>
                <a:gd name="connsiteX214" fmla="*/ 8739 w 10000"/>
                <a:gd name="connsiteY214" fmla="*/ 6511 h 10000"/>
                <a:gd name="connsiteX215" fmla="*/ 8967 w 10000"/>
                <a:gd name="connsiteY215" fmla="*/ 6483 h 10000"/>
                <a:gd name="connsiteX216" fmla="*/ 9015 w 10000"/>
                <a:gd name="connsiteY21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503 w 10000"/>
                <a:gd name="connsiteY212" fmla="*/ 6894 h 10000"/>
                <a:gd name="connsiteX213" fmla="*/ 8739 w 10000"/>
                <a:gd name="connsiteY213" fmla="*/ 6511 h 10000"/>
                <a:gd name="connsiteX214" fmla="*/ 8967 w 10000"/>
                <a:gd name="connsiteY214" fmla="*/ 6483 h 10000"/>
                <a:gd name="connsiteX215" fmla="*/ 9015 w 10000"/>
                <a:gd name="connsiteY21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503 w 10000"/>
                <a:gd name="connsiteY212" fmla="*/ 6894 h 10000"/>
                <a:gd name="connsiteX213" fmla="*/ 8967 w 10000"/>
                <a:gd name="connsiteY213" fmla="*/ 6483 h 10000"/>
                <a:gd name="connsiteX214" fmla="*/ 9015 w 10000"/>
                <a:gd name="connsiteY21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967 w 10000"/>
                <a:gd name="connsiteY212" fmla="*/ 6483 h 10000"/>
                <a:gd name="connsiteX213" fmla="*/ 9015 w 10000"/>
                <a:gd name="connsiteY21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967 w 10000"/>
                <a:gd name="connsiteY211" fmla="*/ 6483 h 10000"/>
                <a:gd name="connsiteX212" fmla="*/ 9015 w 10000"/>
                <a:gd name="connsiteY21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967 w 10000"/>
                <a:gd name="connsiteY210" fmla="*/ 6483 h 10000"/>
                <a:gd name="connsiteX211" fmla="*/ 9015 w 10000"/>
                <a:gd name="connsiteY211" fmla="*/ 6363 h 10000"/>
                <a:gd name="connsiteX0" fmla="*/ 8967 w 10003"/>
                <a:gd name="connsiteY0" fmla="*/ 6483 h 10000"/>
                <a:gd name="connsiteX1" fmla="*/ 9910 w 10003"/>
                <a:gd name="connsiteY1" fmla="*/ 5079 h 10000"/>
                <a:gd name="connsiteX2" fmla="*/ 9954 w 10003"/>
                <a:gd name="connsiteY2" fmla="*/ 4640 h 10000"/>
                <a:gd name="connsiteX3" fmla="*/ 9778 w 10003"/>
                <a:gd name="connsiteY3" fmla="*/ 1838 h 10000"/>
                <a:gd name="connsiteX4" fmla="*/ 6835 w 10003"/>
                <a:gd name="connsiteY4" fmla="*/ 1311 h 10000"/>
                <a:gd name="connsiteX5" fmla="*/ 6748 w 10003"/>
                <a:gd name="connsiteY5" fmla="*/ 1223 h 10000"/>
                <a:gd name="connsiteX6" fmla="*/ 6552 w 10003"/>
                <a:gd name="connsiteY6" fmla="*/ 1273 h 10000"/>
                <a:gd name="connsiteX7" fmla="*/ 6571 w 10003"/>
                <a:gd name="connsiteY7" fmla="*/ 1125 h 10000"/>
                <a:gd name="connsiteX8" fmla="*/ 6496 w 10003"/>
                <a:gd name="connsiteY8" fmla="*/ 1119 h 10000"/>
                <a:gd name="connsiteX9" fmla="*/ 6460 w 10003"/>
                <a:gd name="connsiteY9" fmla="*/ 910 h 10000"/>
                <a:gd name="connsiteX10" fmla="*/ 6355 w 10003"/>
                <a:gd name="connsiteY10" fmla="*/ 795 h 10000"/>
                <a:gd name="connsiteX11" fmla="*/ 6571 w 10003"/>
                <a:gd name="connsiteY11" fmla="*/ 620 h 10000"/>
                <a:gd name="connsiteX12" fmla="*/ 6312 w 10003"/>
                <a:gd name="connsiteY12" fmla="*/ 395 h 10000"/>
                <a:gd name="connsiteX13" fmla="*/ 6260 w 10003"/>
                <a:gd name="connsiteY13" fmla="*/ 142 h 10000"/>
                <a:gd name="connsiteX14" fmla="*/ 6140 w 10003"/>
                <a:gd name="connsiteY14" fmla="*/ 110 h 10000"/>
                <a:gd name="connsiteX15" fmla="*/ 6040 w 10003"/>
                <a:gd name="connsiteY15" fmla="*/ 0 h 10000"/>
                <a:gd name="connsiteX16" fmla="*/ 5933 w 10003"/>
                <a:gd name="connsiteY16" fmla="*/ 120 h 10000"/>
                <a:gd name="connsiteX17" fmla="*/ 5751 w 10003"/>
                <a:gd name="connsiteY17" fmla="*/ 110 h 10000"/>
                <a:gd name="connsiteX18" fmla="*/ 5595 w 10003"/>
                <a:gd name="connsiteY18" fmla="*/ 351 h 10000"/>
                <a:gd name="connsiteX19" fmla="*/ 5296 w 10003"/>
                <a:gd name="connsiteY19" fmla="*/ 329 h 10000"/>
                <a:gd name="connsiteX20" fmla="*/ 5223 w 10003"/>
                <a:gd name="connsiteY20" fmla="*/ 680 h 10000"/>
                <a:gd name="connsiteX21" fmla="*/ 5028 w 10003"/>
                <a:gd name="connsiteY21" fmla="*/ 707 h 10000"/>
                <a:gd name="connsiteX22" fmla="*/ 5128 w 10003"/>
                <a:gd name="connsiteY22" fmla="*/ 844 h 10000"/>
                <a:gd name="connsiteX23" fmla="*/ 5068 w 10003"/>
                <a:gd name="connsiteY23" fmla="*/ 899 h 10000"/>
                <a:gd name="connsiteX24" fmla="*/ 4933 w 10003"/>
                <a:gd name="connsiteY24" fmla="*/ 894 h 10000"/>
                <a:gd name="connsiteX25" fmla="*/ 4748 w 10003"/>
                <a:gd name="connsiteY25" fmla="*/ 1026 h 10000"/>
                <a:gd name="connsiteX26" fmla="*/ 4548 w 10003"/>
                <a:gd name="connsiteY26" fmla="*/ 1668 h 10000"/>
                <a:gd name="connsiteX27" fmla="*/ 4607 w 10003"/>
                <a:gd name="connsiteY27" fmla="*/ 2090 h 10000"/>
                <a:gd name="connsiteX28" fmla="*/ 4408 w 10003"/>
                <a:gd name="connsiteY28" fmla="*/ 1865 h 10000"/>
                <a:gd name="connsiteX29" fmla="*/ 4117 w 10003"/>
                <a:gd name="connsiteY29" fmla="*/ 1991 h 10000"/>
                <a:gd name="connsiteX30" fmla="*/ 4088 w 10003"/>
                <a:gd name="connsiteY30" fmla="*/ 1931 h 10000"/>
                <a:gd name="connsiteX31" fmla="*/ 3952 w 10003"/>
                <a:gd name="connsiteY31" fmla="*/ 2002 h 10000"/>
                <a:gd name="connsiteX32" fmla="*/ 3872 w 10003"/>
                <a:gd name="connsiteY32" fmla="*/ 2144 h 10000"/>
                <a:gd name="connsiteX33" fmla="*/ 3809 w 10003"/>
                <a:gd name="connsiteY33" fmla="*/ 1909 h 10000"/>
                <a:gd name="connsiteX34" fmla="*/ 3720 w 10003"/>
                <a:gd name="connsiteY34" fmla="*/ 1843 h 10000"/>
                <a:gd name="connsiteX35" fmla="*/ 3683 w 10003"/>
                <a:gd name="connsiteY35" fmla="*/ 1964 h 10000"/>
                <a:gd name="connsiteX36" fmla="*/ 3564 w 10003"/>
                <a:gd name="connsiteY36" fmla="*/ 1996 h 10000"/>
                <a:gd name="connsiteX37" fmla="*/ 3499 w 10003"/>
                <a:gd name="connsiteY37" fmla="*/ 2161 h 10000"/>
                <a:gd name="connsiteX38" fmla="*/ 3459 w 10003"/>
                <a:gd name="connsiteY38" fmla="*/ 2013 h 10000"/>
                <a:gd name="connsiteX39" fmla="*/ 3340 w 10003"/>
                <a:gd name="connsiteY39" fmla="*/ 2024 h 10000"/>
                <a:gd name="connsiteX40" fmla="*/ 3292 w 10003"/>
                <a:gd name="connsiteY40" fmla="*/ 2128 h 10000"/>
                <a:gd name="connsiteX41" fmla="*/ 3220 w 10003"/>
                <a:gd name="connsiteY41" fmla="*/ 1975 h 10000"/>
                <a:gd name="connsiteX42" fmla="*/ 3097 w 10003"/>
                <a:gd name="connsiteY42" fmla="*/ 2117 h 10000"/>
                <a:gd name="connsiteX43" fmla="*/ 2976 w 10003"/>
                <a:gd name="connsiteY43" fmla="*/ 2106 h 10000"/>
                <a:gd name="connsiteX44" fmla="*/ 2972 w 10003"/>
                <a:gd name="connsiteY44" fmla="*/ 2276 h 10000"/>
                <a:gd name="connsiteX45" fmla="*/ 2917 w 10003"/>
                <a:gd name="connsiteY45" fmla="*/ 2144 h 10000"/>
                <a:gd name="connsiteX46" fmla="*/ 2737 w 10003"/>
                <a:gd name="connsiteY46" fmla="*/ 2155 h 10000"/>
                <a:gd name="connsiteX47" fmla="*/ 2607 w 10003"/>
                <a:gd name="connsiteY47" fmla="*/ 1980 h 10000"/>
                <a:gd name="connsiteX48" fmla="*/ 2453 w 10003"/>
                <a:gd name="connsiteY48" fmla="*/ 2073 h 10000"/>
                <a:gd name="connsiteX49" fmla="*/ 2292 w 10003"/>
                <a:gd name="connsiteY49" fmla="*/ 1958 h 10000"/>
                <a:gd name="connsiteX50" fmla="*/ 2200 w 10003"/>
                <a:gd name="connsiteY50" fmla="*/ 2035 h 10000"/>
                <a:gd name="connsiteX51" fmla="*/ 2112 w 10003"/>
                <a:gd name="connsiteY51" fmla="*/ 1947 h 10000"/>
                <a:gd name="connsiteX52" fmla="*/ 1981 w 10003"/>
                <a:gd name="connsiteY52" fmla="*/ 1936 h 10000"/>
                <a:gd name="connsiteX53" fmla="*/ 1785 w 10003"/>
                <a:gd name="connsiteY53" fmla="*/ 1925 h 10000"/>
                <a:gd name="connsiteX54" fmla="*/ 1544 w 10003"/>
                <a:gd name="connsiteY54" fmla="*/ 1991 h 10000"/>
                <a:gd name="connsiteX55" fmla="*/ 1289 w 10003"/>
                <a:gd name="connsiteY55" fmla="*/ 2062 h 10000"/>
                <a:gd name="connsiteX56" fmla="*/ 985 w 10003"/>
                <a:gd name="connsiteY56" fmla="*/ 2166 h 10000"/>
                <a:gd name="connsiteX57" fmla="*/ 852 w 10003"/>
                <a:gd name="connsiteY57" fmla="*/ 2496 h 10000"/>
                <a:gd name="connsiteX58" fmla="*/ 645 w 10003"/>
                <a:gd name="connsiteY58" fmla="*/ 2501 h 10000"/>
                <a:gd name="connsiteX59" fmla="*/ 577 w 10003"/>
                <a:gd name="connsiteY59" fmla="*/ 2687 h 10000"/>
                <a:gd name="connsiteX60" fmla="*/ 597 w 10003"/>
                <a:gd name="connsiteY60" fmla="*/ 2764 h 10000"/>
                <a:gd name="connsiteX61" fmla="*/ 617 w 10003"/>
                <a:gd name="connsiteY61" fmla="*/ 2868 h 10000"/>
                <a:gd name="connsiteX62" fmla="*/ 617 w 10003"/>
                <a:gd name="connsiteY62" fmla="*/ 2868 h 10000"/>
                <a:gd name="connsiteX63" fmla="*/ 617 w 10003"/>
                <a:gd name="connsiteY63" fmla="*/ 2896 h 10000"/>
                <a:gd name="connsiteX64" fmla="*/ 730 w 10003"/>
                <a:gd name="connsiteY64" fmla="*/ 3116 h 10000"/>
                <a:gd name="connsiteX65" fmla="*/ 841 w 10003"/>
                <a:gd name="connsiteY65" fmla="*/ 3351 h 10000"/>
                <a:gd name="connsiteX66" fmla="*/ 985 w 10003"/>
                <a:gd name="connsiteY66" fmla="*/ 3488 h 10000"/>
                <a:gd name="connsiteX67" fmla="*/ 937 w 10003"/>
                <a:gd name="connsiteY67" fmla="*/ 3548 h 10000"/>
                <a:gd name="connsiteX68" fmla="*/ 861 w 10003"/>
                <a:gd name="connsiteY68" fmla="*/ 3603 h 10000"/>
                <a:gd name="connsiteX69" fmla="*/ 948 w 10003"/>
                <a:gd name="connsiteY69" fmla="*/ 3697 h 10000"/>
                <a:gd name="connsiteX70" fmla="*/ 937 w 10003"/>
                <a:gd name="connsiteY70" fmla="*/ 4053 h 10000"/>
                <a:gd name="connsiteX71" fmla="*/ 741 w 10003"/>
                <a:gd name="connsiteY71" fmla="*/ 4124 h 10000"/>
                <a:gd name="connsiteX72" fmla="*/ 532 w 10003"/>
                <a:gd name="connsiteY72" fmla="*/ 4531 h 10000"/>
                <a:gd name="connsiteX73" fmla="*/ 397 w 10003"/>
                <a:gd name="connsiteY73" fmla="*/ 4936 h 10000"/>
                <a:gd name="connsiteX74" fmla="*/ 208 w 10003"/>
                <a:gd name="connsiteY74" fmla="*/ 5260 h 10000"/>
                <a:gd name="connsiteX75" fmla="*/ 289 w 10003"/>
                <a:gd name="connsiteY75" fmla="*/ 5517 h 10000"/>
                <a:gd name="connsiteX76" fmla="*/ 296 w 10003"/>
                <a:gd name="connsiteY76" fmla="*/ 5732 h 10000"/>
                <a:gd name="connsiteX77" fmla="*/ 428 w 10003"/>
                <a:gd name="connsiteY77" fmla="*/ 5841 h 10000"/>
                <a:gd name="connsiteX78" fmla="*/ 409 w 10003"/>
                <a:gd name="connsiteY78" fmla="*/ 5945 h 10000"/>
                <a:gd name="connsiteX79" fmla="*/ 216 w 10003"/>
                <a:gd name="connsiteY79" fmla="*/ 5852 h 10000"/>
                <a:gd name="connsiteX80" fmla="*/ 133 w 10003"/>
                <a:gd name="connsiteY80" fmla="*/ 6099 h 10000"/>
                <a:gd name="connsiteX81" fmla="*/ 112 w 10003"/>
                <a:gd name="connsiteY81" fmla="*/ 6346 h 10000"/>
                <a:gd name="connsiteX82" fmla="*/ 1 w 10003"/>
                <a:gd name="connsiteY82" fmla="*/ 6571 h 10000"/>
                <a:gd name="connsiteX83" fmla="*/ 20 w 10003"/>
                <a:gd name="connsiteY83" fmla="*/ 6779 h 10000"/>
                <a:gd name="connsiteX84" fmla="*/ 96 w 10003"/>
                <a:gd name="connsiteY84" fmla="*/ 6828 h 10000"/>
                <a:gd name="connsiteX85" fmla="*/ 165 w 10003"/>
                <a:gd name="connsiteY85" fmla="*/ 6960 h 10000"/>
                <a:gd name="connsiteX86" fmla="*/ 257 w 10003"/>
                <a:gd name="connsiteY86" fmla="*/ 6943 h 10000"/>
                <a:gd name="connsiteX87" fmla="*/ 313 w 10003"/>
                <a:gd name="connsiteY87" fmla="*/ 7076 h 10000"/>
                <a:gd name="connsiteX88" fmla="*/ 476 w 10003"/>
                <a:gd name="connsiteY88" fmla="*/ 7103 h 10000"/>
                <a:gd name="connsiteX89" fmla="*/ 484 w 10003"/>
                <a:gd name="connsiteY89" fmla="*/ 7251 h 10000"/>
                <a:gd name="connsiteX90" fmla="*/ 528 w 10003"/>
                <a:gd name="connsiteY90" fmla="*/ 7278 h 10000"/>
                <a:gd name="connsiteX91" fmla="*/ 561 w 10003"/>
                <a:gd name="connsiteY91" fmla="*/ 7174 h 10000"/>
                <a:gd name="connsiteX92" fmla="*/ 621 w 10003"/>
                <a:gd name="connsiteY92" fmla="*/ 7196 h 10000"/>
                <a:gd name="connsiteX93" fmla="*/ 689 w 10003"/>
                <a:gd name="connsiteY93" fmla="*/ 6992 h 10000"/>
                <a:gd name="connsiteX94" fmla="*/ 877 w 10003"/>
                <a:gd name="connsiteY94" fmla="*/ 7174 h 10000"/>
                <a:gd name="connsiteX95" fmla="*/ 1373 w 10003"/>
                <a:gd name="connsiteY95" fmla="*/ 7163 h 10000"/>
                <a:gd name="connsiteX96" fmla="*/ 1568 w 10003"/>
                <a:gd name="connsiteY96" fmla="*/ 7092 h 10000"/>
                <a:gd name="connsiteX97" fmla="*/ 1889 w 10003"/>
                <a:gd name="connsiteY97" fmla="*/ 7344 h 10000"/>
                <a:gd name="connsiteX98" fmla="*/ 2092 w 10003"/>
                <a:gd name="connsiteY98" fmla="*/ 7087 h 10000"/>
                <a:gd name="connsiteX99" fmla="*/ 2548 w 10003"/>
                <a:gd name="connsiteY99" fmla="*/ 6861 h 10000"/>
                <a:gd name="connsiteX100" fmla="*/ 2712 w 10003"/>
                <a:gd name="connsiteY100" fmla="*/ 6489 h 10000"/>
                <a:gd name="connsiteX101" fmla="*/ 2832 w 10003"/>
                <a:gd name="connsiteY101" fmla="*/ 6439 h 10000"/>
                <a:gd name="connsiteX102" fmla="*/ 2832 w 10003"/>
                <a:gd name="connsiteY102" fmla="*/ 6379 h 10000"/>
                <a:gd name="connsiteX103" fmla="*/ 2880 w 10003"/>
                <a:gd name="connsiteY103" fmla="*/ 6379 h 10000"/>
                <a:gd name="connsiteX104" fmla="*/ 2869 w 10003"/>
                <a:gd name="connsiteY104" fmla="*/ 6230 h 10000"/>
                <a:gd name="connsiteX105" fmla="*/ 3016 w 10003"/>
                <a:gd name="connsiteY105" fmla="*/ 6285 h 10000"/>
                <a:gd name="connsiteX106" fmla="*/ 3036 w 10003"/>
                <a:gd name="connsiteY106" fmla="*/ 6159 h 10000"/>
                <a:gd name="connsiteX107" fmla="*/ 3124 w 10003"/>
                <a:gd name="connsiteY107" fmla="*/ 6230 h 10000"/>
                <a:gd name="connsiteX108" fmla="*/ 3189 w 10003"/>
                <a:gd name="connsiteY108" fmla="*/ 6126 h 10000"/>
                <a:gd name="connsiteX109" fmla="*/ 3292 w 10003"/>
                <a:gd name="connsiteY109" fmla="*/ 6154 h 10000"/>
                <a:gd name="connsiteX110" fmla="*/ 3384 w 10003"/>
                <a:gd name="connsiteY110" fmla="*/ 6055 h 10000"/>
                <a:gd name="connsiteX111" fmla="*/ 3560 w 10003"/>
                <a:gd name="connsiteY111" fmla="*/ 6192 h 10000"/>
                <a:gd name="connsiteX112" fmla="*/ 3649 w 10003"/>
                <a:gd name="connsiteY112" fmla="*/ 6197 h 10000"/>
                <a:gd name="connsiteX113" fmla="*/ 3676 w 10003"/>
                <a:gd name="connsiteY113" fmla="*/ 6307 h 10000"/>
                <a:gd name="connsiteX114" fmla="*/ 3841 w 10003"/>
                <a:gd name="connsiteY114" fmla="*/ 6236 h 10000"/>
                <a:gd name="connsiteX115" fmla="*/ 3824 w 10003"/>
                <a:gd name="connsiteY115" fmla="*/ 6357 h 10000"/>
                <a:gd name="connsiteX116" fmla="*/ 3885 w 10003"/>
                <a:gd name="connsiteY116" fmla="*/ 6341 h 10000"/>
                <a:gd name="connsiteX117" fmla="*/ 3956 w 10003"/>
                <a:gd name="connsiteY117" fmla="*/ 6428 h 10000"/>
                <a:gd name="connsiteX118" fmla="*/ 3960 w 10003"/>
                <a:gd name="connsiteY118" fmla="*/ 6301 h 10000"/>
                <a:gd name="connsiteX119" fmla="*/ 4152 w 10003"/>
                <a:gd name="connsiteY119" fmla="*/ 6341 h 10000"/>
                <a:gd name="connsiteX120" fmla="*/ 4221 w 10003"/>
                <a:gd name="connsiteY120" fmla="*/ 6511 h 10000"/>
                <a:gd name="connsiteX121" fmla="*/ 4328 w 10003"/>
                <a:gd name="connsiteY121" fmla="*/ 6494 h 10000"/>
                <a:gd name="connsiteX122" fmla="*/ 4375 w 10003"/>
                <a:gd name="connsiteY122" fmla="*/ 6417 h 10000"/>
                <a:gd name="connsiteX123" fmla="*/ 4483 w 10003"/>
                <a:gd name="connsiteY123" fmla="*/ 6735 h 10000"/>
                <a:gd name="connsiteX124" fmla="*/ 4444 w 10003"/>
                <a:gd name="connsiteY124" fmla="*/ 6987 h 10000"/>
                <a:gd name="connsiteX125" fmla="*/ 4500 w 10003"/>
                <a:gd name="connsiteY125" fmla="*/ 7114 h 10000"/>
                <a:gd name="connsiteX126" fmla="*/ 4575 w 10003"/>
                <a:gd name="connsiteY126" fmla="*/ 7119 h 10000"/>
                <a:gd name="connsiteX127" fmla="*/ 4692 w 10003"/>
                <a:gd name="connsiteY127" fmla="*/ 7256 h 10000"/>
                <a:gd name="connsiteX128" fmla="*/ 4739 w 10003"/>
                <a:gd name="connsiteY128" fmla="*/ 7152 h 10000"/>
                <a:gd name="connsiteX129" fmla="*/ 4791 w 10003"/>
                <a:gd name="connsiteY129" fmla="*/ 7322 h 10000"/>
                <a:gd name="connsiteX130" fmla="*/ 4857 w 10003"/>
                <a:gd name="connsiteY130" fmla="*/ 7662 h 10000"/>
                <a:gd name="connsiteX131" fmla="*/ 5049 w 10003"/>
                <a:gd name="connsiteY131" fmla="*/ 7739 h 10000"/>
                <a:gd name="connsiteX132" fmla="*/ 5093 w 10003"/>
                <a:gd name="connsiteY132" fmla="*/ 8183 h 10000"/>
                <a:gd name="connsiteX133" fmla="*/ 5256 w 10003"/>
                <a:gd name="connsiteY133" fmla="*/ 8276 h 10000"/>
                <a:gd name="connsiteX134" fmla="*/ 5087 w 10003"/>
                <a:gd name="connsiteY134" fmla="*/ 8370 h 10000"/>
                <a:gd name="connsiteX135" fmla="*/ 5032 w 10003"/>
                <a:gd name="connsiteY135" fmla="*/ 8260 h 10000"/>
                <a:gd name="connsiteX136" fmla="*/ 4968 w 10003"/>
                <a:gd name="connsiteY136" fmla="*/ 8403 h 10000"/>
                <a:gd name="connsiteX137" fmla="*/ 4803 w 10003"/>
                <a:gd name="connsiteY137" fmla="*/ 8287 h 10000"/>
                <a:gd name="connsiteX138" fmla="*/ 4711 w 10003"/>
                <a:gd name="connsiteY138" fmla="*/ 8452 h 10000"/>
                <a:gd name="connsiteX139" fmla="*/ 4520 w 10003"/>
                <a:gd name="connsiteY139" fmla="*/ 8331 h 10000"/>
                <a:gd name="connsiteX140" fmla="*/ 4612 w 10003"/>
                <a:gd name="connsiteY140" fmla="*/ 8699 h 10000"/>
                <a:gd name="connsiteX141" fmla="*/ 4603 w 10003"/>
                <a:gd name="connsiteY141" fmla="*/ 8967 h 10000"/>
                <a:gd name="connsiteX142" fmla="*/ 4480 w 10003"/>
                <a:gd name="connsiteY142" fmla="*/ 9088 h 10000"/>
                <a:gd name="connsiteX143" fmla="*/ 4520 w 10003"/>
                <a:gd name="connsiteY143" fmla="*/ 9193 h 10000"/>
                <a:gd name="connsiteX144" fmla="*/ 4348 w 10003"/>
                <a:gd name="connsiteY144" fmla="*/ 9412 h 10000"/>
                <a:gd name="connsiteX145" fmla="*/ 4416 w 10003"/>
                <a:gd name="connsiteY145" fmla="*/ 9647 h 10000"/>
                <a:gd name="connsiteX146" fmla="*/ 4248 w 10003"/>
                <a:gd name="connsiteY146" fmla="*/ 9681 h 10000"/>
                <a:gd name="connsiteX147" fmla="*/ 4204 w 10003"/>
                <a:gd name="connsiteY147" fmla="*/ 9741 h 10000"/>
                <a:gd name="connsiteX148" fmla="*/ 4276 w 10003"/>
                <a:gd name="connsiteY148" fmla="*/ 9785 h 10000"/>
                <a:gd name="connsiteX149" fmla="*/ 4405 w 10003"/>
                <a:gd name="connsiteY149" fmla="*/ 9944 h 10000"/>
                <a:gd name="connsiteX150" fmla="*/ 4612 w 10003"/>
                <a:gd name="connsiteY150" fmla="*/ 9999 h 10000"/>
                <a:gd name="connsiteX151" fmla="*/ 4619 w 10003"/>
                <a:gd name="connsiteY151" fmla="*/ 9851 h 10000"/>
                <a:gd name="connsiteX152" fmla="*/ 4692 w 10003"/>
                <a:gd name="connsiteY152" fmla="*/ 9856 h 10000"/>
                <a:gd name="connsiteX153" fmla="*/ 5001 w 10003"/>
                <a:gd name="connsiteY153" fmla="*/ 9603 h 10000"/>
                <a:gd name="connsiteX154" fmla="*/ 5204 w 10003"/>
                <a:gd name="connsiteY154" fmla="*/ 9845 h 10000"/>
                <a:gd name="connsiteX155" fmla="*/ 5204 w 10003"/>
                <a:gd name="connsiteY155" fmla="*/ 9862 h 10000"/>
                <a:gd name="connsiteX156" fmla="*/ 5237 w 10003"/>
                <a:gd name="connsiteY156" fmla="*/ 9703 h 10000"/>
                <a:gd name="connsiteX157" fmla="*/ 5179 w 10003"/>
                <a:gd name="connsiteY157" fmla="*/ 9570 h 10000"/>
                <a:gd name="connsiteX158" fmla="*/ 5108 w 10003"/>
                <a:gd name="connsiteY158" fmla="*/ 9549 h 10000"/>
                <a:gd name="connsiteX159" fmla="*/ 5156 w 10003"/>
                <a:gd name="connsiteY159" fmla="*/ 9466 h 10000"/>
                <a:gd name="connsiteX160" fmla="*/ 5141 w 10003"/>
                <a:gd name="connsiteY160" fmla="*/ 9444 h 10000"/>
                <a:gd name="connsiteX161" fmla="*/ 5080 w 10003"/>
                <a:gd name="connsiteY161" fmla="*/ 9439 h 10000"/>
                <a:gd name="connsiteX162" fmla="*/ 5049 w 10003"/>
                <a:gd name="connsiteY162" fmla="*/ 9121 h 10000"/>
                <a:gd name="connsiteX163" fmla="*/ 5093 w 10003"/>
                <a:gd name="connsiteY163" fmla="*/ 9105 h 10000"/>
                <a:gd name="connsiteX164" fmla="*/ 5116 w 10003"/>
                <a:gd name="connsiteY164" fmla="*/ 9253 h 10000"/>
                <a:gd name="connsiteX165" fmla="*/ 5172 w 10003"/>
                <a:gd name="connsiteY165" fmla="*/ 9384 h 10000"/>
                <a:gd name="connsiteX166" fmla="*/ 5220 w 10003"/>
                <a:gd name="connsiteY166" fmla="*/ 9302 h 10000"/>
                <a:gd name="connsiteX167" fmla="*/ 5208 w 10003"/>
                <a:gd name="connsiteY167" fmla="*/ 9220 h 10000"/>
                <a:gd name="connsiteX168" fmla="*/ 5284 w 10003"/>
                <a:gd name="connsiteY168" fmla="*/ 9203 h 10000"/>
                <a:gd name="connsiteX169" fmla="*/ 5244 w 10003"/>
                <a:gd name="connsiteY169" fmla="*/ 9034 h 10000"/>
                <a:gd name="connsiteX170" fmla="*/ 5348 w 10003"/>
                <a:gd name="connsiteY170" fmla="*/ 9061 h 10000"/>
                <a:gd name="connsiteX171" fmla="*/ 5352 w 10003"/>
                <a:gd name="connsiteY171" fmla="*/ 8972 h 10000"/>
                <a:gd name="connsiteX172" fmla="*/ 5392 w 10003"/>
                <a:gd name="connsiteY172" fmla="*/ 9039 h 10000"/>
                <a:gd name="connsiteX173" fmla="*/ 5568 w 10003"/>
                <a:gd name="connsiteY173" fmla="*/ 8781 h 10000"/>
                <a:gd name="connsiteX174" fmla="*/ 5468 w 10003"/>
                <a:gd name="connsiteY174" fmla="*/ 8584 h 10000"/>
                <a:gd name="connsiteX175" fmla="*/ 5281 w 10003"/>
                <a:gd name="connsiteY175" fmla="*/ 8425 h 10000"/>
                <a:gd name="connsiteX176" fmla="*/ 5387 w 10003"/>
                <a:gd name="connsiteY176" fmla="*/ 8370 h 10000"/>
                <a:gd name="connsiteX177" fmla="*/ 5543 w 10003"/>
                <a:gd name="connsiteY177" fmla="*/ 8633 h 10000"/>
                <a:gd name="connsiteX178" fmla="*/ 5660 w 10003"/>
                <a:gd name="connsiteY178" fmla="*/ 8199 h 10000"/>
                <a:gd name="connsiteX179" fmla="*/ 5668 w 10003"/>
                <a:gd name="connsiteY179" fmla="*/ 8030 h 10000"/>
                <a:gd name="connsiteX180" fmla="*/ 5863 w 10003"/>
                <a:gd name="connsiteY180" fmla="*/ 7942 h 10000"/>
                <a:gd name="connsiteX181" fmla="*/ 5936 w 10003"/>
                <a:gd name="connsiteY181" fmla="*/ 7607 h 10000"/>
                <a:gd name="connsiteX182" fmla="*/ 5948 w 10003"/>
                <a:gd name="connsiteY182" fmla="*/ 7734 h 10000"/>
                <a:gd name="connsiteX183" fmla="*/ 6072 w 10003"/>
                <a:gd name="connsiteY183" fmla="*/ 7596 h 10000"/>
                <a:gd name="connsiteX184" fmla="*/ 6160 w 10003"/>
                <a:gd name="connsiteY184" fmla="*/ 7579 h 10000"/>
                <a:gd name="connsiteX185" fmla="*/ 6248 w 10003"/>
                <a:gd name="connsiteY185" fmla="*/ 7207 h 10000"/>
                <a:gd name="connsiteX186" fmla="*/ 6327 w 10003"/>
                <a:gd name="connsiteY186" fmla="*/ 7486 h 10000"/>
                <a:gd name="connsiteX187" fmla="*/ 6564 w 10003"/>
                <a:gd name="connsiteY187" fmla="*/ 7563 h 10000"/>
                <a:gd name="connsiteX188" fmla="*/ 6384 w 10003"/>
                <a:gd name="connsiteY188" fmla="*/ 7618 h 10000"/>
                <a:gd name="connsiteX189" fmla="*/ 6368 w 10003"/>
                <a:gd name="connsiteY189" fmla="*/ 7679 h 10000"/>
                <a:gd name="connsiteX190" fmla="*/ 6188 w 10003"/>
                <a:gd name="connsiteY190" fmla="*/ 7690 h 10000"/>
                <a:gd name="connsiteX191" fmla="*/ 6096 w 10003"/>
                <a:gd name="connsiteY191" fmla="*/ 7723 h 10000"/>
                <a:gd name="connsiteX192" fmla="*/ 6168 w 10003"/>
                <a:gd name="connsiteY192" fmla="*/ 7772 h 10000"/>
                <a:gd name="connsiteX193" fmla="*/ 6232 w 10003"/>
                <a:gd name="connsiteY193" fmla="*/ 7756 h 10000"/>
                <a:gd name="connsiteX194" fmla="*/ 6408 w 10003"/>
                <a:gd name="connsiteY194" fmla="*/ 7789 h 10000"/>
                <a:gd name="connsiteX195" fmla="*/ 6208 w 10003"/>
                <a:gd name="connsiteY195" fmla="*/ 7964 h 10000"/>
                <a:gd name="connsiteX196" fmla="*/ 6280 w 10003"/>
                <a:gd name="connsiteY196" fmla="*/ 8008 h 10000"/>
                <a:gd name="connsiteX197" fmla="*/ 6463 w 10003"/>
                <a:gd name="connsiteY197" fmla="*/ 7958 h 10000"/>
                <a:gd name="connsiteX198" fmla="*/ 6711 w 10003"/>
                <a:gd name="connsiteY198" fmla="*/ 8101 h 10000"/>
                <a:gd name="connsiteX199" fmla="*/ 7032 w 10003"/>
                <a:gd name="connsiteY199" fmla="*/ 7909 h 10000"/>
                <a:gd name="connsiteX200" fmla="*/ 7396 w 10003"/>
                <a:gd name="connsiteY200" fmla="*/ 7745 h 10000"/>
                <a:gd name="connsiteX201" fmla="*/ 6875 w 10003"/>
                <a:gd name="connsiteY201" fmla="*/ 8989 h 10000"/>
                <a:gd name="connsiteX202" fmla="*/ 7734 w 10003"/>
                <a:gd name="connsiteY202" fmla="*/ 9675 h 10000"/>
                <a:gd name="connsiteX203" fmla="*/ 9471 w 10003"/>
                <a:gd name="connsiteY203" fmla="*/ 8343 h 10000"/>
                <a:gd name="connsiteX204" fmla="*/ 8244 w 10003"/>
                <a:gd name="connsiteY204" fmla="*/ 7991 h 10000"/>
                <a:gd name="connsiteX205" fmla="*/ 8216 w 10003"/>
                <a:gd name="connsiteY205" fmla="*/ 7904 h 10000"/>
                <a:gd name="connsiteX206" fmla="*/ 8136 w 10003"/>
                <a:gd name="connsiteY206" fmla="*/ 8002 h 10000"/>
                <a:gd name="connsiteX207" fmla="*/ 8252 w 10003"/>
                <a:gd name="connsiteY207" fmla="*/ 7761 h 10000"/>
                <a:gd name="connsiteX208" fmla="*/ 8320 w 10003"/>
                <a:gd name="connsiteY208" fmla="*/ 6987 h 10000"/>
                <a:gd name="connsiteX209" fmla="*/ 8436 w 10003"/>
                <a:gd name="connsiteY209" fmla="*/ 7081 h 10000"/>
                <a:gd name="connsiteX210" fmla="*/ 8967 w 10003"/>
                <a:gd name="connsiteY210" fmla="*/ 6483 h 10000"/>
                <a:gd name="connsiteX0" fmla="*/ 8967 w 9954"/>
                <a:gd name="connsiteY0" fmla="*/ 6483 h 10000"/>
                <a:gd name="connsiteX1" fmla="*/ 9954 w 9954"/>
                <a:gd name="connsiteY1" fmla="*/ 4640 h 10000"/>
                <a:gd name="connsiteX2" fmla="*/ 9778 w 9954"/>
                <a:gd name="connsiteY2" fmla="*/ 1838 h 10000"/>
                <a:gd name="connsiteX3" fmla="*/ 6835 w 9954"/>
                <a:gd name="connsiteY3" fmla="*/ 1311 h 10000"/>
                <a:gd name="connsiteX4" fmla="*/ 6748 w 9954"/>
                <a:gd name="connsiteY4" fmla="*/ 1223 h 10000"/>
                <a:gd name="connsiteX5" fmla="*/ 6552 w 9954"/>
                <a:gd name="connsiteY5" fmla="*/ 1273 h 10000"/>
                <a:gd name="connsiteX6" fmla="*/ 6571 w 9954"/>
                <a:gd name="connsiteY6" fmla="*/ 1125 h 10000"/>
                <a:gd name="connsiteX7" fmla="*/ 6496 w 9954"/>
                <a:gd name="connsiteY7" fmla="*/ 1119 h 10000"/>
                <a:gd name="connsiteX8" fmla="*/ 6460 w 9954"/>
                <a:gd name="connsiteY8" fmla="*/ 910 h 10000"/>
                <a:gd name="connsiteX9" fmla="*/ 6355 w 9954"/>
                <a:gd name="connsiteY9" fmla="*/ 795 h 10000"/>
                <a:gd name="connsiteX10" fmla="*/ 6571 w 9954"/>
                <a:gd name="connsiteY10" fmla="*/ 620 h 10000"/>
                <a:gd name="connsiteX11" fmla="*/ 6312 w 9954"/>
                <a:gd name="connsiteY11" fmla="*/ 395 h 10000"/>
                <a:gd name="connsiteX12" fmla="*/ 6260 w 9954"/>
                <a:gd name="connsiteY12" fmla="*/ 142 h 10000"/>
                <a:gd name="connsiteX13" fmla="*/ 6140 w 9954"/>
                <a:gd name="connsiteY13" fmla="*/ 110 h 10000"/>
                <a:gd name="connsiteX14" fmla="*/ 6040 w 9954"/>
                <a:gd name="connsiteY14" fmla="*/ 0 h 10000"/>
                <a:gd name="connsiteX15" fmla="*/ 5933 w 9954"/>
                <a:gd name="connsiteY15" fmla="*/ 120 h 10000"/>
                <a:gd name="connsiteX16" fmla="*/ 5751 w 9954"/>
                <a:gd name="connsiteY16" fmla="*/ 110 h 10000"/>
                <a:gd name="connsiteX17" fmla="*/ 5595 w 9954"/>
                <a:gd name="connsiteY17" fmla="*/ 351 h 10000"/>
                <a:gd name="connsiteX18" fmla="*/ 5296 w 9954"/>
                <a:gd name="connsiteY18" fmla="*/ 329 h 10000"/>
                <a:gd name="connsiteX19" fmla="*/ 5223 w 9954"/>
                <a:gd name="connsiteY19" fmla="*/ 680 h 10000"/>
                <a:gd name="connsiteX20" fmla="*/ 5028 w 9954"/>
                <a:gd name="connsiteY20" fmla="*/ 707 h 10000"/>
                <a:gd name="connsiteX21" fmla="*/ 5128 w 9954"/>
                <a:gd name="connsiteY21" fmla="*/ 844 h 10000"/>
                <a:gd name="connsiteX22" fmla="*/ 5068 w 9954"/>
                <a:gd name="connsiteY22" fmla="*/ 899 h 10000"/>
                <a:gd name="connsiteX23" fmla="*/ 4933 w 9954"/>
                <a:gd name="connsiteY23" fmla="*/ 894 h 10000"/>
                <a:gd name="connsiteX24" fmla="*/ 4748 w 9954"/>
                <a:gd name="connsiteY24" fmla="*/ 1026 h 10000"/>
                <a:gd name="connsiteX25" fmla="*/ 4548 w 9954"/>
                <a:gd name="connsiteY25" fmla="*/ 1668 h 10000"/>
                <a:gd name="connsiteX26" fmla="*/ 4607 w 9954"/>
                <a:gd name="connsiteY26" fmla="*/ 2090 h 10000"/>
                <a:gd name="connsiteX27" fmla="*/ 4408 w 9954"/>
                <a:gd name="connsiteY27" fmla="*/ 1865 h 10000"/>
                <a:gd name="connsiteX28" fmla="*/ 4117 w 9954"/>
                <a:gd name="connsiteY28" fmla="*/ 1991 h 10000"/>
                <a:gd name="connsiteX29" fmla="*/ 4088 w 9954"/>
                <a:gd name="connsiteY29" fmla="*/ 1931 h 10000"/>
                <a:gd name="connsiteX30" fmla="*/ 3952 w 9954"/>
                <a:gd name="connsiteY30" fmla="*/ 2002 h 10000"/>
                <a:gd name="connsiteX31" fmla="*/ 3872 w 9954"/>
                <a:gd name="connsiteY31" fmla="*/ 2144 h 10000"/>
                <a:gd name="connsiteX32" fmla="*/ 3809 w 9954"/>
                <a:gd name="connsiteY32" fmla="*/ 1909 h 10000"/>
                <a:gd name="connsiteX33" fmla="*/ 3720 w 9954"/>
                <a:gd name="connsiteY33" fmla="*/ 1843 h 10000"/>
                <a:gd name="connsiteX34" fmla="*/ 3683 w 9954"/>
                <a:gd name="connsiteY34" fmla="*/ 1964 h 10000"/>
                <a:gd name="connsiteX35" fmla="*/ 3564 w 9954"/>
                <a:gd name="connsiteY35" fmla="*/ 1996 h 10000"/>
                <a:gd name="connsiteX36" fmla="*/ 3499 w 9954"/>
                <a:gd name="connsiteY36" fmla="*/ 2161 h 10000"/>
                <a:gd name="connsiteX37" fmla="*/ 3459 w 9954"/>
                <a:gd name="connsiteY37" fmla="*/ 2013 h 10000"/>
                <a:gd name="connsiteX38" fmla="*/ 3340 w 9954"/>
                <a:gd name="connsiteY38" fmla="*/ 2024 h 10000"/>
                <a:gd name="connsiteX39" fmla="*/ 3292 w 9954"/>
                <a:gd name="connsiteY39" fmla="*/ 2128 h 10000"/>
                <a:gd name="connsiteX40" fmla="*/ 3220 w 9954"/>
                <a:gd name="connsiteY40" fmla="*/ 1975 h 10000"/>
                <a:gd name="connsiteX41" fmla="*/ 3097 w 9954"/>
                <a:gd name="connsiteY41" fmla="*/ 2117 h 10000"/>
                <a:gd name="connsiteX42" fmla="*/ 2976 w 9954"/>
                <a:gd name="connsiteY42" fmla="*/ 2106 h 10000"/>
                <a:gd name="connsiteX43" fmla="*/ 2972 w 9954"/>
                <a:gd name="connsiteY43" fmla="*/ 2276 h 10000"/>
                <a:gd name="connsiteX44" fmla="*/ 2917 w 9954"/>
                <a:gd name="connsiteY44" fmla="*/ 2144 h 10000"/>
                <a:gd name="connsiteX45" fmla="*/ 2737 w 9954"/>
                <a:gd name="connsiteY45" fmla="*/ 2155 h 10000"/>
                <a:gd name="connsiteX46" fmla="*/ 2607 w 9954"/>
                <a:gd name="connsiteY46" fmla="*/ 1980 h 10000"/>
                <a:gd name="connsiteX47" fmla="*/ 2453 w 9954"/>
                <a:gd name="connsiteY47" fmla="*/ 2073 h 10000"/>
                <a:gd name="connsiteX48" fmla="*/ 2292 w 9954"/>
                <a:gd name="connsiteY48" fmla="*/ 1958 h 10000"/>
                <a:gd name="connsiteX49" fmla="*/ 2200 w 9954"/>
                <a:gd name="connsiteY49" fmla="*/ 2035 h 10000"/>
                <a:gd name="connsiteX50" fmla="*/ 2112 w 9954"/>
                <a:gd name="connsiteY50" fmla="*/ 1947 h 10000"/>
                <a:gd name="connsiteX51" fmla="*/ 1981 w 9954"/>
                <a:gd name="connsiteY51" fmla="*/ 1936 h 10000"/>
                <a:gd name="connsiteX52" fmla="*/ 1785 w 9954"/>
                <a:gd name="connsiteY52" fmla="*/ 1925 h 10000"/>
                <a:gd name="connsiteX53" fmla="*/ 1544 w 9954"/>
                <a:gd name="connsiteY53" fmla="*/ 1991 h 10000"/>
                <a:gd name="connsiteX54" fmla="*/ 1289 w 9954"/>
                <a:gd name="connsiteY54" fmla="*/ 2062 h 10000"/>
                <a:gd name="connsiteX55" fmla="*/ 985 w 9954"/>
                <a:gd name="connsiteY55" fmla="*/ 2166 h 10000"/>
                <a:gd name="connsiteX56" fmla="*/ 852 w 9954"/>
                <a:gd name="connsiteY56" fmla="*/ 2496 h 10000"/>
                <a:gd name="connsiteX57" fmla="*/ 645 w 9954"/>
                <a:gd name="connsiteY57" fmla="*/ 2501 h 10000"/>
                <a:gd name="connsiteX58" fmla="*/ 577 w 9954"/>
                <a:gd name="connsiteY58" fmla="*/ 2687 h 10000"/>
                <a:gd name="connsiteX59" fmla="*/ 597 w 9954"/>
                <a:gd name="connsiteY59" fmla="*/ 2764 h 10000"/>
                <a:gd name="connsiteX60" fmla="*/ 617 w 9954"/>
                <a:gd name="connsiteY60" fmla="*/ 2868 h 10000"/>
                <a:gd name="connsiteX61" fmla="*/ 617 w 9954"/>
                <a:gd name="connsiteY61" fmla="*/ 2868 h 10000"/>
                <a:gd name="connsiteX62" fmla="*/ 617 w 9954"/>
                <a:gd name="connsiteY62" fmla="*/ 2896 h 10000"/>
                <a:gd name="connsiteX63" fmla="*/ 730 w 9954"/>
                <a:gd name="connsiteY63" fmla="*/ 3116 h 10000"/>
                <a:gd name="connsiteX64" fmla="*/ 841 w 9954"/>
                <a:gd name="connsiteY64" fmla="*/ 3351 h 10000"/>
                <a:gd name="connsiteX65" fmla="*/ 985 w 9954"/>
                <a:gd name="connsiteY65" fmla="*/ 3488 h 10000"/>
                <a:gd name="connsiteX66" fmla="*/ 937 w 9954"/>
                <a:gd name="connsiteY66" fmla="*/ 3548 h 10000"/>
                <a:gd name="connsiteX67" fmla="*/ 861 w 9954"/>
                <a:gd name="connsiteY67" fmla="*/ 3603 h 10000"/>
                <a:gd name="connsiteX68" fmla="*/ 948 w 9954"/>
                <a:gd name="connsiteY68" fmla="*/ 3697 h 10000"/>
                <a:gd name="connsiteX69" fmla="*/ 937 w 9954"/>
                <a:gd name="connsiteY69" fmla="*/ 4053 h 10000"/>
                <a:gd name="connsiteX70" fmla="*/ 741 w 9954"/>
                <a:gd name="connsiteY70" fmla="*/ 4124 h 10000"/>
                <a:gd name="connsiteX71" fmla="*/ 532 w 9954"/>
                <a:gd name="connsiteY71" fmla="*/ 4531 h 10000"/>
                <a:gd name="connsiteX72" fmla="*/ 397 w 9954"/>
                <a:gd name="connsiteY72" fmla="*/ 4936 h 10000"/>
                <a:gd name="connsiteX73" fmla="*/ 208 w 9954"/>
                <a:gd name="connsiteY73" fmla="*/ 5260 h 10000"/>
                <a:gd name="connsiteX74" fmla="*/ 289 w 9954"/>
                <a:gd name="connsiteY74" fmla="*/ 5517 h 10000"/>
                <a:gd name="connsiteX75" fmla="*/ 296 w 9954"/>
                <a:gd name="connsiteY75" fmla="*/ 5732 h 10000"/>
                <a:gd name="connsiteX76" fmla="*/ 428 w 9954"/>
                <a:gd name="connsiteY76" fmla="*/ 5841 h 10000"/>
                <a:gd name="connsiteX77" fmla="*/ 409 w 9954"/>
                <a:gd name="connsiteY77" fmla="*/ 5945 h 10000"/>
                <a:gd name="connsiteX78" fmla="*/ 216 w 9954"/>
                <a:gd name="connsiteY78" fmla="*/ 5852 h 10000"/>
                <a:gd name="connsiteX79" fmla="*/ 133 w 9954"/>
                <a:gd name="connsiteY79" fmla="*/ 6099 h 10000"/>
                <a:gd name="connsiteX80" fmla="*/ 112 w 9954"/>
                <a:gd name="connsiteY80" fmla="*/ 6346 h 10000"/>
                <a:gd name="connsiteX81" fmla="*/ 1 w 9954"/>
                <a:gd name="connsiteY81" fmla="*/ 6571 h 10000"/>
                <a:gd name="connsiteX82" fmla="*/ 20 w 9954"/>
                <a:gd name="connsiteY82" fmla="*/ 6779 h 10000"/>
                <a:gd name="connsiteX83" fmla="*/ 96 w 9954"/>
                <a:gd name="connsiteY83" fmla="*/ 6828 h 10000"/>
                <a:gd name="connsiteX84" fmla="*/ 165 w 9954"/>
                <a:gd name="connsiteY84" fmla="*/ 6960 h 10000"/>
                <a:gd name="connsiteX85" fmla="*/ 257 w 9954"/>
                <a:gd name="connsiteY85" fmla="*/ 6943 h 10000"/>
                <a:gd name="connsiteX86" fmla="*/ 313 w 9954"/>
                <a:gd name="connsiteY86" fmla="*/ 7076 h 10000"/>
                <a:gd name="connsiteX87" fmla="*/ 476 w 9954"/>
                <a:gd name="connsiteY87" fmla="*/ 7103 h 10000"/>
                <a:gd name="connsiteX88" fmla="*/ 484 w 9954"/>
                <a:gd name="connsiteY88" fmla="*/ 7251 h 10000"/>
                <a:gd name="connsiteX89" fmla="*/ 528 w 9954"/>
                <a:gd name="connsiteY89" fmla="*/ 7278 h 10000"/>
                <a:gd name="connsiteX90" fmla="*/ 561 w 9954"/>
                <a:gd name="connsiteY90" fmla="*/ 7174 h 10000"/>
                <a:gd name="connsiteX91" fmla="*/ 621 w 9954"/>
                <a:gd name="connsiteY91" fmla="*/ 7196 h 10000"/>
                <a:gd name="connsiteX92" fmla="*/ 689 w 9954"/>
                <a:gd name="connsiteY92" fmla="*/ 6992 h 10000"/>
                <a:gd name="connsiteX93" fmla="*/ 877 w 9954"/>
                <a:gd name="connsiteY93" fmla="*/ 7174 h 10000"/>
                <a:gd name="connsiteX94" fmla="*/ 1373 w 9954"/>
                <a:gd name="connsiteY94" fmla="*/ 7163 h 10000"/>
                <a:gd name="connsiteX95" fmla="*/ 1568 w 9954"/>
                <a:gd name="connsiteY95" fmla="*/ 7092 h 10000"/>
                <a:gd name="connsiteX96" fmla="*/ 1889 w 9954"/>
                <a:gd name="connsiteY96" fmla="*/ 7344 h 10000"/>
                <a:gd name="connsiteX97" fmla="*/ 2092 w 9954"/>
                <a:gd name="connsiteY97" fmla="*/ 7087 h 10000"/>
                <a:gd name="connsiteX98" fmla="*/ 2548 w 9954"/>
                <a:gd name="connsiteY98" fmla="*/ 6861 h 10000"/>
                <a:gd name="connsiteX99" fmla="*/ 2712 w 9954"/>
                <a:gd name="connsiteY99" fmla="*/ 6489 h 10000"/>
                <a:gd name="connsiteX100" fmla="*/ 2832 w 9954"/>
                <a:gd name="connsiteY100" fmla="*/ 6439 h 10000"/>
                <a:gd name="connsiteX101" fmla="*/ 2832 w 9954"/>
                <a:gd name="connsiteY101" fmla="*/ 6379 h 10000"/>
                <a:gd name="connsiteX102" fmla="*/ 2880 w 9954"/>
                <a:gd name="connsiteY102" fmla="*/ 6379 h 10000"/>
                <a:gd name="connsiteX103" fmla="*/ 2869 w 9954"/>
                <a:gd name="connsiteY103" fmla="*/ 6230 h 10000"/>
                <a:gd name="connsiteX104" fmla="*/ 3016 w 9954"/>
                <a:gd name="connsiteY104" fmla="*/ 6285 h 10000"/>
                <a:gd name="connsiteX105" fmla="*/ 3036 w 9954"/>
                <a:gd name="connsiteY105" fmla="*/ 6159 h 10000"/>
                <a:gd name="connsiteX106" fmla="*/ 3124 w 9954"/>
                <a:gd name="connsiteY106" fmla="*/ 6230 h 10000"/>
                <a:gd name="connsiteX107" fmla="*/ 3189 w 9954"/>
                <a:gd name="connsiteY107" fmla="*/ 6126 h 10000"/>
                <a:gd name="connsiteX108" fmla="*/ 3292 w 9954"/>
                <a:gd name="connsiteY108" fmla="*/ 6154 h 10000"/>
                <a:gd name="connsiteX109" fmla="*/ 3384 w 9954"/>
                <a:gd name="connsiteY109" fmla="*/ 6055 h 10000"/>
                <a:gd name="connsiteX110" fmla="*/ 3560 w 9954"/>
                <a:gd name="connsiteY110" fmla="*/ 6192 h 10000"/>
                <a:gd name="connsiteX111" fmla="*/ 3649 w 9954"/>
                <a:gd name="connsiteY111" fmla="*/ 6197 h 10000"/>
                <a:gd name="connsiteX112" fmla="*/ 3676 w 9954"/>
                <a:gd name="connsiteY112" fmla="*/ 6307 h 10000"/>
                <a:gd name="connsiteX113" fmla="*/ 3841 w 9954"/>
                <a:gd name="connsiteY113" fmla="*/ 6236 h 10000"/>
                <a:gd name="connsiteX114" fmla="*/ 3824 w 9954"/>
                <a:gd name="connsiteY114" fmla="*/ 6357 h 10000"/>
                <a:gd name="connsiteX115" fmla="*/ 3885 w 9954"/>
                <a:gd name="connsiteY115" fmla="*/ 6341 h 10000"/>
                <a:gd name="connsiteX116" fmla="*/ 3956 w 9954"/>
                <a:gd name="connsiteY116" fmla="*/ 6428 h 10000"/>
                <a:gd name="connsiteX117" fmla="*/ 3960 w 9954"/>
                <a:gd name="connsiteY117" fmla="*/ 6301 h 10000"/>
                <a:gd name="connsiteX118" fmla="*/ 4152 w 9954"/>
                <a:gd name="connsiteY118" fmla="*/ 6341 h 10000"/>
                <a:gd name="connsiteX119" fmla="*/ 4221 w 9954"/>
                <a:gd name="connsiteY119" fmla="*/ 6511 h 10000"/>
                <a:gd name="connsiteX120" fmla="*/ 4328 w 9954"/>
                <a:gd name="connsiteY120" fmla="*/ 6494 h 10000"/>
                <a:gd name="connsiteX121" fmla="*/ 4375 w 9954"/>
                <a:gd name="connsiteY121" fmla="*/ 6417 h 10000"/>
                <a:gd name="connsiteX122" fmla="*/ 4483 w 9954"/>
                <a:gd name="connsiteY122" fmla="*/ 6735 h 10000"/>
                <a:gd name="connsiteX123" fmla="*/ 4444 w 9954"/>
                <a:gd name="connsiteY123" fmla="*/ 6987 h 10000"/>
                <a:gd name="connsiteX124" fmla="*/ 4500 w 9954"/>
                <a:gd name="connsiteY124" fmla="*/ 7114 h 10000"/>
                <a:gd name="connsiteX125" fmla="*/ 4575 w 9954"/>
                <a:gd name="connsiteY125" fmla="*/ 7119 h 10000"/>
                <a:gd name="connsiteX126" fmla="*/ 4692 w 9954"/>
                <a:gd name="connsiteY126" fmla="*/ 7256 h 10000"/>
                <a:gd name="connsiteX127" fmla="*/ 4739 w 9954"/>
                <a:gd name="connsiteY127" fmla="*/ 7152 h 10000"/>
                <a:gd name="connsiteX128" fmla="*/ 4791 w 9954"/>
                <a:gd name="connsiteY128" fmla="*/ 7322 h 10000"/>
                <a:gd name="connsiteX129" fmla="*/ 4857 w 9954"/>
                <a:gd name="connsiteY129" fmla="*/ 7662 h 10000"/>
                <a:gd name="connsiteX130" fmla="*/ 5049 w 9954"/>
                <a:gd name="connsiteY130" fmla="*/ 7739 h 10000"/>
                <a:gd name="connsiteX131" fmla="*/ 5093 w 9954"/>
                <a:gd name="connsiteY131" fmla="*/ 8183 h 10000"/>
                <a:gd name="connsiteX132" fmla="*/ 5256 w 9954"/>
                <a:gd name="connsiteY132" fmla="*/ 8276 h 10000"/>
                <a:gd name="connsiteX133" fmla="*/ 5087 w 9954"/>
                <a:gd name="connsiteY133" fmla="*/ 8370 h 10000"/>
                <a:gd name="connsiteX134" fmla="*/ 5032 w 9954"/>
                <a:gd name="connsiteY134" fmla="*/ 8260 h 10000"/>
                <a:gd name="connsiteX135" fmla="*/ 4968 w 9954"/>
                <a:gd name="connsiteY135" fmla="*/ 8403 h 10000"/>
                <a:gd name="connsiteX136" fmla="*/ 4803 w 9954"/>
                <a:gd name="connsiteY136" fmla="*/ 8287 h 10000"/>
                <a:gd name="connsiteX137" fmla="*/ 4711 w 9954"/>
                <a:gd name="connsiteY137" fmla="*/ 8452 h 10000"/>
                <a:gd name="connsiteX138" fmla="*/ 4520 w 9954"/>
                <a:gd name="connsiteY138" fmla="*/ 8331 h 10000"/>
                <a:gd name="connsiteX139" fmla="*/ 4612 w 9954"/>
                <a:gd name="connsiteY139" fmla="*/ 8699 h 10000"/>
                <a:gd name="connsiteX140" fmla="*/ 4603 w 9954"/>
                <a:gd name="connsiteY140" fmla="*/ 8967 h 10000"/>
                <a:gd name="connsiteX141" fmla="*/ 4480 w 9954"/>
                <a:gd name="connsiteY141" fmla="*/ 9088 h 10000"/>
                <a:gd name="connsiteX142" fmla="*/ 4520 w 9954"/>
                <a:gd name="connsiteY142" fmla="*/ 9193 h 10000"/>
                <a:gd name="connsiteX143" fmla="*/ 4348 w 9954"/>
                <a:gd name="connsiteY143" fmla="*/ 9412 h 10000"/>
                <a:gd name="connsiteX144" fmla="*/ 4416 w 9954"/>
                <a:gd name="connsiteY144" fmla="*/ 9647 h 10000"/>
                <a:gd name="connsiteX145" fmla="*/ 4248 w 9954"/>
                <a:gd name="connsiteY145" fmla="*/ 9681 h 10000"/>
                <a:gd name="connsiteX146" fmla="*/ 4204 w 9954"/>
                <a:gd name="connsiteY146" fmla="*/ 9741 h 10000"/>
                <a:gd name="connsiteX147" fmla="*/ 4276 w 9954"/>
                <a:gd name="connsiteY147" fmla="*/ 9785 h 10000"/>
                <a:gd name="connsiteX148" fmla="*/ 4405 w 9954"/>
                <a:gd name="connsiteY148" fmla="*/ 9944 h 10000"/>
                <a:gd name="connsiteX149" fmla="*/ 4612 w 9954"/>
                <a:gd name="connsiteY149" fmla="*/ 9999 h 10000"/>
                <a:gd name="connsiteX150" fmla="*/ 4619 w 9954"/>
                <a:gd name="connsiteY150" fmla="*/ 9851 h 10000"/>
                <a:gd name="connsiteX151" fmla="*/ 4692 w 9954"/>
                <a:gd name="connsiteY151" fmla="*/ 9856 h 10000"/>
                <a:gd name="connsiteX152" fmla="*/ 5001 w 9954"/>
                <a:gd name="connsiteY152" fmla="*/ 9603 h 10000"/>
                <a:gd name="connsiteX153" fmla="*/ 5204 w 9954"/>
                <a:gd name="connsiteY153" fmla="*/ 9845 h 10000"/>
                <a:gd name="connsiteX154" fmla="*/ 5204 w 9954"/>
                <a:gd name="connsiteY154" fmla="*/ 9862 h 10000"/>
                <a:gd name="connsiteX155" fmla="*/ 5237 w 9954"/>
                <a:gd name="connsiteY155" fmla="*/ 9703 h 10000"/>
                <a:gd name="connsiteX156" fmla="*/ 5179 w 9954"/>
                <a:gd name="connsiteY156" fmla="*/ 9570 h 10000"/>
                <a:gd name="connsiteX157" fmla="*/ 5108 w 9954"/>
                <a:gd name="connsiteY157" fmla="*/ 9549 h 10000"/>
                <a:gd name="connsiteX158" fmla="*/ 5156 w 9954"/>
                <a:gd name="connsiteY158" fmla="*/ 9466 h 10000"/>
                <a:gd name="connsiteX159" fmla="*/ 5141 w 9954"/>
                <a:gd name="connsiteY159" fmla="*/ 9444 h 10000"/>
                <a:gd name="connsiteX160" fmla="*/ 5080 w 9954"/>
                <a:gd name="connsiteY160" fmla="*/ 9439 h 10000"/>
                <a:gd name="connsiteX161" fmla="*/ 5049 w 9954"/>
                <a:gd name="connsiteY161" fmla="*/ 9121 h 10000"/>
                <a:gd name="connsiteX162" fmla="*/ 5093 w 9954"/>
                <a:gd name="connsiteY162" fmla="*/ 9105 h 10000"/>
                <a:gd name="connsiteX163" fmla="*/ 5116 w 9954"/>
                <a:gd name="connsiteY163" fmla="*/ 9253 h 10000"/>
                <a:gd name="connsiteX164" fmla="*/ 5172 w 9954"/>
                <a:gd name="connsiteY164" fmla="*/ 9384 h 10000"/>
                <a:gd name="connsiteX165" fmla="*/ 5220 w 9954"/>
                <a:gd name="connsiteY165" fmla="*/ 9302 h 10000"/>
                <a:gd name="connsiteX166" fmla="*/ 5208 w 9954"/>
                <a:gd name="connsiteY166" fmla="*/ 9220 h 10000"/>
                <a:gd name="connsiteX167" fmla="*/ 5284 w 9954"/>
                <a:gd name="connsiteY167" fmla="*/ 9203 h 10000"/>
                <a:gd name="connsiteX168" fmla="*/ 5244 w 9954"/>
                <a:gd name="connsiteY168" fmla="*/ 9034 h 10000"/>
                <a:gd name="connsiteX169" fmla="*/ 5348 w 9954"/>
                <a:gd name="connsiteY169" fmla="*/ 9061 h 10000"/>
                <a:gd name="connsiteX170" fmla="*/ 5352 w 9954"/>
                <a:gd name="connsiteY170" fmla="*/ 8972 h 10000"/>
                <a:gd name="connsiteX171" fmla="*/ 5392 w 9954"/>
                <a:gd name="connsiteY171" fmla="*/ 9039 h 10000"/>
                <a:gd name="connsiteX172" fmla="*/ 5568 w 9954"/>
                <a:gd name="connsiteY172" fmla="*/ 8781 h 10000"/>
                <a:gd name="connsiteX173" fmla="*/ 5468 w 9954"/>
                <a:gd name="connsiteY173" fmla="*/ 8584 h 10000"/>
                <a:gd name="connsiteX174" fmla="*/ 5281 w 9954"/>
                <a:gd name="connsiteY174" fmla="*/ 8425 h 10000"/>
                <a:gd name="connsiteX175" fmla="*/ 5387 w 9954"/>
                <a:gd name="connsiteY175" fmla="*/ 8370 h 10000"/>
                <a:gd name="connsiteX176" fmla="*/ 5543 w 9954"/>
                <a:gd name="connsiteY176" fmla="*/ 8633 h 10000"/>
                <a:gd name="connsiteX177" fmla="*/ 5660 w 9954"/>
                <a:gd name="connsiteY177" fmla="*/ 8199 h 10000"/>
                <a:gd name="connsiteX178" fmla="*/ 5668 w 9954"/>
                <a:gd name="connsiteY178" fmla="*/ 8030 h 10000"/>
                <a:gd name="connsiteX179" fmla="*/ 5863 w 9954"/>
                <a:gd name="connsiteY179" fmla="*/ 7942 h 10000"/>
                <a:gd name="connsiteX180" fmla="*/ 5936 w 9954"/>
                <a:gd name="connsiteY180" fmla="*/ 7607 h 10000"/>
                <a:gd name="connsiteX181" fmla="*/ 5948 w 9954"/>
                <a:gd name="connsiteY181" fmla="*/ 7734 h 10000"/>
                <a:gd name="connsiteX182" fmla="*/ 6072 w 9954"/>
                <a:gd name="connsiteY182" fmla="*/ 7596 h 10000"/>
                <a:gd name="connsiteX183" fmla="*/ 6160 w 9954"/>
                <a:gd name="connsiteY183" fmla="*/ 7579 h 10000"/>
                <a:gd name="connsiteX184" fmla="*/ 6248 w 9954"/>
                <a:gd name="connsiteY184" fmla="*/ 7207 h 10000"/>
                <a:gd name="connsiteX185" fmla="*/ 6327 w 9954"/>
                <a:gd name="connsiteY185" fmla="*/ 7486 h 10000"/>
                <a:gd name="connsiteX186" fmla="*/ 6564 w 9954"/>
                <a:gd name="connsiteY186" fmla="*/ 7563 h 10000"/>
                <a:gd name="connsiteX187" fmla="*/ 6384 w 9954"/>
                <a:gd name="connsiteY187" fmla="*/ 7618 h 10000"/>
                <a:gd name="connsiteX188" fmla="*/ 6368 w 9954"/>
                <a:gd name="connsiteY188" fmla="*/ 7679 h 10000"/>
                <a:gd name="connsiteX189" fmla="*/ 6188 w 9954"/>
                <a:gd name="connsiteY189" fmla="*/ 7690 h 10000"/>
                <a:gd name="connsiteX190" fmla="*/ 6096 w 9954"/>
                <a:gd name="connsiteY190" fmla="*/ 7723 h 10000"/>
                <a:gd name="connsiteX191" fmla="*/ 6168 w 9954"/>
                <a:gd name="connsiteY191" fmla="*/ 7772 h 10000"/>
                <a:gd name="connsiteX192" fmla="*/ 6232 w 9954"/>
                <a:gd name="connsiteY192" fmla="*/ 7756 h 10000"/>
                <a:gd name="connsiteX193" fmla="*/ 6408 w 9954"/>
                <a:gd name="connsiteY193" fmla="*/ 7789 h 10000"/>
                <a:gd name="connsiteX194" fmla="*/ 6208 w 9954"/>
                <a:gd name="connsiteY194" fmla="*/ 7964 h 10000"/>
                <a:gd name="connsiteX195" fmla="*/ 6280 w 9954"/>
                <a:gd name="connsiteY195" fmla="*/ 8008 h 10000"/>
                <a:gd name="connsiteX196" fmla="*/ 6463 w 9954"/>
                <a:gd name="connsiteY196" fmla="*/ 7958 h 10000"/>
                <a:gd name="connsiteX197" fmla="*/ 6711 w 9954"/>
                <a:gd name="connsiteY197" fmla="*/ 8101 h 10000"/>
                <a:gd name="connsiteX198" fmla="*/ 7032 w 9954"/>
                <a:gd name="connsiteY198" fmla="*/ 7909 h 10000"/>
                <a:gd name="connsiteX199" fmla="*/ 7396 w 9954"/>
                <a:gd name="connsiteY199" fmla="*/ 7745 h 10000"/>
                <a:gd name="connsiteX200" fmla="*/ 6875 w 9954"/>
                <a:gd name="connsiteY200" fmla="*/ 8989 h 10000"/>
                <a:gd name="connsiteX201" fmla="*/ 7734 w 9954"/>
                <a:gd name="connsiteY201" fmla="*/ 9675 h 10000"/>
                <a:gd name="connsiteX202" fmla="*/ 9471 w 9954"/>
                <a:gd name="connsiteY202" fmla="*/ 8343 h 10000"/>
                <a:gd name="connsiteX203" fmla="*/ 8244 w 9954"/>
                <a:gd name="connsiteY203" fmla="*/ 7991 h 10000"/>
                <a:gd name="connsiteX204" fmla="*/ 8216 w 9954"/>
                <a:gd name="connsiteY204" fmla="*/ 7904 h 10000"/>
                <a:gd name="connsiteX205" fmla="*/ 8136 w 9954"/>
                <a:gd name="connsiteY205" fmla="*/ 8002 h 10000"/>
                <a:gd name="connsiteX206" fmla="*/ 8252 w 9954"/>
                <a:gd name="connsiteY206" fmla="*/ 7761 h 10000"/>
                <a:gd name="connsiteX207" fmla="*/ 8320 w 9954"/>
                <a:gd name="connsiteY207" fmla="*/ 6987 h 10000"/>
                <a:gd name="connsiteX208" fmla="*/ 8436 w 9954"/>
                <a:gd name="connsiteY208" fmla="*/ 7081 h 10000"/>
                <a:gd name="connsiteX209" fmla="*/ 8967 w 9954"/>
                <a:gd name="connsiteY209" fmla="*/ 6483 h 10000"/>
                <a:gd name="connsiteX0" fmla="*/ 9008 w 9902"/>
                <a:gd name="connsiteY0" fmla="*/ 6483 h 10000"/>
                <a:gd name="connsiteX1" fmla="*/ 9823 w 9902"/>
                <a:gd name="connsiteY1" fmla="*/ 1838 h 10000"/>
                <a:gd name="connsiteX2" fmla="*/ 6867 w 9902"/>
                <a:gd name="connsiteY2" fmla="*/ 1311 h 10000"/>
                <a:gd name="connsiteX3" fmla="*/ 6779 w 9902"/>
                <a:gd name="connsiteY3" fmla="*/ 1223 h 10000"/>
                <a:gd name="connsiteX4" fmla="*/ 6582 w 9902"/>
                <a:gd name="connsiteY4" fmla="*/ 1273 h 10000"/>
                <a:gd name="connsiteX5" fmla="*/ 6601 w 9902"/>
                <a:gd name="connsiteY5" fmla="*/ 1125 h 10000"/>
                <a:gd name="connsiteX6" fmla="*/ 6526 w 9902"/>
                <a:gd name="connsiteY6" fmla="*/ 1119 h 10000"/>
                <a:gd name="connsiteX7" fmla="*/ 6490 w 9902"/>
                <a:gd name="connsiteY7" fmla="*/ 910 h 10000"/>
                <a:gd name="connsiteX8" fmla="*/ 6384 w 9902"/>
                <a:gd name="connsiteY8" fmla="*/ 795 h 10000"/>
                <a:gd name="connsiteX9" fmla="*/ 6601 w 9902"/>
                <a:gd name="connsiteY9" fmla="*/ 620 h 10000"/>
                <a:gd name="connsiteX10" fmla="*/ 6341 w 9902"/>
                <a:gd name="connsiteY10" fmla="*/ 395 h 10000"/>
                <a:gd name="connsiteX11" fmla="*/ 6289 w 9902"/>
                <a:gd name="connsiteY11" fmla="*/ 142 h 10000"/>
                <a:gd name="connsiteX12" fmla="*/ 6168 w 9902"/>
                <a:gd name="connsiteY12" fmla="*/ 110 h 10000"/>
                <a:gd name="connsiteX13" fmla="*/ 6068 w 9902"/>
                <a:gd name="connsiteY13" fmla="*/ 0 h 10000"/>
                <a:gd name="connsiteX14" fmla="*/ 5960 w 9902"/>
                <a:gd name="connsiteY14" fmla="*/ 120 h 10000"/>
                <a:gd name="connsiteX15" fmla="*/ 5778 w 9902"/>
                <a:gd name="connsiteY15" fmla="*/ 110 h 10000"/>
                <a:gd name="connsiteX16" fmla="*/ 5621 w 9902"/>
                <a:gd name="connsiteY16" fmla="*/ 351 h 10000"/>
                <a:gd name="connsiteX17" fmla="*/ 5320 w 9902"/>
                <a:gd name="connsiteY17" fmla="*/ 329 h 10000"/>
                <a:gd name="connsiteX18" fmla="*/ 5247 w 9902"/>
                <a:gd name="connsiteY18" fmla="*/ 680 h 10000"/>
                <a:gd name="connsiteX19" fmla="*/ 5051 w 9902"/>
                <a:gd name="connsiteY19" fmla="*/ 707 h 10000"/>
                <a:gd name="connsiteX20" fmla="*/ 5152 w 9902"/>
                <a:gd name="connsiteY20" fmla="*/ 844 h 10000"/>
                <a:gd name="connsiteX21" fmla="*/ 5091 w 9902"/>
                <a:gd name="connsiteY21" fmla="*/ 899 h 10000"/>
                <a:gd name="connsiteX22" fmla="*/ 4956 w 9902"/>
                <a:gd name="connsiteY22" fmla="*/ 894 h 10000"/>
                <a:gd name="connsiteX23" fmla="*/ 4770 w 9902"/>
                <a:gd name="connsiteY23" fmla="*/ 1026 h 10000"/>
                <a:gd name="connsiteX24" fmla="*/ 4569 w 9902"/>
                <a:gd name="connsiteY24" fmla="*/ 1668 h 10000"/>
                <a:gd name="connsiteX25" fmla="*/ 4628 w 9902"/>
                <a:gd name="connsiteY25" fmla="*/ 2090 h 10000"/>
                <a:gd name="connsiteX26" fmla="*/ 4428 w 9902"/>
                <a:gd name="connsiteY26" fmla="*/ 1865 h 10000"/>
                <a:gd name="connsiteX27" fmla="*/ 4136 w 9902"/>
                <a:gd name="connsiteY27" fmla="*/ 1991 h 10000"/>
                <a:gd name="connsiteX28" fmla="*/ 4107 w 9902"/>
                <a:gd name="connsiteY28" fmla="*/ 1931 h 10000"/>
                <a:gd name="connsiteX29" fmla="*/ 3970 w 9902"/>
                <a:gd name="connsiteY29" fmla="*/ 2002 h 10000"/>
                <a:gd name="connsiteX30" fmla="*/ 3890 w 9902"/>
                <a:gd name="connsiteY30" fmla="*/ 2144 h 10000"/>
                <a:gd name="connsiteX31" fmla="*/ 3827 w 9902"/>
                <a:gd name="connsiteY31" fmla="*/ 1909 h 10000"/>
                <a:gd name="connsiteX32" fmla="*/ 3737 w 9902"/>
                <a:gd name="connsiteY32" fmla="*/ 1843 h 10000"/>
                <a:gd name="connsiteX33" fmla="*/ 3700 w 9902"/>
                <a:gd name="connsiteY33" fmla="*/ 1964 h 10000"/>
                <a:gd name="connsiteX34" fmla="*/ 3580 w 9902"/>
                <a:gd name="connsiteY34" fmla="*/ 1996 h 10000"/>
                <a:gd name="connsiteX35" fmla="*/ 3515 w 9902"/>
                <a:gd name="connsiteY35" fmla="*/ 2161 h 10000"/>
                <a:gd name="connsiteX36" fmla="*/ 3475 w 9902"/>
                <a:gd name="connsiteY36" fmla="*/ 2013 h 10000"/>
                <a:gd name="connsiteX37" fmla="*/ 3355 w 9902"/>
                <a:gd name="connsiteY37" fmla="*/ 2024 h 10000"/>
                <a:gd name="connsiteX38" fmla="*/ 3307 w 9902"/>
                <a:gd name="connsiteY38" fmla="*/ 2128 h 10000"/>
                <a:gd name="connsiteX39" fmla="*/ 3235 w 9902"/>
                <a:gd name="connsiteY39" fmla="*/ 1975 h 10000"/>
                <a:gd name="connsiteX40" fmla="*/ 3111 w 9902"/>
                <a:gd name="connsiteY40" fmla="*/ 2117 h 10000"/>
                <a:gd name="connsiteX41" fmla="*/ 2990 w 9902"/>
                <a:gd name="connsiteY41" fmla="*/ 2106 h 10000"/>
                <a:gd name="connsiteX42" fmla="*/ 2986 w 9902"/>
                <a:gd name="connsiteY42" fmla="*/ 2276 h 10000"/>
                <a:gd name="connsiteX43" fmla="*/ 2930 w 9902"/>
                <a:gd name="connsiteY43" fmla="*/ 2144 h 10000"/>
                <a:gd name="connsiteX44" fmla="*/ 2750 w 9902"/>
                <a:gd name="connsiteY44" fmla="*/ 2155 h 10000"/>
                <a:gd name="connsiteX45" fmla="*/ 2619 w 9902"/>
                <a:gd name="connsiteY45" fmla="*/ 1980 h 10000"/>
                <a:gd name="connsiteX46" fmla="*/ 2464 w 9902"/>
                <a:gd name="connsiteY46" fmla="*/ 2073 h 10000"/>
                <a:gd name="connsiteX47" fmla="*/ 2303 w 9902"/>
                <a:gd name="connsiteY47" fmla="*/ 1958 h 10000"/>
                <a:gd name="connsiteX48" fmla="*/ 2210 w 9902"/>
                <a:gd name="connsiteY48" fmla="*/ 2035 h 10000"/>
                <a:gd name="connsiteX49" fmla="*/ 2122 w 9902"/>
                <a:gd name="connsiteY49" fmla="*/ 1947 h 10000"/>
                <a:gd name="connsiteX50" fmla="*/ 1990 w 9902"/>
                <a:gd name="connsiteY50" fmla="*/ 1936 h 10000"/>
                <a:gd name="connsiteX51" fmla="*/ 1793 w 9902"/>
                <a:gd name="connsiteY51" fmla="*/ 1925 h 10000"/>
                <a:gd name="connsiteX52" fmla="*/ 1551 w 9902"/>
                <a:gd name="connsiteY52" fmla="*/ 1991 h 10000"/>
                <a:gd name="connsiteX53" fmla="*/ 1295 w 9902"/>
                <a:gd name="connsiteY53" fmla="*/ 2062 h 10000"/>
                <a:gd name="connsiteX54" fmla="*/ 990 w 9902"/>
                <a:gd name="connsiteY54" fmla="*/ 2166 h 10000"/>
                <a:gd name="connsiteX55" fmla="*/ 856 w 9902"/>
                <a:gd name="connsiteY55" fmla="*/ 2496 h 10000"/>
                <a:gd name="connsiteX56" fmla="*/ 648 w 9902"/>
                <a:gd name="connsiteY56" fmla="*/ 2501 h 10000"/>
                <a:gd name="connsiteX57" fmla="*/ 580 w 9902"/>
                <a:gd name="connsiteY57" fmla="*/ 2687 h 10000"/>
                <a:gd name="connsiteX58" fmla="*/ 600 w 9902"/>
                <a:gd name="connsiteY58" fmla="*/ 2764 h 10000"/>
                <a:gd name="connsiteX59" fmla="*/ 620 w 9902"/>
                <a:gd name="connsiteY59" fmla="*/ 2868 h 10000"/>
                <a:gd name="connsiteX60" fmla="*/ 620 w 9902"/>
                <a:gd name="connsiteY60" fmla="*/ 2868 h 10000"/>
                <a:gd name="connsiteX61" fmla="*/ 620 w 9902"/>
                <a:gd name="connsiteY61" fmla="*/ 2896 h 10000"/>
                <a:gd name="connsiteX62" fmla="*/ 733 w 9902"/>
                <a:gd name="connsiteY62" fmla="*/ 3116 h 10000"/>
                <a:gd name="connsiteX63" fmla="*/ 845 w 9902"/>
                <a:gd name="connsiteY63" fmla="*/ 3351 h 10000"/>
                <a:gd name="connsiteX64" fmla="*/ 990 w 9902"/>
                <a:gd name="connsiteY64" fmla="*/ 3488 h 10000"/>
                <a:gd name="connsiteX65" fmla="*/ 941 w 9902"/>
                <a:gd name="connsiteY65" fmla="*/ 3548 h 10000"/>
                <a:gd name="connsiteX66" fmla="*/ 865 w 9902"/>
                <a:gd name="connsiteY66" fmla="*/ 3603 h 10000"/>
                <a:gd name="connsiteX67" fmla="*/ 952 w 9902"/>
                <a:gd name="connsiteY67" fmla="*/ 3697 h 10000"/>
                <a:gd name="connsiteX68" fmla="*/ 941 w 9902"/>
                <a:gd name="connsiteY68" fmla="*/ 4053 h 10000"/>
                <a:gd name="connsiteX69" fmla="*/ 744 w 9902"/>
                <a:gd name="connsiteY69" fmla="*/ 4124 h 10000"/>
                <a:gd name="connsiteX70" fmla="*/ 534 w 9902"/>
                <a:gd name="connsiteY70" fmla="*/ 4531 h 10000"/>
                <a:gd name="connsiteX71" fmla="*/ 399 w 9902"/>
                <a:gd name="connsiteY71" fmla="*/ 4936 h 10000"/>
                <a:gd name="connsiteX72" fmla="*/ 209 w 9902"/>
                <a:gd name="connsiteY72" fmla="*/ 5260 h 10000"/>
                <a:gd name="connsiteX73" fmla="*/ 290 w 9902"/>
                <a:gd name="connsiteY73" fmla="*/ 5517 h 10000"/>
                <a:gd name="connsiteX74" fmla="*/ 297 w 9902"/>
                <a:gd name="connsiteY74" fmla="*/ 5732 h 10000"/>
                <a:gd name="connsiteX75" fmla="*/ 430 w 9902"/>
                <a:gd name="connsiteY75" fmla="*/ 5841 h 10000"/>
                <a:gd name="connsiteX76" fmla="*/ 411 w 9902"/>
                <a:gd name="connsiteY76" fmla="*/ 5945 h 10000"/>
                <a:gd name="connsiteX77" fmla="*/ 217 w 9902"/>
                <a:gd name="connsiteY77" fmla="*/ 5852 h 10000"/>
                <a:gd name="connsiteX78" fmla="*/ 134 w 9902"/>
                <a:gd name="connsiteY78" fmla="*/ 6099 h 10000"/>
                <a:gd name="connsiteX79" fmla="*/ 113 w 9902"/>
                <a:gd name="connsiteY79" fmla="*/ 6346 h 10000"/>
                <a:gd name="connsiteX80" fmla="*/ 1 w 9902"/>
                <a:gd name="connsiteY80" fmla="*/ 6571 h 10000"/>
                <a:gd name="connsiteX81" fmla="*/ 20 w 9902"/>
                <a:gd name="connsiteY81" fmla="*/ 6779 h 10000"/>
                <a:gd name="connsiteX82" fmla="*/ 96 w 9902"/>
                <a:gd name="connsiteY82" fmla="*/ 6828 h 10000"/>
                <a:gd name="connsiteX83" fmla="*/ 166 w 9902"/>
                <a:gd name="connsiteY83" fmla="*/ 6960 h 10000"/>
                <a:gd name="connsiteX84" fmla="*/ 258 w 9902"/>
                <a:gd name="connsiteY84" fmla="*/ 6943 h 10000"/>
                <a:gd name="connsiteX85" fmla="*/ 314 w 9902"/>
                <a:gd name="connsiteY85" fmla="*/ 7076 h 10000"/>
                <a:gd name="connsiteX86" fmla="*/ 478 w 9902"/>
                <a:gd name="connsiteY86" fmla="*/ 7103 h 10000"/>
                <a:gd name="connsiteX87" fmla="*/ 486 w 9902"/>
                <a:gd name="connsiteY87" fmla="*/ 7251 h 10000"/>
                <a:gd name="connsiteX88" fmla="*/ 530 w 9902"/>
                <a:gd name="connsiteY88" fmla="*/ 7278 h 10000"/>
                <a:gd name="connsiteX89" fmla="*/ 564 w 9902"/>
                <a:gd name="connsiteY89" fmla="*/ 7174 h 10000"/>
                <a:gd name="connsiteX90" fmla="*/ 624 w 9902"/>
                <a:gd name="connsiteY90" fmla="*/ 7196 h 10000"/>
                <a:gd name="connsiteX91" fmla="*/ 692 w 9902"/>
                <a:gd name="connsiteY91" fmla="*/ 6992 h 10000"/>
                <a:gd name="connsiteX92" fmla="*/ 881 w 9902"/>
                <a:gd name="connsiteY92" fmla="*/ 7174 h 10000"/>
                <a:gd name="connsiteX93" fmla="*/ 1379 w 9902"/>
                <a:gd name="connsiteY93" fmla="*/ 7163 h 10000"/>
                <a:gd name="connsiteX94" fmla="*/ 1575 w 9902"/>
                <a:gd name="connsiteY94" fmla="*/ 7092 h 10000"/>
                <a:gd name="connsiteX95" fmla="*/ 1898 w 9902"/>
                <a:gd name="connsiteY95" fmla="*/ 7344 h 10000"/>
                <a:gd name="connsiteX96" fmla="*/ 2102 w 9902"/>
                <a:gd name="connsiteY96" fmla="*/ 7087 h 10000"/>
                <a:gd name="connsiteX97" fmla="*/ 2560 w 9902"/>
                <a:gd name="connsiteY97" fmla="*/ 6861 h 10000"/>
                <a:gd name="connsiteX98" fmla="*/ 2725 w 9902"/>
                <a:gd name="connsiteY98" fmla="*/ 6489 h 10000"/>
                <a:gd name="connsiteX99" fmla="*/ 2845 w 9902"/>
                <a:gd name="connsiteY99" fmla="*/ 6439 h 10000"/>
                <a:gd name="connsiteX100" fmla="*/ 2845 w 9902"/>
                <a:gd name="connsiteY100" fmla="*/ 6379 h 10000"/>
                <a:gd name="connsiteX101" fmla="*/ 2893 w 9902"/>
                <a:gd name="connsiteY101" fmla="*/ 6379 h 10000"/>
                <a:gd name="connsiteX102" fmla="*/ 2882 w 9902"/>
                <a:gd name="connsiteY102" fmla="*/ 6230 h 10000"/>
                <a:gd name="connsiteX103" fmla="*/ 3030 w 9902"/>
                <a:gd name="connsiteY103" fmla="*/ 6285 h 10000"/>
                <a:gd name="connsiteX104" fmla="*/ 3050 w 9902"/>
                <a:gd name="connsiteY104" fmla="*/ 6159 h 10000"/>
                <a:gd name="connsiteX105" fmla="*/ 3138 w 9902"/>
                <a:gd name="connsiteY105" fmla="*/ 6230 h 10000"/>
                <a:gd name="connsiteX106" fmla="*/ 3204 w 9902"/>
                <a:gd name="connsiteY106" fmla="*/ 6126 h 10000"/>
                <a:gd name="connsiteX107" fmla="*/ 3307 w 9902"/>
                <a:gd name="connsiteY107" fmla="*/ 6154 h 10000"/>
                <a:gd name="connsiteX108" fmla="*/ 3400 w 9902"/>
                <a:gd name="connsiteY108" fmla="*/ 6055 h 10000"/>
                <a:gd name="connsiteX109" fmla="*/ 3576 w 9902"/>
                <a:gd name="connsiteY109" fmla="*/ 6192 h 10000"/>
                <a:gd name="connsiteX110" fmla="*/ 3666 w 9902"/>
                <a:gd name="connsiteY110" fmla="*/ 6197 h 10000"/>
                <a:gd name="connsiteX111" fmla="*/ 3693 w 9902"/>
                <a:gd name="connsiteY111" fmla="*/ 6307 h 10000"/>
                <a:gd name="connsiteX112" fmla="*/ 3859 w 9902"/>
                <a:gd name="connsiteY112" fmla="*/ 6236 h 10000"/>
                <a:gd name="connsiteX113" fmla="*/ 3842 w 9902"/>
                <a:gd name="connsiteY113" fmla="*/ 6357 h 10000"/>
                <a:gd name="connsiteX114" fmla="*/ 3903 w 9902"/>
                <a:gd name="connsiteY114" fmla="*/ 6341 h 10000"/>
                <a:gd name="connsiteX115" fmla="*/ 3974 w 9902"/>
                <a:gd name="connsiteY115" fmla="*/ 6428 h 10000"/>
                <a:gd name="connsiteX116" fmla="*/ 3978 w 9902"/>
                <a:gd name="connsiteY116" fmla="*/ 6301 h 10000"/>
                <a:gd name="connsiteX117" fmla="*/ 4171 w 9902"/>
                <a:gd name="connsiteY117" fmla="*/ 6341 h 10000"/>
                <a:gd name="connsiteX118" fmla="*/ 4241 w 9902"/>
                <a:gd name="connsiteY118" fmla="*/ 6511 h 10000"/>
                <a:gd name="connsiteX119" fmla="*/ 4348 w 9902"/>
                <a:gd name="connsiteY119" fmla="*/ 6494 h 10000"/>
                <a:gd name="connsiteX120" fmla="*/ 4395 w 9902"/>
                <a:gd name="connsiteY120" fmla="*/ 6417 h 10000"/>
                <a:gd name="connsiteX121" fmla="*/ 4504 w 9902"/>
                <a:gd name="connsiteY121" fmla="*/ 6735 h 10000"/>
                <a:gd name="connsiteX122" fmla="*/ 4465 w 9902"/>
                <a:gd name="connsiteY122" fmla="*/ 6987 h 10000"/>
                <a:gd name="connsiteX123" fmla="*/ 4521 w 9902"/>
                <a:gd name="connsiteY123" fmla="*/ 7114 h 10000"/>
                <a:gd name="connsiteX124" fmla="*/ 4596 w 9902"/>
                <a:gd name="connsiteY124" fmla="*/ 7119 h 10000"/>
                <a:gd name="connsiteX125" fmla="*/ 4714 w 9902"/>
                <a:gd name="connsiteY125" fmla="*/ 7256 h 10000"/>
                <a:gd name="connsiteX126" fmla="*/ 4761 w 9902"/>
                <a:gd name="connsiteY126" fmla="*/ 7152 h 10000"/>
                <a:gd name="connsiteX127" fmla="*/ 4813 w 9902"/>
                <a:gd name="connsiteY127" fmla="*/ 7322 h 10000"/>
                <a:gd name="connsiteX128" fmla="*/ 4879 w 9902"/>
                <a:gd name="connsiteY128" fmla="*/ 7662 h 10000"/>
                <a:gd name="connsiteX129" fmla="*/ 5072 w 9902"/>
                <a:gd name="connsiteY129" fmla="*/ 7739 h 10000"/>
                <a:gd name="connsiteX130" fmla="*/ 5117 w 9902"/>
                <a:gd name="connsiteY130" fmla="*/ 8183 h 10000"/>
                <a:gd name="connsiteX131" fmla="*/ 5280 w 9902"/>
                <a:gd name="connsiteY131" fmla="*/ 8276 h 10000"/>
                <a:gd name="connsiteX132" fmla="*/ 5111 w 9902"/>
                <a:gd name="connsiteY132" fmla="*/ 8370 h 10000"/>
                <a:gd name="connsiteX133" fmla="*/ 5055 w 9902"/>
                <a:gd name="connsiteY133" fmla="*/ 8260 h 10000"/>
                <a:gd name="connsiteX134" fmla="*/ 4991 w 9902"/>
                <a:gd name="connsiteY134" fmla="*/ 8403 h 10000"/>
                <a:gd name="connsiteX135" fmla="*/ 4825 w 9902"/>
                <a:gd name="connsiteY135" fmla="*/ 8287 h 10000"/>
                <a:gd name="connsiteX136" fmla="*/ 4733 w 9902"/>
                <a:gd name="connsiteY136" fmla="*/ 8452 h 10000"/>
                <a:gd name="connsiteX137" fmla="*/ 4541 w 9902"/>
                <a:gd name="connsiteY137" fmla="*/ 8331 h 10000"/>
                <a:gd name="connsiteX138" fmla="*/ 4633 w 9902"/>
                <a:gd name="connsiteY138" fmla="*/ 8699 h 10000"/>
                <a:gd name="connsiteX139" fmla="*/ 4624 w 9902"/>
                <a:gd name="connsiteY139" fmla="*/ 8967 h 10000"/>
                <a:gd name="connsiteX140" fmla="*/ 4501 w 9902"/>
                <a:gd name="connsiteY140" fmla="*/ 9088 h 10000"/>
                <a:gd name="connsiteX141" fmla="*/ 4541 w 9902"/>
                <a:gd name="connsiteY141" fmla="*/ 9193 h 10000"/>
                <a:gd name="connsiteX142" fmla="*/ 4368 w 9902"/>
                <a:gd name="connsiteY142" fmla="*/ 9412 h 10000"/>
                <a:gd name="connsiteX143" fmla="*/ 4436 w 9902"/>
                <a:gd name="connsiteY143" fmla="*/ 9647 h 10000"/>
                <a:gd name="connsiteX144" fmla="*/ 4268 w 9902"/>
                <a:gd name="connsiteY144" fmla="*/ 9681 h 10000"/>
                <a:gd name="connsiteX145" fmla="*/ 4223 w 9902"/>
                <a:gd name="connsiteY145" fmla="*/ 9741 h 10000"/>
                <a:gd name="connsiteX146" fmla="*/ 4296 w 9902"/>
                <a:gd name="connsiteY146" fmla="*/ 9785 h 10000"/>
                <a:gd name="connsiteX147" fmla="*/ 4425 w 9902"/>
                <a:gd name="connsiteY147" fmla="*/ 9944 h 10000"/>
                <a:gd name="connsiteX148" fmla="*/ 4633 w 9902"/>
                <a:gd name="connsiteY148" fmla="*/ 9999 h 10000"/>
                <a:gd name="connsiteX149" fmla="*/ 4640 w 9902"/>
                <a:gd name="connsiteY149" fmla="*/ 9851 h 10000"/>
                <a:gd name="connsiteX150" fmla="*/ 4714 w 9902"/>
                <a:gd name="connsiteY150" fmla="*/ 9856 h 10000"/>
                <a:gd name="connsiteX151" fmla="*/ 5024 w 9902"/>
                <a:gd name="connsiteY151" fmla="*/ 9603 h 10000"/>
                <a:gd name="connsiteX152" fmla="*/ 5228 w 9902"/>
                <a:gd name="connsiteY152" fmla="*/ 9845 h 10000"/>
                <a:gd name="connsiteX153" fmla="*/ 5228 w 9902"/>
                <a:gd name="connsiteY153" fmla="*/ 9862 h 10000"/>
                <a:gd name="connsiteX154" fmla="*/ 5261 w 9902"/>
                <a:gd name="connsiteY154" fmla="*/ 9703 h 10000"/>
                <a:gd name="connsiteX155" fmla="*/ 5203 w 9902"/>
                <a:gd name="connsiteY155" fmla="*/ 9570 h 10000"/>
                <a:gd name="connsiteX156" fmla="*/ 5132 w 9902"/>
                <a:gd name="connsiteY156" fmla="*/ 9549 h 10000"/>
                <a:gd name="connsiteX157" fmla="*/ 5180 w 9902"/>
                <a:gd name="connsiteY157" fmla="*/ 9466 h 10000"/>
                <a:gd name="connsiteX158" fmla="*/ 5165 w 9902"/>
                <a:gd name="connsiteY158" fmla="*/ 9444 h 10000"/>
                <a:gd name="connsiteX159" fmla="*/ 5103 w 9902"/>
                <a:gd name="connsiteY159" fmla="*/ 9439 h 10000"/>
                <a:gd name="connsiteX160" fmla="*/ 5072 w 9902"/>
                <a:gd name="connsiteY160" fmla="*/ 9121 h 10000"/>
                <a:gd name="connsiteX161" fmla="*/ 5117 w 9902"/>
                <a:gd name="connsiteY161" fmla="*/ 9105 h 10000"/>
                <a:gd name="connsiteX162" fmla="*/ 5140 w 9902"/>
                <a:gd name="connsiteY162" fmla="*/ 9253 h 10000"/>
                <a:gd name="connsiteX163" fmla="*/ 5196 w 9902"/>
                <a:gd name="connsiteY163" fmla="*/ 9384 h 10000"/>
                <a:gd name="connsiteX164" fmla="*/ 5244 w 9902"/>
                <a:gd name="connsiteY164" fmla="*/ 9302 h 10000"/>
                <a:gd name="connsiteX165" fmla="*/ 5232 w 9902"/>
                <a:gd name="connsiteY165" fmla="*/ 9220 h 10000"/>
                <a:gd name="connsiteX166" fmla="*/ 5308 w 9902"/>
                <a:gd name="connsiteY166" fmla="*/ 9203 h 10000"/>
                <a:gd name="connsiteX167" fmla="*/ 5268 w 9902"/>
                <a:gd name="connsiteY167" fmla="*/ 9034 h 10000"/>
                <a:gd name="connsiteX168" fmla="*/ 5373 w 9902"/>
                <a:gd name="connsiteY168" fmla="*/ 9061 h 10000"/>
                <a:gd name="connsiteX169" fmla="*/ 5377 w 9902"/>
                <a:gd name="connsiteY169" fmla="*/ 8972 h 10000"/>
                <a:gd name="connsiteX170" fmla="*/ 5417 w 9902"/>
                <a:gd name="connsiteY170" fmla="*/ 9039 h 10000"/>
                <a:gd name="connsiteX171" fmla="*/ 5594 w 9902"/>
                <a:gd name="connsiteY171" fmla="*/ 8781 h 10000"/>
                <a:gd name="connsiteX172" fmla="*/ 5493 w 9902"/>
                <a:gd name="connsiteY172" fmla="*/ 8584 h 10000"/>
                <a:gd name="connsiteX173" fmla="*/ 5305 w 9902"/>
                <a:gd name="connsiteY173" fmla="*/ 8425 h 10000"/>
                <a:gd name="connsiteX174" fmla="*/ 5412 w 9902"/>
                <a:gd name="connsiteY174" fmla="*/ 8370 h 10000"/>
                <a:gd name="connsiteX175" fmla="*/ 5569 w 9902"/>
                <a:gd name="connsiteY175" fmla="*/ 8633 h 10000"/>
                <a:gd name="connsiteX176" fmla="*/ 5686 w 9902"/>
                <a:gd name="connsiteY176" fmla="*/ 8199 h 10000"/>
                <a:gd name="connsiteX177" fmla="*/ 5694 w 9902"/>
                <a:gd name="connsiteY177" fmla="*/ 8030 h 10000"/>
                <a:gd name="connsiteX178" fmla="*/ 5890 w 9902"/>
                <a:gd name="connsiteY178" fmla="*/ 7942 h 10000"/>
                <a:gd name="connsiteX179" fmla="*/ 5963 w 9902"/>
                <a:gd name="connsiteY179" fmla="*/ 7607 h 10000"/>
                <a:gd name="connsiteX180" fmla="*/ 5975 w 9902"/>
                <a:gd name="connsiteY180" fmla="*/ 7734 h 10000"/>
                <a:gd name="connsiteX181" fmla="*/ 6100 w 9902"/>
                <a:gd name="connsiteY181" fmla="*/ 7596 h 10000"/>
                <a:gd name="connsiteX182" fmla="*/ 6188 w 9902"/>
                <a:gd name="connsiteY182" fmla="*/ 7579 h 10000"/>
                <a:gd name="connsiteX183" fmla="*/ 6277 w 9902"/>
                <a:gd name="connsiteY183" fmla="*/ 7207 h 10000"/>
                <a:gd name="connsiteX184" fmla="*/ 6356 w 9902"/>
                <a:gd name="connsiteY184" fmla="*/ 7486 h 10000"/>
                <a:gd name="connsiteX185" fmla="*/ 6594 w 9902"/>
                <a:gd name="connsiteY185" fmla="*/ 7563 h 10000"/>
                <a:gd name="connsiteX186" fmla="*/ 6414 w 9902"/>
                <a:gd name="connsiteY186" fmla="*/ 7618 h 10000"/>
                <a:gd name="connsiteX187" fmla="*/ 6397 w 9902"/>
                <a:gd name="connsiteY187" fmla="*/ 7679 h 10000"/>
                <a:gd name="connsiteX188" fmla="*/ 6217 w 9902"/>
                <a:gd name="connsiteY188" fmla="*/ 7690 h 10000"/>
                <a:gd name="connsiteX189" fmla="*/ 6124 w 9902"/>
                <a:gd name="connsiteY189" fmla="*/ 7723 h 10000"/>
                <a:gd name="connsiteX190" fmla="*/ 6197 w 9902"/>
                <a:gd name="connsiteY190" fmla="*/ 7772 h 10000"/>
                <a:gd name="connsiteX191" fmla="*/ 6261 w 9902"/>
                <a:gd name="connsiteY191" fmla="*/ 7756 h 10000"/>
                <a:gd name="connsiteX192" fmla="*/ 6438 w 9902"/>
                <a:gd name="connsiteY192" fmla="*/ 7789 h 10000"/>
                <a:gd name="connsiteX193" fmla="*/ 6237 w 9902"/>
                <a:gd name="connsiteY193" fmla="*/ 7964 h 10000"/>
                <a:gd name="connsiteX194" fmla="*/ 6309 w 9902"/>
                <a:gd name="connsiteY194" fmla="*/ 8008 h 10000"/>
                <a:gd name="connsiteX195" fmla="*/ 6493 w 9902"/>
                <a:gd name="connsiteY195" fmla="*/ 7958 h 10000"/>
                <a:gd name="connsiteX196" fmla="*/ 6742 w 9902"/>
                <a:gd name="connsiteY196" fmla="*/ 8101 h 10000"/>
                <a:gd name="connsiteX197" fmla="*/ 7064 w 9902"/>
                <a:gd name="connsiteY197" fmla="*/ 7909 h 10000"/>
                <a:gd name="connsiteX198" fmla="*/ 7430 w 9902"/>
                <a:gd name="connsiteY198" fmla="*/ 7745 h 10000"/>
                <a:gd name="connsiteX199" fmla="*/ 6907 w 9902"/>
                <a:gd name="connsiteY199" fmla="*/ 8989 h 10000"/>
                <a:gd name="connsiteX200" fmla="*/ 7770 w 9902"/>
                <a:gd name="connsiteY200" fmla="*/ 9675 h 10000"/>
                <a:gd name="connsiteX201" fmla="*/ 9515 w 9902"/>
                <a:gd name="connsiteY201" fmla="*/ 8343 h 10000"/>
                <a:gd name="connsiteX202" fmla="*/ 8282 w 9902"/>
                <a:gd name="connsiteY202" fmla="*/ 7991 h 10000"/>
                <a:gd name="connsiteX203" fmla="*/ 8254 w 9902"/>
                <a:gd name="connsiteY203" fmla="*/ 7904 h 10000"/>
                <a:gd name="connsiteX204" fmla="*/ 8174 w 9902"/>
                <a:gd name="connsiteY204" fmla="*/ 8002 h 10000"/>
                <a:gd name="connsiteX205" fmla="*/ 8290 w 9902"/>
                <a:gd name="connsiteY205" fmla="*/ 7761 h 10000"/>
                <a:gd name="connsiteX206" fmla="*/ 8358 w 9902"/>
                <a:gd name="connsiteY206" fmla="*/ 6987 h 10000"/>
                <a:gd name="connsiteX207" fmla="*/ 8475 w 9902"/>
                <a:gd name="connsiteY207" fmla="*/ 7081 h 10000"/>
                <a:gd name="connsiteX208" fmla="*/ 9008 w 9902"/>
                <a:gd name="connsiteY208" fmla="*/ 6483 h 10000"/>
                <a:gd name="connsiteX0" fmla="*/ 9097 w 9613"/>
                <a:gd name="connsiteY0" fmla="*/ 6483 h 10000"/>
                <a:gd name="connsiteX1" fmla="*/ 6935 w 9613"/>
                <a:gd name="connsiteY1" fmla="*/ 1311 h 10000"/>
                <a:gd name="connsiteX2" fmla="*/ 6846 w 9613"/>
                <a:gd name="connsiteY2" fmla="*/ 1223 h 10000"/>
                <a:gd name="connsiteX3" fmla="*/ 6647 w 9613"/>
                <a:gd name="connsiteY3" fmla="*/ 1273 h 10000"/>
                <a:gd name="connsiteX4" fmla="*/ 6666 w 9613"/>
                <a:gd name="connsiteY4" fmla="*/ 1125 h 10000"/>
                <a:gd name="connsiteX5" fmla="*/ 6591 w 9613"/>
                <a:gd name="connsiteY5" fmla="*/ 1119 h 10000"/>
                <a:gd name="connsiteX6" fmla="*/ 6554 w 9613"/>
                <a:gd name="connsiteY6" fmla="*/ 910 h 10000"/>
                <a:gd name="connsiteX7" fmla="*/ 6447 w 9613"/>
                <a:gd name="connsiteY7" fmla="*/ 795 h 10000"/>
                <a:gd name="connsiteX8" fmla="*/ 6666 w 9613"/>
                <a:gd name="connsiteY8" fmla="*/ 620 h 10000"/>
                <a:gd name="connsiteX9" fmla="*/ 6404 w 9613"/>
                <a:gd name="connsiteY9" fmla="*/ 395 h 10000"/>
                <a:gd name="connsiteX10" fmla="*/ 6351 w 9613"/>
                <a:gd name="connsiteY10" fmla="*/ 142 h 10000"/>
                <a:gd name="connsiteX11" fmla="*/ 6229 w 9613"/>
                <a:gd name="connsiteY11" fmla="*/ 110 h 10000"/>
                <a:gd name="connsiteX12" fmla="*/ 6128 w 9613"/>
                <a:gd name="connsiteY12" fmla="*/ 0 h 10000"/>
                <a:gd name="connsiteX13" fmla="*/ 6019 w 9613"/>
                <a:gd name="connsiteY13" fmla="*/ 120 h 10000"/>
                <a:gd name="connsiteX14" fmla="*/ 5835 w 9613"/>
                <a:gd name="connsiteY14" fmla="*/ 110 h 10000"/>
                <a:gd name="connsiteX15" fmla="*/ 5677 w 9613"/>
                <a:gd name="connsiteY15" fmla="*/ 351 h 10000"/>
                <a:gd name="connsiteX16" fmla="*/ 5373 w 9613"/>
                <a:gd name="connsiteY16" fmla="*/ 329 h 10000"/>
                <a:gd name="connsiteX17" fmla="*/ 5299 w 9613"/>
                <a:gd name="connsiteY17" fmla="*/ 680 h 10000"/>
                <a:gd name="connsiteX18" fmla="*/ 5101 w 9613"/>
                <a:gd name="connsiteY18" fmla="*/ 707 h 10000"/>
                <a:gd name="connsiteX19" fmla="*/ 5203 w 9613"/>
                <a:gd name="connsiteY19" fmla="*/ 844 h 10000"/>
                <a:gd name="connsiteX20" fmla="*/ 5141 w 9613"/>
                <a:gd name="connsiteY20" fmla="*/ 899 h 10000"/>
                <a:gd name="connsiteX21" fmla="*/ 5005 w 9613"/>
                <a:gd name="connsiteY21" fmla="*/ 894 h 10000"/>
                <a:gd name="connsiteX22" fmla="*/ 4817 w 9613"/>
                <a:gd name="connsiteY22" fmla="*/ 1026 h 10000"/>
                <a:gd name="connsiteX23" fmla="*/ 4614 w 9613"/>
                <a:gd name="connsiteY23" fmla="*/ 1668 h 10000"/>
                <a:gd name="connsiteX24" fmla="*/ 4674 w 9613"/>
                <a:gd name="connsiteY24" fmla="*/ 2090 h 10000"/>
                <a:gd name="connsiteX25" fmla="*/ 4472 w 9613"/>
                <a:gd name="connsiteY25" fmla="*/ 1865 h 10000"/>
                <a:gd name="connsiteX26" fmla="*/ 4177 w 9613"/>
                <a:gd name="connsiteY26" fmla="*/ 1991 h 10000"/>
                <a:gd name="connsiteX27" fmla="*/ 4148 w 9613"/>
                <a:gd name="connsiteY27" fmla="*/ 1931 h 10000"/>
                <a:gd name="connsiteX28" fmla="*/ 4009 w 9613"/>
                <a:gd name="connsiteY28" fmla="*/ 2002 h 10000"/>
                <a:gd name="connsiteX29" fmla="*/ 3928 w 9613"/>
                <a:gd name="connsiteY29" fmla="*/ 2144 h 10000"/>
                <a:gd name="connsiteX30" fmla="*/ 3865 w 9613"/>
                <a:gd name="connsiteY30" fmla="*/ 1909 h 10000"/>
                <a:gd name="connsiteX31" fmla="*/ 3774 w 9613"/>
                <a:gd name="connsiteY31" fmla="*/ 1843 h 10000"/>
                <a:gd name="connsiteX32" fmla="*/ 3737 w 9613"/>
                <a:gd name="connsiteY32" fmla="*/ 1964 h 10000"/>
                <a:gd name="connsiteX33" fmla="*/ 3615 w 9613"/>
                <a:gd name="connsiteY33" fmla="*/ 1996 h 10000"/>
                <a:gd name="connsiteX34" fmla="*/ 3550 w 9613"/>
                <a:gd name="connsiteY34" fmla="*/ 2161 h 10000"/>
                <a:gd name="connsiteX35" fmla="*/ 3509 w 9613"/>
                <a:gd name="connsiteY35" fmla="*/ 2013 h 10000"/>
                <a:gd name="connsiteX36" fmla="*/ 3388 w 9613"/>
                <a:gd name="connsiteY36" fmla="*/ 2024 h 10000"/>
                <a:gd name="connsiteX37" fmla="*/ 3340 w 9613"/>
                <a:gd name="connsiteY37" fmla="*/ 2128 h 10000"/>
                <a:gd name="connsiteX38" fmla="*/ 3267 w 9613"/>
                <a:gd name="connsiteY38" fmla="*/ 1975 h 10000"/>
                <a:gd name="connsiteX39" fmla="*/ 3142 w 9613"/>
                <a:gd name="connsiteY39" fmla="*/ 2117 h 10000"/>
                <a:gd name="connsiteX40" fmla="*/ 3020 w 9613"/>
                <a:gd name="connsiteY40" fmla="*/ 2106 h 10000"/>
                <a:gd name="connsiteX41" fmla="*/ 3016 w 9613"/>
                <a:gd name="connsiteY41" fmla="*/ 2276 h 10000"/>
                <a:gd name="connsiteX42" fmla="*/ 2959 w 9613"/>
                <a:gd name="connsiteY42" fmla="*/ 2144 h 10000"/>
                <a:gd name="connsiteX43" fmla="*/ 2777 w 9613"/>
                <a:gd name="connsiteY43" fmla="*/ 2155 h 10000"/>
                <a:gd name="connsiteX44" fmla="*/ 2645 w 9613"/>
                <a:gd name="connsiteY44" fmla="*/ 1980 h 10000"/>
                <a:gd name="connsiteX45" fmla="*/ 2488 w 9613"/>
                <a:gd name="connsiteY45" fmla="*/ 2073 h 10000"/>
                <a:gd name="connsiteX46" fmla="*/ 2326 w 9613"/>
                <a:gd name="connsiteY46" fmla="*/ 1958 h 10000"/>
                <a:gd name="connsiteX47" fmla="*/ 2232 w 9613"/>
                <a:gd name="connsiteY47" fmla="*/ 2035 h 10000"/>
                <a:gd name="connsiteX48" fmla="*/ 2143 w 9613"/>
                <a:gd name="connsiteY48" fmla="*/ 1947 h 10000"/>
                <a:gd name="connsiteX49" fmla="*/ 2010 w 9613"/>
                <a:gd name="connsiteY49" fmla="*/ 1936 h 10000"/>
                <a:gd name="connsiteX50" fmla="*/ 1811 w 9613"/>
                <a:gd name="connsiteY50" fmla="*/ 1925 h 10000"/>
                <a:gd name="connsiteX51" fmla="*/ 1566 w 9613"/>
                <a:gd name="connsiteY51" fmla="*/ 1991 h 10000"/>
                <a:gd name="connsiteX52" fmla="*/ 1308 w 9613"/>
                <a:gd name="connsiteY52" fmla="*/ 2062 h 10000"/>
                <a:gd name="connsiteX53" fmla="*/ 1000 w 9613"/>
                <a:gd name="connsiteY53" fmla="*/ 2166 h 10000"/>
                <a:gd name="connsiteX54" fmla="*/ 864 w 9613"/>
                <a:gd name="connsiteY54" fmla="*/ 2496 h 10000"/>
                <a:gd name="connsiteX55" fmla="*/ 654 w 9613"/>
                <a:gd name="connsiteY55" fmla="*/ 2501 h 10000"/>
                <a:gd name="connsiteX56" fmla="*/ 586 w 9613"/>
                <a:gd name="connsiteY56" fmla="*/ 2687 h 10000"/>
                <a:gd name="connsiteX57" fmla="*/ 606 w 9613"/>
                <a:gd name="connsiteY57" fmla="*/ 2764 h 10000"/>
                <a:gd name="connsiteX58" fmla="*/ 626 w 9613"/>
                <a:gd name="connsiteY58" fmla="*/ 2868 h 10000"/>
                <a:gd name="connsiteX59" fmla="*/ 626 w 9613"/>
                <a:gd name="connsiteY59" fmla="*/ 2868 h 10000"/>
                <a:gd name="connsiteX60" fmla="*/ 626 w 9613"/>
                <a:gd name="connsiteY60" fmla="*/ 2896 h 10000"/>
                <a:gd name="connsiteX61" fmla="*/ 740 w 9613"/>
                <a:gd name="connsiteY61" fmla="*/ 3116 h 10000"/>
                <a:gd name="connsiteX62" fmla="*/ 853 w 9613"/>
                <a:gd name="connsiteY62" fmla="*/ 3351 h 10000"/>
                <a:gd name="connsiteX63" fmla="*/ 1000 w 9613"/>
                <a:gd name="connsiteY63" fmla="*/ 3488 h 10000"/>
                <a:gd name="connsiteX64" fmla="*/ 950 w 9613"/>
                <a:gd name="connsiteY64" fmla="*/ 3548 h 10000"/>
                <a:gd name="connsiteX65" fmla="*/ 874 w 9613"/>
                <a:gd name="connsiteY65" fmla="*/ 3603 h 10000"/>
                <a:gd name="connsiteX66" fmla="*/ 961 w 9613"/>
                <a:gd name="connsiteY66" fmla="*/ 3697 h 10000"/>
                <a:gd name="connsiteX67" fmla="*/ 950 w 9613"/>
                <a:gd name="connsiteY67" fmla="*/ 4053 h 10000"/>
                <a:gd name="connsiteX68" fmla="*/ 751 w 9613"/>
                <a:gd name="connsiteY68" fmla="*/ 4124 h 10000"/>
                <a:gd name="connsiteX69" fmla="*/ 539 w 9613"/>
                <a:gd name="connsiteY69" fmla="*/ 4531 h 10000"/>
                <a:gd name="connsiteX70" fmla="*/ 403 w 9613"/>
                <a:gd name="connsiteY70" fmla="*/ 4936 h 10000"/>
                <a:gd name="connsiteX71" fmla="*/ 211 w 9613"/>
                <a:gd name="connsiteY71" fmla="*/ 5260 h 10000"/>
                <a:gd name="connsiteX72" fmla="*/ 293 w 9613"/>
                <a:gd name="connsiteY72" fmla="*/ 5517 h 10000"/>
                <a:gd name="connsiteX73" fmla="*/ 300 w 9613"/>
                <a:gd name="connsiteY73" fmla="*/ 5732 h 10000"/>
                <a:gd name="connsiteX74" fmla="*/ 434 w 9613"/>
                <a:gd name="connsiteY74" fmla="*/ 5841 h 10000"/>
                <a:gd name="connsiteX75" fmla="*/ 415 w 9613"/>
                <a:gd name="connsiteY75" fmla="*/ 5945 h 10000"/>
                <a:gd name="connsiteX76" fmla="*/ 219 w 9613"/>
                <a:gd name="connsiteY76" fmla="*/ 5852 h 10000"/>
                <a:gd name="connsiteX77" fmla="*/ 135 w 9613"/>
                <a:gd name="connsiteY77" fmla="*/ 6099 h 10000"/>
                <a:gd name="connsiteX78" fmla="*/ 114 w 9613"/>
                <a:gd name="connsiteY78" fmla="*/ 6346 h 10000"/>
                <a:gd name="connsiteX79" fmla="*/ 1 w 9613"/>
                <a:gd name="connsiteY79" fmla="*/ 6571 h 10000"/>
                <a:gd name="connsiteX80" fmla="*/ 20 w 9613"/>
                <a:gd name="connsiteY80" fmla="*/ 6779 h 10000"/>
                <a:gd name="connsiteX81" fmla="*/ 97 w 9613"/>
                <a:gd name="connsiteY81" fmla="*/ 6828 h 10000"/>
                <a:gd name="connsiteX82" fmla="*/ 168 w 9613"/>
                <a:gd name="connsiteY82" fmla="*/ 6960 h 10000"/>
                <a:gd name="connsiteX83" fmla="*/ 261 w 9613"/>
                <a:gd name="connsiteY83" fmla="*/ 6943 h 10000"/>
                <a:gd name="connsiteX84" fmla="*/ 317 w 9613"/>
                <a:gd name="connsiteY84" fmla="*/ 7076 h 10000"/>
                <a:gd name="connsiteX85" fmla="*/ 483 w 9613"/>
                <a:gd name="connsiteY85" fmla="*/ 7103 h 10000"/>
                <a:gd name="connsiteX86" fmla="*/ 491 w 9613"/>
                <a:gd name="connsiteY86" fmla="*/ 7251 h 10000"/>
                <a:gd name="connsiteX87" fmla="*/ 535 w 9613"/>
                <a:gd name="connsiteY87" fmla="*/ 7278 h 10000"/>
                <a:gd name="connsiteX88" fmla="*/ 570 w 9613"/>
                <a:gd name="connsiteY88" fmla="*/ 7174 h 10000"/>
                <a:gd name="connsiteX89" fmla="*/ 630 w 9613"/>
                <a:gd name="connsiteY89" fmla="*/ 7196 h 10000"/>
                <a:gd name="connsiteX90" fmla="*/ 699 w 9613"/>
                <a:gd name="connsiteY90" fmla="*/ 6992 h 10000"/>
                <a:gd name="connsiteX91" fmla="*/ 890 w 9613"/>
                <a:gd name="connsiteY91" fmla="*/ 7174 h 10000"/>
                <a:gd name="connsiteX92" fmla="*/ 1393 w 9613"/>
                <a:gd name="connsiteY92" fmla="*/ 7163 h 10000"/>
                <a:gd name="connsiteX93" fmla="*/ 1591 w 9613"/>
                <a:gd name="connsiteY93" fmla="*/ 7092 h 10000"/>
                <a:gd name="connsiteX94" fmla="*/ 1917 w 9613"/>
                <a:gd name="connsiteY94" fmla="*/ 7344 h 10000"/>
                <a:gd name="connsiteX95" fmla="*/ 2123 w 9613"/>
                <a:gd name="connsiteY95" fmla="*/ 7087 h 10000"/>
                <a:gd name="connsiteX96" fmla="*/ 2585 w 9613"/>
                <a:gd name="connsiteY96" fmla="*/ 6861 h 10000"/>
                <a:gd name="connsiteX97" fmla="*/ 2752 w 9613"/>
                <a:gd name="connsiteY97" fmla="*/ 6489 h 10000"/>
                <a:gd name="connsiteX98" fmla="*/ 2873 w 9613"/>
                <a:gd name="connsiteY98" fmla="*/ 6439 h 10000"/>
                <a:gd name="connsiteX99" fmla="*/ 2873 w 9613"/>
                <a:gd name="connsiteY99" fmla="*/ 6379 h 10000"/>
                <a:gd name="connsiteX100" fmla="*/ 2922 w 9613"/>
                <a:gd name="connsiteY100" fmla="*/ 6379 h 10000"/>
                <a:gd name="connsiteX101" fmla="*/ 2911 w 9613"/>
                <a:gd name="connsiteY101" fmla="*/ 6230 h 10000"/>
                <a:gd name="connsiteX102" fmla="*/ 3060 w 9613"/>
                <a:gd name="connsiteY102" fmla="*/ 6285 h 10000"/>
                <a:gd name="connsiteX103" fmla="*/ 3080 w 9613"/>
                <a:gd name="connsiteY103" fmla="*/ 6159 h 10000"/>
                <a:gd name="connsiteX104" fmla="*/ 3169 w 9613"/>
                <a:gd name="connsiteY104" fmla="*/ 6230 h 10000"/>
                <a:gd name="connsiteX105" fmla="*/ 3236 w 9613"/>
                <a:gd name="connsiteY105" fmla="*/ 6126 h 10000"/>
                <a:gd name="connsiteX106" fmla="*/ 3340 w 9613"/>
                <a:gd name="connsiteY106" fmla="*/ 6154 h 10000"/>
                <a:gd name="connsiteX107" fmla="*/ 3434 w 9613"/>
                <a:gd name="connsiteY107" fmla="*/ 6055 h 10000"/>
                <a:gd name="connsiteX108" fmla="*/ 3611 w 9613"/>
                <a:gd name="connsiteY108" fmla="*/ 6192 h 10000"/>
                <a:gd name="connsiteX109" fmla="*/ 3702 w 9613"/>
                <a:gd name="connsiteY109" fmla="*/ 6197 h 10000"/>
                <a:gd name="connsiteX110" fmla="*/ 3730 w 9613"/>
                <a:gd name="connsiteY110" fmla="*/ 6307 h 10000"/>
                <a:gd name="connsiteX111" fmla="*/ 3897 w 9613"/>
                <a:gd name="connsiteY111" fmla="*/ 6236 h 10000"/>
                <a:gd name="connsiteX112" fmla="*/ 3880 w 9613"/>
                <a:gd name="connsiteY112" fmla="*/ 6357 h 10000"/>
                <a:gd name="connsiteX113" fmla="*/ 3942 w 9613"/>
                <a:gd name="connsiteY113" fmla="*/ 6341 h 10000"/>
                <a:gd name="connsiteX114" fmla="*/ 4013 w 9613"/>
                <a:gd name="connsiteY114" fmla="*/ 6428 h 10000"/>
                <a:gd name="connsiteX115" fmla="*/ 4017 w 9613"/>
                <a:gd name="connsiteY115" fmla="*/ 6301 h 10000"/>
                <a:gd name="connsiteX116" fmla="*/ 4212 w 9613"/>
                <a:gd name="connsiteY116" fmla="*/ 6341 h 10000"/>
                <a:gd name="connsiteX117" fmla="*/ 4283 w 9613"/>
                <a:gd name="connsiteY117" fmla="*/ 6511 h 10000"/>
                <a:gd name="connsiteX118" fmla="*/ 4391 w 9613"/>
                <a:gd name="connsiteY118" fmla="*/ 6494 h 10000"/>
                <a:gd name="connsiteX119" fmla="*/ 4438 w 9613"/>
                <a:gd name="connsiteY119" fmla="*/ 6417 h 10000"/>
                <a:gd name="connsiteX120" fmla="*/ 4549 w 9613"/>
                <a:gd name="connsiteY120" fmla="*/ 6735 h 10000"/>
                <a:gd name="connsiteX121" fmla="*/ 4509 w 9613"/>
                <a:gd name="connsiteY121" fmla="*/ 6987 h 10000"/>
                <a:gd name="connsiteX122" fmla="*/ 4566 w 9613"/>
                <a:gd name="connsiteY122" fmla="*/ 7114 h 10000"/>
                <a:gd name="connsiteX123" fmla="*/ 4641 w 9613"/>
                <a:gd name="connsiteY123" fmla="*/ 7119 h 10000"/>
                <a:gd name="connsiteX124" fmla="*/ 4761 w 9613"/>
                <a:gd name="connsiteY124" fmla="*/ 7256 h 10000"/>
                <a:gd name="connsiteX125" fmla="*/ 4808 w 9613"/>
                <a:gd name="connsiteY125" fmla="*/ 7152 h 10000"/>
                <a:gd name="connsiteX126" fmla="*/ 4861 w 9613"/>
                <a:gd name="connsiteY126" fmla="*/ 7322 h 10000"/>
                <a:gd name="connsiteX127" fmla="*/ 4927 w 9613"/>
                <a:gd name="connsiteY127" fmla="*/ 7662 h 10000"/>
                <a:gd name="connsiteX128" fmla="*/ 5122 w 9613"/>
                <a:gd name="connsiteY128" fmla="*/ 7739 h 10000"/>
                <a:gd name="connsiteX129" fmla="*/ 5168 w 9613"/>
                <a:gd name="connsiteY129" fmla="*/ 8183 h 10000"/>
                <a:gd name="connsiteX130" fmla="*/ 5332 w 9613"/>
                <a:gd name="connsiteY130" fmla="*/ 8276 h 10000"/>
                <a:gd name="connsiteX131" fmla="*/ 5162 w 9613"/>
                <a:gd name="connsiteY131" fmla="*/ 8370 h 10000"/>
                <a:gd name="connsiteX132" fmla="*/ 5105 w 9613"/>
                <a:gd name="connsiteY132" fmla="*/ 8260 h 10000"/>
                <a:gd name="connsiteX133" fmla="*/ 5040 w 9613"/>
                <a:gd name="connsiteY133" fmla="*/ 8403 h 10000"/>
                <a:gd name="connsiteX134" fmla="*/ 4873 w 9613"/>
                <a:gd name="connsiteY134" fmla="*/ 8287 h 10000"/>
                <a:gd name="connsiteX135" fmla="*/ 4780 w 9613"/>
                <a:gd name="connsiteY135" fmla="*/ 8452 h 10000"/>
                <a:gd name="connsiteX136" fmla="*/ 4586 w 9613"/>
                <a:gd name="connsiteY136" fmla="*/ 8331 h 10000"/>
                <a:gd name="connsiteX137" fmla="*/ 4679 w 9613"/>
                <a:gd name="connsiteY137" fmla="*/ 8699 h 10000"/>
                <a:gd name="connsiteX138" fmla="*/ 4670 w 9613"/>
                <a:gd name="connsiteY138" fmla="*/ 8967 h 10000"/>
                <a:gd name="connsiteX139" fmla="*/ 4546 w 9613"/>
                <a:gd name="connsiteY139" fmla="*/ 9088 h 10000"/>
                <a:gd name="connsiteX140" fmla="*/ 4586 w 9613"/>
                <a:gd name="connsiteY140" fmla="*/ 9193 h 10000"/>
                <a:gd name="connsiteX141" fmla="*/ 4411 w 9613"/>
                <a:gd name="connsiteY141" fmla="*/ 9412 h 10000"/>
                <a:gd name="connsiteX142" fmla="*/ 4480 w 9613"/>
                <a:gd name="connsiteY142" fmla="*/ 9647 h 10000"/>
                <a:gd name="connsiteX143" fmla="*/ 4310 w 9613"/>
                <a:gd name="connsiteY143" fmla="*/ 9681 h 10000"/>
                <a:gd name="connsiteX144" fmla="*/ 4265 w 9613"/>
                <a:gd name="connsiteY144" fmla="*/ 9741 h 10000"/>
                <a:gd name="connsiteX145" fmla="*/ 4339 w 9613"/>
                <a:gd name="connsiteY145" fmla="*/ 9785 h 10000"/>
                <a:gd name="connsiteX146" fmla="*/ 4469 w 9613"/>
                <a:gd name="connsiteY146" fmla="*/ 9944 h 10000"/>
                <a:gd name="connsiteX147" fmla="*/ 4679 w 9613"/>
                <a:gd name="connsiteY147" fmla="*/ 9999 h 10000"/>
                <a:gd name="connsiteX148" fmla="*/ 4686 w 9613"/>
                <a:gd name="connsiteY148" fmla="*/ 9851 h 10000"/>
                <a:gd name="connsiteX149" fmla="*/ 4761 w 9613"/>
                <a:gd name="connsiteY149" fmla="*/ 9856 h 10000"/>
                <a:gd name="connsiteX150" fmla="*/ 5074 w 9613"/>
                <a:gd name="connsiteY150" fmla="*/ 9603 h 10000"/>
                <a:gd name="connsiteX151" fmla="*/ 5280 w 9613"/>
                <a:gd name="connsiteY151" fmla="*/ 9845 h 10000"/>
                <a:gd name="connsiteX152" fmla="*/ 5280 w 9613"/>
                <a:gd name="connsiteY152" fmla="*/ 9862 h 10000"/>
                <a:gd name="connsiteX153" fmla="*/ 5313 w 9613"/>
                <a:gd name="connsiteY153" fmla="*/ 9703 h 10000"/>
                <a:gd name="connsiteX154" fmla="*/ 5254 w 9613"/>
                <a:gd name="connsiteY154" fmla="*/ 9570 h 10000"/>
                <a:gd name="connsiteX155" fmla="*/ 5183 w 9613"/>
                <a:gd name="connsiteY155" fmla="*/ 9549 h 10000"/>
                <a:gd name="connsiteX156" fmla="*/ 5231 w 9613"/>
                <a:gd name="connsiteY156" fmla="*/ 9466 h 10000"/>
                <a:gd name="connsiteX157" fmla="*/ 5216 w 9613"/>
                <a:gd name="connsiteY157" fmla="*/ 9444 h 10000"/>
                <a:gd name="connsiteX158" fmla="*/ 5154 w 9613"/>
                <a:gd name="connsiteY158" fmla="*/ 9439 h 10000"/>
                <a:gd name="connsiteX159" fmla="*/ 5122 w 9613"/>
                <a:gd name="connsiteY159" fmla="*/ 9121 h 10000"/>
                <a:gd name="connsiteX160" fmla="*/ 5168 w 9613"/>
                <a:gd name="connsiteY160" fmla="*/ 9105 h 10000"/>
                <a:gd name="connsiteX161" fmla="*/ 5191 w 9613"/>
                <a:gd name="connsiteY161" fmla="*/ 9253 h 10000"/>
                <a:gd name="connsiteX162" fmla="*/ 5247 w 9613"/>
                <a:gd name="connsiteY162" fmla="*/ 9384 h 10000"/>
                <a:gd name="connsiteX163" fmla="*/ 5296 w 9613"/>
                <a:gd name="connsiteY163" fmla="*/ 9302 h 10000"/>
                <a:gd name="connsiteX164" fmla="*/ 5284 w 9613"/>
                <a:gd name="connsiteY164" fmla="*/ 9220 h 10000"/>
                <a:gd name="connsiteX165" fmla="*/ 5361 w 9613"/>
                <a:gd name="connsiteY165" fmla="*/ 9203 h 10000"/>
                <a:gd name="connsiteX166" fmla="*/ 5320 w 9613"/>
                <a:gd name="connsiteY166" fmla="*/ 9034 h 10000"/>
                <a:gd name="connsiteX167" fmla="*/ 5426 w 9613"/>
                <a:gd name="connsiteY167" fmla="*/ 9061 h 10000"/>
                <a:gd name="connsiteX168" fmla="*/ 5430 w 9613"/>
                <a:gd name="connsiteY168" fmla="*/ 8972 h 10000"/>
                <a:gd name="connsiteX169" fmla="*/ 5471 w 9613"/>
                <a:gd name="connsiteY169" fmla="*/ 9039 h 10000"/>
                <a:gd name="connsiteX170" fmla="*/ 5649 w 9613"/>
                <a:gd name="connsiteY170" fmla="*/ 8781 h 10000"/>
                <a:gd name="connsiteX171" fmla="*/ 5547 w 9613"/>
                <a:gd name="connsiteY171" fmla="*/ 8584 h 10000"/>
                <a:gd name="connsiteX172" fmla="*/ 5358 w 9613"/>
                <a:gd name="connsiteY172" fmla="*/ 8425 h 10000"/>
                <a:gd name="connsiteX173" fmla="*/ 5466 w 9613"/>
                <a:gd name="connsiteY173" fmla="*/ 8370 h 10000"/>
                <a:gd name="connsiteX174" fmla="*/ 5624 w 9613"/>
                <a:gd name="connsiteY174" fmla="*/ 8633 h 10000"/>
                <a:gd name="connsiteX175" fmla="*/ 5742 w 9613"/>
                <a:gd name="connsiteY175" fmla="*/ 8199 h 10000"/>
                <a:gd name="connsiteX176" fmla="*/ 5750 w 9613"/>
                <a:gd name="connsiteY176" fmla="*/ 8030 h 10000"/>
                <a:gd name="connsiteX177" fmla="*/ 5948 w 9613"/>
                <a:gd name="connsiteY177" fmla="*/ 7942 h 10000"/>
                <a:gd name="connsiteX178" fmla="*/ 6022 w 9613"/>
                <a:gd name="connsiteY178" fmla="*/ 7607 h 10000"/>
                <a:gd name="connsiteX179" fmla="*/ 6034 w 9613"/>
                <a:gd name="connsiteY179" fmla="*/ 7734 h 10000"/>
                <a:gd name="connsiteX180" fmla="*/ 6160 w 9613"/>
                <a:gd name="connsiteY180" fmla="*/ 7596 h 10000"/>
                <a:gd name="connsiteX181" fmla="*/ 6249 w 9613"/>
                <a:gd name="connsiteY181" fmla="*/ 7579 h 10000"/>
                <a:gd name="connsiteX182" fmla="*/ 6339 w 9613"/>
                <a:gd name="connsiteY182" fmla="*/ 7207 h 10000"/>
                <a:gd name="connsiteX183" fmla="*/ 6419 w 9613"/>
                <a:gd name="connsiteY183" fmla="*/ 7486 h 10000"/>
                <a:gd name="connsiteX184" fmla="*/ 6659 w 9613"/>
                <a:gd name="connsiteY184" fmla="*/ 7563 h 10000"/>
                <a:gd name="connsiteX185" fmla="*/ 6477 w 9613"/>
                <a:gd name="connsiteY185" fmla="*/ 7618 h 10000"/>
                <a:gd name="connsiteX186" fmla="*/ 6460 w 9613"/>
                <a:gd name="connsiteY186" fmla="*/ 7679 h 10000"/>
                <a:gd name="connsiteX187" fmla="*/ 6279 w 9613"/>
                <a:gd name="connsiteY187" fmla="*/ 7690 h 10000"/>
                <a:gd name="connsiteX188" fmla="*/ 6185 w 9613"/>
                <a:gd name="connsiteY188" fmla="*/ 7723 h 10000"/>
                <a:gd name="connsiteX189" fmla="*/ 6258 w 9613"/>
                <a:gd name="connsiteY189" fmla="*/ 7772 h 10000"/>
                <a:gd name="connsiteX190" fmla="*/ 6323 w 9613"/>
                <a:gd name="connsiteY190" fmla="*/ 7756 h 10000"/>
                <a:gd name="connsiteX191" fmla="*/ 6502 w 9613"/>
                <a:gd name="connsiteY191" fmla="*/ 7789 h 10000"/>
                <a:gd name="connsiteX192" fmla="*/ 6299 w 9613"/>
                <a:gd name="connsiteY192" fmla="*/ 7964 h 10000"/>
                <a:gd name="connsiteX193" fmla="*/ 6371 w 9613"/>
                <a:gd name="connsiteY193" fmla="*/ 8008 h 10000"/>
                <a:gd name="connsiteX194" fmla="*/ 6557 w 9613"/>
                <a:gd name="connsiteY194" fmla="*/ 7958 h 10000"/>
                <a:gd name="connsiteX195" fmla="*/ 6809 w 9613"/>
                <a:gd name="connsiteY195" fmla="*/ 8101 h 10000"/>
                <a:gd name="connsiteX196" fmla="*/ 7134 w 9613"/>
                <a:gd name="connsiteY196" fmla="*/ 7909 h 10000"/>
                <a:gd name="connsiteX197" fmla="*/ 7504 w 9613"/>
                <a:gd name="connsiteY197" fmla="*/ 7745 h 10000"/>
                <a:gd name="connsiteX198" fmla="*/ 6975 w 9613"/>
                <a:gd name="connsiteY198" fmla="*/ 8989 h 10000"/>
                <a:gd name="connsiteX199" fmla="*/ 7847 w 9613"/>
                <a:gd name="connsiteY199" fmla="*/ 9675 h 10000"/>
                <a:gd name="connsiteX200" fmla="*/ 9609 w 9613"/>
                <a:gd name="connsiteY200" fmla="*/ 8343 h 10000"/>
                <a:gd name="connsiteX201" fmla="*/ 8364 w 9613"/>
                <a:gd name="connsiteY201" fmla="*/ 7991 h 10000"/>
                <a:gd name="connsiteX202" fmla="*/ 8336 w 9613"/>
                <a:gd name="connsiteY202" fmla="*/ 7904 h 10000"/>
                <a:gd name="connsiteX203" fmla="*/ 8255 w 9613"/>
                <a:gd name="connsiteY203" fmla="*/ 8002 h 10000"/>
                <a:gd name="connsiteX204" fmla="*/ 8372 w 9613"/>
                <a:gd name="connsiteY204" fmla="*/ 7761 h 10000"/>
                <a:gd name="connsiteX205" fmla="*/ 8441 w 9613"/>
                <a:gd name="connsiteY205" fmla="*/ 6987 h 10000"/>
                <a:gd name="connsiteX206" fmla="*/ 8559 w 9613"/>
                <a:gd name="connsiteY206" fmla="*/ 7081 h 10000"/>
                <a:gd name="connsiteX207" fmla="*/ 9097 w 9613"/>
                <a:gd name="connsiteY207"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587 w 10000"/>
                <a:gd name="connsiteY203" fmla="*/ 8002 h 10000"/>
                <a:gd name="connsiteX204" fmla="*/ 8781 w 10000"/>
                <a:gd name="connsiteY204" fmla="*/ 6987 h 10000"/>
                <a:gd name="connsiteX205" fmla="*/ 8904 w 10000"/>
                <a:gd name="connsiteY205" fmla="*/ 7081 h 10000"/>
                <a:gd name="connsiteX206" fmla="*/ 9463 w 10000"/>
                <a:gd name="connsiteY206"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781 w 10000"/>
                <a:gd name="connsiteY203" fmla="*/ 6987 h 10000"/>
                <a:gd name="connsiteX204" fmla="*/ 8904 w 10000"/>
                <a:gd name="connsiteY204" fmla="*/ 7081 h 10000"/>
                <a:gd name="connsiteX205" fmla="*/ 9463 w 10000"/>
                <a:gd name="connsiteY205"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781 w 10000"/>
                <a:gd name="connsiteY203" fmla="*/ 6987 h 10000"/>
                <a:gd name="connsiteX204" fmla="*/ 9463 w 10000"/>
                <a:gd name="connsiteY204"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781 w 10000"/>
                <a:gd name="connsiteY202" fmla="*/ 6987 h 10000"/>
                <a:gd name="connsiteX203" fmla="*/ 9463 w 10000"/>
                <a:gd name="connsiteY203"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9463 w 10000"/>
                <a:gd name="connsiteY202" fmla="*/ 6483 h 10000"/>
                <a:gd name="connsiteX0" fmla="*/ 8701 w 10002"/>
                <a:gd name="connsiteY0" fmla="*/ 7991 h 10000"/>
                <a:gd name="connsiteX1" fmla="*/ 7214 w 10002"/>
                <a:gd name="connsiteY1" fmla="*/ 1311 h 10000"/>
                <a:gd name="connsiteX2" fmla="*/ 7122 w 10002"/>
                <a:gd name="connsiteY2" fmla="*/ 1223 h 10000"/>
                <a:gd name="connsiteX3" fmla="*/ 6915 w 10002"/>
                <a:gd name="connsiteY3" fmla="*/ 1273 h 10000"/>
                <a:gd name="connsiteX4" fmla="*/ 6934 w 10002"/>
                <a:gd name="connsiteY4" fmla="*/ 1125 h 10000"/>
                <a:gd name="connsiteX5" fmla="*/ 6856 w 10002"/>
                <a:gd name="connsiteY5" fmla="*/ 1119 h 10000"/>
                <a:gd name="connsiteX6" fmla="*/ 6818 w 10002"/>
                <a:gd name="connsiteY6" fmla="*/ 910 h 10000"/>
                <a:gd name="connsiteX7" fmla="*/ 6707 w 10002"/>
                <a:gd name="connsiteY7" fmla="*/ 795 h 10000"/>
                <a:gd name="connsiteX8" fmla="*/ 6934 w 10002"/>
                <a:gd name="connsiteY8" fmla="*/ 620 h 10000"/>
                <a:gd name="connsiteX9" fmla="*/ 6662 w 10002"/>
                <a:gd name="connsiteY9" fmla="*/ 395 h 10000"/>
                <a:gd name="connsiteX10" fmla="*/ 6607 w 10002"/>
                <a:gd name="connsiteY10" fmla="*/ 142 h 10000"/>
                <a:gd name="connsiteX11" fmla="*/ 6480 w 10002"/>
                <a:gd name="connsiteY11" fmla="*/ 110 h 10000"/>
                <a:gd name="connsiteX12" fmla="*/ 6375 w 10002"/>
                <a:gd name="connsiteY12" fmla="*/ 0 h 10000"/>
                <a:gd name="connsiteX13" fmla="*/ 6261 w 10002"/>
                <a:gd name="connsiteY13" fmla="*/ 120 h 10000"/>
                <a:gd name="connsiteX14" fmla="*/ 6070 w 10002"/>
                <a:gd name="connsiteY14" fmla="*/ 110 h 10000"/>
                <a:gd name="connsiteX15" fmla="*/ 5906 w 10002"/>
                <a:gd name="connsiteY15" fmla="*/ 351 h 10000"/>
                <a:gd name="connsiteX16" fmla="*/ 5589 w 10002"/>
                <a:gd name="connsiteY16" fmla="*/ 329 h 10000"/>
                <a:gd name="connsiteX17" fmla="*/ 5512 w 10002"/>
                <a:gd name="connsiteY17" fmla="*/ 680 h 10000"/>
                <a:gd name="connsiteX18" fmla="*/ 5306 w 10002"/>
                <a:gd name="connsiteY18" fmla="*/ 707 h 10000"/>
                <a:gd name="connsiteX19" fmla="*/ 5412 w 10002"/>
                <a:gd name="connsiteY19" fmla="*/ 844 h 10000"/>
                <a:gd name="connsiteX20" fmla="*/ 5348 w 10002"/>
                <a:gd name="connsiteY20" fmla="*/ 899 h 10000"/>
                <a:gd name="connsiteX21" fmla="*/ 5206 w 10002"/>
                <a:gd name="connsiteY21" fmla="*/ 894 h 10000"/>
                <a:gd name="connsiteX22" fmla="*/ 5011 w 10002"/>
                <a:gd name="connsiteY22" fmla="*/ 1026 h 10000"/>
                <a:gd name="connsiteX23" fmla="*/ 4800 w 10002"/>
                <a:gd name="connsiteY23" fmla="*/ 1668 h 10000"/>
                <a:gd name="connsiteX24" fmla="*/ 4862 w 10002"/>
                <a:gd name="connsiteY24" fmla="*/ 2090 h 10000"/>
                <a:gd name="connsiteX25" fmla="*/ 4652 w 10002"/>
                <a:gd name="connsiteY25" fmla="*/ 1865 h 10000"/>
                <a:gd name="connsiteX26" fmla="*/ 4345 w 10002"/>
                <a:gd name="connsiteY26" fmla="*/ 1991 h 10000"/>
                <a:gd name="connsiteX27" fmla="*/ 4315 w 10002"/>
                <a:gd name="connsiteY27" fmla="*/ 1931 h 10000"/>
                <a:gd name="connsiteX28" fmla="*/ 4170 w 10002"/>
                <a:gd name="connsiteY28" fmla="*/ 2002 h 10000"/>
                <a:gd name="connsiteX29" fmla="*/ 4086 w 10002"/>
                <a:gd name="connsiteY29" fmla="*/ 2144 h 10000"/>
                <a:gd name="connsiteX30" fmla="*/ 4021 w 10002"/>
                <a:gd name="connsiteY30" fmla="*/ 1909 h 10000"/>
                <a:gd name="connsiteX31" fmla="*/ 3926 w 10002"/>
                <a:gd name="connsiteY31" fmla="*/ 1843 h 10000"/>
                <a:gd name="connsiteX32" fmla="*/ 3887 w 10002"/>
                <a:gd name="connsiteY32" fmla="*/ 1964 h 10000"/>
                <a:gd name="connsiteX33" fmla="*/ 3761 w 10002"/>
                <a:gd name="connsiteY33" fmla="*/ 1996 h 10000"/>
                <a:gd name="connsiteX34" fmla="*/ 3693 w 10002"/>
                <a:gd name="connsiteY34" fmla="*/ 2161 h 10000"/>
                <a:gd name="connsiteX35" fmla="*/ 3650 w 10002"/>
                <a:gd name="connsiteY35" fmla="*/ 2013 h 10000"/>
                <a:gd name="connsiteX36" fmla="*/ 3524 w 10002"/>
                <a:gd name="connsiteY36" fmla="*/ 2024 h 10000"/>
                <a:gd name="connsiteX37" fmla="*/ 3474 w 10002"/>
                <a:gd name="connsiteY37" fmla="*/ 2128 h 10000"/>
                <a:gd name="connsiteX38" fmla="*/ 3399 w 10002"/>
                <a:gd name="connsiteY38" fmla="*/ 1975 h 10000"/>
                <a:gd name="connsiteX39" fmla="*/ 3268 w 10002"/>
                <a:gd name="connsiteY39" fmla="*/ 2117 h 10000"/>
                <a:gd name="connsiteX40" fmla="*/ 3142 w 10002"/>
                <a:gd name="connsiteY40" fmla="*/ 2106 h 10000"/>
                <a:gd name="connsiteX41" fmla="*/ 3137 w 10002"/>
                <a:gd name="connsiteY41" fmla="*/ 2276 h 10000"/>
                <a:gd name="connsiteX42" fmla="*/ 3078 w 10002"/>
                <a:gd name="connsiteY42" fmla="*/ 2144 h 10000"/>
                <a:gd name="connsiteX43" fmla="*/ 2889 w 10002"/>
                <a:gd name="connsiteY43" fmla="*/ 2155 h 10000"/>
                <a:gd name="connsiteX44" fmla="*/ 2751 w 10002"/>
                <a:gd name="connsiteY44" fmla="*/ 1980 h 10000"/>
                <a:gd name="connsiteX45" fmla="*/ 2588 w 10002"/>
                <a:gd name="connsiteY45" fmla="*/ 2073 h 10000"/>
                <a:gd name="connsiteX46" fmla="*/ 2420 w 10002"/>
                <a:gd name="connsiteY46" fmla="*/ 1958 h 10000"/>
                <a:gd name="connsiteX47" fmla="*/ 2322 w 10002"/>
                <a:gd name="connsiteY47" fmla="*/ 2035 h 10000"/>
                <a:gd name="connsiteX48" fmla="*/ 2229 w 10002"/>
                <a:gd name="connsiteY48" fmla="*/ 1947 h 10000"/>
                <a:gd name="connsiteX49" fmla="*/ 2091 w 10002"/>
                <a:gd name="connsiteY49" fmla="*/ 1936 h 10000"/>
                <a:gd name="connsiteX50" fmla="*/ 1884 w 10002"/>
                <a:gd name="connsiteY50" fmla="*/ 1925 h 10000"/>
                <a:gd name="connsiteX51" fmla="*/ 1629 w 10002"/>
                <a:gd name="connsiteY51" fmla="*/ 1991 h 10000"/>
                <a:gd name="connsiteX52" fmla="*/ 1361 w 10002"/>
                <a:gd name="connsiteY52" fmla="*/ 2062 h 10000"/>
                <a:gd name="connsiteX53" fmla="*/ 1040 w 10002"/>
                <a:gd name="connsiteY53" fmla="*/ 2166 h 10000"/>
                <a:gd name="connsiteX54" fmla="*/ 899 w 10002"/>
                <a:gd name="connsiteY54" fmla="*/ 2496 h 10000"/>
                <a:gd name="connsiteX55" fmla="*/ 680 w 10002"/>
                <a:gd name="connsiteY55" fmla="*/ 2501 h 10000"/>
                <a:gd name="connsiteX56" fmla="*/ 610 w 10002"/>
                <a:gd name="connsiteY56" fmla="*/ 2687 h 10000"/>
                <a:gd name="connsiteX57" fmla="*/ 630 w 10002"/>
                <a:gd name="connsiteY57" fmla="*/ 2764 h 10000"/>
                <a:gd name="connsiteX58" fmla="*/ 651 w 10002"/>
                <a:gd name="connsiteY58" fmla="*/ 2868 h 10000"/>
                <a:gd name="connsiteX59" fmla="*/ 651 w 10002"/>
                <a:gd name="connsiteY59" fmla="*/ 2868 h 10000"/>
                <a:gd name="connsiteX60" fmla="*/ 651 w 10002"/>
                <a:gd name="connsiteY60" fmla="*/ 2896 h 10000"/>
                <a:gd name="connsiteX61" fmla="*/ 770 w 10002"/>
                <a:gd name="connsiteY61" fmla="*/ 3116 h 10000"/>
                <a:gd name="connsiteX62" fmla="*/ 887 w 10002"/>
                <a:gd name="connsiteY62" fmla="*/ 3351 h 10000"/>
                <a:gd name="connsiteX63" fmla="*/ 1040 w 10002"/>
                <a:gd name="connsiteY63" fmla="*/ 3488 h 10000"/>
                <a:gd name="connsiteX64" fmla="*/ 988 w 10002"/>
                <a:gd name="connsiteY64" fmla="*/ 3548 h 10000"/>
                <a:gd name="connsiteX65" fmla="*/ 909 w 10002"/>
                <a:gd name="connsiteY65" fmla="*/ 3603 h 10000"/>
                <a:gd name="connsiteX66" fmla="*/ 1000 w 10002"/>
                <a:gd name="connsiteY66" fmla="*/ 3697 h 10000"/>
                <a:gd name="connsiteX67" fmla="*/ 988 w 10002"/>
                <a:gd name="connsiteY67" fmla="*/ 4053 h 10000"/>
                <a:gd name="connsiteX68" fmla="*/ 781 w 10002"/>
                <a:gd name="connsiteY68" fmla="*/ 4124 h 10000"/>
                <a:gd name="connsiteX69" fmla="*/ 561 w 10002"/>
                <a:gd name="connsiteY69" fmla="*/ 4531 h 10000"/>
                <a:gd name="connsiteX70" fmla="*/ 419 w 10002"/>
                <a:gd name="connsiteY70" fmla="*/ 4936 h 10000"/>
                <a:gd name="connsiteX71" fmla="*/ 219 w 10002"/>
                <a:gd name="connsiteY71" fmla="*/ 5260 h 10000"/>
                <a:gd name="connsiteX72" fmla="*/ 305 w 10002"/>
                <a:gd name="connsiteY72" fmla="*/ 5517 h 10000"/>
                <a:gd name="connsiteX73" fmla="*/ 312 w 10002"/>
                <a:gd name="connsiteY73" fmla="*/ 5732 h 10000"/>
                <a:gd name="connsiteX74" fmla="*/ 451 w 10002"/>
                <a:gd name="connsiteY74" fmla="*/ 5841 h 10000"/>
                <a:gd name="connsiteX75" fmla="*/ 432 w 10002"/>
                <a:gd name="connsiteY75" fmla="*/ 5945 h 10000"/>
                <a:gd name="connsiteX76" fmla="*/ 228 w 10002"/>
                <a:gd name="connsiteY76" fmla="*/ 5852 h 10000"/>
                <a:gd name="connsiteX77" fmla="*/ 140 w 10002"/>
                <a:gd name="connsiteY77" fmla="*/ 6099 h 10000"/>
                <a:gd name="connsiteX78" fmla="*/ 119 w 10002"/>
                <a:gd name="connsiteY78" fmla="*/ 6346 h 10000"/>
                <a:gd name="connsiteX79" fmla="*/ 1 w 10002"/>
                <a:gd name="connsiteY79" fmla="*/ 6571 h 10000"/>
                <a:gd name="connsiteX80" fmla="*/ 21 w 10002"/>
                <a:gd name="connsiteY80" fmla="*/ 6779 h 10000"/>
                <a:gd name="connsiteX81" fmla="*/ 101 w 10002"/>
                <a:gd name="connsiteY81" fmla="*/ 6828 h 10000"/>
                <a:gd name="connsiteX82" fmla="*/ 175 w 10002"/>
                <a:gd name="connsiteY82" fmla="*/ 6960 h 10000"/>
                <a:gd name="connsiteX83" fmla="*/ 272 w 10002"/>
                <a:gd name="connsiteY83" fmla="*/ 6943 h 10000"/>
                <a:gd name="connsiteX84" fmla="*/ 330 w 10002"/>
                <a:gd name="connsiteY84" fmla="*/ 7076 h 10000"/>
                <a:gd name="connsiteX85" fmla="*/ 502 w 10002"/>
                <a:gd name="connsiteY85" fmla="*/ 7103 h 10000"/>
                <a:gd name="connsiteX86" fmla="*/ 511 w 10002"/>
                <a:gd name="connsiteY86" fmla="*/ 7251 h 10000"/>
                <a:gd name="connsiteX87" fmla="*/ 557 w 10002"/>
                <a:gd name="connsiteY87" fmla="*/ 7278 h 10000"/>
                <a:gd name="connsiteX88" fmla="*/ 593 w 10002"/>
                <a:gd name="connsiteY88" fmla="*/ 7174 h 10000"/>
                <a:gd name="connsiteX89" fmla="*/ 655 w 10002"/>
                <a:gd name="connsiteY89" fmla="*/ 7196 h 10000"/>
                <a:gd name="connsiteX90" fmla="*/ 727 w 10002"/>
                <a:gd name="connsiteY90" fmla="*/ 6992 h 10000"/>
                <a:gd name="connsiteX91" fmla="*/ 926 w 10002"/>
                <a:gd name="connsiteY91" fmla="*/ 7174 h 10000"/>
                <a:gd name="connsiteX92" fmla="*/ 1449 w 10002"/>
                <a:gd name="connsiteY92" fmla="*/ 7163 h 10000"/>
                <a:gd name="connsiteX93" fmla="*/ 1655 w 10002"/>
                <a:gd name="connsiteY93" fmla="*/ 7092 h 10000"/>
                <a:gd name="connsiteX94" fmla="*/ 1994 w 10002"/>
                <a:gd name="connsiteY94" fmla="*/ 7344 h 10000"/>
                <a:gd name="connsiteX95" fmla="*/ 2208 w 10002"/>
                <a:gd name="connsiteY95" fmla="*/ 7087 h 10000"/>
                <a:gd name="connsiteX96" fmla="*/ 2689 w 10002"/>
                <a:gd name="connsiteY96" fmla="*/ 6861 h 10000"/>
                <a:gd name="connsiteX97" fmla="*/ 2863 w 10002"/>
                <a:gd name="connsiteY97" fmla="*/ 6489 h 10000"/>
                <a:gd name="connsiteX98" fmla="*/ 2989 w 10002"/>
                <a:gd name="connsiteY98" fmla="*/ 6439 h 10000"/>
                <a:gd name="connsiteX99" fmla="*/ 2989 w 10002"/>
                <a:gd name="connsiteY99" fmla="*/ 6379 h 10000"/>
                <a:gd name="connsiteX100" fmla="*/ 3040 w 10002"/>
                <a:gd name="connsiteY100" fmla="*/ 6379 h 10000"/>
                <a:gd name="connsiteX101" fmla="*/ 3028 w 10002"/>
                <a:gd name="connsiteY101" fmla="*/ 6230 h 10000"/>
                <a:gd name="connsiteX102" fmla="*/ 3183 w 10002"/>
                <a:gd name="connsiteY102" fmla="*/ 6285 h 10000"/>
                <a:gd name="connsiteX103" fmla="*/ 3204 w 10002"/>
                <a:gd name="connsiteY103" fmla="*/ 6159 h 10000"/>
                <a:gd name="connsiteX104" fmla="*/ 3297 w 10002"/>
                <a:gd name="connsiteY104" fmla="*/ 6230 h 10000"/>
                <a:gd name="connsiteX105" fmla="*/ 3366 w 10002"/>
                <a:gd name="connsiteY105" fmla="*/ 6126 h 10000"/>
                <a:gd name="connsiteX106" fmla="*/ 3474 w 10002"/>
                <a:gd name="connsiteY106" fmla="*/ 6154 h 10000"/>
                <a:gd name="connsiteX107" fmla="*/ 3572 w 10002"/>
                <a:gd name="connsiteY107" fmla="*/ 6055 h 10000"/>
                <a:gd name="connsiteX108" fmla="*/ 3756 w 10002"/>
                <a:gd name="connsiteY108" fmla="*/ 6192 h 10000"/>
                <a:gd name="connsiteX109" fmla="*/ 3851 w 10002"/>
                <a:gd name="connsiteY109" fmla="*/ 6197 h 10000"/>
                <a:gd name="connsiteX110" fmla="*/ 3880 w 10002"/>
                <a:gd name="connsiteY110" fmla="*/ 6307 h 10000"/>
                <a:gd name="connsiteX111" fmla="*/ 4054 w 10002"/>
                <a:gd name="connsiteY111" fmla="*/ 6236 h 10000"/>
                <a:gd name="connsiteX112" fmla="*/ 4036 w 10002"/>
                <a:gd name="connsiteY112" fmla="*/ 6357 h 10000"/>
                <a:gd name="connsiteX113" fmla="*/ 4101 w 10002"/>
                <a:gd name="connsiteY113" fmla="*/ 6341 h 10000"/>
                <a:gd name="connsiteX114" fmla="*/ 4175 w 10002"/>
                <a:gd name="connsiteY114" fmla="*/ 6428 h 10000"/>
                <a:gd name="connsiteX115" fmla="*/ 4179 w 10002"/>
                <a:gd name="connsiteY115" fmla="*/ 6301 h 10000"/>
                <a:gd name="connsiteX116" fmla="*/ 4382 w 10002"/>
                <a:gd name="connsiteY116" fmla="*/ 6341 h 10000"/>
                <a:gd name="connsiteX117" fmla="*/ 4455 w 10002"/>
                <a:gd name="connsiteY117" fmla="*/ 6511 h 10000"/>
                <a:gd name="connsiteX118" fmla="*/ 4568 w 10002"/>
                <a:gd name="connsiteY118" fmla="*/ 6494 h 10000"/>
                <a:gd name="connsiteX119" fmla="*/ 4617 w 10002"/>
                <a:gd name="connsiteY119" fmla="*/ 6417 h 10000"/>
                <a:gd name="connsiteX120" fmla="*/ 4732 w 10002"/>
                <a:gd name="connsiteY120" fmla="*/ 6735 h 10000"/>
                <a:gd name="connsiteX121" fmla="*/ 4691 w 10002"/>
                <a:gd name="connsiteY121" fmla="*/ 6987 h 10000"/>
                <a:gd name="connsiteX122" fmla="*/ 4750 w 10002"/>
                <a:gd name="connsiteY122" fmla="*/ 7114 h 10000"/>
                <a:gd name="connsiteX123" fmla="*/ 4828 w 10002"/>
                <a:gd name="connsiteY123" fmla="*/ 7119 h 10000"/>
                <a:gd name="connsiteX124" fmla="*/ 4953 w 10002"/>
                <a:gd name="connsiteY124" fmla="*/ 7256 h 10000"/>
                <a:gd name="connsiteX125" fmla="*/ 5002 w 10002"/>
                <a:gd name="connsiteY125" fmla="*/ 7152 h 10000"/>
                <a:gd name="connsiteX126" fmla="*/ 5057 w 10002"/>
                <a:gd name="connsiteY126" fmla="*/ 7322 h 10000"/>
                <a:gd name="connsiteX127" fmla="*/ 5125 w 10002"/>
                <a:gd name="connsiteY127" fmla="*/ 7662 h 10000"/>
                <a:gd name="connsiteX128" fmla="*/ 5328 w 10002"/>
                <a:gd name="connsiteY128" fmla="*/ 7739 h 10000"/>
                <a:gd name="connsiteX129" fmla="*/ 5376 w 10002"/>
                <a:gd name="connsiteY129" fmla="*/ 8183 h 10000"/>
                <a:gd name="connsiteX130" fmla="*/ 5547 w 10002"/>
                <a:gd name="connsiteY130" fmla="*/ 8276 h 10000"/>
                <a:gd name="connsiteX131" fmla="*/ 5370 w 10002"/>
                <a:gd name="connsiteY131" fmla="*/ 8370 h 10000"/>
                <a:gd name="connsiteX132" fmla="*/ 5311 w 10002"/>
                <a:gd name="connsiteY132" fmla="*/ 8260 h 10000"/>
                <a:gd name="connsiteX133" fmla="*/ 5243 w 10002"/>
                <a:gd name="connsiteY133" fmla="*/ 8403 h 10000"/>
                <a:gd name="connsiteX134" fmla="*/ 5069 w 10002"/>
                <a:gd name="connsiteY134" fmla="*/ 8287 h 10000"/>
                <a:gd name="connsiteX135" fmla="*/ 4972 w 10002"/>
                <a:gd name="connsiteY135" fmla="*/ 8452 h 10000"/>
                <a:gd name="connsiteX136" fmla="*/ 4771 w 10002"/>
                <a:gd name="connsiteY136" fmla="*/ 8331 h 10000"/>
                <a:gd name="connsiteX137" fmla="*/ 4867 w 10002"/>
                <a:gd name="connsiteY137" fmla="*/ 8699 h 10000"/>
                <a:gd name="connsiteX138" fmla="*/ 4858 w 10002"/>
                <a:gd name="connsiteY138" fmla="*/ 8967 h 10000"/>
                <a:gd name="connsiteX139" fmla="*/ 4729 w 10002"/>
                <a:gd name="connsiteY139" fmla="*/ 9088 h 10000"/>
                <a:gd name="connsiteX140" fmla="*/ 4771 w 10002"/>
                <a:gd name="connsiteY140" fmla="*/ 9193 h 10000"/>
                <a:gd name="connsiteX141" fmla="*/ 4589 w 10002"/>
                <a:gd name="connsiteY141" fmla="*/ 9412 h 10000"/>
                <a:gd name="connsiteX142" fmla="*/ 4660 w 10002"/>
                <a:gd name="connsiteY142" fmla="*/ 9647 h 10000"/>
                <a:gd name="connsiteX143" fmla="*/ 4484 w 10002"/>
                <a:gd name="connsiteY143" fmla="*/ 9681 h 10000"/>
                <a:gd name="connsiteX144" fmla="*/ 4437 w 10002"/>
                <a:gd name="connsiteY144" fmla="*/ 9741 h 10000"/>
                <a:gd name="connsiteX145" fmla="*/ 4514 w 10002"/>
                <a:gd name="connsiteY145" fmla="*/ 9785 h 10000"/>
                <a:gd name="connsiteX146" fmla="*/ 4649 w 10002"/>
                <a:gd name="connsiteY146" fmla="*/ 9944 h 10000"/>
                <a:gd name="connsiteX147" fmla="*/ 4867 w 10002"/>
                <a:gd name="connsiteY147" fmla="*/ 9999 h 10000"/>
                <a:gd name="connsiteX148" fmla="*/ 4875 w 10002"/>
                <a:gd name="connsiteY148" fmla="*/ 9851 h 10000"/>
                <a:gd name="connsiteX149" fmla="*/ 4953 w 10002"/>
                <a:gd name="connsiteY149" fmla="*/ 9856 h 10000"/>
                <a:gd name="connsiteX150" fmla="*/ 5278 w 10002"/>
                <a:gd name="connsiteY150" fmla="*/ 9603 h 10000"/>
                <a:gd name="connsiteX151" fmla="*/ 5493 w 10002"/>
                <a:gd name="connsiteY151" fmla="*/ 9845 h 10000"/>
                <a:gd name="connsiteX152" fmla="*/ 5493 w 10002"/>
                <a:gd name="connsiteY152" fmla="*/ 9862 h 10000"/>
                <a:gd name="connsiteX153" fmla="*/ 5527 w 10002"/>
                <a:gd name="connsiteY153" fmla="*/ 9703 h 10000"/>
                <a:gd name="connsiteX154" fmla="*/ 5466 w 10002"/>
                <a:gd name="connsiteY154" fmla="*/ 9570 h 10000"/>
                <a:gd name="connsiteX155" fmla="*/ 5392 w 10002"/>
                <a:gd name="connsiteY155" fmla="*/ 9549 h 10000"/>
                <a:gd name="connsiteX156" fmla="*/ 5442 w 10002"/>
                <a:gd name="connsiteY156" fmla="*/ 9466 h 10000"/>
                <a:gd name="connsiteX157" fmla="*/ 5426 w 10002"/>
                <a:gd name="connsiteY157" fmla="*/ 9444 h 10000"/>
                <a:gd name="connsiteX158" fmla="*/ 5361 w 10002"/>
                <a:gd name="connsiteY158" fmla="*/ 9439 h 10000"/>
                <a:gd name="connsiteX159" fmla="*/ 5328 w 10002"/>
                <a:gd name="connsiteY159" fmla="*/ 9121 h 10000"/>
                <a:gd name="connsiteX160" fmla="*/ 5376 w 10002"/>
                <a:gd name="connsiteY160" fmla="*/ 9105 h 10000"/>
                <a:gd name="connsiteX161" fmla="*/ 5400 w 10002"/>
                <a:gd name="connsiteY161" fmla="*/ 9253 h 10000"/>
                <a:gd name="connsiteX162" fmla="*/ 5458 w 10002"/>
                <a:gd name="connsiteY162" fmla="*/ 9384 h 10000"/>
                <a:gd name="connsiteX163" fmla="*/ 5509 w 10002"/>
                <a:gd name="connsiteY163" fmla="*/ 9302 h 10000"/>
                <a:gd name="connsiteX164" fmla="*/ 5497 w 10002"/>
                <a:gd name="connsiteY164" fmla="*/ 9220 h 10000"/>
                <a:gd name="connsiteX165" fmla="*/ 5577 w 10002"/>
                <a:gd name="connsiteY165" fmla="*/ 9203 h 10000"/>
                <a:gd name="connsiteX166" fmla="*/ 5534 w 10002"/>
                <a:gd name="connsiteY166" fmla="*/ 9034 h 10000"/>
                <a:gd name="connsiteX167" fmla="*/ 5644 w 10002"/>
                <a:gd name="connsiteY167" fmla="*/ 9061 h 10000"/>
                <a:gd name="connsiteX168" fmla="*/ 5649 w 10002"/>
                <a:gd name="connsiteY168" fmla="*/ 8972 h 10000"/>
                <a:gd name="connsiteX169" fmla="*/ 5691 w 10002"/>
                <a:gd name="connsiteY169" fmla="*/ 9039 h 10000"/>
                <a:gd name="connsiteX170" fmla="*/ 5876 w 10002"/>
                <a:gd name="connsiteY170" fmla="*/ 8781 h 10000"/>
                <a:gd name="connsiteX171" fmla="*/ 5770 w 10002"/>
                <a:gd name="connsiteY171" fmla="*/ 8584 h 10000"/>
                <a:gd name="connsiteX172" fmla="*/ 5574 w 10002"/>
                <a:gd name="connsiteY172" fmla="*/ 8425 h 10000"/>
                <a:gd name="connsiteX173" fmla="*/ 5686 w 10002"/>
                <a:gd name="connsiteY173" fmla="*/ 8370 h 10000"/>
                <a:gd name="connsiteX174" fmla="*/ 5850 w 10002"/>
                <a:gd name="connsiteY174" fmla="*/ 8633 h 10000"/>
                <a:gd name="connsiteX175" fmla="*/ 5973 w 10002"/>
                <a:gd name="connsiteY175" fmla="*/ 8199 h 10000"/>
                <a:gd name="connsiteX176" fmla="*/ 5981 w 10002"/>
                <a:gd name="connsiteY176" fmla="*/ 8030 h 10000"/>
                <a:gd name="connsiteX177" fmla="*/ 6187 w 10002"/>
                <a:gd name="connsiteY177" fmla="*/ 7942 h 10000"/>
                <a:gd name="connsiteX178" fmla="*/ 6264 w 10002"/>
                <a:gd name="connsiteY178" fmla="*/ 7607 h 10000"/>
                <a:gd name="connsiteX179" fmla="*/ 6277 w 10002"/>
                <a:gd name="connsiteY179" fmla="*/ 7734 h 10000"/>
                <a:gd name="connsiteX180" fmla="*/ 6408 w 10002"/>
                <a:gd name="connsiteY180" fmla="*/ 7596 h 10000"/>
                <a:gd name="connsiteX181" fmla="*/ 6501 w 10002"/>
                <a:gd name="connsiteY181" fmla="*/ 7579 h 10000"/>
                <a:gd name="connsiteX182" fmla="*/ 6594 w 10002"/>
                <a:gd name="connsiteY182" fmla="*/ 7207 h 10000"/>
                <a:gd name="connsiteX183" fmla="*/ 6677 w 10002"/>
                <a:gd name="connsiteY183" fmla="*/ 7486 h 10000"/>
                <a:gd name="connsiteX184" fmla="*/ 6927 w 10002"/>
                <a:gd name="connsiteY184" fmla="*/ 7563 h 10000"/>
                <a:gd name="connsiteX185" fmla="*/ 6738 w 10002"/>
                <a:gd name="connsiteY185" fmla="*/ 7618 h 10000"/>
                <a:gd name="connsiteX186" fmla="*/ 6720 w 10002"/>
                <a:gd name="connsiteY186" fmla="*/ 7679 h 10000"/>
                <a:gd name="connsiteX187" fmla="*/ 6532 w 10002"/>
                <a:gd name="connsiteY187" fmla="*/ 7690 h 10000"/>
                <a:gd name="connsiteX188" fmla="*/ 6434 w 10002"/>
                <a:gd name="connsiteY188" fmla="*/ 7723 h 10000"/>
                <a:gd name="connsiteX189" fmla="*/ 6510 w 10002"/>
                <a:gd name="connsiteY189" fmla="*/ 7772 h 10000"/>
                <a:gd name="connsiteX190" fmla="*/ 6578 w 10002"/>
                <a:gd name="connsiteY190" fmla="*/ 7756 h 10000"/>
                <a:gd name="connsiteX191" fmla="*/ 6764 w 10002"/>
                <a:gd name="connsiteY191" fmla="*/ 7789 h 10000"/>
                <a:gd name="connsiteX192" fmla="*/ 6553 w 10002"/>
                <a:gd name="connsiteY192" fmla="*/ 7964 h 10000"/>
                <a:gd name="connsiteX193" fmla="*/ 6627 w 10002"/>
                <a:gd name="connsiteY193" fmla="*/ 8008 h 10000"/>
                <a:gd name="connsiteX194" fmla="*/ 6821 w 10002"/>
                <a:gd name="connsiteY194" fmla="*/ 7958 h 10000"/>
                <a:gd name="connsiteX195" fmla="*/ 7083 w 10002"/>
                <a:gd name="connsiteY195" fmla="*/ 8101 h 10000"/>
                <a:gd name="connsiteX196" fmla="*/ 7421 w 10002"/>
                <a:gd name="connsiteY196" fmla="*/ 7909 h 10000"/>
                <a:gd name="connsiteX197" fmla="*/ 7806 w 10002"/>
                <a:gd name="connsiteY197" fmla="*/ 7745 h 10000"/>
                <a:gd name="connsiteX198" fmla="*/ 7256 w 10002"/>
                <a:gd name="connsiteY198" fmla="*/ 8989 h 10000"/>
                <a:gd name="connsiteX199" fmla="*/ 8163 w 10002"/>
                <a:gd name="connsiteY199" fmla="*/ 9675 h 10000"/>
                <a:gd name="connsiteX200" fmla="*/ 9996 w 10002"/>
                <a:gd name="connsiteY200" fmla="*/ 8343 h 10000"/>
                <a:gd name="connsiteX201" fmla="*/ 8701 w 10002"/>
                <a:gd name="connsiteY201" fmla="*/ 7991 h 10000"/>
                <a:gd name="connsiteX0" fmla="*/ 9996 w 9996"/>
                <a:gd name="connsiteY0" fmla="*/ 8343 h 10000"/>
                <a:gd name="connsiteX1" fmla="*/ 7214 w 9996"/>
                <a:gd name="connsiteY1" fmla="*/ 1311 h 10000"/>
                <a:gd name="connsiteX2" fmla="*/ 7122 w 9996"/>
                <a:gd name="connsiteY2" fmla="*/ 1223 h 10000"/>
                <a:gd name="connsiteX3" fmla="*/ 6915 w 9996"/>
                <a:gd name="connsiteY3" fmla="*/ 1273 h 10000"/>
                <a:gd name="connsiteX4" fmla="*/ 6934 w 9996"/>
                <a:gd name="connsiteY4" fmla="*/ 1125 h 10000"/>
                <a:gd name="connsiteX5" fmla="*/ 6856 w 9996"/>
                <a:gd name="connsiteY5" fmla="*/ 1119 h 10000"/>
                <a:gd name="connsiteX6" fmla="*/ 6818 w 9996"/>
                <a:gd name="connsiteY6" fmla="*/ 910 h 10000"/>
                <a:gd name="connsiteX7" fmla="*/ 6707 w 9996"/>
                <a:gd name="connsiteY7" fmla="*/ 795 h 10000"/>
                <a:gd name="connsiteX8" fmla="*/ 6934 w 9996"/>
                <a:gd name="connsiteY8" fmla="*/ 620 h 10000"/>
                <a:gd name="connsiteX9" fmla="*/ 6662 w 9996"/>
                <a:gd name="connsiteY9" fmla="*/ 395 h 10000"/>
                <a:gd name="connsiteX10" fmla="*/ 6607 w 9996"/>
                <a:gd name="connsiteY10" fmla="*/ 142 h 10000"/>
                <a:gd name="connsiteX11" fmla="*/ 6480 w 9996"/>
                <a:gd name="connsiteY11" fmla="*/ 110 h 10000"/>
                <a:gd name="connsiteX12" fmla="*/ 6375 w 9996"/>
                <a:gd name="connsiteY12" fmla="*/ 0 h 10000"/>
                <a:gd name="connsiteX13" fmla="*/ 6261 w 9996"/>
                <a:gd name="connsiteY13" fmla="*/ 120 h 10000"/>
                <a:gd name="connsiteX14" fmla="*/ 6070 w 9996"/>
                <a:gd name="connsiteY14" fmla="*/ 110 h 10000"/>
                <a:gd name="connsiteX15" fmla="*/ 5906 w 9996"/>
                <a:gd name="connsiteY15" fmla="*/ 351 h 10000"/>
                <a:gd name="connsiteX16" fmla="*/ 5589 w 9996"/>
                <a:gd name="connsiteY16" fmla="*/ 329 h 10000"/>
                <a:gd name="connsiteX17" fmla="*/ 5512 w 9996"/>
                <a:gd name="connsiteY17" fmla="*/ 680 h 10000"/>
                <a:gd name="connsiteX18" fmla="*/ 5306 w 9996"/>
                <a:gd name="connsiteY18" fmla="*/ 707 h 10000"/>
                <a:gd name="connsiteX19" fmla="*/ 5412 w 9996"/>
                <a:gd name="connsiteY19" fmla="*/ 844 h 10000"/>
                <a:gd name="connsiteX20" fmla="*/ 5348 w 9996"/>
                <a:gd name="connsiteY20" fmla="*/ 899 h 10000"/>
                <a:gd name="connsiteX21" fmla="*/ 5206 w 9996"/>
                <a:gd name="connsiteY21" fmla="*/ 894 h 10000"/>
                <a:gd name="connsiteX22" fmla="*/ 5011 w 9996"/>
                <a:gd name="connsiteY22" fmla="*/ 1026 h 10000"/>
                <a:gd name="connsiteX23" fmla="*/ 4800 w 9996"/>
                <a:gd name="connsiteY23" fmla="*/ 1668 h 10000"/>
                <a:gd name="connsiteX24" fmla="*/ 4862 w 9996"/>
                <a:gd name="connsiteY24" fmla="*/ 2090 h 10000"/>
                <a:gd name="connsiteX25" fmla="*/ 4652 w 9996"/>
                <a:gd name="connsiteY25" fmla="*/ 1865 h 10000"/>
                <a:gd name="connsiteX26" fmla="*/ 4345 w 9996"/>
                <a:gd name="connsiteY26" fmla="*/ 1991 h 10000"/>
                <a:gd name="connsiteX27" fmla="*/ 4315 w 9996"/>
                <a:gd name="connsiteY27" fmla="*/ 1931 h 10000"/>
                <a:gd name="connsiteX28" fmla="*/ 4170 w 9996"/>
                <a:gd name="connsiteY28" fmla="*/ 2002 h 10000"/>
                <a:gd name="connsiteX29" fmla="*/ 4086 w 9996"/>
                <a:gd name="connsiteY29" fmla="*/ 2144 h 10000"/>
                <a:gd name="connsiteX30" fmla="*/ 4021 w 9996"/>
                <a:gd name="connsiteY30" fmla="*/ 1909 h 10000"/>
                <a:gd name="connsiteX31" fmla="*/ 3926 w 9996"/>
                <a:gd name="connsiteY31" fmla="*/ 1843 h 10000"/>
                <a:gd name="connsiteX32" fmla="*/ 3887 w 9996"/>
                <a:gd name="connsiteY32" fmla="*/ 1964 h 10000"/>
                <a:gd name="connsiteX33" fmla="*/ 3761 w 9996"/>
                <a:gd name="connsiteY33" fmla="*/ 1996 h 10000"/>
                <a:gd name="connsiteX34" fmla="*/ 3693 w 9996"/>
                <a:gd name="connsiteY34" fmla="*/ 2161 h 10000"/>
                <a:gd name="connsiteX35" fmla="*/ 3650 w 9996"/>
                <a:gd name="connsiteY35" fmla="*/ 2013 h 10000"/>
                <a:gd name="connsiteX36" fmla="*/ 3524 w 9996"/>
                <a:gd name="connsiteY36" fmla="*/ 2024 h 10000"/>
                <a:gd name="connsiteX37" fmla="*/ 3474 w 9996"/>
                <a:gd name="connsiteY37" fmla="*/ 2128 h 10000"/>
                <a:gd name="connsiteX38" fmla="*/ 3399 w 9996"/>
                <a:gd name="connsiteY38" fmla="*/ 1975 h 10000"/>
                <a:gd name="connsiteX39" fmla="*/ 3268 w 9996"/>
                <a:gd name="connsiteY39" fmla="*/ 2117 h 10000"/>
                <a:gd name="connsiteX40" fmla="*/ 3142 w 9996"/>
                <a:gd name="connsiteY40" fmla="*/ 2106 h 10000"/>
                <a:gd name="connsiteX41" fmla="*/ 3137 w 9996"/>
                <a:gd name="connsiteY41" fmla="*/ 2276 h 10000"/>
                <a:gd name="connsiteX42" fmla="*/ 3078 w 9996"/>
                <a:gd name="connsiteY42" fmla="*/ 2144 h 10000"/>
                <a:gd name="connsiteX43" fmla="*/ 2889 w 9996"/>
                <a:gd name="connsiteY43" fmla="*/ 2155 h 10000"/>
                <a:gd name="connsiteX44" fmla="*/ 2751 w 9996"/>
                <a:gd name="connsiteY44" fmla="*/ 1980 h 10000"/>
                <a:gd name="connsiteX45" fmla="*/ 2588 w 9996"/>
                <a:gd name="connsiteY45" fmla="*/ 2073 h 10000"/>
                <a:gd name="connsiteX46" fmla="*/ 2420 w 9996"/>
                <a:gd name="connsiteY46" fmla="*/ 1958 h 10000"/>
                <a:gd name="connsiteX47" fmla="*/ 2322 w 9996"/>
                <a:gd name="connsiteY47" fmla="*/ 2035 h 10000"/>
                <a:gd name="connsiteX48" fmla="*/ 2229 w 9996"/>
                <a:gd name="connsiteY48" fmla="*/ 1947 h 10000"/>
                <a:gd name="connsiteX49" fmla="*/ 2091 w 9996"/>
                <a:gd name="connsiteY49" fmla="*/ 1936 h 10000"/>
                <a:gd name="connsiteX50" fmla="*/ 1884 w 9996"/>
                <a:gd name="connsiteY50" fmla="*/ 1925 h 10000"/>
                <a:gd name="connsiteX51" fmla="*/ 1629 w 9996"/>
                <a:gd name="connsiteY51" fmla="*/ 1991 h 10000"/>
                <a:gd name="connsiteX52" fmla="*/ 1361 w 9996"/>
                <a:gd name="connsiteY52" fmla="*/ 2062 h 10000"/>
                <a:gd name="connsiteX53" fmla="*/ 1040 w 9996"/>
                <a:gd name="connsiteY53" fmla="*/ 2166 h 10000"/>
                <a:gd name="connsiteX54" fmla="*/ 899 w 9996"/>
                <a:gd name="connsiteY54" fmla="*/ 2496 h 10000"/>
                <a:gd name="connsiteX55" fmla="*/ 680 w 9996"/>
                <a:gd name="connsiteY55" fmla="*/ 2501 h 10000"/>
                <a:gd name="connsiteX56" fmla="*/ 610 w 9996"/>
                <a:gd name="connsiteY56" fmla="*/ 2687 h 10000"/>
                <a:gd name="connsiteX57" fmla="*/ 630 w 9996"/>
                <a:gd name="connsiteY57" fmla="*/ 2764 h 10000"/>
                <a:gd name="connsiteX58" fmla="*/ 651 w 9996"/>
                <a:gd name="connsiteY58" fmla="*/ 2868 h 10000"/>
                <a:gd name="connsiteX59" fmla="*/ 651 w 9996"/>
                <a:gd name="connsiteY59" fmla="*/ 2868 h 10000"/>
                <a:gd name="connsiteX60" fmla="*/ 651 w 9996"/>
                <a:gd name="connsiteY60" fmla="*/ 2896 h 10000"/>
                <a:gd name="connsiteX61" fmla="*/ 770 w 9996"/>
                <a:gd name="connsiteY61" fmla="*/ 3116 h 10000"/>
                <a:gd name="connsiteX62" fmla="*/ 887 w 9996"/>
                <a:gd name="connsiteY62" fmla="*/ 3351 h 10000"/>
                <a:gd name="connsiteX63" fmla="*/ 1040 w 9996"/>
                <a:gd name="connsiteY63" fmla="*/ 3488 h 10000"/>
                <a:gd name="connsiteX64" fmla="*/ 988 w 9996"/>
                <a:gd name="connsiteY64" fmla="*/ 3548 h 10000"/>
                <a:gd name="connsiteX65" fmla="*/ 909 w 9996"/>
                <a:gd name="connsiteY65" fmla="*/ 3603 h 10000"/>
                <a:gd name="connsiteX66" fmla="*/ 1000 w 9996"/>
                <a:gd name="connsiteY66" fmla="*/ 3697 h 10000"/>
                <a:gd name="connsiteX67" fmla="*/ 988 w 9996"/>
                <a:gd name="connsiteY67" fmla="*/ 4053 h 10000"/>
                <a:gd name="connsiteX68" fmla="*/ 781 w 9996"/>
                <a:gd name="connsiteY68" fmla="*/ 4124 h 10000"/>
                <a:gd name="connsiteX69" fmla="*/ 561 w 9996"/>
                <a:gd name="connsiteY69" fmla="*/ 4531 h 10000"/>
                <a:gd name="connsiteX70" fmla="*/ 419 w 9996"/>
                <a:gd name="connsiteY70" fmla="*/ 4936 h 10000"/>
                <a:gd name="connsiteX71" fmla="*/ 219 w 9996"/>
                <a:gd name="connsiteY71" fmla="*/ 5260 h 10000"/>
                <a:gd name="connsiteX72" fmla="*/ 305 w 9996"/>
                <a:gd name="connsiteY72" fmla="*/ 5517 h 10000"/>
                <a:gd name="connsiteX73" fmla="*/ 312 w 9996"/>
                <a:gd name="connsiteY73" fmla="*/ 5732 h 10000"/>
                <a:gd name="connsiteX74" fmla="*/ 451 w 9996"/>
                <a:gd name="connsiteY74" fmla="*/ 5841 h 10000"/>
                <a:gd name="connsiteX75" fmla="*/ 432 w 9996"/>
                <a:gd name="connsiteY75" fmla="*/ 5945 h 10000"/>
                <a:gd name="connsiteX76" fmla="*/ 228 w 9996"/>
                <a:gd name="connsiteY76" fmla="*/ 5852 h 10000"/>
                <a:gd name="connsiteX77" fmla="*/ 140 w 9996"/>
                <a:gd name="connsiteY77" fmla="*/ 6099 h 10000"/>
                <a:gd name="connsiteX78" fmla="*/ 119 w 9996"/>
                <a:gd name="connsiteY78" fmla="*/ 6346 h 10000"/>
                <a:gd name="connsiteX79" fmla="*/ 1 w 9996"/>
                <a:gd name="connsiteY79" fmla="*/ 6571 h 10000"/>
                <a:gd name="connsiteX80" fmla="*/ 21 w 9996"/>
                <a:gd name="connsiteY80" fmla="*/ 6779 h 10000"/>
                <a:gd name="connsiteX81" fmla="*/ 101 w 9996"/>
                <a:gd name="connsiteY81" fmla="*/ 6828 h 10000"/>
                <a:gd name="connsiteX82" fmla="*/ 175 w 9996"/>
                <a:gd name="connsiteY82" fmla="*/ 6960 h 10000"/>
                <a:gd name="connsiteX83" fmla="*/ 272 w 9996"/>
                <a:gd name="connsiteY83" fmla="*/ 6943 h 10000"/>
                <a:gd name="connsiteX84" fmla="*/ 330 w 9996"/>
                <a:gd name="connsiteY84" fmla="*/ 7076 h 10000"/>
                <a:gd name="connsiteX85" fmla="*/ 502 w 9996"/>
                <a:gd name="connsiteY85" fmla="*/ 7103 h 10000"/>
                <a:gd name="connsiteX86" fmla="*/ 511 w 9996"/>
                <a:gd name="connsiteY86" fmla="*/ 7251 h 10000"/>
                <a:gd name="connsiteX87" fmla="*/ 557 w 9996"/>
                <a:gd name="connsiteY87" fmla="*/ 7278 h 10000"/>
                <a:gd name="connsiteX88" fmla="*/ 593 w 9996"/>
                <a:gd name="connsiteY88" fmla="*/ 7174 h 10000"/>
                <a:gd name="connsiteX89" fmla="*/ 655 w 9996"/>
                <a:gd name="connsiteY89" fmla="*/ 7196 h 10000"/>
                <a:gd name="connsiteX90" fmla="*/ 727 w 9996"/>
                <a:gd name="connsiteY90" fmla="*/ 6992 h 10000"/>
                <a:gd name="connsiteX91" fmla="*/ 926 w 9996"/>
                <a:gd name="connsiteY91" fmla="*/ 7174 h 10000"/>
                <a:gd name="connsiteX92" fmla="*/ 1449 w 9996"/>
                <a:gd name="connsiteY92" fmla="*/ 7163 h 10000"/>
                <a:gd name="connsiteX93" fmla="*/ 1655 w 9996"/>
                <a:gd name="connsiteY93" fmla="*/ 7092 h 10000"/>
                <a:gd name="connsiteX94" fmla="*/ 1994 w 9996"/>
                <a:gd name="connsiteY94" fmla="*/ 7344 h 10000"/>
                <a:gd name="connsiteX95" fmla="*/ 2208 w 9996"/>
                <a:gd name="connsiteY95" fmla="*/ 7087 h 10000"/>
                <a:gd name="connsiteX96" fmla="*/ 2689 w 9996"/>
                <a:gd name="connsiteY96" fmla="*/ 6861 h 10000"/>
                <a:gd name="connsiteX97" fmla="*/ 2863 w 9996"/>
                <a:gd name="connsiteY97" fmla="*/ 6489 h 10000"/>
                <a:gd name="connsiteX98" fmla="*/ 2989 w 9996"/>
                <a:gd name="connsiteY98" fmla="*/ 6439 h 10000"/>
                <a:gd name="connsiteX99" fmla="*/ 2989 w 9996"/>
                <a:gd name="connsiteY99" fmla="*/ 6379 h 10000"/>
                <a:gd name="connsiteX100" fmla="*/ 3040 w 9996"/>
                <a:gd name="connsiteY100" fmla="*/ 6379 h 10000"/>
                <a:gd name="connsiteX101" fmla="*/ 3028 w 9996"/>
                <a:gd name="connsiteY101" fmla="*/ 6230 h 10000"/>
                <a:gd name="connsiteX102" fmla="*/ 3183 w 9996"/>
                <a:gd name="connsiteY102" fmla="*/ 6285 h 10000"/>
                <a:gd name="connsiteX103" fmla="*/ 3204 w 9996"/>
                <a:gd name="connsiteY103" fmla="*/ 6159 h 10000"/>
                <a:gd name="connsiteX104" fmla="*/ 3297 w 9996"/>
                <a:gd name="connsiteY104" fmla="*/ 6230 h 10000"/>
                <a:gd name="connsiteX105" fmla="*/ 3366 w 9996"/>
                <a:gd name="connsiteY105" fmla="*/ 6126 h 10000"/>
                <a:gd name="connsiteX106" fmla="*/ 3474 w 9996"/>
                <a:gd name="connsiteY106" fmla="*/ 6154 h 10000"/>
                <a:gd name="connsiteX107" fmla="*/ 3572 w 9996"/>
                <a:gd name="connsiteY107" fmla="*/ 6055 h 10000"/>
                <a:gd name="connsiteX108" fmla="*/ 3756 w 9996"/>
                <a:gd name="connsiteY108" fmla="*/ 6192 h 10000"/>
                <a:gd name="connsiteX109" fmla="*/ 3851 w 9996"/>
                <a:gd name="connsiteY109" fmla="*/ 6197 h 10000"/>
                <a:gd name="connsiteX110" fmla="*/ 3880 w 9996"/>
                <a:gd name="connsiteY110" fmla="*/ 6307 h 10000"/>
                <a:gd name="connsiteX111" fmla="*/ 4054 w 9996"/>
                <a:gd name="connsiteY111" fmla="*/ 6236 h 10000"/>
                <a:gd name="connsiteX112" fmla="*/ 4036 w 9996"/>
                <a:gd name="connsiteY112" fmla="*/ 6357 h 10000"/>
                <a:gd name="connsiteX113" fmla="*/ 4101 w 9996"/>
                <a:gd name="connsiteY113" fmla="*/ 6341 h 10000"/>
                <a:gd name="connsiteX114" fmla="*/ 4175 w 9996"/>
                <a:gd name="connsiteY114" fmla="*/ 6428 h 10000"/>
                <a:gd name="connsiteX115" fmla="*/ 4179 w 9996"/>
                <a:gd name="connsiteY115" fmla="*/ 6301 h 10000"/>
                <a:gd name="connsiteX116" fmla="*/ 4382 w 9996"/>
                <a:gd name="connsiteY116" fmla="*/ 6341 h 10000"/>
                <a:gd name="connsiteX117" fmla="*/ 4455 w 9996"/>
                <a:gd name="connsiteY117" fmla="*/ 6511 h 10000"/>
                <a:gd name="connsiteX118" fmla="*/ 4568 w 9996"/>
                <a:gd name="connsiteY118" fmla="*/ 6494 h 10000"/>
                <a:gd name="connsiteX119" fmla="*/ 4617 w 9996"/>
                <a:gd name="connsiteY119" fmla="*/ 6417 h 10000"/>
                <a:gd name="connsiteX120" fmla="*/ 4732 w 9996"/>
                <a:gd name="connsiteY120" fmla="*/ 6735 h 10000"/>
                <a:gd name="connsiteX121" fmla="*/ 4691 w 9996"/>
                <a:gd name="connsiteY121" fmla="*/ 6987 h 10000"/>
                <a:gd name="connsiteX122" fmla="*/ 4750 w 9996"/>
                <a:gd name="connsiteY122" fmla="*/ 7114 h 10000"/>
                <a:gd name="connsiteX123" fmla="*/ 4828 w 9996"/>
                <a:gd name="connsiteY123" fmla="*/ 7119 h 10000"/>
                <a:gd name="connsiteX124" fmla="*/ 4953 w 9996"/>
                <a:gd name="connsiteY124" fmla="*/ 7256 h 10000"/>
                <a:gd name="connsiteX125" fmla="*/ 5002 w 9996"/>
                <a:gd name="connsiteY125" fmla="*/ 7152 h 10000"/>
                <a:gd name="connsiteX126" fmla="*/ 5057 w 9996"/>
                <a:gd name="connsiteY126" fmla="*/ 7322 h 10000"/>
                <a:gd name="connsiteX127" fmla="*/ 5125 w 9996"/>
                <a:gd name="connsiteY127" fmla="*/ 7662 h 10000"/>
                <a:gd name="connsiteX128" fmla="*/ 5328 w 9996"/>
                <a:gd name="connsiteY128" fmla="*/ 7739 h 10000"/>
                <a:gd name="connsiteX129" fmla="*/ 5376 w 9996"/>
                <a:gd name="connsiteY129" fmla="*/ 8183 h 10000"/>
                <a:gd name="connsiteX130" fmla="*/ 5547 w 9996"/>
                <a:gd name="connsiteY130" fmla="*/ 8276 h 10000"/>
                <a:gd name="connsiteX131" fmla="*/ 5370 w 9996"/>
                <a:gd name="connsiteY131" fmla="*/ 8370 h 10000"/>
                <a:gd name="connsiteX132" fmla="*/ 5311 w 9996"/>
                <a:gd name="connsiteY132" fmla="*/ 8260 h 10000"/>
                <a:gd name="connsiteX133" fmla="*/ 5243 w 9996"/>
                <a:gd name="connsiteY133" fmla="*/ 8403 h 10000"/>
                <a:gd name="connsiteX134" fmla="*/ 5069 w 9996"/>
                <a:gd name="connsiteY134" fmla="*/ 8287 h 10000"/>
                <a:gd name="connsiteX135" fmla="*/ 4972 w 9996"/>
                <a:gd name="connsiteY135" fmla="*/ 8452 h 10000"/>
                <a:gd name="connsiteX136" fmla="*/ 4771 w 9996"/>
                <a:gd name="connsiteY136" fmla="*/ 8331 h 10000"/>
                <a:gd name="connsiteX137" fmla="*/ 4867 w 9996"/>
                <a:gd name="connsiteY137" fmla="*/ 8699 h 10000"/>
                <a:gd name="connsiteX138" fmla="*/ 4858 w 9996"/>
                <a:gd name="connsiteY138" fmla="*/ 8967 h 10000"/>
                <a:gd name="connsiteX139" fmla="*/ 4729 w 9996"/>
                <a:gd name="connsiteY139" fmla="*/ 9088 h 10000"/>
                <a:gd name="connsiteX140" fmla="*/ 4771 w 9996"/>
                <a:gd name="connsiteY140" fmla="*/ 9193 h 10000"/>
                <a:gd name="connsiteX141" fmla="*/ 4589 w 9996"/>
                <a:gd name="connsiteY141" fmla="*/ 9412 h 10000"/>
                <a:gd name="connsiteX142" fmla="*/ 4660 w 9996"/>
                <a:gd name="connsiteY142" fmla="*/ 9647 h 10000"/>
                <a:gd name="connsiteX143" fmla="*/ 4484 w 9996"/>
                <a:gd name="connsiteY143" fmla="*/ 9681 h 10000"/>
                <a:gd name="connsiteX144" fmla="*/ 4437 w 9996"/>
                <a:gd name="connsiteY144" fmla="*/ 9741 h 10000"/>
                <a:gd name="connsiteX145" fmla="*/ 4514 w 9996"/>
                <a:gd name="connsiteY145" fmla="*/ 9785 h 10000"/>
                <a:gd name="connsiteX146" fmla="*/ 4649 w 9996"/>
                <a:gd name="connsiteY146" fmla="*/ 9944 h 10000"/>
                <a:gd name="connsiteX147" fmla="*/ 4867 w 9996"/>
                <a:gd name="connsiteY147" fmla="*/ 9999 h 10000"/>
                <a:gd name="connsiteX148" fmla="*/ 4875 w 9996"/>
                <a:gd name="connsiteY148" fmla="*/ 9851 h 10000"/>
                <a:gd name="connsiteX149" fmla="*/ 4953 w 9996"/>
                <a:gd name="connsiteY149" fmla="*/ 9856 h 10000"/>
                <a:gd name="connsiteX150" fmla="*/ 5278 w 9996"/>
                <a:gd name="connsiteY150" fmla="*/ 9603 h 10000"/>
                <a:gd name="connsiteX151" fmla="*/ 5493 w 9996"/>
                <a:gd name="connsiteY151" fmla="*/ 9845 h 10000"/>
                <a:gd name="connsiteX152" fmla="*/ 5493 w 9996"/>
                <a:gd name="connsiteY152" fmla="*/ 9862 h 10000"/>
                <a:gd name="connsiteX153" fmla="*/ 5527 w 9996"/>
                <a:gd name="connsiteY153" fmla="*/ 9703 h 10000"/>
                <a:gd name="connsiteX154" fmla="*/ 5466 w 9996"/>
                <a:gd name="connsiteY154" fmla="*/ 9570 h 10000"/>
                <a:gd name="connsiteX155" fmla="*/ 5392 w 9996"/>
                <a:gd name="connsiteY155" fmla="*/ 9549 h 10000"/>
                <a:gd name="connsiteX156" fmla="*/ 5442 w 9996"/>
                <a:gd name="connsiteY156" fmla="*/ 9466 h 10000"/>
                <a:gd name="connsiteX157" fmla="*/ 5426 w 9996"/>
                <a:gd name="connsiteY157" fmla="*/ 9444 h 10000"/>
                <a:gd name="connsiteX158" fmla="*/ 5361 w 9996"/>
                <a:gd name="connsiteY158" fmla="*/ 9439 h 10000"/>
                <a:gd name="connsiteX159" fmla="*/ 5328 w 9996"/>
                <a:gd name="connsiteY159" fmla="*/ 9121 h 10000"/>
                <a:gd name="connsiteX160" fmla="*/ 5376 w 9996"/>
                <a:gd name="connsiteY160" fmla="*/ 9105 h 10000"/>
                <a:gd name="connsiteX161" fmla="*/ 5400 w 9996"/>
                <a:gd name="connsiteY161" fmla="*/ 9253 h 10000"/>
                <a:gd name="connsiteX162" fmla="*/ 5458 w 9996"/>
                <a:gd name="connsiteY162" fmla="*/ 9384 h 10000"/>
                <a:gd name="connsiteX163" fmla="*/ 5509 w 9996"/>
                <a:gd name="connsiteY163" fmla="*/ 9302 h 10000"/>
                <a:gd name="connsiteX164" fmla="*/ 5497 w 9996"/>
                <a:gd name="connsiteY164" fmla="*/ 9220 h 10000"/>
                <a:gd name="connsiteX165" fmla="*/ 5577 w 9996"/>
                <a:gd name="connsiteY165" fmla="*/ 9203 h 10000"/>
                <a:gd name="connsiteX166" fmla="*/ 5534 w 9996"/>
                <a:gd name="connsiteY166" fmla="*/ 9034 h 10000"/>
                <a:gd name="connsiteX167" fmla="*/ 5644 w 9996"/>
                <a:gd name="connsiteY167" fmla="*/ 9061 h 10000"/>
                <a:gd name="connsiteX168" fmla="*/ 5649 w 9996"/>
                <a:gd name="connsiteY168" fmla="*/ 8972 h 10000"/>
                <a:gd name="connsiteX169" fmla="*/ 5691 w 9996"/>
                <a:gd name="connsiteY169" fmla="*/ 9039 h 10000"/>
                <a:gd name="connsiteX170" fmla="*/ 5876 w 9996"/>
                <a:gd name="connsiteY170" fmla="*/ 8781 h 10000"/>
                <a:gd name="connsiteX171" fmla="*/ 5770 w 9996"/>
                <a:gd name="connsiteY171" fmla="*/ 8584 h 10000"/>
                <a:gd name="connsiteX172" fmla="*/ 5574 w 9996"/>
                <a:gd name="connsiteY172" fmla="*/ 8425 h 10000"/>
                <a:gd name="connsiteX173" fmla="*/ 5686 w 9996"/>
                <a:gd name="connsiteY173" fmla="*/ 8370 h 10000"/>
                <a:gd name="connsiteX174" fmla="*/ 5850 w 9996"/>
                <a:gd name="connsiteY174" fmla="*/ 8633 h 10000"/>
                <a:gd name="connsiteX175" fmla="*/ 5973 w 9996"/>
                <a:gd name="connsiteY175" fmla="*/ 8199 h 10000"/>
                <a:gd name="connsiteX176" fmla="*/ 5981 w 9996"/>
                <a:gd name="connsiteY176" fmla="*/ 8030 h 10000"/>
                <a:gd name="connsiteX177" fmla="*/ 6187 w 9996"/>
                <a:gd name="connsiteY177" fmla="*/ 7942 h 10000"/>
                <a:gd name="connsiteX178" fmla="*/ 6264 w 9996"/>
                <a:gd name="connsiteY178" fmla="*/ 7607 h 10000"/>
                <a:gd name="connsiteX179" fmla="*/ 6277 w 9996"/>
                <a:gd name="connsiteY179" fmla="*/ 7734 h 10000"/>
                <a:gd name="connsiteX180" fmla="*/ 6408 w 9996"/>
                <a:gd name="connsiteY180" fmla="*/ 7596 h 10000"/>
                <a:gd name="connsiteX181" fmla="*/ 6501 w 9996"/>
                <a:gd name="connsiteY181" fmla="*/ 7579 h 10000"/>
                <a:gd name="connsiteX182" fmla="*/ 6594 w 9996"/>
                <a:gd name="connsiteY182" fmla="*/ 7207 h 10000"/>
                <a:gd name="connsiteX183" fmla="*/ 6677 w 9996"/>
                <a:gd name="connsiteY183" fmla="*/ 7486 h 10000"/>
                <a:gd name="connsiteX184" fmla="*/ 6927 w 9996"/>
                <a:gd name="connsiteY184" fmla="*/ 7563 h 10000"/>
                <a:gd name="connsiteX185" fmla="*/ 6738 w 9996"/>
                <a:gd name="connsiteY185" fmla="*/ 7618 h 10000"/>
                <a:gd name="connsiteX186" fmla="*/ 6720 w 9996"/>
                <a:gd name="connsiteY186" fmla="*/ 7679 h 10000"/>
                <a:gd name="connsiteX187" fmla="*/ 6532 w 9996"/>
                <a:gd name="connsiteY187" fmla="*/ 7690 h 10000"/>
                <a:gd name="connsiteX188" fmla="*/ 6434 w 9996"/>
                <a:gd name="connsiteY188" fmla="*/ 7723 h 10000"/>
                <a:gd name="connsiteX189" fmla="*/ 6510 w 9996"/>
                <a:gd name="connsiteY189" fmla="*/ 7772 h 10000"/>
                <a:gd name="connsiteX190" fmla="*/ 6578 w 9996"/>
                <a:gd name="connsiteY190" fmla="*/ 7756 h 10000"/>
                <a:gd name="connsiteX191" fmla="*/ 6764 w 9996"/>
                <a:gd name="connsiteY191" fmla="*/ 7789 h 10000"/>
                <a:gd name="connsiteX192" fmla="*/ 6553 w 9996"/>
                <a:gd name="connsiteY192" fmla="*/ 7964 h 10000"/>
                <a:gd name="connsiteX193" fmla="*/ 6627 w 9996"/>
                <a:gd name="connsiteY193" fmla="*/ 8008 h 10000"/>
                <a:gd name="connsiteX194" fmla="*/ 6821 w 9996"/>
                <a:gd name="connsiteY194" fmla="*/ 7958 h 10000"/>
                <a:gd name="connsiteX195" fmla="*/ 7083 w 9996"/>
                <a:gd name="connsiteY195" fmla="*/ 8101 h 10000"/>
                <a:gd name="connsiteX196" fmla="*/ 7421 w 9996"/>
                <a:gd name="connsiteY196" fmla="*/ 7909 h 10000"/>
                <a:gd name="connsiteX197" fmla="*/ 7806 w 9996"/>
                <a:gd name="connsiteY197" fmla="*/ 7745 h 10000"/>
                <a:gd name="connsiteX198" fmla="*/ 7256 w 9996"/>
                <a:gd name="connsiteY198" fmla="*/ 8989 h 10000"/>
                <a:gd name="connsiteX199" fmla="*/ 8163 w 9996"/>
                <a:gd name="connsiteY199" fmla="*/ 9675 h 10000"/>
                <a:gd name="connsiteX200" fmla="*/ 9996 w 9996"/>
                <a:gd name="connsiteY200" fmla="*/ 8343 h 10000"/>
                <a:gd name="connsiteX0" fmla="*/ 8166 w 8166"/>
                <a:gd name="connsiteY0" fmla="*/ 9675 h 10155"/>
                <a:gd name="connsiteX1" fmla="*/ 7217 w 8166"/>
                <a:gd name="connsiteY1" fmla="*/ 1311 h 10155"/>
                <a:gd name="connsiteX2" fmla="*/ 7125 w 8166"/>
                <a:gd name="connsiteY2" fmla="*/ 1223 h 10155"/>
                <a:gd name="connsiteX3" fmla="*/ 6918 w 8166"/>
                <a:gd name="connsiteY3" fmla="*/ 1273 h 10155"/>
                <a:gd name="connsiteX4" fmla="*/ 6937 w 8166"/>
                <a:gd name="connsiteY4" fmla="*/ 1125 h 10155"/>
                <a:gd name="connsiteX5" fmla="*/ 6859 w 8166"/>
                <a:gd name="connsiteY5" fmla="*/ 1119 h 10155"/>
                <a:gd name="connsiteX6" fmla="*/ 6821 w 8166"/>
                <a:gd name="connsiteY6" fmla="*/ 910 h 10155"/>
                <a:gd name="connsiteX7" fmla="*/ 6710 w 8166"/>
                <a:gd name="connsiteY7" fmla="*/ 795 h 10155"/>
                <a:gd name="connsiteX8" fmla="*/ 6937 w 8166"/>
                <a:gd name="connsiteY8" fmla="*/ 620 h 10155"/>
                <a:gd name="connsiteX9" fmla="*/ 6665 w 8166"/>
                <a:gd name="connsiteY9" fmla="*/ 395 h 10155"/>
                <a:gd name="connsiteX10" fmla="*/ 6610 w 8166"/>
                <a:gd name="connsiteY10" fmla="*/ 142 h 10155"/>
                <a:gd name="connsiteX11" fmla="*/ 6483 w 8166"/>
                <a:gd name="connsiteY11" fmla="*/ 110 h 10155"/>
                <a:gd name="connsiteX12" fmla="*/ 6378 w 8166"/>
                <a:gd name="connsiteY12" fmla="*/ 0 h 10155"/>
                <a:gd name="connsiteX13" fmla="*/ 6264 w 8166"/>
                <a:gd name="connsiteY13" fmla="*/ 120 h 10155"/>
                <a:gd name="connsiteX14" fmla="*/ 6072 w 8166"/>
                <a:gd name="connsiteY14" fmla="*/ 110 h 10155"/>
                <a:gd name="connsiteX15" fmla="*/ 5908 w 8166"/>
                <a:gd name="connsiteY15" fmla="*/ 351 h 10155"/>
                <a:gd name="connsiteX16" fmla="*/ 5591 w 8166"/>
                <a:gd name="connsiteY16" fmla="*/ 329 h 10155"/>
                <a:gd name="connsiteX17" fmla="*/ 5514 w 8166"/>
                <a:gd name="connsiteY17" fmla="*/ 680 h 10155"/>
                <a:gd name="connsiteX18" fmla="*/ 5308 w 8166"/>
                <a:gd name="connsiteY18" fmla="*/ 707 h 10155"/>
                <a:gd name="connsiteX19" fmla="*/ 5414 w 8166"/>
                <a:gd name="connsiteY19" fmla="*/ 844 h 10155"/>
                <a:gd name="connsiteX20" fmla="*/ 5350 w 8166"/>
                <a:gd name="connsiteY20" fmla="*/ 899 h 10155"/>
                <a:gd name="connsiteX21" fmla="*/ 5208 w 8166"/>
                <a:gd name="connsiteY21" fmla="*/ 894 h 10155"/>
                <a:gd name="connsiteX22" fmla="*/ 5013 w 8166"/>
                <a:gd name="connsiteY22" fmla="*/ 1026 h 10155"/>
                <a:gd name="connsiteX23" fmla="*/ 4802 w 8166"/>
                <a:gd name="connsiteY23" fmla="*/ 1668 h 10155"/>
                <a:gd name="connsiteX24" fmla="*/ 4864 w 8166"/>
                <a:gd name="connsiteY24" fmla="*/ 2090 h 10155"/>
                <a:gd name="connsiteX25" fmla="*/ 4654 w 8166"/>
                <a:gd name="connsiteY25" fmla="*/ 1865 h 10155"/>
                <a:gd name="connsiteX26" fmla="*/ 4347 w 8166"/>
                <a:gd name="connsiteY26" fmla="*/ 1991 h 10155"/>
                <a:gd name="connsiteX27" fmla="*/ 4317 w 8166"/>
                <a:gd name="connsiteY27" fmla="*/ 1931 h 10155"/>
                <a:gd name="connsiteX28" fmla="*/ 4172 w 8166"/>
                <a:gd name="connsiteY28" fmla="*/ 2002 h 10155"/>
                <a:gd name="connsiteX29" fmla="*/ 4088 w 8166"/>
                <a:gd name="connsiteY29" fmla="*/ 2144 h 10155"/>
                <a:gd name="connsiteX30" fmla="*/ 4023 w 8166"/>
                <a:gd name="connsiteY30" fmla="*/ 1909 h 10155"/>
                <a:gd name="connsiteX31" fmla="*/ 3928 w 8166"/>
                <a:gd name="connsiteY31" fmla="*/ 1843 h 10155"/>
                <a:gd name="connsiteX32" fmla="*/ 3889 w 8166"/>
                <a:gd name="connsiteY32" fmla="*/ 1964 h 10155"/>
                <a:gd name="connsiteX33" fmla="*/ 3763 w 8166"/>
                <a:gd name="connsiteY33" fmla="*/ 1996 h 10155"/>
                <a:gd name="connsiteX34" fmla="*/ 3694 w 8166"/>
                <a:gd name="connsiteY34" fmla="*/ 2161 h 10155"/>
                <a:gd name="connsiteX35" fmla="*/ 3651 w 8166"/>
                <a:gd name="connsiteY35" fmla="*/ 2013 h 10155"/>
                <a:gd name="connsiteX36" fmla="*/ 3525 w 8166"/>
                <a:gd name="connsiteY36" fmla="*/ 2024 h 10155"/>
                <a:gd name="connsiteX37" fmla="*/ 3475 w 8166"/>
                <a:gd name="connsiteY37" fmla="*/ 2128 h 10155"/>
                <a:gd name="connsiteX38" fmla="*/ 3400 w 8166"/>
                <a:gd name="connsiteY38" fmla="*/ 1975 h 10155"/>
                <a:gd name="connsiteX39" fmla="*/ 3269 w 8166"/>
                <a:gd name="connsiteY39" fmla="*/ 2117 h 10155"/>
                <a:gd name="connsiteX40" fmla="*/ 3143 w 8166"/>
                <a:gd name="connsiteY40" fmla="*/ 2106 h 10155"/>
                <a:gd name="connsiteX41" fmla="*/ 3138 w 8166"/>
                <a:gd name="connsiteY41" fmla="*/ 2276 h 10155"/>
                <a:gd name="connsiteX42" fmla="*/ 3079 w 8166"/>
                <a:gd name="connsiteY42" fmla="*/ 2144 h 10155"/>
                <a:gd name="connsiteX43" fmla="*/ 2890 w 8166"/>
                <a:gd name="connsiteY43" fmla="*/ 2155 h 10155"/>
                <a:gd name="connsiteX44" fmla="*/ 2752 w 8166"/>
                <a:gd name="connsiteY44" fmla="*/ 1980 h 10155"/>
                <a:gd name="connsiteX45" fmla="*/ 2589 w 8166"/>
                <a:gd name="connsiteY45" fmla="*/ 2073 h 10155"/>
                <a:gd name="connsiteX46" fmla="*/ 2421 w 8166"/>
                <a:gd name="connsiteY46" fmla="*/ 1958 h 10155"/>
                <a:gd name="connsiteX47" fmla="*/ 2323 w 8166"/>
                <a:gd name="connsiteY47" fmla="*/ 2035 h 10155"/>
                <a:gd name="connsiteX48" fmla="*/ 2230 w 8166"/>
                <a:gd name="connsiteY48" fmla="*/ 1947 h 10155"/>
                <a:gd name="connsiteX49" fmla="*/ 2092 w 8166"/>
                <a:gd name="connsiteY49" fmla="*/ 1936 h 10155"/>
                <a:gd name="connsiteX50" fmla="*/ 1885 w 8166"/>
                <a:gd name="connsiteY50" fmla="*/ 1925 h 10155"/>
                <a:gd name="connsiteX51" fmla="*/ 1630 w 8166"/>
                <a:gd name="connsiteY51" fmla="*/ 1991 h 10155"/>
                <a:gd name="connsiteX52" fmla="*/ 1362 w 8166"/>
                <a:gd name="connsiteY52" fmla="*/ 2062 h 10155"/>
                <a:gd name="connsiteX53" fmla="*/ 1040 w 8166"/>
                <a:gd name="connsiteY53" fmla="*/ 2166 h 10155"/>
                <a:gd name="connsiteX54" fmla="*/ 899 w 8166"/>
                <a:gd name="connsiteY54" fmla="*/ 2496 h 10155"/>
                <a:gd name="connsiteX55" fmla="*/ 680 w 8166"/>
                <a:gd name="connsiteY55" fmla="*/ 2501 h 10155"/>
                <a:gd name="connsiteX56" fmla="*/ 610 w 8166"/>
                <a:gd name="connsiteY56" fmla="*/ 2687 h 10155"/>
                <a:gd name="connsiteX57" fmla="*/ 630 w 8166"/>
                <a:gd name="connsiteY57" fmla="*/ 2764 h 10155"/>
                <a:gd name="connsiteX58" fmla="*/ 651 w 8166"/>
                <a:gd name="connsiteY58" fmla="*/ 2868 h 10155"/>
                <a:gd name="connsiteX59" fmla="*/ 651 w 8166"/>
                <a:gd name="connsiteY59" fmla="*/ 2868 h 10155"/>
                <a:gd name="connsiteX60" fmla="*/ 651 w 8166"/>
                <a:gd name="connsiteY60" fmla="*/ 2896 h 10155"/>
                <a:gd name="connsiteX61" fmla="*/ 770 w 8166"/>
                <a:gd name="connsiteY61" fmla="*/ 3116 h 10155"/>
                <a:gd name="connsiteX62" fmla="*/ 887 w 8166"/>
                <a:gd name="connsiteY62" fmla="*/ 3351 h 10155"/>
                <a:gd name="connsiteX63" fmla="*/ 1040 w 8166"/>
                <a:gd name="connsiteY63" fmla="*/ 3488 h 10155"/>
                <a:gd name="connsiteX64" fmla="*/ 988 w 8166"/>
                <a:gd name="connsiteY64" fmla="*/ 3548 h 10155"/>
                <a:gd name="connsiteX65" fmla="*/ 909 w 8166"/>
                <a:gd name="connsiteY65" fmla="*/ 3603 h 10155"/>
                <a:gd name="connsiteX66" fmla="*/ 1000 w 8166"/>
                <a:gd name="connsiteY66" fmla="*/ 3697 h 10155"/>
                <a:gd name="connsiteX67" fmla="*/ 988 w 8166"/>
                <a:gd name="connsiteY67" fmla="*/ 4053 h 10155"/>
                <a:gd name="connsiteX68" fmla="*/ 781 w 8166"/>
                <a:gd name="connsiteY68" fmla="*/ 4124 h 10155"/>
                <a:gd name="connsiteX69" fmla="*/ 561 w 8166"/>
                <a:gd name="connsiteY69" fmla="*/ 4531 h 10155"/>
                <a:gd name="connsiteX70" fmla="*/ 419 w 8166"/>
                <a:gd name="connsiteY70" fmla="*/ 4936 h 10155"/>
                <a:gd name="connsiteX71" fmla="*/ 219 w 8166"/>
                <a:gd name="connsiteY71" fmla="*/ 5260 h 10155"/>
                <a:gd name="connsiteX72" fmla="*/ 305 w 8166"/>
                <a:gd name="connsiteY72" fmla="*/ 5517 h 10155"/>
                <a:gd name="connsiteX73" fmla="*/ 312 w 8166"/>
                <a:gd name="connsiteY73" fmla="*/ 5732 h 10155"/>
                <a:gd name="connsiteX74" fmla="*/ 451 w 8166"/>
                <a:gd name="connsiteY74" fmla="*/ 5841 h 10155"/>
                <a:gd name="connsiteX75" fmla="*/ 432 w 8166"/>
                <a:gd name="connsiteY75" fmla="*/ 5945 h 10155"/>
                <a:gd name="connsiteX76" fmla="*/ 228 w 8166"/>
                <a:gd name="connsiteY76" fmla="*/ 5852 h 10155"/>
                <a:gd name="connsiteX77" fmla="*/ 140 w 8166"/>
                <a:gd name="connsiteY77" fmla="*/ 6099 h 10155"/>
                <a:gd name="connsiteX78" fmla="*/ 119 w 8166"/>
                <a:gd name="connsiteY78" fmla="*/ 6346 h 10155"/>
                <a:gd name="connsiteX79" fmla="*/ 1 w 8166"/>
                <a:gd name="connsiteY79" fmla="*/ 6571 h 10155"/>
                <a:gd name="connsiteX80" fmla="*/ 21 w 8166"/>
                <a:gd name="connsiteY80" fmla="*/ 6779 h 10155"/>
                <a:gd name="connsiteX81" fmla="*/ 101 w 8166"/>
                <a:gd name="connsiteY81" fmla="*/ 6828 h 10155"/>
                <a:gd name="connsiteX82" fmla="*/ 175 w 8166"/>
                <a:gd name="connsiteY82" fmla="*/ 6960 h 10155"/>
                <a:gd name="connsiteX83" fmla="*/ 272 w 8166"/>
                <a:gd name="connsiteY83" fmla="*/ 6943 h 10155"/>
                <a:gd name="connsiteX84" fmla="*/ 330 w 8166"/>
                <a:gd name="connsiteY84" fmla="*/ 7076 h 10155"/>
                <a:gd name="connsiteX85" fmla="*/ 502 w 8166"/>
                <a:gd name="connsiteY85" fmla="*/ 7103 h 10155"/>
                <a:gd name="connsiteX86" fmla="*/ 511 w 8166"/>
                <a:gd name="connsiteY86" fmla="*/ 7251 h 10155"/>
                <a:gd name="connsiteX87" fmla="*/ 557 w 8166"/>
                <a:gd name="connsiteY87" fmla="*/ 7278 h 10155"/>
                <a:gd name="connsiteX88" fmla="*/ 593 w 8166"/>
                <a:gd name="connsiteY88" fmla="*/ 7174 h 10155"/>
                <a:gd name="connsiteX89" fmla="*/ 655 w 8166"/>
                <a:gd name="connsiteY89" fmla="*/ 7196 h 10155"/>
                <a:gd name="connsiteX90" fmla="*/ 727 w 8166"/>
                <a:gd name="connsiteY90" fmla="*/ 6992 h 10155"/>
                <a:gd name="connsiteX91" fmla="*/ 926 w 8166"/>
                <a:gd name="connsiteY91" fmla="*/ 7174 h 10155"/>
                <a:gd name="connsiteX92" fmla="*/ 1450 w 8166"/>
                <a:gd name="connsiteY92" fmla="*/ 7163 h 10155"/>
                <a:gd name="connsiteX93" fmla="*/ 1656 w 8166"/>
                <a:gd name="connsiteY93" fmla="*/ 7092 h 10155"/>
                <a:gd name="connsiteX94" fmla="*/ 1995 w 8166"/>
                <a:gd name="connsiteY94" fmla="*/ 7344 h 10155"/>
                <a:gd name="connsiteX95" fmla="*/ 2209 w 8166"/>
                <a:gd name="connsiteY95" fmla="*/ 7087 h 10155"/>
                <a:gd name="connsiteX96" fmla="*/ 2690 w 8166"/>
                <a:gd name="connsiteY96" fmla="*/ 6861 h 10155"/>
                <a:gd name="connsiteX97" fmla="*/ 2864 w 8166"/>
                <a:gd name="connsiteY97" fmla="*/ 6489 h 10155"/>
                <a:gd name="connsiteX98" fmla="*/ 2990 w 8166"/>
                <a:gd name="connsiteY98" fmla="*/ 6439 h 10155"/>
                <a:gd name="connsiteX99" fmla="*/ 2990 w 8166"/>
                <a:gd name="connsiteY99" fmla="*/ 6379 h 10155"/>
                <a:gd name="connsiteX100" fmla="*/ 3041 w 8166"/>
                <a:gd name="connsiteY100" fmla="*/ 6379 h 10155"/>
                <a:gd name="connsiteX101" fmla="*/ 3029 w 8166"/>
                <a:gd name="connsiteY101" fmla="*/ 6230 h 10155"/>
                <a:gd name="connsiteX102" fmla="*/ 3184 w 8166"/>
                <a:gd name="connsiteY102" fmla="*/ 6285 h 10155"/>
                <a:gd name="connsiteX103" fmla="*/ 3205 w 8166"/>
                <a:gd name="connsiteY103" fmla="*/ 6159 h 10155"/>
                <a:gd name="connsiteX104" fmla="*/ 3298 w 8166"/>
                <a:gd name="connsiteY104" fmla="*/ 6230 h 10155"/>
                <a:gd name="connsiteX105" fmla="*/ 3367 w 8166"/>
                <a:gd name="connsiteY105" fmla="*/ 6126 h 10155"/>
                <a:gd name="connsiteX106" fmla="*/ 3475 w 8166"/>
                <a:gd name="connsiteY106" fmla="*/ 6154 h 10155"/>
                <a:gd name="connsiteX107" fmla="*/ 3573 w 8166"/>
                <a:gd name="connsiteY107" fmla="*/ 6055 h 10155"/>
                <a:gd name="connsiteX108" fmla="*/ 3758 w 8166"/>
                <a:gd name="connsiteY108" fmla="*/ 6192 h 10155"/>
                <a:gd name="connsiteX109" fmla="*/ 3853 w 8166"/>
                <a:gd name="connsiteY109" fmla="*/ 6197 h 10155"/>
                <a:gd name="connsiteX110" fmla="*/ 3882 w 8166"/>
                <a:gd name="connsiteY110" fmla="*/ 6307 h 10155"/>
                <a:gd name="connsiteX111" fmla="*/ 4056 w 8166"/>
                <a:gd name="connsiteY111" fmla="*/ 6236 h 10155"/>
                <a:gd name="connsiteX112" fmla="*/ 4038 w 8166"/>
                <a:gd name="connsiteY112" fmla="*/ 6357 h 10155"/>
                <a:gd name="connsiteX113" fmla="*/ 4103 w 8166"/>
                <a:gd name="connsiteY113" fmla="*/ 6341 h 10155"/>
                <a:gd name="connsiteX114" fmla="*/ 4177 w 8166"/>
                <a:gd name="connsiteY114" fmla="*/ 6428 h 10155"/>
                <a:gd name="connsiteX115" fmla="*/ 4181 w 8166"/>
                <a:gd name="connsiteY115" fmla="*/ 6301 h 10155"/>
                <a:gd name="connsiteX116" fmla="*/ 4384 w 8166"/>
                <a:gd name="connsiteY116" fmla="*/ 6341 h 10155"/>
                <a:gd name="connsiteX117" fmla="*/ 4457 w 8166"/>
                <a:gd name="connsiteY117" fmla="*/ 6511 h 10155"/>
                <a:gd name="connsiteX118" fmla="*/ 4570 w 8166"/>
                <a:gd name="connsiteY118" fmla="*/ 6494 h 10155"/>
                <a:gd name="connsiteX119" fmla="*/ 4619 w 8166"/>
                <a:gd name="connsiteY119" fmla="*/ 6417 h 10155"/>
                <a:gd name="connsiteX120" fmla="*/ 4734 w 8166"/>
                <a:gd name="connsiteY120" fmla="*/ 6735 h 10155"/>
                <a:gd name="connsiteX121" fmla="*/ 4693 w 8166"/>
                <a:gd name="connsiteY121" fmla="*/ 6987 h 10155"/>
                <a:gd name="connsiteX122" fmla="*/ 4752 w 8166"/>
                <a:gd name="connsiteY122" fmla="*/ 7114 h 10155"/>
                <a:gd name="connsiteX123" fmla="*/ 4830 w 8166"/>
                <a:gd name="connsiteY123" fmla="*/ 7119 h 10155"/>
                <a:gd name="connsiteX124" fmla="*/ 4955 w 8166"/>
                <a:gd name="connsiteY124" fmla="*/ 7256 h 10155"/>
                <a:gd name="connsiteX125" fmla="*/ 5004 w 8166"/>
                <a:gd name="connsiteY125" fmla="*/ 7152 h 10155"/>
                <a:gd name="connsiteX126" fmla="*/ 5059 w 8166"/>
                <a:gd name="connsiteY126" fmla="*/ 7322 h 10155"/>
                <a:gd name="connsiteX127" fmla="*/ 5127 w 8166"/>
                <a:gd name="connsiteY127" fmla="*/ 7662 h 10155"/>
                <a:gd name="connsiteX128" fmla="*/ 5330 w 8166"/>
                <a:gd name="connsiteY128" fmla="*/ 7739 h 10155"/>
                <a:gd name="connsiteX129" fmla="*/ 5378 w 8166"/>
                <a:gd name="connsiteY129" fmla="*/ 8183 h 10155"/>
                <a:gd name="connsiteX130" fmla="*/ 5549 w 8166"/>
                <a:gd name="connsiteY130" fmla="*/ 8276 h 10155"/>
                <a:gd name="connsiteX131" fmla="*/ 5372 w 8166"/>
                <a:gd name="connsiteY131" fmla="*/ 8370 h 10155"/>
                <a:gd name="connsiteX132" fmla="*/ 5313 w 8166"/>
                <a:gd name="connsiteY132" fmla="*/ 8260 h 10155"/>
                <a:gd name="connsiteX133" fmla="*/ 5245 w 8166"/>
                <a:gd name="connsiteY133" fmla="*/ 8403 h 10155"/>
                <a:gd name="connsiteX134" fmla="*/ 5071 w 8166"/>
                <a:gd name="connsiteY134" fmla="*/ 8287 h 10155"/>
                <a:gd name="connsiteX135" fmla="*/ 4974 w 8166"/>
                <a:gd name="connsiteY135" fmla="*/ 8452 h 10155"/>
                <a:gd name="connsiteX136" fmla="*/ 4773 w 8166"/>
                <a:gd name="connsiteY136" fmla="*/ 8331 h 10155"/>
                <a:gd name="connsiteX137" fmla="*/ 4869 w 8166"/>
                <a:gd name="connsiteY137" fmla="*/ 8699 h 10155"/>
                <a:gd name="connsiteX138" fmla="*/ 4860 w 8166"/>
                <a:gd name="connsiteY138" fmla="*/ 8967 h 10155"/>
                <a:gd name="connsiteX139" fmla="*/ 4731 w 8166"/>
                <a:gd name="connsiteY139" fmla="*/ 9088 h 10155"/>
                <a:gd name="connsiteX140" fmla="*/ 4773 w 8166"/>
                <a:gd name="connsiteY140" fmla="*/ 9193 h 10155"/>
                <a:gd name="connsiteX141" fmla="*/ 4591 w 8166"/>
                <a:gd name="connsiteY141" fmla="*/ 9412 h 10155"/>
                <a:gd name="connsiteX142" fmla="*/ 4662 w 8166"/>
                <a:gd name="connsiteY142" fmla="*/ 9647 h 10155"/>
                <a:gd name="connsiteX143" fmla="*/ 4486 w 8166"/>
                <a:gd name="connsiteY143" fmla="*/ 9681 h 10155"/>
                <a:gd name="connsiteX144" fmla="*/ 4439 w 8166"/>
                <a:gd name="connsiteY144" fmla="*/ 9741 h 10155"/>
                <a:gd name="connsiteX145" fmla="*/ 4516 w 8166"/>
                <a:gd name="connsiteY145" fmla="*/ 9785 h 10155"/>
                <a:gd name="connsiteX146" fmla="*/ 4651 w 8166"/>
                <a:gd name="connsiteY146" fmla="*/ 9944 h 10155"/>
                <a:gd name="connsiteX147" fmla="*/ 4869 w 8166"/>
                <a:gd name="connsiteY147" fmla="*/ 9999 h 10155"/>
                <a:gd name="connsiteX148" fmla="*/ 4877 w 8166"/>
                <a:gd name="connsiteY148" fmla="*/ 9851 h 10155"/>
                <a:gd name="connsiteX149" fmla="*/ 4955 w 8166"/>
                <a:gd name="connsiteY149" fmla="*/ 9856 h 10155"/>
                <a:gd name="connsiteX150" fmla="*/ 5280 w 8166"/>
                <a:gd name="connsiteY150" fmla="*/ 9603 h 10155"/>
                <a:gd name="connsiteX151" fmla="*/ 5495 w 8166"/>
                <a:gd name="connsiteY151" fmla="*/ 9845 h 10155"/>
                <a:gd name="connsiteX152" fmla="*/ 5495 w 8166"/>
                <a:gd name="connsiteY152" fmla="*/ 9862 h 10155"/>
                <a:gd name="connsiteX153" fmla="*/ 5529 w 8166"/>
                <a:gd name="connsiteY153" fmla="*/ 9703 h 10155"/>
                <a:gd name="connsiteX154" fmla="*/ 5468 w 8166"/>
                <a:gd name="connsiteY154" fmla="*/ 9570 h 10155"/>
                <a:gd name="connsiteX155" fmla="*/ 5394 w 8166"/>
                <a:gd name="connsiteY155" fmla="*/ 9549 h 10155"/>
                <a:gd name="connsiteX156" fmla="*/ 5444 w 8166"/>
                <a:gd name="connsiteY156" fmla="*/ 9466 h 10155"/>
                <a:gd name="connsiteX157" fmla="*/ 5428 w 8166"/>
                <a:gd name="connsiteY157" fmla="*/ 9444 h 10155"/>
                <a:gd name="connsiteX158" fmla="*/ 5363 w 8166"/>
                <a:gd name="connsiteY158" fmla="*/ 9439 h 10155"/>
                <a:gd name="connsiteX159" fmla="*/ 5330 w 8166"/>
                <a:gd name="connsiteY159" fmla="*/ 9121 h 10155"/>
                <a:gd name="connsiteX160" fmla="*/ 5378 w 8166"/>
                <a:gd name="connsiteY160" fmla="*/ 9105 h 10155"/>
                <a:gd name="connsiteX161" fmla="*/ 5402 w 8166"/>
                <a:gd name="connsiteY161" fmla="*/ 9253 h 10155"/>
                <a:gd name="connsiteX162" fmla="*/ 5460 w 8166"/>
                <a:gd name="connsiteY162" fmla="*/ 9384 h 10155"/>
                <a:gd name="connsiteX163" fmla="*/ 5511 w 8166"/>
                <a:gd name="connsiteY163" fmla="*/ 9302 h 10155"/>
                <a:gd name="connsiteX164" fmla="*/ 5499 w 8166"/>
                <a:gd name="connsiteY164" fmla="*/ 9220 h 10155"/>
                <a:gd name="connsiteX165" fmla="*/ 5579 w 8166"/>
                <a:gd name="connsiteY165" fmla="*/ 9203 h 10155"/>
                <a:gd name="connsiteX166" fmla="*/ 5536 w 8166"/>
                <a:gd name="connsiteY166" fmla="*/ 9034 h 10155"/>
                <a:gd name="connsiteX167" fmla="*/ 5646 w 8166"/>
                <a:gd name="connsiteY167" fmla="*/ 9061 h 10155"/>
                <a:gd name="connsiteX168" fmla="*/ 5651 w 8166"/>
                <a:gd name="connsiteY168" fmla="*/ 8972 h 10155"/>
                <a:gd name="connsiteX169" fmla="*/ 5693 w 8166"/>
                <a:gd name="connsiteY169" fmla="*/ 9039 h 10155"/>
                <a:gd name="connsiteX170" fmla="*/ 5878 w 8166"/>
                <a:gd name="connsiteY170" fmla="*/ 8781 h 10155"/>
                <a:gd name="connsiteX171" fmla="*/ 5772 w 8166"/>
                <a:gd name="connsiteY171" fmla="*/ 8584 h 10155"/>
                <a:gd name="connsiteX172" fmla="*/ 5576 w 8166"/>
                <a:gd name="connsiteY172" fmla="*/ 8425 h 10155"/>
                <a:gd name="connsiteX173" fmla="*/ 5688 w 8166"/>
                <a:gd name="connsiteY173" fmla="*/ 8370 h 10155"/>
                <a:gd name="connsiteX174" fmla="*/ 5852 w 8166"/>
                <a:gd name="connsiteY174" fmla="*/ 8633 h 10155"/>
                <a:gd name="connsiteX175" fmla="*/ 5975 w 8166"/>
                <a:gd name="connsiteY175" fmla="*/ 8199 h 10155"/>
                <a:gd name="connsiteX176" fmla="*/ 5983 w 8166"/>
                <a:gd name="connsiteY176" fmla="*/ 8030 h 10155"/>
                <a:gd name="connsiteX177" fmla="*/ 6189 w 8166"/>
                <a:gd name="connsiteY177" fmla="*/ 7942 h 10155"/>
                <a:gd name="connsiteX178" fmla="*/ 6267 w 8166"/>
                <a:gd name="connsiteY178" fmla="*/ 7607 h 10155"/>
                <a:gd name="connsiteX179" fmla="*/ 6280 w 8166"/>
                <a:gd name="connsiteY179" fmla="*/ 7734 h 10155"/>
                <a:gd name="connsiteX180" fmla="*/ 6411 w 8166"/>
                <a:gd name="connsiteY180" fmla="*/ 7596 h 10155"/>
                <a:gd name="connsiteX181" fmla="*/ 6504 w 8166"/>
                <a:gd name="connsiteY181" fmla="*/ 7579 h 10155"/>
                <a:gd name="connsiteX182" fmla="*/ 6597 w 8166"/>
                <a:gd name="connsiteY182" fmla="*/ 7207 h 10155"/>
                <a:gd name="connsiteX183" fmla="*/ 6680 w 8166"/>
                <a:gd name="connsiteY183" fmla="*/ 7486 h 10155"/>
                <a:gd name="connsiteX184" fmla="*/ 6930 w 8166"/>
                <a:gd name="connsiteY184" fmla="*/ 7563 h 10155"/>
                <a:gd name="connsiteX185" fmla="*/ 6741 w 8166"/>
                <a:gd name="connsiteY185" fmla="*/ 7618 h 10155"/>
                <a:gd name="connsiteX186" fmla="*/ 6723 w 8166"/>
                <a:gd name="connsiteY186" fmla="*/ 7679 h 10155"/>
                <a:gd name="connsiteX187" fmla="*/ 6535 w 8166"/>
                <a:gd name="connsiteY187" fmla="*/ 7690 h 10155"/>
                <a:gd name="connsiteX188" fmla="*/ 6437 w 8166"/>
                <a:gd name="connsiteY188" fmla="*/ 7723 h 10155"/>
                <a:gd name="connsiteX189" fmla="*/ 6513 w 8166"/>
                <a:gd name="connsiteY189" fmla="*/ 7772 h 10155"/>
                <a:gd name="connsiteX190" fmla="*/ 6581 w 8166"/>
                <a:gd name="connsiteY190" fmla="*/ 7756 h 10155"/>
                <a:gd name="connsiteX191" fmla="*/ 6767 w 8166"/>
                <a:gd name="connsiteY191" fmla="*/ 7789 h 10155"/>
                <a:gd name="connsiteX192" fmla="*/ 6556 w 8166"/>
                <a:gd name="connsiteY192" fmla="*/ 7964 h 10155"/>
                <a:gd name="connsiteX193" fmla="*/ 6630 w 8166"/>
                <a:gd name="connsiteY193" fmla="*/ 8008 h 10155"/>
                <a:gd name="connsiteX194" fmla="*/ 6824 w 8166"/>
                <a:gd name="connsiteY194" fmla="*/ 7958 h 10155"/>
                <a:gd name="connsiteX195" fmla="*/ 7086 w 8166"/>
                <a:gd name="connsiteY195" fmla="*/ 8101 h 10155"/>
                <a:gd name="connsiteX196" fmla="*/ 7424 w 8166"/>
                <a:gd name="connsiteY196" fmla="*/ 7909 h 10155"/>
                <a:gd name="connsiteX197" fmla="*/ 7809 w 8166"/>
                <a:gd name="connsiteY197" fmla="*/ 7745 h 10155"/>
                <a:gd name="connsiteX198" fmla="*/ 7259 w 8166"/>
                <a:gd name="connsiteY198" fmla="*/ 8989 h 10155"/>
                <a:gd name="connsiteX199" fmla="*/ 8166 w 8166"/>
                <a:gd name="connsiteY199" fmla="*/ 9675 h 10155"/>
                <a:gd name="connsiteX0" fmla="*/ 8889 w 9565"/>
                <a:gd name="connsiteY0" fmla="*/ 8852 h 9847"/>
                <a:gd name="connsiteX1" fmla="*/ 8838 w 9565"/>
                <a:gd name="connsiteY1" fmla="*/ 1291 h 9847"/>
                <a:gd name="connsiteX2" fmla="*/ 8725 w 9565"/>
                <a:gd name="connsiteY2" fmla="*/ 1204 h 9847"/>
                <a:gd name="connsiteX3" fmla="*/ 8472 w 9565"/>
                <a:gd name="connsiteY3" fmla="*/ 1254 h 9847"/>
                <a:gd name="connsiteX4" fmla="*/ 8495 w 9565"/>
                <a:gd name="connsiteY4" fmla="*/ 1108 h 9847"/>
                <a:gd name="connsiteX5" fmla="*/ 8399 w 9565"/>
                <a:gd name="connsiteY5" fmla="*/ 1102 h 9847"/>
                <a:gd name="connsiteX6" fmla="*/ 8353 w 9565"/>
                <a:gd name="connsiteY6" fmla="*/ 896 h 9847"/>
                <a:gd name="connsiteX7" fmla="*/ 8217 w 9565"/>
                <a:gd name="connsiteY7" fmla="*/ 783 h 9847"/>
                <a:gd name="connsiteX8" fmla="*/ 8495 w 9565"/>
                <a:gd name="connsiteY8" fmla="*/ 611 h 9847"/>
                <a:gd name="connsiteX9" fmla="*/ 8162 w 9565"/>
                <a:gd name="connsiteY9" fmla="*/ 389 h 9847"/>
                <a:gd name="connsiteX10" fmla="*/ 8095 w 9565"/>
                <a:gd name="connsiteY10" fmla="*/ 140 h 9847"/>
                <a:gd name="connsiteX11" fmla="*/ 7939 w 9565"/>
                <a:gd name="connsiteY11" fmla="*/ 108 h 9847"/>
                <a:gd name="connsiteX12" fmla="*/ 7810 w 9565"/>
                <a:gd name="connsiteY12" fmla="*/ 0 h 9847"/>
                <a:gd name="connsiteX13" fmla="*/ 7671 w 9565"/>
                <a:gd name="connsiteY13" fmla="*/ 118 h 9847"/>
                <a:gd name="connsiteX14" fmla="*/ 7436 w 9565"/>
                <a:gd name="connsiteY14" fmla="*/ 108 h 9847"/>
                <a:gd name="connsiteX15" fmla="*/ 7235 w 9565"/>
                <a:gd name="connsiteY15" fmla="*/ 346 h 9847"/>
                <a:gd name="connsiteX16" fmla="*/ 6847 w 9565"/>
                <a:gd name="connsiteY16" fmla="*/ 324 h 9847"/>
                <a:gd name="connsiteX17" fmla="*/ 6752 w 9565"/>
                <a:gd name="connsiteY17" fmla="*/ 670 h 9847"/>
                <a:gd name="connsiteX18" fmla="*/ 6500 w 9565"/>
                <a:gd name="connsiteY18" fmla="*/ 696 h 9847"/>
                <a:gd name="connsiteX19" fmla="*/ 6630 w 9565"/>
                <a:gd name="connsiteY19" fmla="*/ 831 h 9847"/>
                <a:gd name="connsiteX20" fmla="*/ 6552 w 9565"/>
                <a:gd name="connsiteY20" fmla="*/ 885 h 9847"/>
                <a:gd name="connsiteX21" fmla="*/ 6378 w 9565"/>
                <a:gd name="connsiteY21" fmla="*/ 880 h 9847"/>
                <a:gd name="connsiteX22" fmla="*/ 6139 w 9565"/>
                <a:gd name="connsiteY22" fmla="*/ 1010 h 9847"/>
                <a:gd name="connsiteX23" fmla="*/ 5880 w 9565"/>
                <a:gd name="connsiteY23" fmla="*/ 1643 h 9847"/>
                <a:gd name="connsiteX24" fmla="*/ 5956 w 9565"/>
                <a:gd name="connsiteY24" fmla="*/ 2058 h 9847"/>
                <a:gd name="connsiteX25" fmla="*/ 5699 w 9565"/>
                <a:gd name="connsiteY25" fmla="*/ 1837 h 9847"/>
                <a:gd name="connsiteX26" fmla="*/ 5323 w 9565"/>
                <a:gd name="connsiteY26" fmla="*/ 1961 h 9847"/>
                <a:gd name="connsiteX27" fmla="*/ 5287 w 9565"/>
                <a:gd name="connsiteY27" fmla="*/ 1902 h 9847"/>
                <a:gd name="connsiteX28" fmla="*/ 5109 w 9565"/>
                <a:gd name="connsiteY28" fmla="*/ 1971 h 9847"/>
                <a:gd name="connsiteX29" fmla="*/ 5006 w 9565"/>
                <a:gd name="connsiteY29" fmla="*/ 2111 h 9847"/>
                <a:gd name="connsiteX30" fmla="*/ 4927 w 9565"/>
                <a:gd name="connsiteY30" fmla="*/ 1880 h 9847"/>
                <a:gd name="connsiteX31" fmla="*/ 4810 w 9565"/>
                <a:gd name="connsiteY31" fmla="*/ 1815 h 9847"/>
                <a:gd name="connsiteX32" fmla="*/ 4762 w 9565"/>
                <a:gd name="connsiteY32" fmla="*/ 1934 h 9847"/>
                <a:gd name="connsiteX33" fmla="*/ 4608 w 9565"/>
                <a:gd name="connsiteY33" fmla="*/ 1966 h 9847"/>
                <a:gd name="connsiteX34" fmla="*/ 4524 w 9565"/>
                <a:gd name="connsiteY34" fmla="*/ 2128 h 9847"/>
                <a:gd name="connsiteX35" fmla="*/ 4471 w 9565"/>
                <a:gd name="connsiteY35" fmla="*/ 1982 h 9847"/>
                <a:gd name="connsiteX36" fmla="*/ 4317 w 9565"/>
                <a:gd name="connsiteY36" fmla="*/ 1993 h 9847"/>
                <a:gd name="connsiteX37" fmla="*/ 4255 w 9565"/>
                <a:gd name="connsiteY37" fmla="*/ 2096 h 9847"/>
                <a:gd name="connsiteX38" fmla="*/ 4164 w 9565"/>
                <a:gd name="connsiteY38" fmla="*/ 1945 h 9847"/>
                <a:gd name="connsiteX39" fmla="*/ 4003 w 9565"/>
                <a:gd name="connsiteY39" fmla="*/ 2085 h 9847"/>
                <a:gd name="connsiteX40" fmla="*/ 3849 w 9565"/>
                <a:gd name="connsiteY40" fmla="*/ 2074 h 9847"/>
                <a:gd name="connsiteX41" fmla="*/ 3843 w 9565"/>
                <a:gd name="connsiteY41" fmla="*/ 2241 h 9847"/>
                <a:gd name="connsiteX42" fmla="*/ 3771 w 9565"/>
                <a:gd name="connsiteY42" fmla="*/ 2111 h 9847"/>
                <a:gd name="connsiteX43" fmla="*/ 3539 w 9565"/>
                <a:gd name="connsiteY43" fmla="*/ 2122 h 9847"/>
                <a:gd name="connsiteX44" fmla="*/ 3370 w 9565"/>
                <a:gd name="connsiteY44" fmla="*/ 1950 h 9847"/>
                <a:gd name="connsiteX45" fmla="*/ 3170 w 9565"/>
                <a:gd name="connsiteY45" fmla="*/ 2041 h 9847"/>
                <a:gd name="connsiteX46" fmla="*/ 2965 w 9565"/>
                <a:gd name="connsiteY46" fmla="*/ 1928 h 9847"/>
                <a:gd name="connsiteX47" fmla="*/ 2845 w 9565"/>
                <a:gd name="connsiteY47" fmla="*/ 2004 h 9847"/>
                <a:gd name="connsiteX48" fmla="*/ 2731 w 9565"/>
                <a:gd name="connsiteY48" fmla="*/ 1917 h 9847"/>
                <a:gd name="connsiteX49" fmla="*/ 2562 w 9565"/>
                <a:gd name="connsiteY49" fmla="*/ 1906 h 9847"/>
                <a:gd name="connsiteX50" fmla="*/ 2308 w 9565"/>
                <a:gd name="connsiteY50" fmla="*/ 1896 h 9847"/>
                <a:gd name="connsiteX51" fmla="*/ 1996 w 9565"/>
                <a:gd name="connsiteY51" fmla="*/ 1961 h 9847"/>
                <a:gd name="connsiteX52" fmla="*/ 1668 w 9565"/>
                <a:gd name="connsiteY52" fmla="*/ 2031 h 9847"/>
                <a:gd name="connsiteX53" fmla="*/ 1274 w 9565"/>
                <a:gd name="connsiteY53" fmla="*/ 2133 h 9847"/>
                <a:gd name="connsiteX54" fmla="*/ 1101 w 9565"/>
                <a:gd name="connsiteY54" fmla="*/ 2458 h 9847"/>
                <a:gd name="connsiteX55" fmla="*/ 833 w 9565"/>
                <a:gd name="connsiteY55" fmla="*/ 2463 h 9847"/>
                <a:gd name="connsiteX56" fmla="*/ 747 w 9565"/>
                <a:gd name="connsiteY56" fmla="*/ 2646 h 9847"/>
                <a:gd name="connsiteX57" fmla="*/ 771 w 9565"/>
                <a:gd name="connsiteY57" fmla="*/ 2722 h 9847"/>
                <a:gd name="connsiteX58" fmla="*/ 797 w 9565"/>
                <a:gd name="connsiteY58" fmla="*/ 2824 h 9847"/>
                <a:gd name="connsiteX59" fmla="*/ 797 w 9565"/>
                <a:gd name="connsiteY59" fmla="*/ 2824 h 9847"/>
                <a:gd name="connsiteX60" fmla="*/ 797 w 9565"/>
                <a:gd name="connsiteY60" fmla="*/ 2852 h 9847"/>
                <a:gd name="connsiteX61" fmla="*/ 943 w 9565"/>
                <a:gd name="connsiteY61" fmla="*/ 3068 h 9847"/>
                <a:gd name="connsiteX62" fmla="*/ 1086 w 9565"/>
                <a:gd name="connsiteY62" fmla="*/ 3300 h 9847"/>
                <a:gd name="connsiteX63" fmla="*/ 1274 w 9565"/>
                <a:gd name="connsiteY63" fmla="*/ 3435 h 9847"/>
                <a:gd name="connsiteX64" fmla="*/ 1210 w 9565"/>
                <a:gd name="connsiteY64" fmla="*/ 3494 h 9847"/>
                <a:gd name="connsiteX65" fmla="*/ 1113 w 9565"/>
                <a:gd name="connsiteY65" fmla="*/ 3548 h 9847"/>
                <a:gd name="connsiteX66" fmla="*/ 1225 w 9565"/>
                <a:gd name="connsiteY66" fmla="*/ 3641 h 9847"/>
                <a:gd name="connsiteX67" fmla="*/ 1210 w 9565"/>
                <a:gd name="connsiteY67" fmla="*/ 3991 h 9847"/>
                <a:gd name="connsiteX68" fmla="*/ 956 w 9565"/>
                <a:gd name="connsiteY68" fmla="*/ 4061 h 9847"/>
                <a:gd name="connsiteX69" fmla="*/ 687 w 9565"/>
                <a:gd name="connsiteY69" fmla="*/ 4462 h 9847"/>
                <a:gd name="connsiteX70" fmla="*/ 513 w 9565"/>
                <a:gd name="connsiteY70" fmla="*/ 4861 h 9847"/>
                <a:gd name="connsiteX71" fmla="*/ 268 w 9565"/>
                <a:gd name="connsiteY71" fmla="*/ 5180 h 9847"/>
                <a:gd name="connsiteX72" fmla="*/ 373 w 9565"/>
                <a:gd name="connsiteY72" fmla="*/ 5433 h 9847"/>
                <a:gd name="connsiteX73" fmla="*/ 382 w 9565"/>
                <a:gd name="connsiteY73" fmla="*/ 5645 h 9847"/>
                <a:gd name="connsiteX74" fmla="*/ 552 w 9565"/>
                <a:gd name="connsiteY74" fmla="*/ 5752 h 9847"/>
                <a:gd name="connsiteX75" fmla="*/ 529 w 9565"/>
                <a:gd name="connsiteY75" fmla="*/ 5854 h 9847"/>
                <a:gd name="connsiteX76" fmla="*/ 279 w 9565"/>
                <a:gd name="connsiteY76" fmla="*/ 5763 h 9847"/>
                <a:gd name="connsiteX77" fmla="*/ 171 w 9565"/>
                <a:gd name="connsiteY77" fmla="*/ 6006 h 9847"/>
                <a:gd name="connsiteX78" fmla="*/ 146 w 9565"/>
                <a:gd name="connsiteY78" fmla="*/ 6249 h 9847"/>
                <a:gd name="connsiteX79" fmla="*/ 1 w 9565"/>
                <a:gd name="connsiteY79" fmla="*/ 6471 h 9847"/>
                <a:gd name="connsiteX80" fmla="*/ 26 w 9565"/>
                <a:gd name="connsiteY80" fmla="*/ 6676 h 9847"/>
                <a:gd name="connsiteX81" fmla="*/ 124 w 9565"/>
                <a:gd name="connsiteY81" fmla="*/ 6724 h 9847"/>
                <a:gd name="connsiteX82" fmla="*/ 214 w 9565"/>
                <a:gd name="connsiteY82" fmla="*/ 6854 h 9847"/>
                <a:gd name="connsiteX83" fmla="*/ 333 w 9565"/>
                <a:gd name="connsiteY83" fmla="*/ 6837 h 9847"/>
                <a:gd name="connsiteX84" fmla="*/ 404 w 9565"/>
                <a:gd name="connsiteY84" fmla="*/ 6968 h 9847"/>
                <a:gd name="connsiteX85" fmla="*/ 615 w 9565"/>
                <a:gd name="connsiteY85" fmla="*/ 6995 h 9847"/>
                <a:gd name="connsiteX86" fmla="*/ 626 w 9565"/>
                <a:gd name="connsiteY86" fmla="*/ 7140 h 9847"/>
                <a:gd name="connsiteX87" fmla="*/ 682 w 9565"/>
                <a:gd name="connsiteY87" fmla="*/ 7167 h 9847"/>
                <a:gd name="connsiteX88" fmla="*/ 726 w 9565"/>
                <a:gd name="connsiteY88" fmla="*/ 7065 h 9847"/>
                <a:gd name="connsiteX89" fmla="*/ 802 w 9565"/>
                <a:gd name="connsiteY89" fmla="*/ 7086 h 9847"/>
                <a:gd name="connsiteX90" fmla="*/ 890 w 9565"/>
                <a:gd name="connsiteY90" fmla="*/ 6885 h 9847"/>
                <a:gd name="connsiteX91" fmla="*/ 1134 w 9565"/>
                <a:gd name="connsiteY91" fmla="*/ 7065 h 9847"/>
                <a:gd name="connsiteX92" fmla="*/ 1776 w 9565"/>
                <a:gd name="connsiteY92" fmla="*/ 7054 h 9847"/>
                <a:gd name="connsiteX93" fmla="*/ 2028 w 9565"/>
                <a:gd name="connsiteY93" fmla="*/ 6984 h 9847"/>
                <a:gd name="connsiteX94" fmla="*/ 2443 w 9565"/>
                <a:gd name="connsiteY94" fmla="*/ 7232 h 9847"/>
                <a:gd name="connsiteX95" fmla="*/ 2705 w 9565"/>
                <a:gd name="connsiteY95" fmla="*/ 6979 h 9847"/>
                <a:gd name="connsiteX96" fmla="*/ 3294 w 9565"/>
                <a:gd name="connsiteY96" fmla="*/ 6756 h 9847"/>
                <a:gd name="connsiteX97" fmla="*/ 3507 w 9565"/>
                <a:gd name="connsiteY97" fmla="*/ 6390 h 9847"/>
                <a:gd name="connsiteX98" fmla="*/ 3662 w 9565"/>
                <a:gd name="connsiteY98" fmla="*/ 6341 h 9847"/>
                <a:gd name="connsiteX99" fmla="*/ 3662 w 9565"/>
                <a:gd name="connsiteY99" fmla="*/ 6282 h 9847"/>
                <a:gd name="connsiteX100" fmla="*/ 3724 w 9565"/>
                <a:gd name="connsiteY100" fmla="*/ 6282 h 9847"/>
                <a:gd name="connsiteX101" fmla="*/ 3709 w 9565"/>
                <a:gd name="connsiteY101" fmla="*/ 6135 h 9847"/>
                <a:gd name="connsiteX102" fmla="*/ 3899 w 9565"/>
                <a:gd name="connsiteY102" fmla="*/ 6189 h 9847"/>
                <a:gd name="connsiteX103" fmla="*/ 3925 w 9565"/>
                <a:gd name="connsiteY103" fmla="*/ 6065 h 9847"/>
                <a:gd name="connsiteX104" fmla="*/ 4039 w 9565"/>
                <a:gd name="connsiteY104" fmla="*/ 6135 h 9847"/>
                <a:gd name="connsiteX105" fmla="*/ 4123 w 9565"/>
                <a:gd name="connsiteY105" fmla="*/ 6032 h 9847"/>
                <a:gd name="connsiteX106" fmla="*/ 4255 w 9565"/>
                <a:gd name="connsiteY106" fmla="*/ 6060 h 9847"/>
                <a:gd name="connsiteX107" fmla="*/ 4375 w 9565"/>
                <a:gd name="connsiteY107" fmla="*/ 5963 h 9847"/>
                <a:gd name="connsiteX108" fmla="*/ 4602 w 9565"/>
                <a:gd name="connsiteY108" fmla="*/ 6097 h 9847"/>
                <a:gd name="connsiteX109" fmla="*/ 4718 w 9565"/>
                <a:gd name="connsiteY109" fmla="*/ 6102 h 9847"/>
                <a:gd name="connsiteX110" fmla="*/ 4754 w 9565"/>
                <a:gd name="connsiteY110" fmla="*/ 6211 h 9847"/>
                <a:gd name="connsiteX111" fmla="*/ 4967 w 9565"/>
                <a:gd name="connsiteY111" fmla="*/ 6141 h 9847"/>
                <a:gd name="connsiteX112" fmla="*/ 4945 w 9565"/>
                <a:gd name="connsiteY112" fmla="*/ 6260 h 9847"/>
                <a:gd name="connsiteX113" fmla="*/ 5024 w 9565"/>
                <a:gd name="connsiteY113" fmla="*/ 6244 h 9847"/>
                <a:gd name="connsiteX114" fmla="*/ 5115 w 9565"/>
                <a:gd name="connsiteY114" fmla="*/ 6330 h 9847"/>
                <a:gd name="connsiteX115" fmla="*/ 5120 w 9565"/>
                <a:gd name="connsiteY115" fmla="*/ 6205 h 9847"/>
                <a:gd name="connsiteX116" fmla="*/ 5369 w 9565"/>
                <a:gd name="connsiteY116" fmla="*/ 6244 h 9847"/>
                <a:gd name="connsiteX117" fmla="*/ 5458 w 9565"/>
                <a:gd name="connsiteY117" fmla="*/ 6412 h 9847"/>
                <a:gd name="connsiteX118" fmla="*/ 5596 w 9565"/>
                <a:gd name="connsiteY118" fmla="*/ 6395 h 9847"/>
                <a:gd name="connsiteX119" fmla="*/ 5656 w 9565"/>
                <a:gd name="connsiteY119" fmla="*/ 6319 h 9847"/>
                <a:gd name="connsiteX120" fmla="*/ 5797 w 9565"/>
                <a:gd name="connsiteY120" fmla="*/ 6632 h 9847"/>
                <a:gd name="connsiteX121" fmla="*/ 5747 w 9565"/>
                <a:gd name="connsiteY121" fmla="*/ 6880 h 9847"/>
                <a:gd name="connsiteX122" fmla="*/ 5819 w 9565"/>
                <a:gd name="connsiteY122" fmla="*/ 7005 h 9847"/>
                <a:gd name="connsiteX123" fmla="*/ 5915 w 9565"/>
                <a:gd name="connsiteY123" fmla="*/ 7010 h 9847"/>
                <a:gd name="connsiteX124" fmla="*/ 6068 w 9565"/>
                <a:gd name="connsiteY124" fmla="*/ 7145 h 9847"/>
                <a:gd name="connsiteX125" fmla="*/ 6128 w 9565"/>
                <a:gd name="connsiteY125" fmla="*/ 7043 h 9847"/>
                <a:gd name="connsiteX126" fmla="*/ 6195 w 9565"/>
                <a:gd name="connsiteY126" fmla="*/ 7210 h 9847"/>
                <a:gd name="connsiteX127" fmla="*/ 6278 w 9565"/>
                <a:gd name="connsiteY127" fmla="*/ 7545 h 9847"/>
                <a:gd name="connsiteX128" fmla="*/ 6527 w 9565"/>
                <a:gd name="connsiteY128" fmla="*/ 7621 h 9847"/>
                <a:gd name="connsiteX129" fmla="*/ 6586 w 9565"/>
                <a:gd name="connsiteY129" fmla="*/ 8058 h 9847"/>
                <a:gd name="connsiteX130" fmla="*/ 6795 w 9565"/>
                <a:gd name="connsiteY130" fmla="*/ 8150 h 9847"/>
                <a:gd name="connsiteX131" fmla="*/ 6578 w 9565"/>
                <a:gd name="connsiteY131" fmla="*/ 8242 h 9847"/>
                <a:gd name="connsiteX132" fmla="*/ 6506 w 9565"/>
                <a:gd name="connsiteY132" fmla="*/ 8134 h 9847"/>
                <a:gd name="connsiteX133" fmla="*/ 6423 w 9565"/>
                <a:gd name="connsiteY133" fmla="*/ 8275 h 9847"/>
                <a:gd name="connsiteX134" fmla="*/ 6210 w 9565"/>
                <a:gd name="connsiteY134" fmla="*/ 8161 h 9847"/>
                <a:gd name="connsiteX135" fmla="*/ 6091 w 9565"/>
                <a:gd name="connsiteY135" fmla="*/ 8323 h 9847"/>
                <a:gd name="connsiteX136" fmla="*/ 5845 w 9565"/>
                <a:gd name="connsiteY136" fmla="*/ 8204 h 9847"/>
                <a:gd name="connsiteX137" fmla="*/ 5963 w 9565"/>
                <a:gd name="connsiteY137" fmla="*/ 8566 h 9847"/>
                <a:gd name="connsiteX138" fmla="*/ 5952 w 9565"/>
                <a:gd name="connsiteY138" fmla="*/ 8830 h 9847"/>
                <a:gd name="connsiteX139" fmla="*/ 5794 w 9565"/>
                <a:gd name="connsiteY139" fmla="*/ 8949 h 9847"/>
                <a:gd name="connsiteX140" fmla="*/ 5845 w 9565"/>
                <a:gd name="connsiteY140" fmla="*/ 9053 h 9847"/>
                <a:gd name="connsiteX141" fmla="*/ 5622 w 9565"/>
                <a:gd name="connsiteY141" fmla="*/ 9268 h 9847"/>
                <a:gd name="connsiteX142" fmla="*/ 5709 w 9565"/>
                <a:gd name="connsiteY142" fmla="*/ 9500 h 9847"/>
                <a:gd name="connsiteX143" fmla="*/ 5494 w 9565"/>
                <a:gd name="connsiteY143" fmla="*/ 9533 h 9847"/>
                <a:gd name="connsiteX144" fmla="*/ 5436 w 9565"/>
                <a:gd name="connsiteY144" fmla="*/ 9592 h 9847"/>
                <a:gd name="connsiteX145" fmla="*/ 5530 w 9565"/>
                <a:gd name="connsiteY145" fmla="*/ 9636 h 9847"/>
                <a:gd name="connsiteX146" fmla="*/ 5696 w 9565"/>
                <a:gd name="connsiteY146" fmla="*/ 9792 h 9847"/>
                <a:gd name="connsiteX147" fmla="*/ 5963 w 9565"/>
                <a:gd name="connsiteY147" fmla="*/ 9846 h 9847"/>
                <a:gd name="connsiteX148" fmla="*/ 5972 w 9565"/>
                <a:gd name="connsiteY148" fmla="*/ 9701 h 9847"/>
                <a:gd name="connsiteX149" fmla="*/ 6068 w 9565"/>
                <a:gd name="connsiteY149" fmla="*/ 9706 h 9847"/>
                <a:gd name="connsiteX150" fmla="*/ 6466 w 9565"/>
                <a:gd name="connsiteY150" fmla="*/ 9456 h 9847"/>
                <a:gd name="connsiteX151" fmla="*/ 6729 w 9565"/>
                <a:gd name="connsiteY151" fmla="*/ 9695 h 9847"/>
                <a:gd name="connsiteX152" fmla="*/ 6729 w 9565"/>
                <a:gd name="connsiteY152" fmla="*/ 9711 h 9847"/>
                <a:gd name="connsiteX153" fmla="*/ 6771 w 9565"/>
                <a:gd name="connsiteY153" fmla="*/ 9555 h 9847"/>
                <a:gd name="connsiteX154" fmla="*/ 6696 w 9565"/>
                <a:gd name="connsiteY154" fmla="*/ 9424 h 9847"/>
                <a:gd name="connsiteX155" fmla="*/ 6605 w 9565"/>
                <a:gd name="connsiteY155" fmla="*/ 9403 h 9847"/>
                <a:gd name="connsiteX156" fmla="*/ 6667 w 9565"/>
                <a:gd name="connsiteY156" fmla="*/ 9322 h 9847"/>
                <a:gd name="connsiteX157" fmla="*/ 6647 w 9565"/>
                <a:gd name="connsiteY157" fmla="*/ 9300 h 9847"/>
                <a:gd name="connsiteX158" fmla="*/ 6567 w 9565"/>
                <a:gd name="connsiteY158" fmla="*/ 9295 h 9847"/>
                <a:gd name="connsiteX159" fmla="*/ 6527 w 9565"/>
                <a:gd name="connsiteY159" fmla="*/ 8982 h 9847"/>
                <a:gd name="connsiteX160" fmla="*/ 6586 w 9565"/>
                <a:gd name="connsiteY160" fmla="*/ 8966 h 9847"/>
                <a:gd name="connsiteX161" fmla="*/ 6615 w 9565"/>
                <a:gd name="connsiteY161" fmla="*/ 9112 h 9847"/>
                <a:gd name="connsiteX162" fmla="*/ 6686 w 9565"/>
                <a:gd name="connsiteY162" fmla="*/ 9241 h 9847"/>
                <a:gd name="connsiteX163" fmla="*/ 6749 w 9565"/>
                <a:gd name="connsiteY163" fmla="*/ 9160 h 9847"/>
                <a:gd name="connsiteX164" fmla="*/ 6734 w 9565"/>
                <a:gd name="connsiteY164" fmla="*/ 9079 h 9847"/>
                <a:gd name="connsiteX165" fmla="*/ 6832 w 9565"/>
                <a:gd name="connsiteY165" fmla="*/ 9063 h 9847"/>
                <a:gd name="connsiteX166" fmla="*/ 6779 w 9565"/>
                <a:gd name="connsiteY166" fmla="*/ 8896 h 9847"/>
                <a:gd name="connsiteX167" fmla="*/ 6914 w 9565"/>
                <a:gd name="connsiteY167" fmla="*/ 8923 h 9847"/>
                <a:gd name="connsiteX168" fmla="*/ 6920 w 9565"/>
                <a:gd name="connsiteY168" fmla="*/ 8835 h 9847"/>
                <a:gd name="connsiteX169" fmla="*/ 6972 w 9565"/>
                <a:gd name="connsiteY169" fmla="*/ 8901 h 9847"/>
                <a:gd name="connsiteX170" fmla="*/ 7198 w 9565"/>
                <a:gd name="connsiteY170" fmla="*/ 8647 h 9847"/>
                <a:gd name="connsiteX171" fmla="*/ 7068 w 9565"/>
                <a:gd name="connsiteY171" fmla="*/ 8453 h 9847"/>
                <a:gd name="connsiteX172" fmla="*/ 6828 w 9565"/>
                <a:gd name="connsiteY172" fmla="*/ 8296 h 9847"/>
                <a:gd name="connsiteX173" fmla="*/ 6965 w 9565"/>
                <a:gd name="connsiteY173" fmla="*/ 8242 h 9847"/>
                <a:gd name="connsiteX174" fmla="*/ 7166 w 9565"/>
                <a:gd name="connsiteY174" fmla="*/ 8501 h 9847"/>
                <a:gd name="connsiteX175" fmla="*/ 7317 w 9565"/>
                <a:gd name="connsiteY175" fmla="*/ 8074 h 9847"/>
                <a:gd name="connsiteX176" fmla="*/ 7327 w 9565"/>
                <a:gd name="connsiteY176" fmla="*/ 7907 h 9847"/>
                <a:gd name="connsiteX177" fmla="*/ 7579 w 9565"/>
                <a:gd name="connsiteY177" fmla="*/ 7821 h 9847"/>
                <a:gd name="connsiteX178" fmla="*/ 7675 w 9565"/>
                <a:gd name="connsiteY178" fmla="*/ 7491 h 9847"/>
                <a:gd name="connsiteX179" fmla="*/ 7690 w 9565"/>
                <a:gd name="connsiteY179" fmla="*/ 7616 h 9847"/>
                <a:gd name="connsiteX180" fmla="*/ 7851 w 9565"/>
                <a:gd name="connsiteY180" fmla="*/ 7480 h 9847"/>
                <a:gd name="connsiteX181" fmla="*/ 7965 w 9565"/>
                <a:gd name="connsiteY181" fmla="*/ 7463 h 9847"/>
                <a:gd name="connsiteX182" fmla="*/ 8079 w 9565"/>
                <a:gd name="connsiteY182" fmla="*/ 7097 h 9847"/>
                <a:gd name="connsiteX183" fmla="*/ 8180 w 9565"/>
                <a:gd name="connsiteY183" fmla="*/ 7372 h 9847"/>
                <a:gd name="connsiteX184" fmla="*/ 8486 w 9565"/>
                <a:gd name="connsiteY184" fmla="*/ 7448 h 9847"/>
                <a:gd name="connsiteX185" fmla="*/ 8255 w 9565"/>
                <a:gd name="connsiteY185" fmla="*/ 7502 h 9847"/>
                <a:gd name="connsiteX186" fmla="*/ 8233 w 9565"/>
                <a:gd name="connsiteY186" fmla="*/ 7562 h 9847"/>
                <a:gd name="connsiteX187" fmla="*/ 8003 w 9565"/>
                <a:gd name="connsiteY187" fmla="*/ 7573 h 9847"/>
                <a:gd name="connsiteX188" fmla="*/ 7883 w 9565"/>
                <a:gd name="connsiteY188" fmla="*/ 7605 h 9847"/>
                <a:gd name="connsiteX189" fmla="*/ 7976 w 9565"/>
                <a:gd name="connsiteY189" fmla="*/ 7653 h 9847"/>
                <a:gd name="connsiteX190" fmla="*/ 8059 w 9565"/>
                <a:gd name="connsiteY190" fmla="*/ 7638 h 9847"/>
                <a:gd name="connsiteX191" fmla="*/ 8287 w 9565"/>
                <a:gd name="connsiteY191" fmla="*/ 7670 h 9847"/>
                <a:gd name="connsiteX192" fmla="*/ 8028 w 9565"/>
                <a:gd name="connsiteY192" fmla="*/ 7842 h 9847"/>
                <a:gd name="connsiteX193" fmla="*/ 8119 w 9565"/>
                <a:gd name="connsiteY193" fmla="*/ 7886 h 9847"/>
                <a:gd name="connsiteX194" fmla="*/ 8357 w 9565"/>
                <a:gd name="connsiteY194" fmla="*/ 7837 h 9847"/>
                <a:gd name="connsiteX195" fmla="*/ 8677 w 9565"/>
                <a:gd name="connsiteY195" fmla="*/ 7977 h 9847"/>
                <a:gd name="connsiteX196" fmla="*/ 9091 w 9565"/>
                <a:gd name="connsiteY196" fmla="*/ 7788 h 9847"/>
                <a:gd name="connsiteX197" fmla="*/ 9563 w 9565"/>
                <a:gd name="connsiteY197" fmla="*/ 7627 h 9847"/>
                <a:gd name="connsiteX198" fmla="*/ 8889 w 9565"/>
                <a:gd name="connsiteY198" fmla="*/ 8852 h 9847"/>
                <a:gd name="connsiteX0" fmla="*/ 9998 w 10001"/>
                <a:gd name="connsiteY0" fmla="*/ 7746 h 10000"/>
                <a:gd name="connsiteX1" fmla="*/ 9240 w 10001"/>
                <a:gd name="connsiteY1" fmla="*/ 1311 h 10000"/>
                <a:gd name="connsiteX2" fmla="*/ 9122 w 10001"/>
                <a:gd name="connsiteY2" fmla="*/ 1223 h 10000"/>
                <a:gd name="connsiteX3" fmla="*/ 8857 w 10001"/>
                <a:gd name="connsiteY3" fmla="*/ 1273 h 10000"/>
                <a:gd name="connsiteX4" fmla="*/ 8881 w 10001"/>
                <a:gd name="connsiteY4" fmla="*/ 1125 h 10000"/>
                <a:gd name="connsiteX5" fmla="*/ 8781 w 10001"/>
                <a:gd name="connsiteY5" fmla="*/ 1119 h 10000"/>
                <a:gd name="connsiteX6" fmla="*/ 8733 w 10001"/>
                <a:gd name="connsiteY6" fmla="*/ 910 h 10000"/>
                <a:gd name="connsiteX7" fmla="*/ 8591 w 10001"/>
                <a:gd name="connsiteY7" fmla="*/ 795 h 10000"/>
                <a:gd name="connsiteX8" fmla="*/ 8881 w 10001"/>
                <a:gd name="connsiteY8" fmla="*/ 620 h 10000"/>
                <a:gd name="connsiteX9" fmla="*/ 8533 w 10001"/>
                <a:gd name="connsiteY9" fmla="*/ 395 h 10000"/>
                <a:gd name="connsiteX10" fmla="*/ 8463 w 10001"/>
                <a:gd name="connsiteY10" fmla="*/ 142 h 10000"/>
                <a:gd name="connsiteX11" fmla="*/ 8300 w 10001"/>
                <a:gd name="connsiteY11" fmla="*/ 110 h 10000"/>
                <a:gd name="connsiteX12" fmla="*/ 8165 w 10001"/>
                <a:gd name="connsiteY12" fmla="*/ 0 h 10000"/>
                <a:gd name="connsiteX13" fmla="*/ 8020 w 10001"/>
                <a:gd name="connsiteY13" fmla="*/ 120 h 10000"/>
                <a:gd name="connsiteX14" fmla="*/ 7774 w 10001"/>
                <a:gd name="connsiteY14" fmla="*/ 110 h 10000"/>
                <a:gd name="connsiteX15" fmla="*/ 7564 w 10001"/>
                <a:gd name="connsiteY15" fmla="*/ 351 h 10000"/>
                <a:gd name="connsiteX16" fmla="*/ 7158 w 10001"/>
                <a:gd name="connsiteY16" fmla="*/ 329 h 10000"/>
                <a:gd name="connsiteX17" fmla="*/ 7059 w 10001"/>
                <a:gd name="connsiteY17" fmla="*/ 680 h 10000"/>
                <a:gd name="connsiteX18" fmla="*/ 6796 w 10001"/>
                <a:gd name="connsiteY18" fmla="*/ 707 h 10000"/>
                <a:gd name="connsiteX19" fmla="*/ 6932 w 10001"/>
                <a:gd name="connsiteY19" fmla="*/ 844 h 10000"/>
                <a:gd name="connsiteX20" fmla="*/ 6850 w 10001"/>
                <a:gd name="connsiteY20" fmla="*/ 899 h 10000"/>
                <a:gd name="connsiteX21" fmla="*/ 6668 w 10001"/>
                <a:gd name="connsiteY21" fmla="*/ 894 h 10000"/>
                <a:gd name="connsiteX22" fmla="*/ 6418 w 10001"/>
                <a:gd name="connsiteY22" fmla="*/ 1026 h 10000"/>
                <a:gd name="connsiteX23" fmla="*/ 6147 w 10001"/>
                <a:gd name="connsiteY23" fmla="*/ 1669 h 10000"/>
                <a:gd name="connsiteX24" fmla="*/ 6227 w 10001"/>
                <a:gd name="connsiteY24" fmla="*/ 2090 h 10000"/>
                <a:gd name="connsiteX25" fmla="*/ 5958 w 10001"/>
                <a:gd name="connsiteY25" fmla="*/ 1866 h 10000"/>
                <a:gd name="connsiteX26" fmla="*/ 5565 w 10001"/>
                <a:gd name="connsiteY26" fmla="*/ 1991 h 10000"/>
                <a:gd name="connsiteX27" fmla="*/ 5527 w 10001"/>
                <a:gd name="connsiteY27" fmla="*/ 1932 h 10000"/>
                <a:gd name="connsiteX28" fmla="*/ 5341 w 10001"/>
                <a:gd name="connsiteY28" fmla="*/ 2002 h 10000"/>
                <a:gd name="connsiteX29" fmla="*/ 5234 w 10001"/>
                <a:gd name="connsiteY29" fmla="*/ 2144 h 10000"/>
                <a:gd name="connsiteX30" fmla="*/ 5151 w 10001"/>
                <a:gd name="connsiteY30" fmla="*/ 1909 h 10000"/>
                <a:gd name="connsiteX31" fmla="*/ 5029 w 10001"/>
                <a:gd name="connsiteY31" fmla="*/ 1843 h 10000"/>
                <a:gd name="connsiteX32" fmla="*/ 4979 w 10001"/>
                <a:gd name="connsiteY32" fmla="*/ 1964 h 10000"/>
                <a:gd name="connsiteX33" fmla="*/ 4818 w 10001"/>
                <a:gd name="connsiteY33" fmla="*/ 1997 h 10000"/>
                <a:gd name="connsiteX34" fmla="*/ 4730 w 10001"/>
                <a:gd name="connsiteY34" fmla="*/ 2161 h 10000"/>
                <a:gd name="connsiteX35" fmla="*/ 4674 w 10001"/>
                <a:gd name="connsiteY35" fmla="*/ 2013 h 10000"/>
                <a:gd name="connsiteX36" fmla="*/ 4513 w 10001"/>
                <a:gd name="connsiteY36" fmla="*/ 2024 h 10000"/>
                <a:gd name="connsiteX37" fmla="*/ 4449 w 10001"/>
                <a:gd name="connsiteY37" fmla="*/ 2129 h 10000"/>
                <a:gd name="connsiteX38" fmla="*/ 4353 w 10001"/>
                <a:gd name="connsiteY38" fmla="*/ 1975 h 10000"/>
                <a:gd name="connsiteX39" fmla="*/ 4185 w 10001"/>
                <a:gd name="connsiteY39" fmla="*/ 2117 h 10000"/>
                <a:gd name="connsiteX40" fmla="*/ 4024 w 10001"/>
                <a:gd name="connsiteY40" fmla="*/ 2106 h 10000"/>
                <a:gd name="connsiteX41" fmla="*/ 4018 w 10001"/>
                <a:gd name="connsiteY41" fmla="*/ 2276 h 10000"/>
                <a:gd name="connsiteX42" fmla="*/ 3942 w 10001"/>
                <a:gd name="connsiteY42" fmla="*/ 2144 h 10000"/>
                <a:gd name="connsiteX43" fmla="*/ 3700 w 10001"/>
                <a:gd name="connsiteY43" fmla="*/ 2155 h 10000"/>
                <a:gd name="connsiteX44" fmla="*/ 3523 w 10001"/>
                <a:gd name="connsiteY44" fmla="*/ 1980 h 10000"/>
                <a:gd name="connsiteX45" fmla="*/ 3314 w 10001"/>
                <a:gd name="connsiteY45" fmla="*/ 2073 h 10000"/>
                <a:gd name="connsiteX46" fmla="*/ 3100 w 10001"/>
                <a:gd name="connsiteY46" fmla="*/ 1958 h 10000"/>
                <a:gd name="connsiteX47" fmla="*/ 2974 w 10001"/>
                <a:gd name="connsiteY47" fmla="*/ 2035 h 10000"/>
                <a:gd name="connsiteX48" fmla="*/ 2855 w 10001"/>
                <a:gd name="connsiteY48" fmla="*/ 1947 h 10000"/>
                <a:gd name="connsiteX49" fmla="*/ 2679 w 10001"/>
                <a:gd name="connsiteY49" fmla="*/ 1936 h 10000"/>
                <a:gd name="connsiteX50" fmla="*/ 2413 w 10001"/>
                <a:gd name="connsiteY50" fmla="*/ 1925 h 10000"/>
                <a:gd name="connsiteX51" fmla="*/ 2087 w 10001"/>
                <a:gd name="connsiteY51" fmla="*/ 1991 h 10000"/>
                <a:gd name="connsiteX52" fmla="*/ 1744 w 10001"/>
                <a:gd name="connsiteY52" fmla="*/ 2063 h 10000"/>
                <a:gd name="connsiteX53" fmla="*/ 1332 w 10001"/>
                <a:gd name="connsiteY53" fmla="*/ 2166 h 10000"/>
                <a:gd name="connsiteX54" fmla="*/ 1151 w 10001"/>
                <a:gd name="connsiteY54" fmla="*/ 2496 h 10000"/>
                <a:gd name="connsiteX55" fmla="*/ 871 w 10001"/>
                <a:gd name="connsiteY55" fmla="*/ 2501 h 10000"/>
                <a:gd name="connsiteX56" fmla="*/ 781 w 10001"/>
                <a:gd name="connsiteY56" fmla="*/ 2687 h 10000"/>
                <a:gd name="connsiteX57" fmla="*/ 806 w 10001"/>
                <a:gd name="connsiteY57" fmla="*/ 2764 h 10000"/>
                <a:gd name="connsiteX58" fmla="*/ 833 w 10001"/>
                <a:gd name="connsiteY58" fmla="*/ 2868 h 10000"/>
                <a:gd name="connsiteX59" fmla="*/ 833 w 10001"/>
                <a:gd name="connsiteY59" fmla="*/ 2868 h 10000"/>
                <a:gd name="connsiteX60" fmla="*/ 833 w 10001"/>
                <a:gd name="connsiteY60" fmla="*/ 2896 h 10000"/>
                <a:gd name="connsiteX61" fmla="*/ 986 w 10001"/>
                <a:gd name="connsiteY61" fmla="*/ 3116 h 10000"/>
                <a:gd name="connsiteX62" fmla="*/ 1135 w 10001"/>
                <a:gd name="connsiteY62" fmla="*/ 3351 h 10000"/>
                <a:gd name="connsiteX63" fmla="*/ 1332 w 10001"/>
                <a:gd name="connsiteY63" fmla="*/ 3488 h 10000"/>
                <a:gd name="connsiteX64" fmla="*/ 1265 w 10001"/>
                <a:gd name="connsiteY64" fmla="*/ 3548 h 10000"/>
                <a:gd name="connsiteX65" fmla="*/ 1164 w 10001"/>
                <a:gd name="connsiteY65" fmla="*/ 3603 h 10000"/>
                <a:gd name="connsiteX66" fmla="*/ 1281 w 10001"/>
                <a:gd name="connsiteY66" fmla="*/ 3698 h 10000"/>
                <a:gd name="connsiteX67" fmla="*/ 1265 w 10001"/>
                <a:gd name="connsiteY67" fmla="*/ 4053 h 10000"/>
                <a:gd name="connsiteX68" fmla="*/ 999 w 10001"/>
                <a:gd name="connsiteY68" fmla="*/ 4124 h 10000"/>
                <a:gd name="connsiteX69" fmla="*/ 718 w 10001"/>
                <a:gd name="connsiteY69" fmla="*/ 4531 h 10000"/>
                <a:gd name="connsiteX70" fmla="*/ 536 w 10001"/>
                <a:gd name="connsiteY70" fmla="*/ 4937 h 10000"/>
                <a:gd name="connsiteX71" fmla="*/ 280 w 10001"/>
                <a:gd name="connsiteY71" fmla="*/ 5260 h 10000"/>
                <a:gd name="connsiteX72" fmla="*/ 390 w 10001"/>
                <a:gd name="connsiteY72" fmla="*/ 5517 h 10000"/>
                <a:gd name="connsiteX73" fmla="*/ 399 w 10001"/>
                <a:gd name="connsiteY73" fmla="*/ 5733 h 10000"/>
                <a:gd name="connsiteX74" fmla="*/ 577 w 10001"/>
                <a:gd name="connsiteY74" fmla="*/ 5841 h 10000"/>
                <a:gd name="connsiteX75" fmla="*/ 553 w 10001"/>
                <a:gd name="connsiteY75" fmla="*/ 5945 h 10000"/>
                <a:gd name="connsiteX76" fmla="*/ 292 w 10001"/>
                <a:gd name="connsiteY76" fmla="*/ 5853 h 10000"/>
                <a:gd name="connsiteX77" fmla="*/ 179 w 10001"/>
                <a:gd name="connsiteY77" fmla="*/ 6099 h 10000"/>
                <a:gd name="connsiteX78" fmla="*/ 153 w 10001"/>
                <a:gd name="connsiteY78" fmla="*/ 6346 h 10000"/>
                <a:gd name="connsiteX79" fmla="*/ 1 w 10001"/>
                <a:gd name="connsiteY79" fmla="*/ 6572 h 10000"/>
                <a:gd name="connsiteX80" fmla="*/ 27 w 10001"/>
                <a:gd name="connsiteY80" fmla="*/ 6780 h 10000"/>
                <a:gd name="connsiteX81" fmla="*/ 130 w 10001"/>
                <a:gd name="connsiteY81" fmla="*/ 6828 h 10000"/>
                <a:gd name="connsiteX82" fmla="*/ 224 w 10001"/>
                <a:gd name="connsiteY82" fmla="*/ 6960 h 10000"/>
                <a:gd name="connsiteX83" fmla="*/ 348 w 10001"/>
                <a:gd name="connsiteY83" fmla="*/ 6943 h 10000"/>
                <a:gd name="connsiteX84" fmla="*/ 422 w 10001"/>
                <a:gd name="connsiteY84" fmla="*/ 7076 h 10000"/>
                <a:gd name="connsiteX85" fmla="*/ 643 w 10001"/>
                <a:gd name="connsiteY85" fmla="*/ 7104 h 10000"/>
                <a:gd name="connsiteX86" fmla="*/ 654 w 10001"/>
                <a:gd name="connsiteY86" fmla="*/ 7251 h 10000"/>
                <a:gd name="connsiteX87" fmla="*/ 713 w 10001"/>
                <a:gd name="connsiteY87" fmla="*/ 7278 h 10000"/>
                <a:gd name="connsiteX88" fmla="*/ 759 w 10001"/>
                <a:gd name="connsiteY88" fmla="*/ 7175 h 10000"/>
                <a:gd name="connsiteX89" fmla="*/ 838 w 10001"/>
                <a:gd name="connsiteY89" fmla="*/ 7196 h 10000"/>
                <a:gd name="connsiteX90" fmla="*/ 930 w 10001"/>
                <a:gd name="connsiteY90" fmla="*/ 6992 h 10000"/>
                <a:gd name="connsiteX91" fmla="*/ 1186 w 10001"/>
                <a:gd name="connsiteY91" fmla="*/ 7175 h 10000"/>
                <a:gd name="connsiteX92" fmla="*/ 1857 w 10001"/>
                <a:gd name="connsiteY92" fmla="*/ 7164 h 10000"/>
                <a:gd name="connsiteX93" fmla="*/ 2120 w 10001"/>
                <a:gd name="connsiteY93" fmla="*/ 7093 h 10000"/>
                <a:gd name="connsiteX94" fmla="*/ 2554 w 10001"/>
                <a:gd name="connsiteY94" fmla="*/ 7344 h 10000"/>
                <a:gd name="connsiteX95" fmla="*/ 2828 w 10001"/>
                <a:gd name="connsiteY95" fmla="*/ 7087 h 10000"/>
                <a:gd name="connsiteX96" fmla="*/ 3444 w 10001"/>
                <a:gd name="connsiteY96" fmla="*/ 6861 h 10000"/>
                <a:gd name="connsiteX97" fmla="*/ 3666 w 10001"/>
                <a:gd name="connsiteY97" fmla="*/ 6489 h 10000"/>
                <a:gd name="connsiteX98" fmla="*/ 3829 w 10001"/>
                <a:gd name="connsiteY98" fmla="*/ 6440 h 10000"/>
                <a:gd name="connsiteX99" fmla="*/ 3829 w 10001"/>
                <a:gd name="connsiteY99" fmla="*/ 6380 h 10000"/>
                <a:gd name="connsiteX100" fmla="*/ 3893 w 10001"/>
                <a:gd name="connsiteY100" fmla="*/ 6380 h 10000"/>
                <a:gd name="connsiteX101" fmla="*/ 3878 w 10001"/>
                <a:gd name="connsiteY101" fmla="*/ 6230 h 10000"/>
                <a:gd name="connsiteX102" fmla="*/ 4076 w 10001"/>
                <a:gd name="connsiteY102" fmla="*/ 6285 h 10000"/>
                <a:gd name="connsiteX103" fmla="*/ 4104 w 10001"/>
                <a:gd name="connsiteY103" fmla="*/ 6159 h 10000"/>
                <a:gd name="connsiteX104" fmla="*/ 4223 w 10001"/>
                <a:gd name="connsiteY104" fmla="*/ 6230 h 10000"/>
                <a:gd name="connsiteX105" fmla="*/ 4311 w 10001"/>
                <a:gd name="connsiteY105" fmla="*/ 6126 h 10000"/>
                <a:gd name="connsiteX106" fmla="*/ 4449 w 10001"/>
                <a:gd name="connsiteY106" fmla="*/ 6154 h 10000"/>
                <a:gd name="connsiteX107" fmla="*/ 4574 w 10001"/>
                <a:gd name="connsiteY107" fmla="*/ 6056 h 10000"/>
                <a:gd name="connsiteX108" fmla="*/ 4811 w 10001"/>
                <a:gd name="connsiteY108" fmla="*/ 6192 h 10000"/>
                <a:gd name="connsiteX109" fmla="*/ 4933 w 10001"/>
                <a:gd name="connsiteY109" fmla="*/ 6197 h 10000"/>
                <a:gd name="connsiteX110" fmla="*/ 4970 w 10001"/>
                <a:gd name="connsiteY110" fmla="*/ 6308 h 10000"/>
                <a:gd name="connsiteX111" fmla="*/ 5193 w 10001"/>
                <a:gd name="connsiteY111" fmla="*/ 6236 h 10000"/>
                <a:gd name="connsiteX112" fmla="*/ 5170 w 10001"/>
                <a:gd name="connsiteY112" fmla="*/ 6357 h 10000"/>
                <a:gd name="connsiteX113" fmla="*/ 5252 w 10001"/>
                <a:gd name="connsiteY113" fmla="*/ 6341 h 10000"/>
                <a:gd name="connsiteX114" fmla="*/ 5348 w 10001"/>
                <a:gd name="connsiteY114" fmla="*/ 6428 h 10000"/>
                <a:gd name="connsiteX115" fmla="*/ 5353 w 10001"/>
                <a:gd name="connsiteY115" fmla="*/ 6301 h 10000"/>
                <a:gd name="connsiteX116" fmla="*/ 5613 w 10001"/>
                <a:gd name="connsiteY116" fmla="*/ 6341 h 10000"/>
                <a:gd name="connsiteX117" fmla="*/ 5706 w 10001"/>
                <a:gd name="connsiteY117" fmla="*/ 6512 h 10000"/>
                <a:gd name="connsiteX118" fmla="*/ 5850 w 10001"/>
                <a:gd name="connsiteY118" fmla="*/ 6494 h 10000"/>
                <a:gd name="connsiteX119" fmla="*/ 5913 w 10001"/>
                <a:gd name="connsiteY119" fmla="*/ 6417 h 10000"/>
                <a:gd name="connsiteX120" fmla="*/ 6061 w 10001"/>
                <a:gd name="connsiteY120" fmla="*/ 6735 h 10000"/>
                <a:gd name="connsiteX121" fmla="*/ 6008 w 10001"/>
                <a:gd name="connsiteY121" fmla="*/ 6987 h 10000"/>
                <a:gd name="connsiteX122" fmla="*/ 6084 w 10001"/>
                <a:gd name="connsiteY122" fmla="*/ 7114 h 10000"/>
                <a:gd name="connsiteX123" fmla="*/ 6184 w 10001"/>
                <a:gd name="connsiteY123" fmla="*/ 7119 h 10000"/>
                <a:gd name="connsiteX124" fmla="*/ 6344 w 10001"/>
                <a:gd name="connsiteY124" fmla="*/ 7256 h 10000"/>
                <a:gd name="connsiteX125" fmla="*/ 6407 w 10001"/>
                <a:gd name="connsiteY125" fmla="*/ 7152 h 10000"/>
                <a:gd name="connsiteX126" fmla="*/ 6477 w 10001"/>
                <a:gd name="connsiteY126" fmla="*/ 7322 h 10000"/>
                <a:gd name="connsiteX127" fmla="*/ 6564 w 10001"/>
                <a:gd name="connsiteY127" fmla="*/ 7662 h 10000"/>
                <a:gd name="connsiteX128" fmla="*/ 6824 w 10001"/>
                <a:gd name="connsiteY128" fmla="*/ 7739 h 10000"/>
                <a:gd name="connsiteX129" fmla="*/ 6886 w 10001"/>
                <a:gd name="connsiteY129" fmla="*/ 8183 h 10000"/>
                <a:gd name="connsiteX130" fmla="*/ 7104 w 10001"/>
                <a:gd name="connsiteY130" fmla="*/ 8277 h 10000"/>
                <a:gd name="connsiteX131" fmla="*/ 6877 w 10001"/>
                <a:gd name="connsiteY131" fmla="*/ 8370 h 10000"/>
                <a:gd name="connsiteX132" fmla="*/ 6802 w 10001"/>
                <a:gd name="connsiteY132" fmla="*/ 8260 h 10000"/>
                <a:gd name="connsiteX133" fmla="*/ 6715 w 10001"/>
                <a:gd name="connsiteY133" fmla="*/ 8404 h 10000"/>
                <a:gd name="connsiteX134" fmla="*/ 6492 w 10001"/>
                <a:gd name="connsiteY134" fmla="*/ 8288 h 10000"/>
                <a:gd name="connsiteX135" fmla="*/ 6368 w 10001"/>
                <a:gd name="connsiteY135" fmla="*/ 8452 h 10000"/>
                <a:gd name="connsiteX136" fmla="*/ 6111 w 10001"/>
                <a:gd name="connsiteY136" fmla="*/ 8331 h 10000"/>
                <a:gd name="connsiteX137" fmla="*/ 6234 w 10001"/>
                <a:gd name="connsiteY137" fmla="*/ 8699 h 10000"/>
                <a:gd name="connsiteX138" fmla="*/ 6223 w 10001"/>
                <a:gd name="connsiteY138" fmla="*/ 8967 h 10000"/>
                <a:gd name="connsiteX139" fmla="*/ 6058 w 10001"/>
                <a:gd name="connsiteY139" fmla="*/ 9088 h 10000"/>
                <a:gd name="connsiteX140" fmla="*/ 6111 w 10001"/>
                <a:gd name="connsiteY140" fmla="*/ 9194 h 10000"/>
                <a:gd name="connsiteX141" fmla="*/ 5878 w 10001"/>
                <a:gd name="connsiteY141" fmla="*/ 9412 h 10000"/>
                <a:gd name="connsiteX142" fmla="*/ 5969 w 10001"/>
                <a:gd name="connsiteY142" fmla="*/ 9648 h 10000"/>
                <a:gd name="connsiteX143" fmla="*/ 5744 w 10001"/>
                <a:gd name="connsiteY143" fmla="*/ 9681 h 10000"/>
                <a:gd name="connsiteX144" fmla="*/ 5683 w 10001"/>
                <a:gd name="connsiteY144" fmla="*/ 9741 h 10000"/>
                <a:gd name="connsiteX145" fmla="*/ 5781 w 10001"/>
                <a:gd name="connsiteY145" fmla="*/ 9786 h 10000"/>
                <a:gd name="connsiteX146" fmla="*/ 5955 w 10001"/>
                <a:gd name="connsiteY146" fmla="*/ 9944 h 10000"/>
                <a:gd name="connsiteX147" fmla="*/ 6234 w 10001"/>
                <a:gd name="connsiteY147" fmla="*/ 9999 h 10000"/>
                <a:gd name="connsiteX148" fmla="*/ 6244 w 10001"/>
                <a:gd name="connsiteY148" fmla="*/ 9852 h 10000"/>
                <a:gd name="connsiteX149" fmla="*/ 6344 w 10001"/>
                <a:gd name="connsiteY149" fmla="*/ 9857 h 10000"/>
                <a:gd name="connsiteX150" fmla="*/ 6760 w 10001"/>
                <a:gd name="connsiteY150" fmla="*/ 9603 h 10000"/>
                <a:gd name="connsiteX151" fmla="*/ 7035 w 10001"/>
                <a:gd name="connsiteY151" fmla="*/ 9846 h 10000"/>
                <a:gd name="connsiteX152" fmla="*/ 7035 w 10001"/>
                <a:gd name="connsiteY152" fmla="*/ 9862 h 10000"/>
                <a:gd name="connsiteX153" fmla="*/ 7079 w 10001"/>
                <a:gd name="connsiteY153" fmla="*/ 9703 h 10000"/>
                <a:gd name="connsiteX154" fmla="*/ 7001 w 10001"/>
                <a:gd name="connsiteY154" fmla="*/ 9570 h 10000"/>
                <a:gd name="connsiteX155" fmla="*/ 6905 w 10001"/>
                <a:gd name="connsiteY155" fmla="*/ 9549 h 10000"/>
                <a:gd name="connsiteX156" fmla="*/ 6970 w 10001"/>
                <a:gd name="connsiteY156" fmla="*/ 9467 h 10000"/>
                <a:gd name="connsiteX157" fmla="*/ 6949 w 10001"/>
                <a:gd name="connsiteY157" fmla="*/ 9445 h 10000"/>
                <a:gd name="connsiteX158" fmla="*/ 6866 w 10001"/>
                <a:gd name="connsiteY158" fmla="*/ 9439 h 10000"/>
                <a:gd name="connsiteX159" fmla="*/ 6824 w 10001"/>
                <a:gd name="connsiteY159" fmla="*/ 9122 h 10000"/>
                <a:gd name="connsiteX160" fmla="*/ 6886 w 10001"/>
                <a:gd name="connsiteY160" fmla="*/ 9105 h 10000"/>
                <a:gd name="connsiteX161" fmla="*/ 6916 w 10001"/>
                <a:gd name="connsiteY161" fmla="*/ 9254 h 10000"/>
                <a:gd name="connsiteX162" fmla="*/ 6990 w 10001"/>
                <a:gd name="connsiteY162" fmla="*/ 9385 h 10000"/>
                <a:gd name="connsiteX163" fmla="*/ 7056 w 10001"/>
                <a:gd name="connsiteY163" fmla="*/ 9302 h 10000"/>
                <a:gd name="connsiteX164" fmla="*/ 7040 w 10001"/>
                <a:gd name="connsiteY164" fmla="*/ 9220 h 10000"/>
                <a:gd name="connsiteX165" fmla="*/ 7143 w 10001"/>
                <a:gd name="connsiteY165" fmla="*/ 9204 h 10000"/>
                <a:gd name="connsiteX166" fmla="*/ 7087 w 10001"/>
                <a:gd name="connsiteY166" fmla="*/ 9034 h 10000"/>
                <a:gd name="connsiteX167" fmla="*/ 7228 w 10001"/>
                <a:gd name="connsiteY167" fmla="*/ 9062 h 10000"/>
                <a:gd name="connsiteX168" fmla="*/ 7235 w 10001"/>
                <a:gd name="connsiteY168" fmla="*/ 8972 h 10000"/>
                <a:gd name="connsiteX169" fmla="*/ 7289 w 10001"/>
                <a:gd name="connsiteY169" fmla="*/ 9039 h 10000"/>
                <a:gd name="connsiteX170" fmla="*/ 7525 w 10001"/>
                <a:gd name="connsiteY170" fmla="*/ 8781 h 10000"/>
                <a:gd name="connsiteX171" fmla="*/ 7389 w 10001"/>
                <a:gd name="connsiteY171" fmla="*/ 8584 h 10000"/>
                <a:gd name="connsiteX172" fmla="*/ 7139 w 10001"/>
                <a:gd name="connsiteY172" fmla="*/ 8425 h 10000"/>
                <a:gd name="connsiteX173" fmla="*/ 7282 w 10001"/>
                <a:gd name="connsiteY173" fmla="*/ 8370 h 10000"/>
                <a:gd name="connsiteX174" fmla="*/ 7492 w 10001"/>
                <a:gd name="connsiteY174" fmla="*/ 8633 h 10000"/>
                <a:gd name="connsiteX175" fmla="*/ 7650 w 10001"/>
                <a:gd name="connsiteY175" fmla="*/ 8199 h 10000"/>
                <a:gd name="connsiteX176" fmla="*/ 7660 w 10001"/>
                <a:gd name="connsiteY176" fmla="*/ 8030 h 10000"/>
                <a:gd name="connsiteX177" fmla="*/ 7924 w 10001"/>
                <a:gd name="connsiteY177" fmla="*/ 7943 h 10000"/>
                <a:gd name="connsiteX178" fmla="*/ 8024 w 10001"/>
                <a:gd name="connsiteY178" fmla="*/ 7607 h 10000"/>
                <a:gd name="connsiteX179" fmla="*/ 8040 w 10001"/>
                <a:gd name="connsiteY179" fmla="*/ 7734 h 10000"/>
                <a:gd name="connsiteX180" fmla="*/ 8208 w 10001"/>
                <a:gd name="connsiteY180" fmla="*/ 7596 h 10000"/>
                <a:gd name="connsiteX181" fmla="*/ 8327 w 10001"/>
                <a:gd name="connsiteY181" fmla="*/ 7579 h 10000"/>
                <a:gd name="connsiteX182" fmla="*/ 8446 w 10001"/>
                <a:gd name="connsiteY182" fmla="*/ 7207 h 10000"/>
                <a:gd name="connsiteX183" fmla="*/ 8552 w 10001"/>
                <a:gd name="connsiteY183" fmla="*/ 7487 h 10000"/>
                <a:gd name="connsiteX184" fmla="*/ 8872 w 10001"/>
                <a:gd name="connsiteY184" fmla="*/ 7564 h 10000"/>
                <a:gd name="connsiteX185" fmla="*/ 8630 w 10001"/>
                <a:gd name="connsiteY185" fmla="*/ 7619 h 10000"/>
                <a:gd name="connsiteX186" fmla="*/ 8607 w 10001"/>
                <a:gd name="connsiteY186" fmla="*/ 7679 h 10000"/>
                <a:gd name="connsiteX187" fmla="*/ 8367 w 10001"/>
                <a:gd name="connsiteY187" fmla="*/ 7691 h 10000"/>
                <a:gd name="connsiteX188" fmla="*/ 8242 w 10001"/>
                <a:gd name="connsiteY188" fmla="*/ 7723 h 10000"/>
                <a:gd name="connsiteX189" fmla="*/ 8339 w 10001"/>
                <a:gd name="connsiteY189" fmla="*/ 7772 h 10000"/>
                <a:gd name="connsiteX190" fmla="*/ 8426 w 10001"/>
                <a:gd name="connsiteY190" fmla="*/ 7757 h 10000"/>
                <a:gd name="connsiteX191" fmla="*/ 8664 w 10001"/>
                <a:gd name="connsiteY191" fmla="*/ 7789 h 10000"/>
                <a:gd name="connsiteX192" fmla="*/ 8393 w 10001"/>
                <a:gd name="connsiteY192" fmla="*/ 7964 h 10000"/>
                <a:gd name="connsiteX193" fmla="*/ 8488 w 10001"/>
                <a:gd name="connsiteY193" fmla="*/ 8009 h 10000"/>
                <a:gd name="connsiteX194" fmla="*/ 8737 w 10001"/>
                <a:gd name="connsiteY194" fmla="*/ 7959 h 10000"/>
                <a:gd name="connsiteX195" fmla="*/ 9072 w 10001"/>
                <a:gd name="connsiteY195" fmla="*/ 8101 h 10000"/>
                <a:gd name="connsiteX196" fmla="*/ 9504 w 10001"/>
                <a:gd name="connsiteY196" fmla="*/ 7909 h 10000"/>
                <a:gd name="connsiteX197" fmla="*/ 9998 w 10001"/>
                <a:gd name="connsiteY197" fmla="*/ 7746 h 10000"/>
                <a:gd name="connsiteX0" fmla="*/ 9998 w 9998"/>
                <a:gd name="connsiteY0" fmla="*/ 7746 h 10000"/>
                <a:gd name="connsiteX1" fmla="*/ 9240 w 9998"/>
                <a:gd name="connsiteY1" fmla="*/ 1311 h 10000"/>
                <a:gd name="connsiteX2" fmla="*/ 9122 w 9998"/>
                <a:gd name="connsiteY2" fmla="*/ 1223 h 10000"/>
                <a:gd name="connsiteX3" fmla="*/ 8857 w 9998"/>
                <a:gd name="connsiteY3" fmla="*/ 1273 h 10000"/>
                <a:gd name="connsiteX4" fmla="*/ 8881 w 9998"/>
                <a:gd name="connsiteY4" fmla="*/ 1125 h 10000"/>
                <a:gd name="connsiteX5" fmla="*/ 8781 w 9998"/>
                <a:gd name="connsiteY5" fmla="*/ 1119 h 10000"/>
                <a:gd name="connsiteX6" fmla="*/ 8733 w 9998"/>
                <a:gd name="connsiteY6" fmla="*/ 910 h 10000"/>
                <a:gd name="connsiteX7" fmla="*/ 8591 w 9998"/>
                <a:gd name="connsiteY7" fmla="*/ 795 h 10000"/>
                <a:gd name="connsiteX8" fmla="*/ 8881 w 9998"/>
                <a:gd name="connsiteY8" fmla="*/ 620 h 10000"/>
                <a:gd name="connsiteX9" fmla="*/ 8533 w 9998"/>
                <a:gd name="connsiteY9" fmla="*/ 395 h 10000"/>
                <a:gd name="connsiteX10" fmla="*/ 8463 w 9998"/>
                <a:gd name="connsiteY10" fmla="*/ 142 h 10000"/>
                <a:gd name="connsiteX11" fmla="*/ 8300 w 9998"/>
                <a:gd name="connsiteY11" fmla="*/ 110 h 10000"/>
                <a:gd name="connsiteX12" fmla="*/ 8165 w 9998"/>
                <a:gd name="connsiteY12" fmla="*/ 0 h 10000"/>
                <a:gd name="connsiteX13" fmla="*/ 8020 w 9998"/>
                <a:gd name="connsiteY13" fmla="*/ 120 h 10000"/>
                <a:gd name="connsiteX14" fmla="*/ 7774 w 9998"/>
                <a:gd name="connsiteY14" fmla="*/ 110 h 10000"/>
                <a:gd name="connsiteX15" fmla="*/ 7564 w 9998"/>
                <a:gd name="connsiteY15" fmla="*/ 351 h 10000"/>
                <a:gd name="connsiteX16" fmla="*/ 7158 w 9998"/>
                <a:gd name="connsiteY16" fmla="*/ 329 h 10000"/>
                <a:gd name="connsiteX17" fmla="*/ 7059 w 9998"/>
                <a:gd name="connsiteY17" fmla="*/ 680 h 10000"/>
                <a:gd name="connsiteX18" fmla="*/ 6796 w 9998"/>
                <a:gd name="connsiteY18" fmla="*/ 707 h 10000"/>
                <a:gd name="connsiteX19" fmla="*/ 6932 w 9998"/>
                <a:gd name="connsiteY19" fmla="*/ 844 h 10000"/>
                <a:gd name="connsiteX20" fmla="*/ 6850 w 9998"/>
                <a:gd name="connsiteY20" fmla="*/ 899 h 10000"/>
                <a:gd name="connsiteX21" fmla="*/ 6668 w 9998"/>
                <a:gd name="connsiteY21" fmla="*/ 894 h 10000"/>
                <a:gd name="connsiteX22" fmla="*/ 6418 w 9998"/>
                <a:gd name="connsiteY22" fmla="*/ 1026 h 10000"/>
                <a:gd name="connsiteX23" fmla="*/ 6147 w 9998"/>
                <a:gd name="connsiteY23" fmla="*/ 1669 h 10000"/>
                <a:gd name="connsiteX24" fmla="*/ 6227 w 9998"/>
                <a:gd name="connsiteY24" fmla="*/ 2090 h 10000"/>
                <a:gd name="connsiteX25" fmla="*/ 5958 w 9998"/>
                <a:gd name="connsiteY25" fmla="*/ 1866 h 10000"/>
                <a:gd name="connsiteX26" fmla="*/ 5565 w 9998"/>
                <a:gd name="connsiteY26" fmla="*/ 1991 h 10000"/>
                <a:gd name="connsiteX27" fmla="*/ 5527 w 9998"/>
                <a:gd name="connsiteY27" fmla="*/ 1932 h 10000"/>
                <a:gd name="connsiteX28" fmla="*/ 5341 w 9998"/>
                <a:gd name="connsiteY28" fmla="*/ 2002 h 10000"/>
                <a:gd name="connsiteX29" fmla="*/ 5234 w 9998"/>
                <a:gd name="connsiteY29" fmla="*/ 2144 h 10000"/>
                <a:gd name="connsiteX30" fmla="*/ 5151 w 9998"/>
                <a:gd name="connsiteY30" fmla="*/ 1909 h 10000"/>
                <a:gd name="connsiteX31" fmla="*/ 5029 w 9998"/>
                <a:gd name="connsiteY31" fmla="*/ 1843 h 10000"/>
                <a:gd name="connsiteX32" fmla="*/ 4979 w 9998"/>
                <a:gd name="connsiteY32" fmla="*/ 1964 h 10000"/>
                <a:gd name="connsiteX33" fmla="*/ 4818 w 9998"/>
                <a:gd name="connsiteY33" fmla="*/ 1997 h 10000"/>
                <a:gd name="connsiteX34" fmla="*/ 4730 w 9998"/>
                <a:gd name="connsiteY34" fmla="*/ 2161 h 10000"/>
                <a:gd name="connsiteX35" fmla="*/ 4674 w 9998"/>
                <a:gd name="connsiteY35" fmla="*/ 2013 h 10000"/>
                <a:gd name="connsiteX36" fmla="*/ 4513 w 9998"/>
                <a:gd name="connsiteY36" fmla="*/ 2024 h 10000"/>
                <a:gd name="connsiteX37" fmla="*/ 4449 w 9998"/>
                <a:gd name="connsiteY37" fmla="*/ 2129 h 10000"/>
                <a:gd name="connsiteX38" fmla="*/ 4353 w 9998"/>
                <a:gd name="connsiteY38" fmla="*/ 1975 h 10000"/>
                <a:gd name="connsiteX39" fmla="*/ 4185 w 9998"/>
                <a:gd name="connsiteY39" fmla="*/ 2117 h 10000"/>
                <a:gd name="connsiteX40" fmla="*/ 4024 w 9998"/>
                <a:gd name="connsiteY40" fmla="*/ 2106 h 10000"/>
                <a:gd name="connsiteX41" fmla="*/ 4018 w 9998"/>
                <a:gd name="connsiteY41" fmla="*/ 2276 h 10000"/>
                <a:gd name="connsiteX42" fmla="*/ 3942 w 9998"/>
                <a:gd name="connsiteY42" fmla="*/ 2144 h 10000"/>
                <a:gd name="connsiteX43" fmla="*/ 3700 w 9998"/>
                <a:gd name="connsiteY43" fmla="*/ 2155 h 10000"/>
                <a:gd name="connsiteX44" fmla="*/ 3523 w 9998"/>
                <a:gd name="connsiteY44" fmla="*/ 1980 h 10000"/>
                <a:gd name="connsiteX45" fmla="*/ 3314 w 9998"/>
                <a:gd name="connsiteY45" fmla="*/ 2073 h 10000"/>
                <a:gd name="connsiteX46" fmla="*/ 3100 w 9998"/>
                <a:gd name="connsiteY46" fmla="*/ 1958 h 10000"/>
                <a:gd name="connsiteX47" fmla="*/ 2974 w 9998"/>
                <a:gd name="connsiteY47" fmla="*/ 2035 h 10000"/>
                <a:gd name="connsiteX48" fmla="*/ 2855 w 9998"/>
                <a:gd name="connsiteY48" fmla="*/ 1947 h 10000"/>
                <a:gd name="connsiteX49" fmla="*/ 2679 w 9998"/>
                <a:gd name="connsiteY49" fmla="*/ 1936 h 10000"/>
                <a:gd name="connsiteX50" fmla="*/ 2413 w 9998"/>
                <a:gd name="connsiteY50" fmla="*/ 1925 h 10000"/>
                <a:gd name="connsiteX51" fmla="*/ 2087 w 9998"/>
                <a:gd name="connsiteY51" fmla="*/ 1991 h 10000"/>
                <a:gd name="connsiteX52" fmla="*/ 1744 w 9998"/>
                <a:gd name="connsiteY52" fmla="*/ 2063 h 10000"/>
                <a:gd name="connsiteX53" fmla="*/ 1332 w 9998"/>
                <a:gd name="connsiteY53" fmla="*/ 2166 h 10000"/>
                <a:gd name="connsiteX54" fmla="*/ 1151 w 9998"/>
                <a:gd name="connsiteY54" fmla="*/ 2496 h 10000"/>
                <a:gd name="connsiteX55" fmla="*/ 871 w 9998"/>
                <a:gd name="connsiteY55" fmla="*/ 2501 h 10000"/>
                <a:gd name="connsiteX56" fmla="*/ 781 w 9998"/>
                <a:gd name="connsiteY56" fmla="*/ 2687 h 10000"/>
                <a:gd name="connsiteX57" fmla="*/ 806 w 9998"/>
                <a:gd name="connsiteY57" fmla="*/ 2764 h 10000"/>
                <a:gd name="connsiteX58" fmla="*/ 833 w 9998"/>
                <a:gd name="connsiteY58" fmla="*/ 2868 h 10000"/>
                <a:gd name="connsiteX59" fmla="*/ 833 w 9998"/>
                <a:gd name="connsiteY59" fmla="*/ 2868 h 10000"/>
                <a:gd name="connsiteX60" fmla="*/ 833 w 9998"/>
                <a:gd name="connsiteY60" fmla="*/ 2896 h 10000"/>
                <a:gd name="connsiteX61" fmla="*/ 986 w 9998"/>
                <a:gd name="connsiteY61" fmla="*/ 3116 h 10000"/>
                <a:gd name="connsiteX62" fmla="*/ 1135 w 9998"/>
                <a:gd name="connsiteY62" fmla="*/ 3351 h 10000"/>
                <a:gd name="connsiteX63" fmla="*/ 1332 w 9998"/>
                <a:gd name="connsiteY63" fmla="*/ 3488 h 10000"/>
                <a:gd name="connsiteX64" fmla="*/ 1265 w 9998"/>
                <a:gd name="connsiteY64" fmla="*/ 3548 h 10000"/>
                <a:gd name="connsiteX65" fmla="*/ 1164 w 9998"/>
                <a:gd name="connsiteY65" fmla="*/ 3603 h 10000"/>
                <a:gd name="connsiteX66" fmla="*/ 1281 w 9998"/>
                <a:gd name="connsiteY66" fmla="*/ 3698 h 10000"/>
                <a:gd name="connsiteX67" fmla="*/ 1265 w 9998"/>
                <a:gd name="connsiteY67" fmla="*/ 4053 h 10000"/>
                <a:gd name="connsiteX68" fmla="*/ 999 w 9998"/>
                <a:gd name="connsiteY68" fmla="*/ 4124 h 10000"/>
                <a:gd name="connsiteX69" fmla="*/ 718 w 9998"/>
                <a:gd name="connsiteY69" fmla="*/ 4531 h 10000"/>
                <a:gd name="connsiteX70" fmla="*/ 536 w 9998"/>
                <a:gd name="connsiteY70" fmla="*/ 4937 h 10000"/>
                <a:gd name="connsiteX71" fmla="*/ 280 w 9998"/>
                <a:gd name="connsiteY71" fmla="*/ 5260 h 10000"/>
                <a:gd name="connsiteX72" fmla="*/ 390 w 9998"/>
                <a:gd name="connsiteY72" fmla="*/ 5517 h 10000"/>
                <a:gd name="connsiteX73" fmla="*/ 399 w 9998"/>
                <a:gd name="connsiteY73" fmla="*/ 5733 h 10000"/>
                <a:gd name="connsiteX74" fmla="*/ 577 w 9998"/>
                <a:gd name="connsiteY74" fmla="*/ 5841 h 10000"/>
                <a:gd name="connsiteX75" fmla="*/ 553 w 9998"/>
                <a:gd name="connsiteY75" fmla="*/ 5945 h 10000"/>
                <a:gd name="connsiteX76" fmla="*/ 292 w 9998"/>
                <a:gd name="connsiteY76" fmla="*/ 5853 h 10000"/>
                <a:gd name="connsiteX77" fmla="*/ 179 w 9998"/>
                <a:gd name="connsiteY77" fmla="*/ 6099 h 10000"/>
                <a:gd name="connsiteX78" fmla="*/ 153 w 9998"/>
                <a:gd name="connsiteY78" fmla="*/ 6346 h 10000"/>
                <a:gd name="connsiteX79" fmla="*/ 1 w 9998"/>
                <a:gd name="connsiteY79" fmla="*/ 6572 h 10000"/>
                <a:gd name="connsiteX80" fmla="*/ 27 w 9998"/>
                <a:gd name="connsiteY80" fmla="*/ 6780 h 10000"/>
                <a:gd name="connsiteX81" fmla="*/ 130 w 9998"/>
                <a:gd name="connsiteY81" fmla="*/ 6828 h 10000"/>
                <a:gd name="connsiteX82" fmla="*/ 224 w 9998"/>
                <a:gd name="connsiteY82" fmla="*/ 6960 h 10000"/>
                <a:gd name="connsiteX83" fmla="*/ 348 w 9998"/>
                <a:gd name="connsiteY83" fmla="*/ 6943 h 10000"/>
                <a:gd name="connsiteX84" fmla="*/ 422 w 9998"/>
                <a:gd name="connsiteY84" fmla="*/ 7076 h 10000"/>
                <a:gd name="connsiteX85" fmla="*/ 643 w 9998"/>
                <a:gd name="connsiteY85" fmla="*/ 7104 h 10000"/>
                <a:gd name="connsiteX86" fmla="*/ 654 w 9998"/>
                <a:gd name="connsiteY86" fmla="*/ 7251 h 10000"/>
                <a:gd name="connsiteX87" fmla="*/ 713 w 9998"/>
                <a:gd name="connsiteY87" fmla="*/ 7278 h 10000"/>
                <a:gd name="connsiteX88" fmla="*/ 759 w 9998"/>
                <a:gd name="connsiteY88" fmla="*/ 7175 h 10000"/>
                <a:gd name="connsiteX89" fmla="*/ 838 w 9998"/>
                <a:gd name="connsiteY89" fmla="*/ 7196 h 10000"/>
                <a:gd name="connsiteX90" fmla="*/ 930 w 9998"/>
                <a:gd name="connsiteY90" fmla="*/ 6992 h 10000"/>
                <a:gd name="connsiteX91" fmla="*/ 1186 w 9998"/>
                <a:gd name="connsiteY91" fmla="*/ 7175 h 10000"/>
                <a:gd name="connsiteX92" fmla="*/ 1857 w 9998"/>
                <a:gd name="connsiteY92" fmla="*/ 7164 h 10000"/>
                <a:gd name="connsiteX93" fmla="*/ 2120 w 9998"/>
                <a:gd name="connsiteY93" fmla="*/ 7093 h 10000"/>
                <a:gd name="connsiteX94" fmla="*/ 2554 w 9998"/>
                <a:gd name="connsiteY94" fmla="*/ 7344 h 10000"/>
                <a:gd name="connsiteX95" fmla="*/ 2828 w 9998"/>
                <a:gd name="connsiteY95" fmla="*/ 7087 h 10000"/>
                <a:gd name="connsiteX96" fmla="*/ 3444 w 9998"/>
                <a:gd name="connsiteY96" fmla="*/ 6861 h 10000"/>
                <a:gd name="connsiteX97" fmla="*/ 3666 w 9998"/>
                <a:gd name="connsiteY97" fmla="*/ 6489 h 10000"/>
                <a:gd name="connsiteX98" fmla="*/ 3829 w 9998"/>
                <a:gd name="connsiteY98" fmla="*/ 6440 h 10000"/>
                <a:gd name="connsiteX99" fmla="*/ 3829 w 9998"/>
                <a:gd name="connsiteY99" fmla="*/ 6380 h 10000"/>
                <a:gd name="connsiteX100" fmla="*/ 3893 w 9998"/>
                <a:gd name="connsiteY100" fmla="*/ 6380 h 10000"/>
                <a:gd name="connsiteX101" fmla="*/ 3878 w 9998"/>
                <a:gd name="connsiteY101" fmla="*/ 6230 h 10000"/>
                <a:gd name="connsiteX102" fmla="*/ 4076 w 9998"/>
                <a:gd name="connsiteY102" fmla="*/ 6285 h 10000"/>
                <a:gd name="connsiteX103" fmla="*/ 4104 w 9998"/>
                <a:gd name="connsiteY103" fmla="*/ 6159 h 10000"/>
                <a:gd name="connsiteX104" fmla="*/ 4223 w 9998"/>
                <a:gd name="connsiteY104" fmla="*/ 6230 h 10000"/>
                <a:gd name="connsiteX105" fmla="*/ 4311 w 9998"/>
                <a:gd name="connsiteY105" fmla="*/ 6126 h 10000"/>
                <a:gd name="connsiteX106" fmla="*/ 4449 w 9998"/>
                <a:gd name="connsiteY106" fmla="*/ 6154 h 10000"/>
                <a:gd name="connsiteX107" fmla="*/ 4574 w 9998"/>
                <a:gd name="connsiteY107" fmla="*/ 6056 h 10000"/>
                <a:gd name="connsiteX108" fmla="*/ 4811 w 9998"/>
                <a:gd name="connsiteY108" fmla="*/ 6192 h 10000"/>
                <a:gd name="connsiteX109" fmla="*/ 4933 w 9998"/>
                <a:gd name="connsiteY109" fmla="*/ 6197 h 10000"/>
                <a:gd name="connsiteX110" fmla="*/ 4970 w 9998"/>
                <a:gd name="connsiteY110" fmla="*/ 6308 h 10000"/>
                <a:gd name="connsiteX111" fmla="*/ 5193 w 9998"/>
                <a:gd name="connsiteY111" fmla="*/ 6236 h 10000"/>
                <a:gd name="connsiteX112" fmla="*/ 5170 w 9998"/>
                <a:gd name="connsiteY112" fmla="*/ 6357 h 10000"/>
                <a:gd name="connsiteX113" fmla="*/ 5252 w 9998"/>
                <a:gd name="connsiteY113" fmla="*/ 6341 h 10000"/>
                <a:gd name="connsiteX114" fmla="*/ 5348 w 9998"/>
                <a:gd name="connsiteY114" fmla="*/ 6428 h 10000"/>
                <a:gd name="connsiteX115" fmla="*/ 5353 w 9998"/>
                <a:gd name="connsiteY115" fmla="*/ 6301 h 10000"/>
                <a:gd name="connsiteX116" fmla="*/ 5613 w 9998"/>
                <a:gd name="connsiteY116" fmla="*/ 6341 h 10000"/>
                <a:gd name="connsiteX117" fmla="*/ 5706 w 9998"/>
                <a:gd name="connsiteY117" fmla="*/ 6512 h 10000"/>
                <a:gd name="connsiteX118" fmla="*/ 5850 w 9998"/>
                <a:gd name="connsiteY118" fmla="*/ 6494 h 10000"/>
                <a:gd name="connsiteX119" fmla="*/ 5913 w 9998"/>
                <a:gd name="connsiteY119" fmla="*/ 6417 h 10000"/>
                <a:gd name="connsiteX120" fmla="*/ 6061 w 9998"/>
                <a:gd name="connsiteY120" fmla="*/ 6735 h 10000"/>
                <a:gd name="connsiteX121" fmla="*/ 6008 w 9998"/>
                <a:gd name="connsiteY121" fmla="*/ 6987 h 10000"/>
                <a:gd name="connsiteX122" fmla="*/ 6084 w 9998"/>
                <a:gd name="connsiteY122" fmla="*/ 7114 h 10000"/>
                <a:gd name="connsiteX123" fmla="*/ 6184 w 9998"/>
                <a:gd name="connsiteY123" fmla="*/ 7119 h 10000"/>
                <a:gd name="connsiteX124" fmla="*/ 6344 w 9998"/>
                <a:gd name="connsiteY124" fmla="*/ 7256 h 10000"/>
                <a:gd name="connsiteX125" fmla="*/ 6407 w 9998"/>
                <a:gd name="connsiteY125" fmla="*/ 7152 h 10000"/>
                <a:gd name="connsiteX126" fmla="*/ 6477 w 9998"/>
                <a:gd name="connsiteY126" fmla="*/ 7322 h 10000"/>
                <a:gd name="connsiteX127" fmla="*/ 6564 w 9998"/>
                <a:gd name="connsiteY127" fmla="*/ 7662 h 10000"/>
                <a:gd name="connsiteX128" fmla="*/ 6824 w 9998"/>
                <a:gd name="connsiteY128" fmla="*/ 7739 h 10000"/>
                <a:gd name="connsiteX129" fmla="*/ 6886 w 9998"/>
                <a:gd name="connsiteY129" fmla="*/ 8183 h 10000"/>
                <a:gd name="connsiteX130" fmla="*/ 7104 w 9998"/>
                <a:gd name="connsiteY130" fmla="*/ 8277 h 10000"/>
                <a:gd name="connsiteX131" fmla="*/ 6877 w 9998"/>
                <a:gd name="connsiteY131" fmla="*/ 8370 h 10000"/>
                <a:gd name="connsiteX132" fmla="*/ 6802 w 9998"/>
                <a:gd name="connsiteY132" fmla="*/ 8260 h 10000"/>
                <a:gd name="connsiteX133" fmla="*/ 6715 w 9998"/>
                <a:gd name="connsiteY133" fmla="*/ 8404 h 10000"/>
                <a:gd name="connsiteX134" fmla="*/ 6492 w 9998"/>
                <a:gd name="connsiteY134" fmla="*/ 8288 h 10000"/>
                <a:gd name="connsiteX135" fmla="*/ 6368 w 9998"/>
                <a:gd name="connsiteY135" fmla="*/ 8452 h 10000"/>
                <a:gd name="connsiteX136" fmla="*/ 6111 w 9998"/>
                <a:gd name="connsiteY136" fmla="*/ 8331 h 10000"/>
                <a:gd name="connsiteX137" fmla="*/ 6234 w 9998"/>
                <a:gd name="connsiteY137" fmla="*/ 8699 h 10000"/>
                <a:gd name="connsiteX138" fmla="*/ 6223 w 9998"/>
                <a:gd name="connsiteY138" fmla="*/ 8967 h 10000"/>
                <a:gd name="connsiteX139" fmla="*/ 6058 w 9998"/>
                <a:gd name="connsiteY139" fmla="*/ 9088 h 10000"/>
                <a:gd name="connsiteX140" fmla="*/ 6111 w 9998"/>
                <a:gd name="connsiteY140" fmla="*/ 9194 h 10000"/>
                <a:gd name="connsiteX141" fmla="*/ 5878 w 9998"/>
                <a:gd name="connsiteY141" fmla="*/ 9412 h 10000"/>
                <a:gd name="connsiteX142" fmla="*/ 5969 w 9998"/>
                <a:gd name="connsiteY142" fmla="*/ 9648 h 10000"/>
                <a:gd name="connsiteX143" fmla="*/ 5744 w 9998"/>
                <a:gd name="connsiteY143" fmla="*/ 9681 h 10000"/>
                <a:gd name="connsiteX144" fmla="*/ 5683 w 9998"/>
                <a:gd name="connsiteY144" fmla="*/ 9741 h 10000"/>
                <a:gd name="connsiteX145" fmla="*/ 5781 w 9998"/>
                <a:gd name="connsiteY145" fmla="*/ 9786 h 10000"/>
                <a:gd name="connsiteX146" fmla="*/ 5955 w 9998"/>
                <a:gd name="connsiteY146" fmla="*/ 9944 h 10000"/>
                <a:gd name="connsiteX147" fmla="*/ 6234 w 9998"/>
                <a:gd name="connsiteY147" fmla="*/ 9999 h 10000"/>
                <a:gd name="connsiteX148" fmla="*/ 6244 w 9998"/>
                <a:gd name="connsiteY148" fmla="*/ 9852 h 10000"/>
                <a:gd name="connsiteX149" fmla="*/ 6344 w 9998"/>
                <a:gd name="connsiteY149" fmla="*/ 9857 h 10000"/>
                <a:gd name="connsiteX150" fmla="*/ 6760 w 9998"/>
                <a:gd name="connsiteY150" fmla="*/ 9603 h 10000"/>
                <a:gd name="connsiteX151" fmla="*/ 7035 w 9998"/>
                <a:gd name="connsiteY151" fmla="*/ 9846 h 10000"/>
                <a:gd name="connsiteX152" fmla="*/ 7035 w 9998"/>
                <a:gd name="connsiteY152" fmla="*/ 9862 h 10000"/>
                <a:gd name="connsiteX153" fmla="*/ 7079 w 9998"/>
                <a:gd name="connsiteY153" fmla="*/ 9703 h 10000"/>
                <a:gd name="connsiteX154" fmla="*/ 7001 w 9998"/>
                <a:gd name="connsiteY154" fmla="*/ 9570 h 10000"/>
                <a:gd name="connsiteX155" fmla="*/ 6905 w 9998"/>
                <a:gd name="connsiteY155" fmla="*/ 9549 h 10000"/>
                <a:gd name="connsiteX156" fmla="*/ 6970 w 9998"/>
                <a:gd name="connsiteY156" fmla="*/ 9467 h 10000"/>
                <a:gd name="connsiteX157" fmla="*/ 6949 w 9998"/>
                <a:gd name="connsiteY157" fmla="*/ 9445 h 10000"/>
                <a:gd name="connsiteX158" fmla="*/ 6866 w 9998"/>
                <a:gd name="connsiteY158" fmla="*/ 9439 h 10000"/>
                <a:gd name="connsiteX159" fmla="*/ 6824 w 9998"/>
                <a:gd name="connsiteY159" fmla="*/ 9122 h 10000"/>
                <a:gd name="connsiteX160" fmla="*/ 6886 w 9998"/>
                <a:gd name="connsiteY160" fmla="*/ 9105 h 10000"/>
                <a:gd name="connsiteX161" fmla="*/ 6916 w 9998"/>
                <a:gd name="connsiteY161" fmla="*/ 9254 h 10000"/>
                <a:gd name="connsiteX162" fmla="*/ 6990 w 9998"/>
                <a:gd name="connsiteY162" fmla="*/ 9385 h 10000"/>
                <a:gd name="connsiteX163" fmla="*/ 7056 w 9998"/>
                <a:gd name="connsiteY163" fmla="*/ 9302 h 10000"/>
                <a:gd name="connsiteX164" fmla="*/ 7040 w 9998"/>
                <a:gd name="connsiteY164" fmla="*/ 9220 h 10000"/>
                <a:gd name="connsiteX165" fmla="*/ 7143 w 9998"/>
                <a:gd name="connsiteY165" fmla="*/ 9204 h 10000"/>
                <a:gd name="connsiteX166" fmla="*/ 7087 w 9998"/>
                <a:gd name="connsiteY166" fmla="*/ 9034 h 10000"/>
                <a:gd name="connsiteX167" fmla="*/ 7228 w 9998"/>
                <a:gd name="connsiteY167" fmla="*/ 9062 h 10000"/>
                <a:gd name="connsiteX168" fmla="*/ 7235 w 9998"/>
                <a:gd name="connsiteY168" fmla="*/ 8972 h 10000"/>
                <a:gd name="connsiteX169" fmla="*/ 7289 w 9998"/>
                <a:gd name="connsiteY169" fmla="*/ 9039 h 10000"/>
                <a:gd name="connsiteX170" fmla="*/ 7525 w 9998"/>
                <a:gd name="connsiteY170" fmla="*/ 8781 h 10000"/>
                <a:gd name="connsiteX171" fmla="*/ 7389 w 9998"/>
                <a:gd name="connsiteY171" fmla="*/ 8584 h 10000"/>
                <a:gd name="connsiteX172" fmla="*/ 7139 w 9998"/>
                <a:gd name="connsiteY172" fmla="*/ 8425 h 10000"/>
                <a:gd name="connsiteX173" fmla="*/ 7282 w 9998"/>
                <a:gd name="connsiteY173" fmla="*/ 8370 h 10000"/>
                <a:gd name="connsiteX174" fmla="*/ 7492 w 9998"/>
                <a:gd name="connsiteY174" fmla="*/ 8633 h 10000"/>
                <a:gd name="connsiteX175" fmla="*/ 7650 w 9998"/>
                <a:gd name="connsiteY175" fmla="*/ 8199 h 10000"/>
                <a:gd name="connsiteX176" fmla="*/ 7660 w 9998"/>
                <a:gd name="connsiteY176" fmla="*/ 8030 h 10000"/>
                <a:gd name="connsiteX177" fmla="*/ 7924 w 9998"/>
                <a:gd name="connsiteY177" fmla="*/ 7943 h 10000"/>
                <a:gd name="connsiteX178" fmla="*/ 8024 w 9998"/>
                <a:gd name="connsiteY178" fmla="*/ 7607 h 10000"/>
                <a:gd name="connsiteX179" fmla="*/ 8040 w 9998"/>
                <a:gd name="connsiteY179" fmla="*/ 7734 h 10000"/>
                <a:gd name="connsiteX180" fmla="*/ 8208 w 9998"/>
                <a:gd name="connsiteY180" fmla="*/ 7596 h 10000"/>
                <a:gd name="connsiteX181" fmla="*/ 8327 w 9998"/>
                <a:gd name="connsiteY181" fmla="*/ 7579 h 10000"/>
                <a:gd name="connsiteX182" fmla="*/ 8446 w 9998"/>
                <a:gd name="connsiteY182" fmla="*/ 7207 h 10000"/>
                <a:gd name="connsiteX183" fmla="*/ 8552 w 9998"/>
                <a:gd name="connsiteY183" fmla="*/ 7487 h 10000"/>
                <a:gd name="connsiteX184" fmla="*/ 8872 w 9998"/>
                <a:gd name="connsiteY184" fmla="*/ 7564 h 10000"/>
                <a:gd name="connsiteX185" fmla="*/ 8630 w 9998"/>
                <a:gd name="connsiteY185" fmla="*/ 7619 h 10000"/>
                <a:gd name="connsiteX186" fmla="*/ 8607 w 9998"/>
                <a:gd name="connsiteY186" fmla="*/ 7679 h 10000"/>
                <a:gd name="connsiteX187" fmla="*/ 8367 w 9998"/>
                <a:gd name="connsiteY187" fmla="*/ 7691 h 10000"/>
                <a:gd name="connsiteX188" fmla="*/ 8242 w 9998"/>
                <a:gd name="connsiteY188" fmla="*/ 7723 h 10000"/>
                <a:gd name="connsiteX189" fmla="*/ 8339 w 9998"/>
                <a:gd name="connsiteY189" fmla="*/ 7772 h 10000"/>
                <a:gd name="connsiteX190" fmla="*/ 8426 w 9998"/>
                <a:gd name="connsiteY190" fmla="*/ 7757 h 10000"/>
                <a:gd name="connsiteX191" fmla="*/ 8664 w 9998"/>
                <a:gd name="connsiteY191" fmla="*/ 7789 h 10000"/>
                <a:gd name="connsiteX192" fmla="*/ 8393 w 9998"/>
                <a:gd name="connsiteY192" fmla="*/ 7964 h 10000"/>
                <a:gd name="connsiteX193" fmla="*/ 8488 w 9998"/>
                <a:gd name="connsiteY193" fmla="*/ 8009 h 10000"/>
                <a:gd name="connsiteX194" fmla="*/ 8737 w 9998"/>
                <a:gd name="connsiteY194" fmla="*/ 7959 h 10000"/>
                <a:gd name="connsiteX195" fmla="*/ 9072 w 9998"/>
                <a:gd name="connsiteY195" fmla="*/ 8101 h 10000"/>
                <a:gd name="connsiteX196" fmla="*/ 9998 w 9998"/>
                <a:gd name="connsiteY196" fmla="*/ 7746 h 10000"/>
                <a:gd name="connsiteX0" fmla="*/ 9074 w 9242"/>
                <a:gd name="connsiteY0" fmla="*/ 8101 h 10000"/>
                <a:gd name="connsiteX1" fmla="*/ 9242 w 9242"/>
                <a:gd name="connsiteY1" fmla="*/ 1311 h 10000"/>
                <a:gd name="connsiteX2" fmla="*/ 9124 w 9242"/>
                <a:gd name="connsiteY2" fmla="*/ 1223 h 10000"/>
                <a:gd name="connsiteX3" fmla="*/ 8859 w 9242"/>
                <a:gd name="connsiteY3" fmla="*/ 1273 h 10000"/>
                <a:gd name="connsiteX4" fmla="*/ 8883 w 9242"/>
                <a:gd name="connsiteY4" fmla="*/ 1125 h 10000"/>
                <a:gd name="connsiteX5" fmla="*/ 8783 w 9242"/>
                <a:gd name="connsiteY5" fmla="*/ 1119 h 10000"/>
                <a:gd name="connsiteX6" fmla="*/ 8735 w 9242"/>
                <a:gd name="connsiteY6" fmla="*/ 910 h 10000"/>
                <a:gd name="connsiteX7" fmla="*/ 8593 w 9242"/>
                <a:gd name="connsiteY7" fmla="*/ 795 h 10000"/>
                <a:gd name="connsiteX8" fmla="*/ 8883 w 9242"/>
                <a:gd name="connsiteY8" fmla="*/ 620 h 10000"/>
                <a:gd name="connsiteX9" fmla="*/ 8535 w 9242"/>
                <a:gd name="connsiteY9" fmla="*/ 395 h 10000"/>
                <a:gd name="connsiteX10" fmla="*/ 8465 w 9242"/>
                <a:gd name="connsiteY10" fmla="*/ 142 h 10000"/>
                <a:gd name="connsiteX11" fmla="*/ 8302 w 9242"/>
                <a:gd name="connsiteY11" fmla="*/ 110 h 10000"/>
                <a:gd name="connsiteX12" fmla="*/ 8167 w 9242"/>
                <a:gd name="connsiteY12" fmla="*/ 0 h 10000"/>
                <a:gd name="connsiteX13" fmla="*/ 8022 w 9242"/>
                <a:gd name="connsiteY13" fmla="*/ 120 h 10000"/>
                <a:gd name="connsiteX14" fmla="*/ 7776 w 9242"/>
                <a:gd name="connsiteY14" fmla="*/ 110 h 10000"/>
                <a:gd name="connsiteX15" fmla="*/ 7566 w 9242"/>
                <a:gd name="connsiteY15" fmla="*/ 351 h 10000"/>
                <a:gd name="connsiteX16" fmla="*/ 7159 w 9242"/>
                <a:gd name="connsiteY16" fmla="*/ 329 h 10000"/>
                <a:gd name="connsiteX17" fmla="*/ 7060 w 9242"/>
                <a:gd name="connsiteY17" fmla="*/ 680 h 10000"/>
                <a:gd name="connsiteX18" fmla="*/ 6797 w 9242"/>
                <a:gd name="connsiteY18" fmla="*/ 707 h 10000"/>
                <a:gd name="connsiteX19" fmla="*/ 6933 w 9242"/>
                <a:gd name="connsiteY19" fmla="*/ 844 h 10000"/>
                <a:gd name="connsiteX20" fmla="*/ 6851 w 9242"/>
                <a:gd name="connsiteY20" fmla="*/ 899 h 10000"/>
                <a:gd name="connsiteX21" fmla="*/ 6669 w 9242"/>
                <a:gd name="connsiteY21" fmla="*/ 894 h 10000"/>
                <a:gd name="connsiteX22" fmla="*/ 6419 w 9242"/>
                <a:gd name="connsiteY22" fmla="*/ 1026 h 10000"/>
                <a:gd name="connsiteX23" fmla="*/ 6148 w 9242"/>
                <a:gd name="connsiteY23" fmla="*/ 1669 h 10000"/>
                <a:gd name="connsiteX24" fmla="*/ 6228 w 9242"/>
                <a:gd name="connsiteY24" fmla="*/ 2090 h 10000"/>
                <a:gd name="connsiteX25" fmla="*/ 5959 w 9242"/>
                <a:gd name="connsiteY25" fmla="*/ 1866 h 10000"/>
                <a:gd name="connsiteX26" fmla="*/ 5566 w 9242"/>
                <a:gd name="connsiteY26" fmla="*/ 1991 h 10000"/>
                <a:gd name="connsiteX27" fmla="*/ 5528 w 9242"/>
                <a:gd name="connsiteY27" fmla="*/ 1932 h 10000"/>
                <a:gd name="connsiteX28" fmla="*/ 5342 w 9242"/>
                <a:gd name="connsiteY28" fmla="*/ 2002 h 10000"/>
                <a:gd name="connsiteX29" fmla="*/ 5235 w 9242"/>
                <a:gd name="connsiteY29" fmla="*/ 2144 h 10000"/>
                <a:gd name="connsiteX30" fmla="*/ 5152 w 9242"/>
                <a:gd name="connsiteY30" fmla="*/ 1909 h 10000"/>
                <a:gd name="connsiteX31" fmla="*/ 5030 w 9242"/>
                <a:gd name="connsiteY31" fmla="*/ 1843 h 10000"/>
                <a:gd name="connsiteX32" fmla="*/ 4980 w 9242"/>
                <a:gd name="connsiteY32" fmla="*/ 1964 h 10000"/>
                <a:gd name="connsiteX33" fmla="*/ 4819 w 9242"/>
                <a:gd name="connsiteY33" fmla="*/ 1997 h 10000"/>
                <a:gd name="connsiteX34" fmla="*/ 4731 w 9242"/>
                <a:gd name="connsiteY34" fmla="*/ 2161 h 10000"/>
                <a:gd name="connsiteX35" fmla="*/ 4675 w 9242"/>
                <a:gd name="connsiteY35" fmla="*/ 2013 h 10000"/>
                <a:gd name="connsiteX36" fmla="*/ 4514 w 9242"/>
                <a:gd name="connsiteY36" fmla="*/ 2024 h 10000"/>
                <a:gd name="connsiteX37" fmla="*/ 4450 w 9242"/>
                <a:gd name="connsiteY37" fmla="*/ 2129 h 10000"/>
                <a:gd name="connsiteX38" fmla="*/ 4354 w 9242"/>
                <a:gd name="connsiteY38" fmla="*/ 1975 h 10000"/>
                <a:gd name="connsiteX39" fmla="*/ 4186 w 9242"/>
                <a:gd name="connsiteY39" fmla="*/ 2117 h 10000"/>
                <a:gd name="connsiteX40" fmla="*/ 4025 w 9242"/>
                <a:gd name="connsiteY40" fmla="*/ 2106 h 10000"/>
                <a:gd name="connsiteX41" fmla="*/ 4019 w 9242"/>
                <a:gd name="connsiteY41" fmla="*/ 2276 h 10000"/>
                <a:gd name="connsiteX42" fmla="*/ 3943 w 9242"/>
                <a:gd name="connsiteY42" fmla="*/ 2144 h 10000"/>
                <a:gd name="connsiteX43" fmla="*/ 3701 w 9242"/>
                <a:gd name="connsiteY43" fmla="*/ 2155 h 10000"/>
                <a:gd name="connsiteX44" fmla="*/ 3524 w 9242"/>
                <a:gd name="connsiteY44" fmla="*/ 1980 h 10000"/>
                <a:gd name="connsiteX45" fmla="*/ 3315 w 9242"/>
                <a:gd name="connsiteY45" fmla="*/ 2073 h 10000"/>
                <a:gd name="connsiteX46" fmla="*/ 3101 w 9242"/>
                <a:gd name="connsiteY46" fmla="*/ 1958 h 10000"/>
                <a:gd name="connsiteX47" fmla="*/ 2975 w 9242"/>
                <a:gd name="connsiteY47" fmla="*/ 2035 h 10000"/>
                <a:gd name="connsiteX48" fmla="*/ 2856 w 9242"/>
                <a:gd name="connsiteY48" fmla="*/ 1947 h 10000"/>
                <a:gd name="connsiteX49" fmla="*/ 2680 w 9242"/>
                <a:gd name="connsiteY49" fmla="*/ 1936 h 10000"/>
                <a:gd name="connsiteX50" fmla="*/ 2413 w 9242"/>
                <a:gd name="connsiteY50" fmla="*/ 1925 h 10000"/>
                <a:gd name="connsiteX51" fmla="*/ 2087 w 9242"/>
                <a:gd name="connsiteY51" fmla="*/ 1991 h 10000"/>
                <a:gd name="connsiteX52" fmla="*/ 1744 w 9242"/>
                <a:gd name="connsiteY52" fmla="*/ 2063 h 10000"/>
                <a:gd name="connsiteX53" fmla="*/ 1332 w 9242"/>
                <a:gd name="connsiteY53" fmla="*/ 2166 h 10000"/>
                <a:gd name="connsiteX54" fmla="*/ 1151 w 9242"/>
                <a:gd name="connsiteY54" fmla="*/ 2496 h 10000"/>
                <a:gd name="connsiteX55" fmla="*/ 871 w 9242"/>
                <a:gd name="connsiteY55" fmla="*/ 2501 h 10000"/>
                <a:gd name="connsiteX56" fmla="*/ 781 w 9242"/>
                <a:gd name="connsiteY56" fmla="*/ 2687 h 10000"/>
                <a:gd name="connsiteX57" fmla="*/ 806 w 9242"/>
                <a:gd name="connsiteY57" fmla="*/ 2764 h 10000"/>
                <a:gd name="connsiteX58" fmla="*/ 833 w 9242"/>
                <a:gd name="connsiteY58" fmla="*/ 2868 h 10000"/>
                <a:gd name="connsiteX59" fmla="*/ 833 w 9242"/>
                <a:gd name="connsiteY59" fmla="*/ 2868 h 10000"/>
                <a:gd name="connsiteX60" fmla="*/ 833 w 9242"/>
                <a:gd name="connsiteY60" fmla="*/ 2896 h 10000"/>
                <a:gd name="connsiteX61" fmla="*/ 986 w 9242"/>
                <a:gd name="connsiteY61" fmla="*/ 3116 h 10000"/>
                <a:gd name="connsiteX62" fmla="*/ 1135 w 9242"/>
                <a:gd name="connsiteY62" fmla="*/ 3351 h 10000"/>
                <a:gd name="connsiteX63" fmla="*/ 1332 w 9242"/>
                <a:gd name="connsiteY63" fmla="*/ 3488 h 10000"/>
                <a:gd name="connsiteX64" fmla="*/ 1265 w 9242"/>
                <a:gd name="connsiteY64" fmla="*/ 3548 h 10000"/>
                <a:gd name="connsiteX65" fmla="*/ 1164 w 9242"/>
                <a:gd name="connsiteY65" fmla="*/ 3603 h 10000"/>
                <a:gd name="connsiteX66" fmla="*/ 1281 w 9242"/>
                <a:gd name="connsiteY66" fmla="*/ 3698 h 10000"/>
                <a:gd name="connsiteX67" fmla="*/ 1265 w 9242"/>
                <a:gd name="connsiteY67" fmla="*/ 4053 h 10000"/>
                <a:gd name="connsiteX68" fmla="*/ 999 w 9242"/>
                <a:gd name="connsiteY68" fmla="*/ 4124 h 10000"/>
                <a:gd name="connsiteX69" fmla="*/ 718 w 9242"/>
                <a:gd name="connsiteY69" fmla="*/ 4531 h 10000"/>
                <a:gd name="connsiteX70" fmla="*/ 536 w 9242"/>
                <a:gd name="connsiteY70" fmla="*/ 4937 h 10000"/>
                <a:gd name="connsiteX71" fmla="*/ 280 w 9242"/>
                <a:gd name="connsiteY71" fmla="*/ 5260 h 10000"/>
                <a:gd name="connsiteX72" fmla="*/ 390 w 9242"/>
                <a:gd name="connsiteY72" fmla="*/ 5517 h 10000"/>
                <a:gd name="connsiteX73" fmla="*/ 399 w 9242"/>
                <a:gd name="connsiteY73" fmla="*/ 5733 h 10000"/>
                <a:gd name="connsiteX74" fmla="*/ 577 w 9242"/>
                <a:gd name="connsiteY74" fmla="*/ 5841 h 10000"/>
                <a:gd name="connsiteX75" fmla="*/ 553 w 9242"/>
                <a:gd name="connsiteY75" fmla="*/ 5945 h 10000"/>
                <a:gd name="connsiteX76" fmla="*/ 292 w 9242"/>
                <a:gd name="connsiteY76" fmla="*/ 5853 h 10000"/>
                <a:gd name="connsiteX77" fmla="*/ 179 w 9242"/>
                <a:gd name="connsiteY77" fmla="*/ 6099 h 10000"/>
                <a:gd name="connsiteX78" fmla="*/ 153 w 9242"/>
                <a:gd name="connsiteY78" fmla="*/ 6346 h 10000"/>
                <a:gd name="connsiteX79" fmla="*/ 1 w 9242"/>
                <a:gd name="connsiteY79" fmla="*/ 6572 h 10000"/>
                <a:gd name="connsiteX80" fmla="*/ 27 w 9242"/>
                <a:gd name="connsiteY80" fmla="*/ 6780 h 10000"/>
                <a:gd name="connsiteX81" fmla="*/ 130 w 9242"/>
                <a:gd name="connsiteY81" fmla="*/ 6828 h 10000"/>
                <a:gd name="connsiteX82" fmla="*/ 224 w 9242"/>
                <a:gd name="connsiteY82" fmla="*/ 6960 h 10000"/>
                <a:gd name="connsiteX83" fmla="*/ 348 w 9242"/>
                <a:gd name="connsiteY83" fmla="*/ 6943 h 10000"/>
                <a:gd name="connsiteX84" fmla="*/ 422 w 9242"/>
                <a:gd name="connsiteY84" fmla="*/ 7076 h 10000"/>
                <a:gd name="connsiteX85" fmla="*/ 643 w 9242"/>
                <a:gd name="connsiteY85" fmla="*/ 7104 h 10000"/>
                <a:gd name="connsiteX86" fmla="*/ 654 w 9242"/>
                <a:gd name="connsiteY86" fmla="*/ 7251 h 10000"/>
                <a:gd name="connsiteX87" fmla="*/ 713 w 9242"/>
                <a:gd name="connsiteY87" fmla="*/ 7278 h 10000"/>
                <a:gd name="connsiteX88" fmla="*/ 759 w 9242"/>
                <a:gd name="connsiteY88" fmla="*/ 7175 h 10000"/>
                <a:gd name="connsiteX89" fmla="*/ 838 w 9242"/>
                <a:gd name="connsiteY89" fmla="*/ 7196 h 10000"/>
                <a:gd name="connsiteX90" fmla="*/ 930 w 9242"/>
                <a:gd name="connsiteY90" fmla="*/ 6992 h 10000"/>
                <a:gd name="connsiteX91" fmla="*/ 1186 w 9242"/>
                <a:gd name="connsiteY91" fmla="*/ 7175 h 10000"/>
                <a:gd name="connsiteX92" fmla="*/ 1857 w 9242"/>
                <a:gd name="connsiteY92" fmla="*/ 7164 h 10000"/>
                <a:gd name="connsiteX93" fmla="*/ 2120 w 9242"/>
                <a:gd name="connsiteY93" fmla="*/ 7093 h 10000"/>
                <a:gd name="connsiteX94" fmla="*/ 2555 w 9242"/>
                <a:gd name="connsiteY94" fmla="*/ 7344 h 10000"/>
                <a:gd name="connsiteX95" fmla="*/ 2829 w 9242"/>
                <a:gd name="connsiteY95" fmla="*/ 7087 h 10000"/>
                <a:gd name="connsiteX96" fmla="*/ 3445 w 9242"/>
                <a:gd name="connsiteY96" fmla="*/ 6861 h 10000"/>
                <a:gd name="connsiteX97" fmla="*/ 3667 w 9242"/>
                <a:gd name="connsiteY97" fmla="*/ 6489 h 10000"/>
                <a:gd name="connsiteX98" fmla="*/ 3830 w 9242"/>
                <a:gd name="connsiteY98" fmla="*/ 6440 h 10000"/>
                <a:gd name="connsiteX99" fmla="*/ 3830 w 9242"/>
                <a:gd name="connsiteY99" fmla="*/ 6380 h 10000"/>
                <a:gd name="connsiteX100" fmla="*/ 3894 w 9242"/>
                <a:gd name="connsiteY100" fmla="*/ 6380 h 10000"/>
                <a:gd name="connsiteX101" fmla="*/ 3879 w 9242"/>
                <a:gd name="connsiteY101" fmla="*/ 6230 h 10000"/>
                <a:gd name="connsiteX102" fmla="*/ 4077 w 9242"/>
                <a:gd name="connsiteY102" fmla="*/ 6285 h 10000"/>
                <a:gd name="connsiteX103" fmla="*/ 4105 w 9242"/>
                <a:gd name="connsiteY103" fmla="*/ 6159 h 10000"/>
                <a:gd name="connsiteX104" fmla="*/ 4224 w 9242"/>
                <a:gd name="connsiteY104" fmla="*/ 6230 h 10000"/>
                <a:gd name="connsiteX105" fmla="*/ 4312 w 9242"/>
                <a:gd name="connsiteY105" fmla="*/ 6126 h 10000"/>
                <a:gd name="connsiteX106" fmla="*/ 4450 w 9242"/>
                <a:gd name="connsiteY106" fmla="*/ 6154 h 10000"/>
                <a:gd name="connsiteX107" fmla="*/ 4575 w 9242"/>
                <a:gd name="connsiteY107" fmla="*/ 6056 h 10000"/>
                <a:gd name="connsiteX108" fmla="*/ 4812 w 9242"/>
                <a:gd name="connsiteY108" fmla="*/ 6192 h 10000"/>
                <a:gd name="connsiteX109" fmla="*/ 4934 w 9242"/>
                <a:gd name="connsiteY109" fmla="*/ 6197 h 10000"/>
                <a:gd name="connsiteX110" fmla="*/ 4971 w 9242"/>
                <a:gd name="connsiteY110" fmla="*/ 6308 h 10000"/>
                <a:gd name="connsiteX111" fmla="*/ 5194 w 9242"/>
                <a:gd name="connsiteY111" fmla="*/ 6236 h 10000"/>
                <a:gd name="connsiteX112" fmla="*/ 5171 w 9242"/>
                <a:gd name="connsiteY112" fmla="*/ 6357 h 10000"/>
                <a:gd name="connsiteX113" fmla="*/ 5253 w 9242"/>
                <a:gd name="connsiteY113" fmla="*/ 6341 h 10000"/>
                <a:gd name="connsiteX114" fmla="*/ 5349 w 9242"/>
                <a:gd name="connsiteY114" fmla="*/ 6428 h 10000"/>
                <a:gd name="connsiteX115" fmla="*/ 5354 w 9242"/>
                <a:gd name="connsiteY115" fmla="*/ 6301 h 10000"/>
                <a:gd name="connsiteX116" fmla="*/ 5614 w 9242"/>
                <a:gd name="connsiteY116" fmla="*/ 6341 h 10000"/>
                <a:gd name="connsiteX117" fmla="*/ 5707 w 9242"/>
                <a:gd name="connsiteY117" fmla="*/ 6512 h 10000"/>
                <a:gd name="connsiteX118" fmla="*/ 5851 w 9242"/>
                <a:gd name="connsiteY118" fmla="*/ 6494 h 10000"/>
                <a:gd name="connsiteX119" fmla="*/ 5914 w 9242"/>
                <a:gd name="connsiteY119" fmla="*/ 6417 h 10000"/>
                <a:gd name="connsiteX120" fmla="*/ 6062 w 9242"/>
                <a:gd name="connsiteY120" fmla="*/ 6735 h 10000"/>
                <a:gd name="connsiteX121" fmla="*/ 6009 w 9242"/>
                <a:gd name="connsiteY121" fmla="*/ 6987 h 10000"/>
                <a:gd name="connsiteX122" fmla="*/ 6085 w 9242"/>
                <a:gd name="connsiteY122" fmla="*/ 7114 h 10000"/>
                <a:gd name="connsiteX123" fmla="*/ 6185 w 9242"/>
                <a:gd name="connsiteY123" fmla="*/ 7119 h 10000"/>
                <a:gd name="connsiteX124" fmla="*/ 6345 w 9242"/>
                <a:gd name="connsiteY124" fmla="*/ 7256 h 10000"/>
                <a:gd name="connsiteX125" fmla="*/ 6408 w 9242"/>
                <a:gd name="connsiteY125" fmla="*/ 7152 h 10000"/>
                <a:gd name="connsiteX126" fmla="*/ 6478 w 9242"/>
                <a:gd name="connsiteY126" fmla="*/ 7322 h 10000"/>
                <a:gd name="connsiteX127" fmla="*/ 6565 w 9242"/>
                <a:gd name="connsiteY127" fmla="*/ 7662 h 10000"/>
                <a:gd name="connsiteX128" fmla="*/ 6825 w 9242"/>
                <a:gd name="connsiteY128" fmla="*/ 7739 h 10000"/>
                <a:gd name="connsiteX129" fmla="*/ 6887 w 9242"/>
                <a:gd name="connsiteY129" fmla="*/ 8183 h 10000"/>
                <a:gd name="connsiteX130" fmla="*/ 7105 w 9242"/>
                <a:gd name="connsiteY130" fmla="*/ 8277 h 10000"/>
                <a:gd name="connsiteX131" fmla="*/ 6878 w 9242"/>
                <a:gd name="connsiteY131" fmla="*/ 8370 h 10000"/>
                <a:gd name="connsiteX132" fmla="*/ 6803 w 9242"/>
                <a:gd name="connsiteY132" fmla="*/ 8260 h 10000"/>
                <a:gd name="connsiteX133" fmla="*/ 6716 w 9242"/>
                <a:gd name="connsiteY133" fmla="*/ 8404 h 10000"/>
                <a:gd name="connsiteX134" fmla="*/ 6493 w 9242"/>
                <a:gd name="connsiteY134" fmla="*/ 8288 h 10000"/>
                <a:gd name="connsiteX135" fmla="*/ 6369 w 9242"/>
                <a:gd name="connsiteY135" fmla="*/ 8452 h 10000"/>
                <a:gd name="connsiteX136" fmla="*/ 6112 w 9242"/>
                <a:gd name="connsiteY136" fmla="*/ 8331 h 10000"/>
                <a:gd name="connsiteX137" fmla="*/ 6235 w 9242"/>
                <a:gd name="connsiteY137" fmla="*/ 8699 h 10000"/>
                <a:gd name="connsiteX138" fmla="*/ 6224 w 9242"/>
                <a:gd name="connsiteY138" fmla="*/ 8967 h 10000"/>
                <a:gd name="connsiteX139" fmla="*/ 6059 w 9242"/>
                <a:gd name="connsiteY139" fmla="*/ 9088 h 10000"/>
                <a:gd name="connsiteX140" fmla="*/ 6112 w 9242"/>
                <a:gd name="connsiteY140" fmla="*/ 9194 h 10000"/>
                <a:gd name="connsiteX141" fmla="*/ 5879 w 9242"/>
                <a:gd name="connsiteY141" fmla="*/ 9412 h 10000"/>
                <a:gd name="connsiteX142" fmla="*/ 5970 w 9242"/>
                <a:gd name="connsiteY142" fmla="*/ 9648 h 10000"/>
                <a:gd name="connsiteX143" fmla="*/ 5745 w 9242"/>
                <a:gd name="connsiteY143" fmla="*/ 9681 h 10000"/>
                <a:gd name="connsiteX144" fmla="*/ 5684 w 9242"/>
                <a:gd name="connsiteY144" fmla="*/ 9741 h 10000"/>
                <a:gd name="connsiteX145" fmla="*/ 5782 w 9242"/>
                <a:gd name="connsiteY145" fmla="*/ 9786 h 10000"/>
                <a:gd name="connsiteX146" fmla="*/ 5956 w 9242"/>
                <a:gd name="connsiteY146" fmla="*/ 9944 h 10000"/>
                <a:gd name="connsiteX147" fmla="*/ 6235 w 9242"/>
                <a:gd name="connsiteY147" fmla="*/ 9999 h 10000"/>
                <a:gd name="connsiteX148" fmla="*/ 6245 w 9242"/>
                <a:gd name="connsiteY148" fmla="*/ 9852 h 10000"/>
                <a:gd name="connsiteX149" fmla="*/ 6345 w 9242"/>
                <a:gd name="connsiteY149" fmla="*/ 9857 h 10000"/>
                <a:gd name="connsiteX150" fmla="*/ 6761 w 9242"/>
                <a:gd name="connsiteY150" fmla="*/ 9603 h 10000"/>
                <a:gd name="connsiteX151" fmla="*/ 7036 w 9242"/>
                <a:gd name="connsiteY151" fmla="*/ 9846 h 10000"/>
                <a:gd name="connsiteX152" fmla="*/ 7036 w 9242"/>
                <a:gd name="connsiteY152" fmla="*/ 9862 h 10000"/>
                <a:gd name="connsiteX153" fmla="*/ 7080 w 9242"/>
                <a:gd name="connsiteY153" fmla="*/ 9703 h 10000"/>
                <a:gd name="connsiteX154" fmla="*/ 7002 w 9242"/>
                <a:gd name="connsiteY154" fmla="*/ 9570 h 10000"/>
                <a:gd name="connsiteX155" fmla="*/ 6906 w 9242"/>
                <a:gd name="connsiteY155" fmla="*/ 9549 h 10000"/>
                <a:gd name="connsiteX156" fmla="*/ 6971 w 9242"/>
                <a:gd name="connsiteY156" fmla="*/ 9467 h 10000"/>
                <a:gd name="connsiteX157" fmla="*/ 6950 w 9242"/>
                <a:gd name="connsiteY157" fmla="*/ 9445 h 10000"/>
                <a:gd name="connsiteX158" fmla="*/ 6867 w 9242"/>
                <a:gd name="connsiteY158" fmla="*/ 9439 h 10000"/>
                <a:gd name="connsiteX159" fmla="*/ 6825 w 9242"/>
                <a:gd name="connsiteY159" fmla="*/ 9122 h 10000"/>
                <a:gd name="connsiteX160" fmla="*/ 6887 w 9242"/>
                <a:gd name="connsiteY160" fmla="*/ 9105 h 10000"/>
                <a:gd name="connsiteX161" fmla="*/ 6917 w 9242"/>
                <a:gd name="connsiteY161" fmla="*/ 9254 h 10000"/>
                <a:gd name="connsiteX162" fmla="*/ 6991 w 9242"/>
                <a:gd name="connsiteY162" fmla="*/ 9385 h 10000"/>
                <a:gd name="connsiteX163" fmla="*/ 7057 w 9242"/>
                <a:gd name="connsiteY163" fmla="*/ 9302 h 10000"/>
                <a:gd name="connsiteX164" fmla="*/ 7041 w 9242"/>
                <a:gd name="connsiteY164" fmla="*/ 9220 h 10000"/>
                <a:gd name="connsiteX165" fmla="*/ 7144 w 9242"/>
                <a:gd name="connsiteY165" fmla="*/ 9204 h 10000"/>
                <a:gd name="connsiteX166" fmla="*/ 7088 w 9242"/>
                <a:gd name="connsiteY166" fmla="*/ 9034 h 10000"/>
                <a:gd name="connsiteX167" fmla="*/ 7229 w 9242"/>
                <a:gd name="connsiteY167" fmla="*/ 9062 h 10000"/>
                <a:gd name="connsiteX168" fmla="*/ 7236 w 9242"/>
                <a:gd name="connsiteY168" fmla="*/ 8972 h 10000"/>
                <a:gd name="connsiteX169" fmla="*/ 7290 w 9242"/>
                <a:gd name="connsiteY169" fmla="*/ 9039 h 10000"/>
                <a:gd name="connsiteX170" fmla="*/ 7527 w 9242"/>
                <a:gd name="connsiteY170" fmla="*/ 8781 h 10000"/>
                <a:gd name="connsiteX171" fmla="*/ 7390 w 9242"/>
                <a:gd name="connsiteY171" fmla="*/ 8584 h 10000"/>
                <a:gd name="connsiteX172" fmla="*/ 7140 w 9242"/>
                <a:gd name="connsiteY172" fmla="*/ 8425 h 10000"/>
                <a:gd name="connsiteX173" fmla="*/ 7283 w 9242"/>
                <a:gd name="connsiteY173" fmla="*/ 8370 h 10000"/>
                <a:gd name="connsiteX174" fmla="*/ 7493 w 9242"/>
                <a:gd name="connsiteY174" fmla="*/ 8633 h 10000"/>
                <a:gd name="connsiteX175" fmla="*/ 7652 w 9242"/>
                <a:gd name="connsiteY175" fmla="*/ 8199 h 10000"/>
                <a:gd name="connsiteX176" fmla="*/ 7662 w 9242"/>
                <a:gd name="connsiteY176" fmla="*/ 8030 h 10000"/>
                <a:gd name="connsiteX177" fmla="*/ 7926 w 9242"/>
                <a:gd name="connsiteY177" fmla="*/ 7943 h 10000"/>
                <a:gd name="connsiteX178" fmla="*/ 8026 w 9242"/>
                <a:gd name="connsiteY178" fmla="*/ 7607 h 10000"/>
                <a:gd name="connsiteX179" fmla="*/ 8042 w 9242"/>
                <a:gd name="connsiteY179" fmla="*/ 7734 h 10000"/>
                <a:gd name="connsiteX180" fmla="*/ 8210 w 9242"/>
                <a:gd name="connsiteY180" fmla="*/ 7596 h 10000"/>
                <a:gd name="connsiteX181" fmla="*/ 8329 w 9242"/>
                <a:gd name="connsiteY181" fmla="*/ 7579 h 10000"/>
                <a:gd name="connsiteX182" fmla="*/ 8448 w 9242"/>
                <a:gd name="connsiteY182" fmla="*/ 7207 h 10000"/>
                <a:gd name="connsiteX183" fmla="*/ 8554 w 9242"/>
                <a:gd name="connsiteY183" fmla="*/ 7487 h 10000"/>
                <a:gd name="connsiteX184" fmla="*/ 8874 w 9242"/>
                <a:gd name="connsiteY184" fmla="*/ 7564 h 10000"/>
                <a:gd name="connsiteX185" fmla="*/ 8632 w 9242"/>
                <a:gd name="connsiteY185" fmla="*/ 7619 h 10000"/>
                <a:gd name="connsiteX186" fmla="*/ 8609 w 9242"/>
                <a:gd name="connsiteY186" fmla="*/ 7679 h 10000"/>
                <a:gd name="connsiteX187" fmla="*/ 8369 w 9242"/>
                <a:gd name="connsiteY187" fmla="*/ 7691 h 10000"/>
                <a:gd name="connsiteX188" fmla="*/ 8244 w 9242"/>
                <a:gd name="connsiteY188" fmla="*/ 7723 h 10000"/>
                <a:gd name="connsiteX189" fmla="*/ 8341 w 9242"/>
                <a:gd name="connsiteY189" fmla="*/ 7772 h 10000"/>
                <a:gd name="connsiteX190" fmla="*/ 8428 w 9242"/>
                <a:gd name="connsiteY190" fmla="*/ 7757 h 10000"/>
                <a:gd name="connsiteX191" fmla="*/ 8666 w 9242"/>
                <a:gd name="connsiteY191" fmla="*/ 7789 h 10000"/>
                <a:gd name="connsiteX192" fmla="*/ 8395 w 9242"/>
                <a:gd name="connsiteY192" fmla="*/ 7964 h 10000"/>
                <a:gd name="connsiteX193" fmla="*/ 8490 w 9242"/>
                <a:gd name="connsiteY193" fmla="*/ 8009 h 10000"/>
                <a:gd name="connsiteX194" fmla="*/ 8739 w 9242"/>
                <a:gd name="connsiteY194" fmla="*/ 7959 h 10000"/>
                <a:gd name="connsiteX195" fmla="*/ 9074 w 9242"/>
                <a:gd name="connsiteY195" fmla="*/ 81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9242" h="10000">
                  <a:moveTo>
                    <a:pt x="9074" y="8101"/>
                  </a:moveTo>
                  <a:cubicBezTo>
                    <a:pt x="9158" y="6993"/>
                    <a:pt x="9234" y="2457"/>
                    <a:pt x="9242" y="1311"/>
                  </a:cubicBezTo>
                  <a:cubicBezTo>
                    <a:pt x="9250" y="165"/>
                    <a:pt x="9162" y="1252"/>
                    <a:pt x="9124" y="1223"/>
                  </a:cubicBezTo>
                  <a:lnTo>
                    <a:pt x="8859" y="1273"/>
                  </a:lnTo>
                  <a:cubicBezTo>
                    <a:pt x="8867" y="1224"/>
                    <a:pt x="8876" y="1174"/>
                    <a:pt x="8883" y="1125"/>
                  </a:cubicBezTo>
                  <a:lnTo>
                    <a:pt x="8783" y="1119"/>
                  </a:lnTo>
                  <a:cubicBezTo>
                    <a:pt x="8783" y="1119"/>
                    <a:pt x="8832" y="976"/>
                    <a:pt x="8735" y="910"/>
                  </a:cubicBezTo>
                  <a:cubicBezTo>
                    <a:pt x="8661" y="822"/>
                    <a:pt x="8593" y="795"/>
                    <a:pt x="8593" y="795"/>
                  </a:cubicBezTo>
                  <a:cubicBezTo>
                    <a:pt x="8593" y="795"/>
                    <a:pt x="8945" y="729"/>
                    <a:pt x="8883" y="620"/>
                  </a:cubicBezTo>
                  <a:cubicBezTo>
                    <a:pt x="8832" y="538"/>
                    <a:pt x="8609" y="505"/>
                    <a:pt x="8535" y="395"/>
                  </a:cubicBezTo>
                  <a:cubicBezTo>
                    <a:pt x="8460" y="285"/>
                    <a:pt x="8465" y="142"/>
                    <a:pt x="8465" y="142"/>
                  </a:cubicBezTo>
                  <a:cubicBezTo>
                    <a:pt x="8412" y="131"/>
                    <a:pt x="8355" y="121"/>
                    <a:pt x="8302" y="110"/>
                  </a:cubicBezTo>
                  <a:cubicBezTo>
                    <a:pt x="8302" y="110"/>
                    <a:pt x="8329" y="5"/>
                    <a:pt x="8167" y="0"/>
                  </a:cubicBezTo>
                  <a:cubicBezTo>
                    <a:pt x="8026" y="16"/>
                    <a:pt x="8022" y="120"/>
                    <a:pt x="8022" y="120"/>
                  </a:cubicBezTo>
                  <a:lnTo>
                    <a:pt x="7776" y="110"/>
                  </a:lnTo>
                  <a:cubicBezTo>
                    <a:pt x="7776" y="110"/>
                    <a:pt x="7647" y="329"/>
                    <a:pt x="7566" y="351"/>
                  </a:cubicBezTo>
                  <a:cubicBezTo>
                    <a:pt x="7485" y="368"/>
                    <a:pt x="7159" y="329"/>
                    <a:pt x="7159" y="329"/>
                  </a:cubicBezTo>
                  <a:cubicBezTo>
                    <a:pt x="7159" y="329"/>
                    <a:pt x="7165" y="625"/>
                    <a:pt x="7060" y="680"/>
                  </a:cubicBezTo>
                  <a:cubicBezTo>
                    <a:pt x="6996" y="740"/>
                    <a:pt x="6855" y="713"/>
                    <a:pt x="6797" y="707"/>
                  </a:cubicBezTo>
                  <a:cubicBezTo>
                    <a:pt x="6842" y="754"/>
                    <a:pt x="6891" y="798"/>
                    <a:pt x="6933" y="844"/>
                  </a:cubicBezTo>
                  <a:cubicBezTo>
                    <a:pt x="6906" y="862"/>
                    <a:pt x="6881" y="881"/>
                    <a:pt x="6851" y="899"/>
                  </a:cubicBezTo>
                  <a:lnTo>
                    <a:pt x="6669" y="894"/>
                  </a:lnTo>
                  <a:cubicBezTo>
                    <a:pt x="6669" y="894"/>
                    <a:pt x="6625" y="1016"/>
                    <a:pt x="6419" y="1026"/>
                  </a:cubicBezTo>
                  <a:cubicBezTo>
                    <a:pt x="6220" y="1037"/>
                    <a:pt x="6180" y="1415"/>
                    <a:pt x="6148" y="1669"/>
                  </a:cubicBezTo>
                  <a:cubicBezTo>
                    <a:pt x="6117" y="1936"/>
                    <a:pt x="6295" y="1985"/>
                    <a:pt x="6228" y="2090"/>
                  </a:cubicBezTo>
                  <a:cubicBezTo>
                    <a:pt x="6163" y="2166"/>
                    <a:pt x="6053" y="1975"/>
                    <a:pt x="5959" y="1866"/>
                  </a:cubicBezTo>
                  <a:cubicBezTo>
                    <a:pt x="5840" y="1735"/>
                    <a:pt x="5566" y="1991"/>
                    <a:pt x="5566" y="1991"/>
                  </a:cubicBezTo>
                  <a:cubicBezTo>
                    <a:pt x="5555" y="1971"/>
                    <a:pt x="5540" y="1951"/>
                    <a:pt x="5528" y="1932"/>
                  </a:cubicBezTo>
                  <a:lnTo>
                    <a:pt x="5342" y="2002"/>
                  </a:lnTo>
                  <a:cubicBezTo>
                    <a:pt x="5342" y="2002"/>
                    <a:pt x="5338" y="2150"/>
                    <a:pt x="5235" y="2144"/>
                  </a:cubicBezTo>
                  <a:cubicBezTo>
                    <a:pt x="5135" y="2161"/>
                    <a:pt x="5152" y="1909"/>
                    <a:pt x="5152" y="1909"/>
                  </a:cubicBezTo>
                  <a:lnTo>
                    <a:pt x="5030" y="1843"/>
                  </a:lnTo>
                  <a:cubicBezTo>
                    <a:pt x="5013" y="1883"/>
                    <a:pt x="4998" y="1924"/>
                    <a:pt x="4980" y="1964"/>
                  </a:cubicBezTo>
                  <a:lnTo>
                    <a:pt x="4819" y="1997"/>
                  </a:lnTo>
                  <a:cubicBezTo>
                    <a:pt x="4819" y="1997"/>
                    <a:pt x="4831" y="2144"/>
                    <a:pt x="4731" y="2161"/>
                  </a:cubicBezTo>
                  <a:cubicBezTo>
                    <a:pt x="4629" y="2177"/>
                    <a:pt x="4675" y="2013"/>
                    <a:pt x="4675" y="2013"/>
                  </a:cubicBezTo>
                  <a:lnTo>
                    <a:pt x="4514" y="2024"/>
                  </a:lnTo>
                  <a:cubicBezTo>
                    <a:pt x="4494" y="2060"/>
                    <a:pt x="4471" y="2093"/>
                    <a:pt x="4450" y="2129"/>
                  </a:cubicBezTo>
                  <a:cubicBezTo>
                    <a:pt x="4418" y="2077"/>
                    <a:pt x="4385" y="2026"/>
                    <a:pt x="4354" y="1975"/>
                  </a:cubicBezTo>
                  <a:cubicBezTo>
                    <a:pt x="4298" y="2022"/>
                    <a:pt x="4244" y="2070"/>
                    <a:pt x="4186" y="2117"/>
                  </a:cubicBezTo>
                  <a:lnTo>
                    <a:pt x="4025" y="2106"/>
                  </a:lnTo>
                  <a:cubicBezTo>
                    <a:pt x="4025" y="2106"/>
                    <a:pt x="4077" y="2276"/>
                    <a:pt x="4019" y="2276"/>
                  </a:cubicBezTo>
                  <a:cubicBezTo>
                    <a:pt x="3953" y="2270"/>
                    <a:pt x="3943" y="2144"/>
                    <a:pt x="3943" y="2144"/>
                  </a:cubicBezTo>
                  <a:cubicBezTo>
                    <a:pt x="3943" y="2144"/>
                    <a:pt x="3861" y="2122"/>
                    <a:pt x="3701" y="2155"/>
                  </a:cubicBezTo>
                  <a:cubicBezTo>
                    <a:pt x="3552" y="2188"/>
                    <a:pt x="3619" y="2090"/>
                    <a:pt x="3524" y="1980"/>
                  </a:cubicBezTo>
                  <a:cubicBezTo>
                    <a:pt x="3429" y="1849"/>
                    <a:pt x="3315" y="2073"/>
                    <a:pt x="3315" y="2073"/>
                  </a:cubicBezTo>
                  <a:lnTo>
                    <a:pt x="3101" y="1958"/>
                  </a:lnTo>
                  <a:cubicBezTo>
                    <a:pt x="3056" y="1984"/>
                    <a:pt x="3015" y="2009"/>
                    <a:pt x="2975" y="2035"/>
                  </a:cubicBezTo>
                  <a:cubicBezTo>
                    <a:pt x="2935" y="2006"/>
                    <a:pt x="2896" y="1976"/>
                    <a:pt x="2856" y="1947"/>
                  </a:cubicBezTo>
                  <a:lnTo>
                    <a:pt x="2680" y="1936"/>
                  </a:lnTo>
                  <a:cubicBezTo>
                    <a:pt x="2680" y="1936"/>
                    <a:pt x="2519" y="1909"/>
                    <a:pt x="2413" y="1925"/>
                  </a:cubicBezTo>
                  <a:cubicBezTo>
                    <a:pt x="2311" y="1964"/>
                    <a:pt x="2252" y="2024"/>
                    <a:pt x="2087" y="1991"/>
                  </a:cubicBezTo>
                  <a:cubicBezTo>
                    <a:pt x="1927" y="1964"/>
                    <a:pt x="1905" y="1985"/>
                    <a:pt x="1744" y="2063"/>
                  </a:cubicBezTo>
                  <a:cubicBezTo>
                    <a:pt x="1574" y="2133"/>
                    <a:pt x="1478" y="2068"/>
                    <a:pt x="1332" y="2166"/>
                  </a:cubicBezTo>
                  <a:cubicBezTo>
                    <a:pt x="1186" y="2243"/>
                    <a:pt x="1320" y="2397"/>
                    <a:pt x="1151" y="2496"/>
                  </a:cubicBezTo>
                  <a:cubicBezTo>
                    <a:pt x="986" y="2611"/>
                    <a:pt x="967" y="2507"/>
                    <a:pt x="871" y="2501"/>
                  </a:cubicBezTo>
                  <a:cubicBezTo>
                    <a:pt x="791" y="2496"/>
                    <a:pt x="785" y="2644"/>
                    <a:pt x="781" y="2687"/>
                  </a:cubicBezTo>
                  <a:cubicBezTo>
                    <a:pt x="791" y="2709"/>
                    <a:pt x="803" y="2737"/>
                    <a:pt x="806" y="2764"/>
                  </a:cubicBezTo>
                  <a:cubicBezTo>
                    <a:pt x="825" y="2797"/>
                    <a:pt x="828" y="2830"/>
                    <a:pt x="833" y="2868"/>
                  </a:cubicBezTo>
                  <a:lnTo>
                    <a:pt x="833" y="2868"/>
                  </a:lnTo>
                  <a:lnTo>
                    <a:pt x="833" y="2896"/>
                  </a:lnTo>
                  <a:cubicBezTo>
                    <a:pt x="828" y="3023"/>
                    <a:pt x="904" y="3050"/>
                    <a:pt x="986" y="3116"/>
                  </a:cubicBezTo>
                  <a:cubicBezTo>
                    <a:pt x="1061" y="3181"/>
                    <a:pt x="1097" y="3285"/>
                    <a:pt x="1135" y="3351"/>
                  </a:cubicBezTo>
                  <a:cubicBezTo>
                    <a:pt x="1175" y="3417"/>
                    <a:pt x="1332" y="3488"/>
                    <a:pt x="1332" y="3488"/>
                  </a:cubicBezTo>
                  <a:cubicBezTo>
                    <a:pt x="1310" y="3508"/>
                    <a:pt x="1285" y="3528"/>
                    <a:pt x="1265" y="3548"/>
                  </a:cubicBezTo>
                  <a:cubicBezTo>
                    <a:pt x="1265" y="3548"/>
                    <a:pt x="1186" y="3566"/>
                    <a:pt x="1164" y="3603"/>
                  </a:cubicBezTo>
                  <a:cubicBezTo>
                    <a:pt x="1142" y="3647"/>
                    <a:pt x="1221" y="3670"/>
                    <a:pt x="1281" y="3698"/>
                  </a:cubicBezTo>
                  <a:cubicBezTo>
                    <a:pt x="1341" y="3741"/>
                    <a:pt x="1332" y="3905"/>
                    <a:pt x="1265" y="4053"/>
                  </a:cubicBezTo>
                  <a:cubicBezTo>
                    <a:pt x="1195" y="4195"/>
                    <a:pt x="999" y="4124"/>
                    <a:pt x="999" y="4124"/>
                  </a:cubicBezTo>
                  <a:cubicBezTo>
                    <a:pt x="999" y="4124"/>
                    <a:pt x="781" y="4470"/>
                    <a:pt x="718" y="4531"/>
                  </a:cubicBezTo>
                  <a:cubicBezTo>
                    <a:pt x="654" y="4607"/>
                    <a:pt x="622" y="4816"/>
                    <a:pt x="536" y="4937"/>
                  </a:cubicBezTo>
                  <a:cubicBezTo>
                    <a:pt x="472" y="5085"/>
                    <a:pt x="280" y="5260"/>
                    <a:pt x="280" y="5260"/>
                  </a:cubicBezTo>
                  <a:cubicBezTo>
                    <a:pt x="280" y="5260"/>
                    <a:pt x="394" y="5413"/>
                    <a:pt x="390" y="5517"/>
                  </a:cubicBezTo>
                  <a:cubicBezTo>
                    <a:pt x="405" y="5605"/>
                    <a:pt x="384" y="5666"/>
                    <a:pt x="399" y="5733"/>
                  </a:cubicBezTo>
                  <a:cubicBezTo>
                    <a:pt x="416" y="5793"/>
                    <a:pt x="577" y="5841"/>
                    <a:pt x="577" y="5841"/>
                  </a:cubicBezTo>
                  <a:cubicBezTo>
                    <a:pt x="569" y="5876"/>
                    <a:pt x="560" y="5910"/>
                    <a:pt x="553" y="5945"/>
                  </a:cubicBezTo>
                  <a:lnTo>
                    <a:pt x="292" y="5853"/>
                  </a:lnTo>
                  <a:cubicBezTo>
                    <a:pt x="255" y="5934"/>
                    <a:pt x="217" y="6017"/>
                    <a:pt x="179" y="6099"/>
                  </a:cubicBezTo>
                  <a:cubicBezTo>
                    <a:pt x="171" y="6182"/>
                    <a:pt x="161" y="6264"/>
                    <a:pt x="153" y="6346"/>
                  </a:cubicBezTo>
                  <a:cubicBezTo>
                    <a:pt x="153" y="6346"/>
                    <a:pt x="1" y="6489"/>
                    <a:pt x="1" y="6572"/>
                  </a:cubicBezTo>
                  <a:cubicBezTo>
                    <a:pt x="-4" y="6653"/>
                    <a:pt x="27" y="6780"/>
                    <a:pt x="27" y="6780"/>
                  </a:cubicBezTo>
                  <a:cubicBezTo>
                    <a:pt x="27" y="6780"/>
                    <a:pt x="88" y="6784"/>
                    <a:pt x="130" y="6828"/>
                  </a:cubicBezTo>
                  <a:cubicBezTo>
                    <a:pt x="169" y="6850"/>
                    <a:pt x="224" y="6960"/>
                    <a:pt x="224" y="6960"/>
                  </a:cubicBezTo>
                  <a:cubicBezTo>
                    <a:pt x="224" y="6960"/>
                    <a:pt x="289" y="6938"/>
                    <a:pt x="348" y="6943"/>
                  </a:cubicBezTo>
                  <a:cubicBezTo>
                    <a:pt x="384" y="6966"/>
                    <a:pt x="384" y="7033"/>
                    <a:pt x="422" y="7076"/>
                  </a:cubicBezTo>
                  <a:cubicBezTo>
                    <a:pt x="460" y="7136"/>
                    <a:pt x="503" y="7076"/>
                    <a:pt x="643" y="7104"/>
                  </a:cubicBezTo>
                  <a:cubicBezTo>
                    <a:pt x="781" y="7152"/>
                    <a:pt x="654" y="7251"/>
                    <a:pt x="654" y="7251"/>
                  </a:cubicBezTo>
                  <a:lnTo>
                    <a:pt x="713" y="7278"/>
                  </a:lnTo>
                  <a:cubicBezTo>
                    <a:pt x="728" y="7243"/>
                    <a:pt x="745" y="7209"/>
                    <a:pt x="759" y="7175"/>
                  </a:cubicBezTo>
                  <a:cubicBezTo>
                    <a:pt x="787" y="7181"/>
                    <a:pt x="813" y="7189"/>
                    <a:pt x="838" y="7196"/>
                  </a:cubicBezTo>
                  <a:cubicBezTo>
                    <a:pt x="838" y="7196"/>
                    <a:pt x="828" y="6987"/>
                    <a:pt x="930" y="6992"/>
                  </a:cubicBezTo>
                  <a:cubicBezTo>
                    <a:pt x="1051" y="6998"/>
                    <a:pt x="941" y="7180"/>
                    <a:pt x="1186" y="7175"/>
                  </a:cubicBezTo>
                  <a:cubicBezTo>
                    <a:pt x="1404" y="7164"/>
                    <a:pt x="1857" y="7164"/>
                    <a:pt x="1857" y="7164"/>
                  </a:cubicBezTo>
                  <a:cubicBezTo>
                    <a:pt x="1857" y="7164"/>
                    <a:pt x="2023" y="7048"/>
                    <a:pt x="2120" y="7093"/>
                  </a:cubicBezTo>
                  <a:cubicBezTo>
                    <a:pt x="2204" y="7119"/>
                    <a:pt x="2370" y="7377"/>
                    <a:pt x="2555" y="7344"/>
                  </a:cubicBezTo>
                  <a:cubicBezTo>
                    <a:pt x="2738" y="7290"/>
                    <a:pt x="2522" y="7152"/>
                    <a:pt x="2829" y="7087"/>
                  </a:cubicBezTo>
                  <a:cubicBezTo>
                    <a:pt x="3115" y="7015"/>
                    <a:pt x="3445" y="6861"/>
                    <a:pt x="3445" y="6861"/>
                  </a:cubicBezTo>
                  <a:cubicBezTo>
                    <a:pt x="3445" y="6861"/>
                    <a:pt x="3495" y="6604"/>
                    <a:pt x="3667" y="6489"/>
                  </a:cubicBezTo>
                  <a:cubicBezTo>
                    <a:pt x="3710" y="6461"/>
                    <a:pt x="3767" y="6440"/>
                    <a:pt x="3830" y="6440"/>
                  </a:cubicBezTo>
                  <a:lnTo>
                    <a:pt x="3830" y="6380"/>
                  </a:lnTo>
                  <a:lnTo>
                    <a:pt x="3894" y="6380"/>
                  </a:lnTo>
                  <a:cubicBezTo>
                    <a:pt x="3894" y="6380"/>
                    <a:pt x="3775" y="6248"/>
                    <a:pt x="3879" y="6230"/>
                  </a:cubicBezTo>
                  <a:cubicBezTo>
                    <a:pt x="4003" y="6197"/>
                    <a:pt x="4019" y="6280"/>
                    <a:pt x="4077" y="6285"/>
                  </a:cubicBezTo>
                  <a:cubicBezTo>
                    <a:pt x="4122" y="6285"/>
                    <a:pt x="4105" y="6159"/>
                    <a:pt x="4105" y="6159"/>
                  </a:cubicBezTo>
                  <a:cubicBezTo>
                    <a:pt x="4143" y="6184"/>
                    <a:pt x="4185" y="6206"/>
                    <a:pt x="4224" y="6230"/>
                  </a:cubicBezTo>
                  <a:cubicBezTo>
                    <a:pt x="4252" y="6195"/>
                    <a:pt x="4281" y="6161"/>
                    <a:pt x="4312" y="6126"/>
                  </a:cubicBezTo>
                  <a:cubicBezTo>
                    <a:pt x="4360" y="6135"/>
                    <a:pt x="4404" y="6145"/>
                    <a:pt x="4450" y="6154"/>
                  </a:cubicBezTo>
                  <a:cubicBezTo>
                    <a:pt x="4450" y="6154"/>
                    <a:pt x="4412" y="5985"/>
                    <a:pt x="4575" y="6056"/>
                  </a:cubicBezTo>
                  <a:cubicBezTo>
                    <a:pt x="4715" y="6104"/>
                    <a:pt x="4812" y="6192"/>
                    <a:pt x="4812" y="6192"/>
                  </a:cubicBezTo>
                  <a:lnTo>
                    <a:pt x="4934" y="6197"/>
                  </a:lnTo>
                  <a:cubicBezTo>
                    <a:pt x="4945" y="6234"/>
                    <a:pt x="4957" y="6270"/>
                    <a:pt x="4971" y="6308"/>
                  </a:cubicBezTo>
                  <a:lnTo>
                    <a:pt x="5194" y="6236"/>
                  </a:lnTo>
                  <a:cubicBezTo>
                    <a:pt x="5188" y="6276"/>
                    <a:pt x="5178" y="6318"/>
                    <a:pt x="5171" y="6357"/>
                  </a:cubicBezTo>
                  <a:cubicBezTo>
                    <a:pt x="5199" y="6352"/>
                    <a:pt x="5224" y="6346"/>
                    <a:pt x="5253" y="6341"/>
                  </a:cubicBezTo>
                  <a:cubicBezTo>
                    <a:pt x="5285" y="6370"/>
                    <a:pt x="5318" y="6399"/>
                    <a:pt x="5349" y="6428"/>
                  </a:cubicBezTo>
                  <a:cubicBezTo>
                    <a:pt x="5349" y="6428"/>
                    <a:pt x="5290" y="6301"/>
                    <a:pt x="5354" y="6301"/>
                  </a:cubicBezTo>
                  <a:cubicBezTo>
                    <a:pt x="5416" y="6308"/>
                    <a:pt x="5614" y="6341"/>
                    <a:pt x="5614" y="6341"/>
                  </a:cubicBezTo>
                  <a:cubicBezTo>
                    <a:pt x="5646" y="6398"/>
                    <a:pt x="5675" y="6454"/>
                    <a:pt x="5707" y="6512"/>
                  </a:cubicBezTo>
                  <a:lnTo>
                    <a:pt x="5851" y="6494"/>
                  </a:lnTo>
                  <a:cubicBezTo>
                    <a:pt x="5872" y="6468"/>
                    <a:pt x="5894" y="6444"/>
                    <a:pt x="5914" y="6417"/>
                  </a:cubicBezTo>
                  <a:cubicBezTo>
                    <a:pt x="5914" y="6417"/>
                    <a:pt x="6068" y="6631"/>
                    <a:pt x="6062" y="6735"/>
                  </a:cubicBezTo>
                  <a:cubicBezTo>
                    <a:pt x="6059" y="6861"/>
                    <a:pt x="6009" y="6987"/>
                    <a:pt x="6009" y="6987"/>
                  </a:cubicBezTo>
                  <a:cubicBezTo>
                    <a:pt x="6032" y="7030"/>
                    <a:pt x="6060" y="7072"/>
                    <a:pt x="6085" y="7114"/>
                  </a:cubicBezTo>
                  <a:cubicBezTo>
                    <a:pt x="6085" y="7114"/>
                    <a:pt x="6163" y="7099"/>
                    <a:pt x="6185" y="7119"/>
                  </a:cubicBezTo>
                  <a:cubicBezTo>
                    <a:pt x="6203" y="7141"/>
                    <a:pt x="6345" y="7256"/>
                    <a:pt x="6345" y="7256"/>
                  </a:cubicBezTo>
                  <a:cubicBezTo>
                    <a:pt x="6365" y="7221"/>
                    <a:pt x="6386" y="7187"/>
                    <a:pt x="6408" y="7152"/>
                  </a:cubicBezTo>
                  <a:cubicBezTo>
                    <a:pt x="6430" y="7209"/>
                    <a:pt x="6455" y="7265"/>
                    <a:pt x="6478" y="7322"/>
                  </a:cubicBezTo>
                  <a:cubicBezTo>
                    <a:pt x="6478" y="7322"/>
                    <a:pt x="6424" y="7634"/>
                    <a:pt x="6565" y="7662"/>
                  </a:cubicBezTo>
                  <a:cubicBezTo>
                    <a:pt x="6684" y="7691"/>
                    <a:pt x="6773" y="7612"/>
                    <a:pt x="6825" y="7739"/>
                  </a:cubicBezTo>
                  <a:cubicBezTo>
                    <a:pt x="6900" y="7849"/>
                    <a:pt x="6808" y="8156"/>
                    <a:pt x="6887" y="8183"/>
                  </a:cubicBezTo>
                  <a:cubicBezTo>
                    <a:pt x="6965" y="8206"/>
                    <a:pt x="7105" y="8277"/>
                    <a:pt x="7105" y="8277"/>
                  </a:cubicBezTo>
                  <a:lnTo>
                    <a:pt x="6878" y="8370"/>
                  </a:lnTo>
                  <a:cubicBezTo>
                    <a:pt x="6878" y="8370"/>
                    <a:pt x="6841" y="8265"/>
                    <a:pt x="6803" y="8260"/>
                  </a:cubicBezTo>
                  <a:cubicBezTo>
                    <a:pt x="6761" y="8260"/>
                    <a:pt x="6797" y="8386"/>
                    <a:pt x="6716" y="8404"/>
                  </a:cubicBezTo>
                  <a:cubicBezTo>
                    <a:pt x="6630" y="8425"/>
                    <a:pt x="6493" y="8288"/>
                    <a:pt x="6493" y="8288"/>
                  </a:cubicBezTo>
                  <a:cubicBezTo>
                    <a:pt x="6493" y="8288"/>
                    <a:pt x="6428" y="8452"/>
                    <a:pt x="6369" y="8452"/>
                  </a:cubicBezTo>
                  <a:cubicBezTo>
                    <a:pt x="6304" y="8447"/>
                    <a:pt x="6424" y="8095"/>
                    <a:pt x="6112" y="8331"/>
                  </a:cubicBezTo>
                  <a:cubicBezTo>
                    <a:pt x="6003" y="8436"/>
                    <a:pt x="6235" y="8699"/>
                    <a:pt x="6235" y="8699"/>
                  </a:cubicBezTo>
                  <a:cubicBezTo>
                    <a:pt x="6230" y="8788"/>
                    <a:pt x="6227" y="8878"/>
                    <a:pt x="6224" y="8967"/>
                  </a:cubicBezTo>
                  <a:lnTo>
                    <a:pt x="6059" y="9088"/>
                  </a:lnTo>
                  <a:cubicBezTo>
                    <a:pt x="6076" y="9124"/>
                    <a:pt x="6094" y="9158"/>
                    <a:pt x="6112" y="9194"/>
                  </a:cubicBezTo>
                  <a:lnTo>
                    <a:pt x="5879" y="9412"/>
                  </a:lnTo>
                  <a:cubicBezTo>
                    <a:pt x="5879" y="9412"/>
                    <a:pt x="6034" y="9588"/>
                    <a:pt x="5970" y="9648"/>
                  </a:cubicBezTo>
                  <a:cubicBezTo>
                    <a:pt x="5905" y="9730"/>
                    <a:pt x="5745" y="9681"/>
                    <a:pt x="5745" y="9681"/>
                  </a:cubicBezTo>
                  <a:cubicBezTo>
                    <a:pt x="5724" y="9701"/>
                    <a:pt x="5706" y="9722"/>
                    <a:pt x="5684" y="9741"/>
                  </a:cubicBezTo>
                  <a:cubicBezTo>
                    <a:pt x="5718" y="9756"/>
                    <a:pt x="5751" y="9770"/>
                    <a:pt x="5782" y="9786"/>
                  </a:cubicBezTo>
                  <a:cubicBezTo>
                    <a:pt x="5782" y="9786"/>
                    <a:pt x="5754" y="9889"/>
                    <a:pt x="5956" y="9944"/>
                  </a:cubicBezTo>
                  <a:cubicBezTo>
                    <a:pt x="6176" y="10015"/>
                    <a:pt x="6235" y="9999"/>
                    <a:pt x="6235" y="9999"/>
                  </a:cubicBezTo>
                  <a:cubicBezTo>
                    <a:pt x="6237" y="9950"/>
                    <a:pt x="6243" y="9900"/>
                    <a:pt x="6245" y="9852"/>
                  </a:cubicBezTo>
                  <a:cubicBezTo>
                    <a:pt x="6278" y="9854"/>
                    <a:pt x="6310" y="9855"/>
                    <a:pt x="6345" y="9857"/>
                  </a:cubicBezTo>
                  <a:cubicBezTo>
                    <a:pt x="6345" y="9857"/>
                    <a:pt x="6583" y="9570"/>
                    <a:pt x="6761" y="9603"/>
                  </a:cubicBezTo>
                  <a:cubicBezTo>
                    <a:pt x="6960" y="9654"/>
                    <a:pt x="7036" y="9846"/>
                    <a:pt x="7036" y="9846"/>
                  </a:cubicBezTo>
                  <a:lnTo>
                    <a:pt x="7036" y="9862"/>
                  </a:lnTo>
                  <a:cubicBezTo>
                    <a:pt x="7057" y="9823"/>
                    <a:pt x="7094" y="9763"/>
                    <a:pt x="7080" y="9703"/>
                  </a:cubicBezTo>
                  <a:cubicBezTo>
                    <a:pt x="7060" y="9636"/>
                    <a:pt x="7002" y="9570"/>
                    <a:pt x="7002" y="9570"/>
                  </a:cubicBezTo>
                  <a:lnTo>
                    <a:pt x="6906" y="9549"/>
                  </a:lnTo>
                  <a:cubicBezTo>
                    <a:pt x="6927" y="9522"/>
                    <a:pt x="6950" y="9494"/>
                    <a:pt x="6971" y="9467"/>
                  </a:cubicBezTo>
                  <a:cubicBezTo>
                    <a:pt x="6963" y="9460"/>
                    <a:pt x="6957" y="9452"/>
                    <a:pt x="6950" y="9445"/>
                  </a:cubicBezTo>
                  <a:cubicBezTo>
                    <a:pt x="6922" y="9442"/>
                    <a:pt x="6897" y="9441"/>
                    <a:pt x="6867" y="9439"/>
                  </a:cubicBezTo>
                  <a:cubicBezTo>
                    <a:pt x="6853" y="9334"/>
                    <a:pt x="6838" y="9227"/>
                    <a:pt x="6825" y="9122"/>
                  </a:cubicBezTo>
                  <a:cubicBezTo>
                    <a:pt x="6844" y="9116"/>
                    <a:pt x="6862" y="9110"/>
                    <a:pt x="6887" y="9105"/>
                  </a:cubicBezTo>
                  <a:cubicBezTo>
                    <a:pt x="6895" y="9154"/>
                    <a:pt x="6906" y="9205"/>
                    <a:pt x="6917" y="9254"/>
                  </a:cubicBezTo>
                  <a:cubicBezTo>
                    <a:pt x="6943" y="9297"/>
                    <a:pt x="6966" y="9340"/>
                    <a:pt x="6991" y="9385"/>
                  </a:cubicBezTo>
                  <a:cubicBezTo>
                    <a:pt x="7016" y="9357"/>
                    <a:pt x="7036" y="9330"/>
                    <a:pt x="7057" y="9302"/>
                  </a:cubicBezTo>
                  <a:cubicBezTo>
                    <a:pt x="7052" y="9275"/>
                    <a:pt x="7046" y="9247"/>
                    <a:pt x="7041" y="9220"/>
                  </a:cubicBezTo>
                  <a:cubicBezTo>
                    <a:pt x="7075" y="9214"/>
                    <a:pt x="7109" y="9209"/>
                    <a:pt x="7144" y="9204"/>
                  </a:cubicBezTo>
                  <a:cubicBezTo>
                    <a:pt x="7123" y="9147"/>
                    <a:pt x="7106" y="9090"/>
                    <a:pt x="7088" y="9034"/>
                  </a:cubicBezTo>
                  <a:lnTo>
                    <a:pt x="7229" y="9062"/>
                  </a:lnTo>
                  <a:cubicBezTo>
                    <a:pt x="7230" y="9031"/>
                    <a:pt x="7235" y="9003"/>
                    <a:pt x="7236" y="8972"/>
                  </a:cubicBezTo>
                  <a:cubicBezTo>
                    <a:pt x="7251" y="8995"/>
                    <a:pt x="7271" y="9017"/>
                    <a:pt x="7290" y="9039"/>
                  </a:cubicBezTo>
                  <a:lnTo>
                    <a:pt x="7527" y="8781"/>
                  </a:lnTo>
                  <a:cubicBezTo>
                    <a:pt x="7483" y="8715"/>
                    <a:pt x="7435" y="8650"/>
                    <a:pt x="7390" y="8584"/>
                  </a:cubicBezTo>
                  <a:cubicBezTo>
                    <a:pt x="7390" y="8584"/>
                    <a:pt x="7094" y="8530"/>
                    <a:pt x="7140" y="8425"/>
                  </a:cubicBezTo>
                  <a:cubicBezTo>
                    <a:pt x="7159" y="8344"/>
                    <a:pt x="7283" y="8370"/>
                    <a:pt x="7283" y="8370"/>
                  </a:cubicBezTo>
                  <a:lnTo>
                    <a:pt x="7493" y="8633"/>
                  </a:lnTo>
                  <a:cubicBezTo>
                    <a:pt x="7548" y="8488"/>
                    <a:pt x="7602" y="8345"/>
                    <a:pt x="7652" y="8199"/>
                  </a:cubicBezTo>
                  <a:cubicBezTo>
                    <a:pt x="7654" y="8144"/>
                    <a:pt x="7658" y="8087"/>
                    <a:pt x="7662" y="8030"/>
                  </a:cubicBezTo>
                  <a:lnTo>
                    <a:pt x="7926" y="7943"/>
                  </a:lnTo>
                  <a:cubicBezTo>
                    <a:pt x="7961" y="7830"/>
                    <a:pt x="7990" y="7719"/>
                    <a:pt x="8026" y="7607"/>
                  </a:cubicBezTo>
                  <a:cubicBezTo>
                    <a:pt x="8032" y="7649"/>
                    <a:pt x="8038" y="7693"/>
                    <a:pt x="8042" y="7734"/>
                  </a:cubicBezTo>
                  <a:cubicBezTo>
                    <a:pt x="8098" y="7689"/>
                    <a:pt x="8154" y="7642"/>
                    <a:pt x="8210" y="7596"/>
                  </a:cubicBezTo>
                  <a:cubicBezTo>
                    <a:pt x="8210" y="7596"/>
                    <a:pt x="8247" y="7619"/>
                    <a:pt x="8329" y="7579"/>
                  </a:cubicBezTo>
                  <a:cubicBezTo>
                    <a:pt x="8432" y="7564"/>
                    <a:pt x="8448" y="7207"/>
                    <a:pt x="8448" y="7207"/>
                  </a:cubicBezTo>
                  <a:cubicBezTo>
                    <a:pt x="8448" y="7207"/>
                    <a:pt x="8437" y="7481"/>
                    <a:pt x="8554" y="7487"/>
                  </a:cubicBezTo>
                  <a:cubicBezTo>
                    <a:pt x="8679" y="7493"/>
                    <a:pt x="8874" y="7564"/>
                    <a:pt x="8874" y="7564"/>
                  </a:cubicBezTo>
                  <a:lnTo>
                    <a:pt x="8632" y="7619"/>
                  </a:lnTo>
                  <a:cubicBezTo>
                    <a:pt x="8622" y="7638"/>
                    <a:pt x="8616" y="7659"/>
                    <a:pt x="8609" y="7679"/>
                  </a:cubicBezTo>
                  <a:lnTo>
                    <a:pt x="8369" y="7691"/>
                  </a:lnTo>
                  <a:lnTo>
                    <a:pt x="8244" y="7723"/>
                  </a:lnTo>
                  <a:cubicBezTo>
                    <a:pt x="8275" y="7739"/>
                    <a:pt x="8307" y="7757"/>
                    <a:pt x="8341" y="7772"/>
                  </a:cubicBezTo>
                  <a:lnTo>
                    <a:pt x="8428" y="7757"/>
                  </a:lnTo>
                  <a:cubicBezTo>
                    <a:pt x="8428" y="7757"/>
                    <a:pt x="8730" y="7728"/>
                    <a:pt x="8666" y="7789"/>
                  </a:cubicBezTo>
                  <a:cubicBezTo>
                    <a:pt x="8599" y="7865"/>
                    <a:pt x="8395" y="7964"/>
                    <a:pt x="8395" y="7964"/>
                  </a:cubicBezTo>
                  <a:cubicBezTo>
                    <a:pt x="8428" y="7979"/>
                    <a:pt x="8460" y="7993"/>
                    <a:pt x="8490" y="8009"/>
                  </a:cubicBezTo>
                  <a:cubicBezTo>
                    <a:pt x="8490" y="8009"/>
                    <a:pt x="8661" y="7909"/>
                    <a:pt x="8739" y="7959"/>
                  </a:cubicBezTo>
                  <a:cubicBezTo>
                    <a:pt x="8799" y="8002"/>
                    <a:pt x="8891" y="8112"/>
                    <a:pt x="9074" y="810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3" name="Freeform 557">
              <a:extLst>
                <a:ext uri="{FF2B5EF4-FFF2-40B4-BE49-F238E27FC236}">
                  <a16:creationId xmlns:a16="http://schemas.microsoft.com/office/drawing/2014/main" id="{677B4BAC-1940-ADCD-E88E-13B6608CC019}"/>
                </a:ext>
              </a:extLst>
            </p:cNvPr>
            <p:cNvSpPr>
              <a:spLocks/>
            </p:cNvSpPr>
            <p:nvPr/>
          </p:nvSpPr>
          <p:spPr bwMode="gray">
            <a:xfrm>
              <a:off x="11449761" y="3682601"/>
              <a:ext cx="17980" cy="5395"/>
            </a:xfrm>
            <a:custGeom>
              <a:avLst/>
              <a:gdLst>
                <a:gd name="T0" fmla="*/ 30 w 30"/>
                <a:gd name="T1" fmla="*/ 0 h 9"/>
                <a:gd name="T2" fmla="*/ 0 w 30"/>
                <a:gd name="T3" fmla="*/ 9 h 9"/>
                <a:gd name="T4" fmla="*/ 30 w 30"/>
                <a:gd name="T5" fmla="*/ 0 h 9"/>
              </a:gdLst>
              <a:ahLst/>
              <a:cxnLst>
                <a:cxn ang="0">
                  <a:pos x="T0" y="T1"/>
                </a:cxn>
                <a:cxn ang="0">
                  <a:pos x="T2" y="T3"/>
                </a:cxn>
                <a:cxn ang="0">
                  <a:pos x="T4" y="T5"/>
                </a:cxn>
              </a:cxnLst>
              <a:rect l="0" t="0" r="r" b="b"/>
              <a:pathLst>
                <a:path w="30" h="9">
                  <a:moveTo>
                    <a:pt x="30" y="0"/>
                  </a:moveTo>
                  <a:cubicBezTo>
                    <a:pt x="18" y="0"/>
                    <a:pt x="8" y="4"/>
                    <a:pt x="0" y="9"/>
                  </a:cubicBezTo>
                  <a:cubicBezTo>
                    <a:pt x="8" y="4"/>
                    <a:pt x="18" y="0"/>
                    <a:pt x="3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4" name="Freeform 558">
              <a:extLst>
                <a:ext uri="{FF2B5EF4-FFF2-40B4-BE49-F238E27FC236}">
                  <a16:creationId xmlns:a16="http://schemas.microsoft.com/office/drawing/2014/main" id="{5C0DF9BF-EBC5-9A54-1872-592028DF3034}"/>
                </a:ext>
              </a:extLst>
            </p:cNvPr>
            <p:cNvSpPr>
              <a:spLocks/>
            </p:cNvSpPr>
            <p:nvPr/>
          </p:nvSpPr>
          <p:spPr bwMode="gray">
            <a:xfrm>
              <a:off x="11820144" y="4052984"/>
              <a:ext cx="1798" cy="1798"/>
            </a:xfrm>
            <a:custGeom>
              <a:avLst/>
              <a:gdLst>
                <a:gd name="T0" fmla="*/ 0 w 1"/>
                <a:gd name="T1" fmla="*/ 4 h 4"/>
                <a:gd name="T2" fmla="*/ 1 w 1"/>
                <a:gd name="T3" fmla="*/ 3 h 4"/>
                <a:gd name="T4" fmla="*/ 1 w 1"/>
                <a:gd name="T5" fmla="*/ 0 h 4"/>
                <a:gd name="T6" fmla="*/ 0 w 1"/>
                <a:gd name="T7" fmla="*/ 4 h 4"/>
              </a:gdLst>
              <a:ahLst/>
              <a:cxnLst>
                <a:cxn ang="0">
                  <a:pos x="T0" y="T1"/>
                </a:cxn>
                <a:cxn ang="0">
                  <a:pos x="T2" y="T3"/>
                </a:cxn>
                <a:cxn ang="0">
                  <a:pos x="T4" y="T5"/>
                </a:cxn>
                <a:cxn ang="0">
                  <a:pos x="T6" y="T7"/>
                </a:cxn>
              </a:cxnLst>
              <a:rect l="0" t="0" r="r" b="b"/>
              <a:pathLst>
                <a:path w="1" h="4">
                  <a:moveTo>
                    <a:pt x="0" y="4"/>
                  </a:moveTo>
                  <a:cubicBezTo>
                    <a:pt x="1" y="4"/>
                    <a:pt x="1" y="3"/>
                    <a:pt x="1" y="3"/>
                  </a:cubicBezTo>
                  <a:cubicBezTo>
                    <a:pt x="1" y="1"/>
                    <a:pt x="1" y="0"/>
                    <a:pt x="1" y="0"/>
                  </a:cubicBez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5" name="Freeform 559">
              <a:extLst>
                <a:ext uri="{FF2B5EF4-FFF2-40B4-BE49-F238E27FC236}">
                  <a16:creationId xmlns:a16="http://schemas.microsoft.com/office/drawing/2014/main" id="{2B4F74CD-BFBC-0C79-7D02-353208D415C7}"/>
                </a:ext>
              </a:extLst>
            </p:cNvPr>
            <p:cNvSpPr>
              <a:spLocks/>
            </p:cNvSpPr>
            <p:nvPr/>
          </p:nvSpPr>
          <p:spPr bwMode="gray">
            <a:xfrm>
              <a:off x="11672710" y="4040398"/>
              <a:ext cx="10788" cy="5395"/>
            </a:xfrm>
            <a:custGeom>
              <a:avLst/>
              <a:gdLst>
                <a:gd name="T0" fmla="*/ 6 w 6"/>
                <a:gd name="T1" fmla="*/ 3 h 3"/>
                <a:gd name="T2" fmla="*/ 0 w 6"/>
                <a:gd name="T3" fmla="*/ 0 h 3"/>
                <a:gd name="T4" fmla="*/ 0 w 6"/>
                <a:gd name="T5" fmla="*/ 0 h 3"/>
                <a:gd name="T6" fmla="*/ 6 w 6"/>
                <a:gd name="T7" fmla="*/ 3 h 3"/>
              </a:gdLst>
              <a:ahLst/>
              <a:cxnLst>
                <a:cxn ang="0">
                  <a:pos x="T0" y="T1"/>
                </a:cxn>
                <a:cxn ang="0">
                  <a:pos x="T2" y="T3"/>
                </a:cxn>
                <a:cxn ang="0">
                  <a:pos x="T4" y="T5"/>
                </a:cxn>
                <a:cxn ang="0">
                  <a:pos x="T6" y="T7"/>
                </a:cxn>
              </a:cxnLst>
              <a:rect l="0" t="0" r="r" b="b"/>
              <a:pathLst>
                <a:path w="6" h="3">
                  <a:moveTo>
                    <a:pt x="6" y="3"/>
                  </a:moveTo>
                  <a:lnTo>
                    <a:pt x="0" y="0"/>
                  </a:lnTo>
                  <a:lnTo>
                    <a:pt x="0" y="0"/>
                  </a:lnTo>
                  <a:lnTo>
                    <a:pt x="6"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6" name="Freeform 560">
              <a:extLst>
                <a:ext uri="{FF2B5EF4-FFF2-40B4-BE49-F238E27FC236}">
                  <a16:creationId xmlns:a16="http://schemas.microsoft.com/office/drawing/2014/main" id="{FD6A969F-160A-B276-E24A-209A5C619CFD}"/>
                </a:ext>
              </a:extLst>
            </p:cNvPr>
            <p:cNvSpPr>
              <a:spLocks/>
            </p:cNvSpPr>
            <p:nvPr/>
          </p:nvSpPr>
          <p:spPr bwMode="gray">
            <a:xfrm>
              <a:off x="8425563" y="1185210"/>
              <a:ext cx="10788" cy="7192"/>
            </a:xfrm>
            <a:custGeom>
              <a:avLst/>
              <a:gdLst>
                <a:gd name="T0" fmla="*/ 5 w 19"/>
                <a:gd name="T1" fmla="*/ 3 h 14"/>
                <a:gd name="T2" fmla="*/ 12 w 19"/>
                <a:gd name="T3" fmla="*/ 11 h 14"/>
                <a:gd name="T4" fmla="*/ 5 w 19"/>
                <a:gd name="T5" fmla="*/ 3 h 14"/>
              </a:gdLst>
              <a:ahLst/>
              <a:cxnLst>
                <a:cxn ang="0">
                  <a:pos x="T0" y="T1"/>
                </a:cxn>
                <a:cxn ang="0">
                  <a:pos x="T2" y="T3"/>
                </a:cxn>
                <a:cxn ang="0">
                  <a:pos x="T4" y="T5"/>
                </a:cxn>
              </a:cxnLst>
              <a:rect l="0" t="0" r="r" b="b"/>
              <a:pathLst>
                <a:path w="19" h="14">
                  <a:moveTo>
                    <a:pt x="5" y="3"/>
                  </a:moveTo>
                  <a:cubicBezTo>
                    <a:pt x="5" y="3"/>
                    <a:pt x="0" y="14"/>
                    <a:pt x="12" y="11"/>
                  </a:cubicBezTo>
                  <a:cubicBezTo>
                    <a:pt x="19" y="11"/>
                    <a:pt x="16" y="0"/>
                    <a:pt x="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7" name="Freeform 561">
              <a:extLst>
                <a:ext uri="{FF2B5EF4-FFF2-40B4-BE49-F238E27FC236}">
                  <a16:creationId xmlns:a16="http://schemas.microsoft.com/office/drawing/2014/main" id="{E96B3ADE-0C0E-8109-7BFC-1355C74673E8}"/>
                </a:ext>
              </a:extLst>
            </p:cNvPr>
            <p:cNvSpPr>
              <a:spLocks/>
            </p:cNvSpPr>
            <p:nvPr/>
          </p:nvSpPr>
          <p:spPr bwMode="gray">
            <a:xfrm>
              <a:off x="8274533" y="1142058"/>
              <a:ext cx="8991" cy="12586"/>
            </a:xfrm>
            <a:custGeom>
              <a:avLst/>
              <a:gdLst>
                <a:gd name="T0" fmla="*/ 3 w 5"/>
                <a:gd name="T1" fmla="*/ 0 h 7"/>
                <a:gd name="T2" fmla="*/ 0 w 5"/>
                <a:gd name="T3" fmla="*/ 7 h 7"/>
                <a:gd name="T4" fmla="*/ 5 w 5"/>
                <a:gd name="T5" fmla="*/ 4 h 7"/>
                <a:gd name="T6" fmla="*/ 3 w 5"/>
                <a:gd name="T7" fmla="*/ 0 h 7"/>
              </a:gdLst>
              <a:ahLst/>
              <a:cxnLst>
                <a:cxn ang="0">
                  <a:pos x="T0" y="T1"/>
                </a:cxn>
                <a:cxn ang="0">
                  <a:pos x="T2" y="T3"/>
                </a:cxn>
                <a:cxn ang="0">
                  <a:pos x="T4" y="T5"/>
                </a:cxn>
                <a:cxn ang="0">
                  <a:pos x="T6" y="T7"/>
                </a:cxn>
              </a:cxnLst>
              <a:rect l="0" t="0" r="r" b="b"/>
              <a:pathLst>
                <a:path w="5" h="7">
                  <a:moveTo>
                    <a:pt x="3" y="0"/>
                  </a:moveTo>
                  <a:lnTo>
                    <a:pt x="0" y="7"/>
                  </a:lnTo>
                  <a:lnTo>
                    <a:pt x="5"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8" name="Freeform 562">
              <a:extLst>
                <a:ext uri="{FF2B5EF4-FFF2-40B4-BE49-F238E27FC236}">
                  <a16:creationId xmlns:a16="http://schemas.microsoft.com/office/drawing/2014/main" id="{6AEE5547-2657-7B5D-98BB-1B7304CA709D}"/>
                </a:ext>
              </a:extLst>
            </p:cNvPr>
            <p:cNvSpPr>
              <a:spLocks/>
            </p:cNvSpPr>
            <p:nvPr/>
          </p:nvSpPr>
          <p:spPr bwMode="gray">
            <a:xfrm>
              <a:off x="8305100" y="816625"/>
              <a:ext cx="12586" cy="16183"/>
            </a:xfrm>
            <a:custGeom>
              <a:avLst/>
              <a:gdLst>
                <a:gd name="T0" fmla="*/ 7 w 7"/>
                <a:gd name="T1" fmla="*/ 0 h 9"/>
                <a:gd name="T2" fmla="*/ 6 w 7"/>
                <a:gd name="T3" fmla="*/ 0 h 9"/>
                <a:gd name="T4" fmla="*/ 0 w 7"/>
                <a:gd name="T5" fmla="*/ 6 h 9"/>
                <a:gd name="T6" fmla="*/ 4 w 7"/>
                <a:gd name="T7" fmla="*/ 9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lnTo>
                    <a:pt x="6" y="0"/>
                  </a:lnTo>
                  <a:lnTo>
                    <a:pt x="0" y="6"/>
                  </a:lnTo>
                  <a:lnTo>
                    <a:pt x="4" y="9"/>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9" name="Freeform 563">
              <a:extLst>
                <a:ext uri="{FF2B5EF4-FFF2-40B4-BE49-F238E27FC236}">
                  <a16:creationId xmlns:a16="http://schemas.microsoft.com/office/drawing/2014/main" id="{E0C4C256-B9B8-BFA6-8BDA-407C85A140A9}"/>
                </a:ext>
              </a:extLst>
            </p:cNvPr>
            <p:cNvSpPr>
              <a:spLocks/>
            </p:cNvSpPr>
            <p:nvPr/>
          </p:nvSpPr>
          <p:spPr bwMode="gray">
            <a:xfrm>
              <a:off x="8181038" y="708746"/>
              <a:ext cx="596928" cy="503433"/>
            </a:xfrm>
            <a:custGeom>
              <a:avLst/>
              <a:gdLst>
                <a:gd name="T0" fmla="*/ 121 w 1003"/>
                <a:gd name="T1" fmla="*/ 602 h 844"/>
                <a:gd name="T2" fmla="*/ 160 w 1003"/>
                <a:gd name="T3" fmla="*/ 643 h 844"/>
                <a:gd name="T4" fmla="*/ 180 w 1003"/>
                <a:gd name="T5" fmla="*/ 697 h 844"/>
                <a:gd name="T6" fmla="*/ 287 w 1003"/>
                <a:gd name="T7" fmla="*/ 809 h 844"/>
                <a:gd name="T8" fmla="*/ 429 w 1003"/>
                <a:gd name="T9" fmla="*/ 808 h 844"/>
                <a:gd name="T10" fmla="*/ 552 w 1003"/>
                <a:gd name="T11" fmla="*/ 822 h 844"/>
                <a:gd name="T12" fmla="*/ 692 w 1003"/>
                <a:gd name="T13" fmla="*/ 794 h 844"/>
                <a:gd name="T14" fmla="*/ 732 w 1003"/>
                <a:gd name="T15" fmla="*/ 815 h 844"/>
                <a:gd name="T16" fmla="*/ 816 w 1003"/>
                <a:gd name="T17" fmla="*/ 769 h 844"/>
                <a:gd name="T18" fmla="*/ 851 w 1003"/>
                <a:gd name="T19" fmla="*/ 744 h 844"/>
                <a:gd name="T20" fmla="*/ 912 w 1003"/>
                <a:gd name="T21" fmla="*/ 717 h 844"/>
                <a:gd name="T22" fmla="*/ 935 w 1003"/>
                <a:gd name="T23" fmla="*/ 710 h 844"/>
                <a:gd name="T24" fmla="*/ 951 w 1003"/>
                <a:gd name="T25" fmla="*/ 680 h 844"/>
                <a:gd name="T26" fmla="*/ 938 w 1003"/>
                <a:gd name="T27" fmla="*/ 638 h 844"/>
                <a:gd name="T28" fmla="*/ 982 w 1003"/>
                <a:gd name="T29" fmla="*/ 590 h 844"/>
                <a:gd name="T30" fmla="*/ 919 w 1003"/>
                <a:gd name="T31" fmla="*/ 495 h 844"/>
                <a:gd name="T32" fmla="*/ 919 w 1003"/>
                <a:gd name="T33" fmla="*/ 411 h 844"/>
                <a:gd name="T34" fmla="*/ 912 w 1003"/>
                <a:gd name="T35" fmla="*/ 395 h 844"/>
                <a:gd name="T36" fmla="*/ 872 w 1003"/>
                <a:gd name="T37" fmla="*/ 290 h 844"/>
                <a:gd name="T38" fmla="*/ 791 w 1003"/>
                <a:gd name="T39" fmla="*/ 347 h 844"/>
                <a:gd name="T40" fmla="*/ 709 w 1003"/>
                <a:gd name="T41" fmla="*/ 340 h 844"/>
                <a:gd name="T42" fmla="*/ 654 w 1003"/>
                <a:gd name="T43" fmla="*/ 322 h 844"/>
                <a:gd name="T44" fmla="*/ 628 w 1003"/>
                <a:gd name="T45" fmla="*/ 382 h 844"/>
                <a:gd name="T46" fmla="*/ 638 w 1003"/>
                <a:gd name="T47" fmla="*/ 264 h 844"/>
                <a:gd name="T48" fmla="*/ 571 w 1003"/>
                <a:gd name="T49" fmla="*/ 241 h 844"/>
                <a:gd name="T50" fmla="*/ 505 w 1003"/>
                <a:gd name="T51" fmla="*/ 296 h 844"/>
                <a:gd name="T52" fmla="*/ 502 w 1003"/>
                <a:gd name="T53" fmla="*/ 200 h 844"/>
                <a:gd name="T54" fmla="*/ 475 w 1003"/>
                <a:gd name="T55" fmla="*/ 218 h 844"/>
                <a:gd name="T56" fmla="*/ 403 w 1003"/>
                <a:gd name="T57" fmla="*/ 310 h 844"/>
                <a:gd name="T58" fmla="*/ 371 w 1003"/>
                <a:gd name="T59" fmla="*/ 278 h 844"/>
                <a:gd name="T60" fmla="*/ 328 w 1003"/>
                <a:gd name="T61" fmla="*/ 322 h 844"/>
                <a:gd name="T62" fmla="*/ 350 w 1003"/>
                <a:gd name="T63" fmla="*/ 250 h 844"/>
                <a:gd name="T64" fmla="*/ 344 w 1003"/>
                <a:gd name="T65" fmla="*/ 215 h 844"/>
                <a:gd name="T66" fmla="*/ 396 w 1003"/>
                <a:gd name="T67" fmla="*/ 141 h 844"/>
                <a:gd name="T68" fmla="*/ 373 w 1003"/>
                <a:gd name="T69" fmla="*/ 71 h 844"/>
                <a:gd name="T70" fmla="*/ 349 w 1003"/>
                <a:gd name="T71" fmla="*/ 24 h 844"/>
                <a:gd name="T72" fmla="*/ 294 w 1003"/>
                <a:gd name="T73" fmla="*/ 10 h 844"/>
                <a:gd name="T74" fmla="*/ 344 w 1003"/>
                <a:gd name="T75" fmla="*/ 55 h 844"/>
                <a:gd name="T76" fmla="*/ 307 w 1003"/>
                <a:gd name="T77" fmla="*/ 133 h 844"/>
                <a:gd name="T78" fmla="*/ 297 w 1003"/>
                <a:gd name="T79" fmla="*/ 94 h 844"/>
                <a:gd name="T80" fmla="*/ 260 w 1003"/>
                <a:gd name="T81" fmla="*/ 93 h 844"/>
                <a:gd name="T82" fmla="*/ 251 w 1003"/>
                <a:gd name="T83" fmla="*/ 46 h 844"/>
                <a:gd name="T84" fmla="*/ 211 w 1003"/>
                <a:gd name="T85" fmla="*/ 90 h 844"/>
                <a:gd name="T86" fmla="*/ 191 w 1003"/>
                <a:gd name="T87" fmla="*/ 135 h 844"/>
                <a:gd name="T88" fmla="*/ 150 w 1003"/>
                <a:gd name="T89" fmla="*/ 126 h 844"/>
                <a:gd name="T90" fmla="*/ 94 w 1003"/>
                <a:gd name="T91" fmla="*/ 112 h 844"/>
                <a:gd name="T92" fmla="*/ 185 w 1003"/>
                <a:gd name="T93" fmla="*/ 181 h 844"/>
                <a:gd name="T94" fmla="*/ 229 w 1003"/>
                <a:gd name="T95" fmla="*/ 202 h 844"/>
                <a:gd name="T96" fmla="*/ 257 w 1003"/>
                <a:gd name="T97" fmla="*/ 246 h 844"/>
                <a:gd name="T98" fmla="*/ 207 w 1003"/>
                <a:gd name="T99" fmla="*/ 278 h 844"/>
                <a:gd name="T100" fmla="*/ 242 w 1003"/>
                <a:gd name="T101" fmla="*/ 329 h 844"/>
                <a:gd name="T102" fmla="*/ 165 w 1003"/>
                <a:gd name="T103" fmla="*/ 283 h 844"/>
                <a:gd name="T104" fmla="*/ 101 w 1003"/>
                <a:gd name="T105" fmla="*/ 288 h 844"/>
                <a:gd name="T106" fmla="*/ 56 w 1003"/>
                <a:gd name="T107" fmla="*/ 297 h 844"/>
                <a:gd name="T108" fmla="*/ 151 w 1003"/>
                <a:gd name="T109" fmla="*/ 351 h 844"/>
                <a:gd name="T110" fmla="*/ 129 w 1003"/>
                <a:gd name="T111" fmla="*/ 427 h 844"/>
                <a:gd name="T112" fmla="*/ 173 w 1003"/>
                <a:gd name="T113" fmla="*/ 440 h 844"/>
                <a:gd name="T114" fmla="*/ 130 w 1003"/>
                <a:gd name="T115" fmla="*/ 477 h 844"/>
                <a:gd name="T116" fmla="*/ 117 w 1003"/>
                <a:gd name="T117" fmla="*/ 522 h 844"/>
                <a:gd name="T118" fmla="*/ 43 w 1003"/>
                <a:gd name="T119" fmla="*/ 503 h 844"/>
                <a:gd name="T120" fmla="*/ 22 w 1003"/>
                <a:gd name="T121" fmla="*/ 548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03" h="844">
                  <a:moveTo>
                    <a:pt x="22" y="548"/>
                  </a:moveTo>
                  <a:cubicBezTo>
                    <a:pt x="29" y="552"/>
                    <a:pt x="29" y="552"/>
                    <a:pt x="29" y="552"/>
                  </a:cubicBezTo>
                  <a:cubicBezTo>
                    <a:pt x="37" y="549"/>
                    <a:pt x="37" y="549"/>
                    <a:pt x="37" y="549"/>
                  </a:cubicBezTo>
                  <a:cubicBezTo>
                    <a:pt x="37" y="549"/>
                    <a:pt x="40" y="557"/>
                    <a:pt x="44" y="561"/>
                  </a:cubicBezTo>
                  <a:cubicBezTo>
                    <a:pt x="48" y="564"/>
                    <a:pt x="66" y="573"/>
                    <a:pt x="66" y="573"/>
                  </a:cubicBezTo>
                  <a:cubicBezTo>
                    <a:pt x="66" y="573"/>
                    <a:pt x="81" y="574"/>
                    <a:pt x="88" y="578"/>
                  </a:cubicBezTo>
                  <a:cubicBezTo>
                    <a:pt x="95" y="582"/>
                    <a:pt x="95" y="590"/>
                    <a:pt x="95" y="590"/>
                  </a:cubicBezTo>
                  <a:cubicBezTo>
                    <a:pt x="121" y="602"/>
                    <a:pt x="121" y="602"/>
                    <a:pt x="121" y="602"/>
                  </a:cubicBezTo>
                  <a:cubicBezTo>
                    <a:pt x="125" y="599"/>
                    <a:pt x="125" y="599"/>
                    <a:pt x="125" y="599"/>
                  </a:cubicBezTo>
                  <a:cubicBezTo>
                    <a:pt x="139" y="599"/>
                    <a:pt x="139" y="599"/>
                    <a:pt x="139" y="599"/>
                  </a:cubicBezTo>
                  <a:cubicBezTo>
                    <a:pt x="133" y="588"/>
                    <a:pt x="133" y="588"/>
                    <a:pt x="133" y="588"/>
                  </a:cubicBezTo>
                  <a:cubicBezTo>
                    <a:pt x="133" y="588"/>
                    <a:pt x="144" y="584"/>
                    <a:pt x="151" y="589"/>
                  </a:cubicBezTo>
                  <a:cubicBezTo>
                    <a:pt x="158" y="593"/>
                    <a:pt x="140" y="596"/>
                    <a:pt x="140" y="596"/>
                  </a:cubicBezTo>
                  <a:cubicBezTo>
                    <a:pt x="140" y="596"/>
                    <a:pt x="143" y="600"/>
                    <a:pt x="147" y="607"/>
                  </a:cubicBezTo>
                  <a:cubicBezTo>
                    <a:pt x="146" y="615"/>
                    <a:pt x="146" y="619"/>
                    <a:pt x="153" y="627"/>
                  </a:cubicBezTo>
                  <a:cubicBezTo>
                    <a:pt x="160" y="631"/>
                    <a:pt x="160" y="643"/>
                    <a:pt x="160" y="643"/>
                  </a:cubicBezTo>
                  <a:cubicBezTo>
                    <a:pt x="179" y="636"/>
                    <a:pt x="179" y="636"/>
                    <a:pt x="179" y="636"/>
                  </a:cubicBezTo>
                  <a:cubicBezTo>
                    <a:pt x="179" y="636"/>
                    <a:pt x="175" y="647"/>
                    <a:pt x="171" y="647"/>
                  </a:cubicBezTo>
                  <a:cubicBezTo>
                    <a:pt x="167" y="651"/>
                    <a:pt x="167" y="651"/>
                    <a:pt x="167" y="651"/>
                  </a:cubicBezTo>
                  <a:cubicBezTo>
                    <a:pt x="170" y="670"/>
                    <a:pt x="170" y="670"/>
                    <a:pt x="170" y="670"/>
                  </a:cubicBezTo>
                  <a:cubicBezTo>
                    <a:pt x="174" y="670"/>
                    <a:pt x="174" y="670"/>
                    <a:pt x="174" y="670"/>
                  </a:cubicBezTo>
                  <a:cubicBezTo>
                    <a:pt x="173" y="689"/>
                    <a:pt x="173" y="689"/>
                    <a:pt x="173" y="689"/>
                  </a:cubicBezTo>
                  <a:cubicBezTo>
                    <a:pt x="184" y="690"/>
                    <a:pt x="184" y="690"/>
                    <a:pt x="184" y="690"/>
                  </a:cubicBezTo>
                  <a:cubicBezTo>
                    <a:pt x="180" y="697"/>
                    <a:pt x="180" y="697"/>
                    <a:pt x="180" y="697"/>
                  </a:cubicBezTo>
                  <a:cubicBezTo>
                    <a:pt x="180" y="697"/>
                    <a:pt x="183" y="716"/>
                    <a:pt x="186" y="724"/>
                  </a:cubicBezTo>
                  <a:cubicBezTo>
                    <a:pt x="193" y="732"/>
                    <a:pt x="201" y="729"/>
                    <a:pt x="205" y="729"/>
                  </a:cubicBezTo>
                  <a:cubicBezTo>
                    <a:pt x="208" y="729"/>
                    <a:pt x="215" y="741"/>
                    <a:pt x="219" y="741"/>
                  </a:cubicBezTo>
                  <a:cubicBezTo>
                    <a:pt x="223" y="745"/>
                    <a:pt x="227" y="741"/>
                    <a:pt x="227" y="741"/>
                  </a:cubicBezTo>
                  <a:cubicBezTo>
                    <a:pt x="226" y="753"/>
                    <a:pt x="226" y="753"/>
                    <a:pt x="226" y="753"/>
                  </a:cubicBezTo>
                  <a:cubicBezTo>
                    <a:pt x="226" y="753"/>
                    <a:pt x="240" y="769"/>
                    <a:pt x="247" y="777"/>
                  </a:cubicBezTo>
                  <a:cubicBezTo>
                    <a:pt x="254" y="785"/>
                    <a:pt x="265" y="801"/>
                    <a:pt x="265" y="801"/>
                  </a:cubicBezTo>
                  <a:cubicBezTo>
                    <a:pt x="265" y="801"/>
                    <a:pt x="280" y="801"/>
                    <a:pt x="287" y="809"/>
                  </a:cubicBezTo>
                  <a:cubicBezTo>
                    <a:pt x="298" y="821"/>
                    <a:pt x="305" y="822"/>
                    <a:pt x="305" y="822"/>
                  </a:cubicBezTo>
                  <a:cubicBezTo>
                    <a:pt x="305" y="822"/>
                    <a:pt x="335" y="831"/>
                    <a:pt x="357" y="836"/>
                  </a:cubicBezTo>
                  <a:cubicBezTo>
                    <a:pt x="379" y="844"/>
                    <a:pt x="403" y="819"/>
                    <a:pt x="403" y="819"/>
                  </a:cubicBezTo>
                  <a:cubicBezTo>
                    <a:pt x="399" y="815"/>
                    <a:pt x="399" y="815"/>
                    <a:pt x="399" y="815"/>
                  </a:cubicBezTo>
                  <a:cubicBezTo>
                    <a:pt x="418" y="815"/>
                    <a:pt x="418" y="815"/>
                    <a:pt x="418" y="815"/>
                  </a:cubicBezTo>
                  <a:cubicBezTo>
                    <a:pt x="407" y="807"/>
                    <a:pt x="407" y="807"/>
                    <a:pt x="407" y="807"/>
                  </a:cubicBezTo>
                  <a:cubicBezTo>
                    <a:pt x="407" y="807"/>
                    <a:pt x="407" y="796"/>
                    <a:pt x="419" y="796"/>
                  </a:cubicBezTo>
                  <a:cubicBezTo>
                    <a:pt x="433" y="797"/>
                    <a:pt x="429" y="808"/>
                    <a:pt x="429" y="808"/>
                  </a:cubicBezTo>
                  <a:cubicBezTo>
                    <a:pt x="456" y="806"/>
                    <a:pt x="456" y="806"/>
                    <a:pt x="456" y="806"/>
                  </a:cubicBezTo>
                  <a:cubicBezTo>
                    <a:pt x="455" y="813"/>
                    <a:pt x="455" y="813"/>
                    <a:pt x="455" y="813"/>
                  </a:cubicBezTo>
                  <a:cubicBezTo>
                    <a:pt x="485" y="815"/>
                    <a:pt x="485" y="815"/>
                    <a:pt x="485" y="815"/>
                  </a:cubicBezTo>
                  <a:cubicBezTo>
                    <a:pt x="493" y="815"/>
                    <a:pt x="507" y="827"/>
                    <a:pt x="507" y="827"/>
                  </a:cubicBezTo>
                  <a:cubicBezTo>
                    <a:pt x="523" y="813"/>
                    <a:pt x="523" y="813"/>
                    <a:pt x="523" y="813"/>
                  </a:cubicBezTo>
                  <a:cubicBezTo>
                    <a:pt x="522" y="828"/>
                    <a:pt x="522" y="828"/>
                    <a:pt x="522" y="828"/>
                  </a:cubicBezTo>
                  <a:cubicBezTo>
                    <a:pt x="530" y="825"/>
                    <a:pt x="530" y="825"/>
                    <a:pt x="530" y="825"/>
                  </a:cubicBezTo>
                  <a:cubicBezTo>
                    <a:pt x="552" y="822"/>
                    <a:pt x="552" y="822"/>
                    <a:pt x="552" y="822"/>
                  </a:cubicBezTo>
                  <a:cubicBezTo>
                    <a:pt x="544" y="829"/>
                    <a:pt x="544" y="829"/>
                    <a:pt x="544" y="829"/>
                  </a:cubicBezTo>
                  <a:cubicBezTo>
                    <a:pt x="548" y="833"/>
                    <a:pt x="548" y="833"/>
                    <a:pt x="548" y="833"/>
                  </a:cubicBezTo>
                  <a:cubicBezTo>
                    <a:pt x="548" y="833"/>
                    <a:pt x="590" y="808"/>
                    <a:pt x="609" y="802"/>
                  </a:cubicBezTo>
                  <a:cubicBezTo>
                    <a:pt x="624" y="799"/>
                    <a:pt x="666" y="797"/>
                    <a:pt x="666" y="797"/>
                  </a:cubicBezTo>
                  <a:cubicBezTo>
                    <a:pt x="662" y="789"/>
                    <a:pt x="662" y="789"/>
                    <a:pt x="662" y="789"/>
                  </a:cubicBezTo>
                  <a:cubicBezTo>
                    <a:pt x="673" y="789"/>
                    <a:pt x="673" y="789"/>
                    <a:pt x="673" y="789"/>
                  </a:cubicBezTo>
                  <a:cubicBezTo>
                    <a:pt x="673" y="793"/>
                    <a:pt x="673" y="793"/>
                    <a:pt x="673" y="793"/>
                  </a:cubicBezTo>
                  <a:cubicBezTo>
                    <a:pt x="692" y="794"/>
                    <a:pt x="692" y="794"/>
                    <a:pt x="692" y="794"/>
                  </a:cubicBezTo>
                  <a:cubicBezTo>
                    <a:pt x="714" y="807"/>
                    <a:pt x="714" y="807"/>
                    <a:pt x="714" y="807"/>
                  </a:cubicBezTo>
                  <a:cubicBezTo>
                    <a:pt x="714" y="803"/>
                    <a:pt x="714" y="803"/>
                    <a:pt x="714" y="803"/>
                  </a:cubicBezTo>
                  <a:cubicBezTo>
                    <a:pt x="699" y="791"/>
                    <a:pt x="699" y="791"/>
                    <a:pt x="699" y="791"/>
                  </a:cubicBezTo>
                  <a:cubicBezTo>
                    <a:pt x="711" y="776"/>
                    <a:pt x="711" y="776"/>
                    <a:pt x="711" y="776"/>
                  </a:cubicBezTo>
                  <a:cubicBezTo>
                    <a:pt x="711" y="776"/>
                    <a:pt x="715" y="788"/>
                    <a:pt x="722" y="792"/>
                  </a:cubicBezTo>
                  <a:cubicBezTo>
                    <a:pt x="725" y="796"/>
                    <a:pt x="718" y="799"/>
                    <a:pt x="718" y="799"/>
                  </a:cubicBezTo>
                  <a:cubicBezTo>
                    <a:pt x="718" y="799"/>
                    <a:pt x="725" y="796"/>
                    <a:pt x="733" y="800"/>
                  </a:cubicBezTo>
                  <a:cubicBezTo>
                    <a:pt x="736" y="804"/>
                    <a:pt x="732" y="815"/>
                    <a:pt x="732" y="815"/>
                  </a:cubicBezTo>
                  <a:cubicBezTo>
                    <a:pt x="740" y="815"/>
                    <a:pt x="740" y="815"/>
                    <a:pt x="740" y="815"/>
                  </a:cubicBezTo>
                  <a:cubicBezTo>
                    <a:pt x="747" y="812"/>
                    <a:pt x="747" y="804"/>
                    <a:pt x="747" y="804"/>
                  </a:cubicBezTo>
                  <a:cubicBezTo>
                    <a:pt x="747" y="804"/>
                    <a:pt x="763" y="801"/>
                    <a:pt x="770" y="798"/>
                  </a:cubicBezTo>
                  <a:cubicBezTo>
                    <a:pt x="778" y="794"/>
                    <a:pt x="782" y="783"/>
                    <a:pt x="789" y="787"/>
                  </a:cubicBezTo>
                  <a:cubicBezTo>
                    <a:pt x="793" y="787"/>
                    <a:pt x="785" y="795"/>
                    <a:pt x="785" y="795"/>
                  </a:cubicBezTo>
                  <a:cubicBezTo>
                    <a:pt x="796" y="799"/>
                    <a:pt x="796" y="799"/>
                    <a:pt x="796" y="799"/>
                  </a:cubicBezTo>
                  <a:cubicBezTo>
                    <a:pt x="832" y="766"/>
                    <a:pt x="832" y="766"/>
                    <a:pt x="832" y="766"/>
                  </a:cubicBezTo>
                  <a:cubicBezTo>
                    <a:pt x="816" y="769"/>
                    <a:pt x="816" y="769"/>
                    <a:pt x="816" y="769"/>
                  </a:cubicBezTo>
                  <a:cubicBezTo>
                    <a:pt x="817" y="758"/>
                    <a:pt x="817" y="758"/>
                    <a:pt x="817" y="758"/>
                  </a:cubicBezTo>
                  <a:cubicBezTo>
                    <a:pt x="832" y="759"/>
                    <a:pt x="832" y="759"/>
                    <a:pt x="832" y="759"/>
                  </a:cubicBezTo>
                  <a:cubicBezTo>
                    <a:pt x="832" y="747"/>
                    <a:pt x="832" y="747"/>
                    <a:pt x="832" y="747"/>
                  </a:cubicBezTo>
                  <a:cubicBezTo>
                    <a:pt x="843" y="763"/>
                    <a:pt x="843" y="763"/>
                    <a:pt x="843" y="763"/>
                  </a:cubicBezTo>
                  <a:cubicBezTo>
                    <a:pt x="851" y="756"/>
                    <a:pt x="851" y="756"/>
                    <a:pt x="851" y="756"/>
                  </a:cubicBezTo>
                  <a:cubicBezTo>
                    <a:pt x="844" y="744"/>
                    <a:pt x="844" y="744"/>
                    <a:pt x="844" y="744"/>
                  </a:cubicBezTo>
                  <a:cubicBezTo>
                    <a:pt x="844" y="744"/>
                    <a:pt x="841" y="717"/>
                    <a:pt x="845" y="721"/>
                  </a:cubicBezTo>
                  <a:cubicBezTo>
                    <a:pt x="849" y="721"/>
                    <a:pt x="848" y="737"/>
                    <a:pt x="851" y="744"/>
                  </a:cubicBezTo>
                  <a:cubicBezTo>
                    <a:pt x="851" y="756"/>
                    <a:pt x="881" y="750"/>
                    <a:pt x="881" y="750"/>
                  </a:cubicBezTo>
                  <a:cubicBezTo>
                    <a:pt x="881" y="742"/>
                    <a:pt x="881" y="742"/>
                    <a:pt x="881" y="742"/>
                  </a:cubicBezTo>
                  <a:cubicBezTo>
                    <a:pt x="904" y="739"/>
                    <a:pt x="904" y="739"/>
                    <a:pt x="904" y="739"/>
                  </a:cubicBezTo>
                  <a:cubicBezTo>
                    <a:pt x="897" y="727"/>
                    <a:pt x="897" y="727"/>
                    <a:pt x="897" y="727"/>
                  </a:cubicBezTo>
                  <a:cubicBezTo>
                    <a:pt x="912" y="736"/>
                    <a:pt x="912" y="736"/>
                    <a:pt x="912" y="736"/>
                  </a:cubicBezTo>
                  <a:cubicBezTo>
                    <a:pt x="919" y="728"/>
                    <a:pt x="919" y="728"/>
                    <a:pt x="919" y="728"/>
                  </a:cubicBezTo>
                  <a:cubicBezTo>
                    <a:pt x="898" y="708"/>
                    <a:pt x="898" y="708"/>
                    <a:pt x="898" y="708"/>
                  </a:cubicBezTo>
                  <a:cubicBezTo>
                    <a:pt x="902" y="705"/>
                    <a:pt x="909" y="713"/>
                    <a:pt x="912" y="717"/>
                  </a:cubicBezTo>
                  <a:cubicBezTo>
                    <a:pt x="916" y="721"/>
                    <a:pt x="931" y="721"/>
                    <a:pt x="931" y="721"/>
                  </a:cubicBezTo>
                  <a:cubicBezTo>
                    <a:pt x="931" y="714"/>
                    <a:pt x="931" y="714"/>
                    <a:pt x="931" y="714"/>
                  </a:cubicBezTo>
                  <a:cubicBezTo>
                    <a:pt x="931" y="714"/>
                    <a:pt x="924" y="713"/>
                    <a:pt x="920" y="709"/>
                  </a:cubicBezTo>
                  <a:cubicBezTo>
                    <a:pt x="917" y="709"/>
                    <a:pt x="920" y="706"/>
                    <a:pt x="917" y="698"/>
                  </a:cubicBezTo>
                  <a:cubicBezTo>
                    <a:pt x="917" y="694"/>
                    <a:pt x="895" y="678"/>
                    <a:pt x="895" y="678"/>
                  </a:cubicBezTo>
                  <a:cubicBezTo>
                    <a:pt x="914" y="682"/>
                    <a:pt x="914" y="682"/>
                    <a:pt x="914" y="682"/>
                  </a:cubicBezTo>
                  <a:cubicBezTo>
                    <a:pt x="918" y="682"/>
                    <a:pt x="918" y="682"/>
                    <a:pt x="918" y="682"/>
                  </a:cubicBezTo>
                  <a:cubicBezTo>
                    <a:pt x="918" y="682"/>
                    <a:pt x="924" y="706"/>
                    <a:pt x="935" y="710"/>
                  </a:cubicBezTo>
                  <a:cubicBezTo>
                    <a:pt x="950" y="715"/>
                    <a:pt x="951" y="699"/>
                    <a:pt x="951" y="699"/>
                  </a:cubicBezTo>
                  <a:cubicBezTo>
                    <a:pt x="962" y="700"/>
                    <a:pt x="962" y="700"/>
                    <a:pt x="962" y="700"/>
                  </a:cubicBezTo>
                  <a:cubicBezTo>
                    <a:pt x="962" y="688"/>
                    <a:pt x="962" y="688"/>
                    <a:pt x="962" y="688"/>
                  </a:cubicBezTo>
                  <a:cubicBezTo>
                    <a:pt x="970" y="681"/>
                    <a:pt x="970" y="681"/>
                    <a:pt x="970" y="681"/>
                  </a:cubicBezTo>
                  <a:cubicBezTo>
                    <a:pt x="967" y="677"/>
                    <a:pt x="967" y="677"/>
                    <a:pt x="967" y="677"/>
                  </a:cubicBezTo>
                  <a:cubicBezTo>
                    <a:pt x="951" y="688"/>
                    <a:pt x="951" y="688"/>
                    <a:pt x="951" y="688"/>
                  </a:cubicBezTo>
                  <a:cubicBezTo>
                    <a:pt x="948" y="684"/>
                    <a:pt x="948" y="684"/>
                    <a:pt x="948" y="684"/>
                  </a:cubicBezTo>
                  <a:cubicBezTo>
                    <a:pt x="951" y="680"/>
                    <a:pt x="951" y="680"/>
                    <a:pt x="951" y="680"/>
                  </a:cubicBezTo>
                  <a:cubicBezTo>
                    <a:pt x="948" y="676"/>
                    <a:pt x="948" y="676"/>
                    <a:pt x="948" y="676"/>
                  </a:cubicBezTo>
                  <a:cubicBezTo>
                    <a:pt x="963" y="669"/>
                    <a:pt x="963" y="669"/>
                    <a:pt x="963" y="669"/>
                  </a:cubicBezTo>
                  <a:cubicBezTo>
                    <a:pt x="963" y="666"/>
                    <a:pt x="963" y="666"/>
                    <a:pt x="963" y="666"/>
                  </a:cubicBezTo>
                  <a:cubicBezTo>
                    <a:pt x="945" y="665"/>
                    <a:pt x="945" y="665"/>
                    <a:pt x="945" y="665"/>
                  </a:cubicBezTo>
                  <a:cubicBezTo>
                    <a:pt x="938" y="653"/>
                    <a:pt x="938" y="653"/>
                    <a:pt x="938" y="653"/>
                  </a:cubicBezTo>
                  <a:cubicBezTo>
                    <a:pt x="956" y="658"/>
                    <a:pt x="956" y="658"/>
                    <a:pt x="956" y="658"/>
                  </a:cubicBezTo>
                  <a:cubicBezTo>
                    <a:pt x="956" y="658"/>
                    <a:pt x="971" y="662"/>
                    <a:pt x="972" y="651"/>
                  </a:cubicBezTo>
                  <a:cubicBezTo>
                    <a:pt x="976" y="639"/>
                    <a:pt x="938" y="638"/>
                    <a:pt x="938" y="638"/>
                  </a:cubicBezTo>
                  <a:cubicBezTo>
                    <a:pt x="935" y="634"/>
                    <a:pt x="935" y="634"/>
                    <a:pt x="935" y="634"/>
                  </a:cubicBezTo>
                  <a:cubicBezTo>
                    <a:pt x="957" y="635"/>
                    <a:pt x="957" y="635"/>
                    <a:pt x="957" y="635"/>
                  </a:cubicBezTo>
                  <a:cubicBezTo>
                    <a:pt x="965" y="635"/>
                    <a:pt x="962" y="623"/>
                    <a:pt x="962" y="623"/>
                  </a:cubicBezTo>
                  <a:cubicBezTo>
                    <a:pt x="962" y="623"/>
                    <a:pt x="969" y="628"/>
                    <a:pt x="976" y="628"/>
                  </a:cubicBezTo>
                  <a:cubicBezTo>
                    <a:pt x="984" y="628"/>
                    <a:pt x="985" y="613"/>
                    <a:pt x="985" y="613"/>
                  </a:cubicBezTo>
                  <a:cubicBezTo>
                    <a:pt x="992" y="606"/>
                    <a:pt x="992" y="606"/>
                    <a:pt x="992" y="606"/>
                  </a:cubicBezTo>
                  <a:cubicBezTo>
                    <a:pt x="996" y="606"/>
                    <a:pt x="993" y="587"/>
                    <a:pt x="993" y="587"/>
                  </a:cubicBezTo>
                  <a:cubicBezTo>
                    <a:pt x="982" y="590"/>
                    <a:pt x="982" y="590"/>
                    <a:pt x="982" y="590"/>
                  </a:cubicBezTo>
                  <a:cubicBezTo>
                    <a:pt x="982" y="578"/>
                    <a:pt x="982" y="578"/>
                    <a:pt x="982" y="578"/>
                  </a:cubicBezTo>
                  <a:cubicBezTo>
                    <a:pt x="979" y="578"/>
                    <a:pt x="979" y="578"/>
                    <a:pt x="979" y="578"/>
                  </a:cubicBezTo>
                  <a:cubicBezTo>
                    <a:pt x="986" y="571"/>
                    <a:pt x="986" y="571"/>
                    <a:pt x="986" y="571"/>
                  </a:cubicBezTo>
                  <a:cubicBezTo>
                    <a:pt x="983" y="567"/>
                    <a:pt x="983" y="567"/>
                    <a:pt x="983" y="567"/>
                  </a:cubicBezTo>
                  <a:cubicBezTo>
                    <a:pt x="983" y="567"/>
                    <a:pt x="965" y="558"/>
                    <a:pt x="954" y="543"/>
                  </a:cubicBezTo>
                  <a:cubicBezTo>
                    <a:pt x="947" y="527"/>
                    <a:pt x="959" y="516"/>
                    <a:pt x="959" y="516"/>
                  </a:cubicBezTo>
                  <a:cubicBezTo>
                    <a:pt x="915" y="506"/>
                    <a:pt x="915" y="506"/>
                    <a:pt x="915" y="506"/>
                  </a:cubicBezTo>
                  <a:cubicBezTo>
                    <a:pt x="919" y="495"/>
                    <a:pt x="919" y="495"/>
                    <a:pt x="919" y="495"/>
                  </a:cubicBezTo>
                  <a:cubicBezTo>
                    <a:pt x="911" y="495"/>
                    <a:pt x="911" y="495"/>
                    <a:pt x="911" y="495"/>
                  </a:cubicBezTo>
                  <a:cubicBezTo>
                    <a:pt x="911" y="495"/>
                    <a:pt x="915" y="487"/>
                    <a:pt x="923" y="488"/>
                  </a:cubicBezTo>
                  <a:cubicBezTo>
                    <a:pt x="931" y="484"/>
                    <a:pt x="934" y="484"/>
                    <a:pt x="946" y="473"/>
                  </a:cubicBezTo>
                  <a:cubicBezTo>
                    <a:pt x="961" y="467"/>
                    <a:pt x="958" y="447"/>
                    <a:pt x="955" y="443"/>
                  </a:cubicBezTo>
                  <a:cubicBezTo>
                    <a:pt x="952" y="435"/>
                    <a:pt x="944" y="443"/>
                    <a:pt x="936" y="442"/>
                  </a:cubicBezTo>
                  <a:cubicBezTo>
                    <a:pt x="932" y="442"/>
                    <a:pt x="925" y="434"/>
                    <a:pt x="925" y="434"/>
                  </a:cubicBezTo>
                  <a:cubicBezTo>
                    <a:pt x="925" y="434"/>
                    <a:pt x="929" y="431"/>
                    <a:pt x="930" y="423"/>
                  </a:cubicBezTo>
                  <a:cubicBezTo>
                    <a:pt x="930" y="415"/>
                    <a:pt x="919" y="411"/>
                    <a:pt x="919" y="411"/>
                  </a:cubicBezTo>
                  <a:cubicBezTo>
                    <a:pt x="919" y="411"/>
                    <a:pt x="949" y="409"/>
                    <a:pt x="953" y="405"/>
                  </a:cubicBezTo>
                  <a:cubicBezTo>
                    <a:pt x="957" y="397"/>
                    <a:pt x="958" y="386"/>
                    <a:pt x="958" y="386"/>
                  </a:cubicBezTo>
                  <a:cubicBezTo>
                    <a:pt x="1003" y="381"/>
                    <a:pt x="1003" y="381"/>
                    <a:pt x="1003" y="381"/>
                  </a:cubicBezTo>
                  <a:cubicBezTo>
                    <a:pt x="1003" y="381"/>
                    <a:pt x="992" y="376"/>
                    <a:pt x="984" y="376"/>
                  </a:cubicBezTo>
                  <a:cubicBezTo>
                    <a:pt x="981" y="372"/>
                    <a:pt x="988" y="368"/>
                    <a:pt x="977" y="364"/>
                  </a:cubicBezTo>
                  <a:cubicBezTo>
                    <a:pt x="970" y="360"/>
                    <a:pt x="954" y="378"/>
                    <a:pt x="946" y="382"/>
                  </a:cubicBezTo>
                  <a:cubicBezTo>
                    <a:pt x="935" y="385"/>
                    <a:pt x="939" y="374"/>
                    <a:pt x="928" y="377"/>
                  </a:cubicBezTo>
                  <a:cubicBezTo>
                    <a:pt x="913" y="376"/>
                    <a:pt x="916" y="392"/>
                    <a:pt x="912" y="395"/>
                  </a:cubicBezTo>
                  <a:cubicBezTo>
                    <a:pt x="908" y="395"/>
                    <a:pt x="905" y="384"/>
                    <a:pt x="906" y="376"/>
                  </a:cubicBezTo>
                  <a:cubicBezTo>
                    <a:pt x="902" y="372"/>
                    <a:pt x="895" y="368"/>
                    <a:pt x="895" y="368"/>
                  </a:cubicBezTo>
                  <a:cubicBezTo>
                    <a:pt x="899" y="360"/>
                    <a:pt x="899" y="360"/>
                    <a:pt x="899" y="360"/>
                  </a:cubicBezTo>
                  <a:cubicBezTo>
                    <a:pt x="892" y="356"/>
                    <a:pt x="892" y="356"/>
                    <a:pt x="892" y="356"/>
                  </a:cubicBezTo>
                  <a:cubicBezTo>
                    <a:pt x="892" y="356"/>
                    <a:pt x="903" y="349"/>
                    <a:pt x="907" y="338"/>
                  </a:cubicBezTo>
                  <a:cubicBezTo>
                    <a:pt x="915" y="330"/>
                    <a:pt x="893" y="318"/>
                    <a:pt x="893" y="318"/>
                  </a:cubicBezTo>
                  <a:cubicBezTo>
                    <a:pt x="893" y="318"/>
                    <a:pt x="905" y="311"/>
                    <a:pt x="898" y="291"/>
                  </a:cubicBezTo>
                  <a:cubicBezTo>
                    <a:pt x="891" y="276"/>
                    <a:pt x="872" y="290"/>
                    <a:pt x="872" y="290"/>
                  </a:cubicBezTo>
                  <a:cubicBezTo>
                    <a:pt x="872" y="290"/>
                    <a:pt x="862" y="274"/>
                    <a:pt x="854" y="274"/>
                  </a:cubicBezTo>
                  <a:cubicBezTo>
                    <a:pt x="847" y="274"/>
                    <a:pt x="846" y="293"/>
                    <a:pt x="845" y="300"/>
                  </a:cubicBezTo>
                  <a:cubicBezTo>
                    <a:pt x="845" y="308"/>
                    <a:pt x="837" y="311"/>
                    <a:pt x="837" y="311"/>
                  </a:cubicBezTo>
                  <a:cubicBezTo>
                    <a:pt x="837" y="311"/>
                    <a:pt x="836" y="334"/>
                    <a:pt x="832" y="342"/>
                  </a:cubicBezTo>
                  <a:cubicBezTo>
                    <a:pt x="825" y="345"/>
                    <a:pt x="817" y="345"/>
                    <a:pt x="817" y="345"/>
                  </a:cubicBezTo>
                  <a:cubicBezTo>
                    <a:pt x="814" y="341"/>
                    <a:pt x="814" y="341"/>
                    <a:pt x="814" y="341"/>
                  </a:cubicBezTo>
                  <a:cubicBezTo>
                    <a:pt x="802" y="340"/>
                    <a:pt x="802" y="340"/>
                    <a:pt x="802" y="340"/>
                  </a:cubicBezTo>
                  <a:cubicBezTo>
                    <a:pt x="802" y="340"/>
                    <a:pt x="795" y="344"/>
                    <a:pt x="791" y="347"/>
                  </a:cubicBezTo>
                  <a:cubicBezTo>
                    <a:pt x="787" y="347"/>
                    <a:pt x="776" y="339"/>
                    <a:pt x="776" y="339"/>
                  </a:cubicBezTo>
                  <a:cubicBezTo>
                    <a:pt x="781" y="324"/>
                    <a:pt x="781" y="324"/>
                    <a:pt x="781" y="324"/>
                  </a:cubicBezTo>
                  <a:cubicBezTo>
                    <a:pt x="781" y="324"/>
                    <a:pt x="774" y="312"/>
                    <a:pt x="762" y="316"/>
                  </a:cubicBezTo>
                  <a:cubicBezTo>
                    <a:pt x="747" y="315"/>
                    <a:pt x="747" y="322"/>
                    <a:pt x="747" y="330"/>
                  </a:cubicBezTo>
                  <a:cubicBezTo>
                    <a:pt x="743" y="334"/>
                    <a:pt x="732" y="333"/>
                    <a:pt x="732" y="333"/>
                  </a:cubicBezTo>
                  <a:cubicBezTo>
                    <a:pt x="731" y="337"/>
                    <a:pt x="731" y="337"/>
                    <a:pt x="731" y="337"/>
                  </a:cubicBezTo>
                  <a:cubicBezTo>
                    <a:pt x="720" y="352"/>
                    <a:pt x="720" y="352"/>
                    <a:pt x="720" y="352"/>
                  </a:cubicBezTo>
                  <a:cubicBezTo>
                    <a:pt x="720" y="352"/>
                    <a:pt x="716" y="344"/>
                    <a:pt x="709" y="340"/>
                  </a:cubicBezTo>
                  <a:cubicBezTo>
                    <a:pt x="705" y="336"/>
                    <a:pt x="701" y="339"/>
                    <a:pt x="701" y="339"/>
                  </a:cubicBezTo>
                  <a:cubicBezTo>
                    <a:pt x="699" y="305"/>
                    <a:pt x="699" y="305"/>
                    <a:pt x="699" y="305"/>
                  </a:cubicBezTo>
                  <a:cubicBezTo>
                    <a:pt x="696" y="301"/>
                    <a:pt x="696" y="301"/>
                    <a:pt x="696" y="301"/>
                  </a:cubicBezTo>
                  <a:cubicBezTo>
                    <a:pt x="696" y="289"/>
                    <a:pt x="696" y="289"/>
                    <a:pt x="696" y="289"/>
                  </a:cubicBezTo>
                  <a:cubicBezTo>
                    <a:pt x="682" y="281"/>
                    <a:pt x="682" y="281"/>
                    <a:pt x="682" y="281"/>
                  </a:cubicBezTo>
                  <a:cubicBezTo>
                    <a:pt x="675" y="273"/>
                    <a:pt x="675" y="273"/>
                    <a:pt x="675" y="273"/>
                  </a:cubicBezTo>
                  <a:cubicBezTo>
                    <a:pt x="675" y="273"/>
                    <a:pt x="660" y="272"/>
                    <a:pt x="655" y="295"/>
                  </a:cubicBezTo>
                  <a:cubicBezTo>
                    <a:pt x="646" y="318"/>
                    <a:pt x="654" y="322"/>
                    <a:pt x="654" y="322"/>
                  </a:cubicBezTo>
                  <a:cubicBezTo>
                    <a:pt x="646" y="325"/>
                    <a:pt x="646" y="325"/>
                    <a:pt x="646" y="325"/>
                  </a:cubicBezTo>
                  <a:cubicBezTo>
                    <a:pt x="646" y="329"/>
                    <a:pt x="646" y="329"/>
                    <a:pt x="646" y="329"/>
                  </a:cubicBezTo>
                  <a:cubicBezTo>
                    <a:pt x="653" y="329"/>
                    <a:pt x="653" y="329"/>
                    <a:pt x="653" y="329"/>
                  </a:cubicBezTo>
                  <a:cubicBezTo>
                    <a:pt x="649" y="348"/>
                    <a:pt x="649" y="348"/>
                    <a:pt x="649" y="348"/>
                  </a:cubicBezTo>
                  <a:cubicBezTo>
                    <a:pt x="633" y="371"/>
                    <a:pt x="633" y="371"/>
                    <a:pt x="633" y="371"/>
                  </a:cubicBezTo>
                  <a:cubicBezTo>
                    <a:pt x="632" y="382"/>
                    <a:pt x="632" y="382"/>
                    <a:pt x="632" y="382"/>
                  </a:cubicBezTo>
                  <a:cubicBezTo>
                    <a:pt x="624" y="389"/>
                    <a:pt x="624" y="389"/>
                    <a:pt x="624" y="389"/>
                  </a:cubicBezTo>
                  <a:cubicBezTo>
                    <a:pt x="628" y="382"/>
                    <a:pt x="628" y="382"/>
                    <a:pt x="628" y="382"/>
                  </a:cubicBezTo>
                  <a:cubicBezTo>
                    <a:pt x="629" y="367"/>
                    <a:pt x="629" y="367"/>
                    <a:pt x="629" y="367"/>
                  </a:cubicBezTo>
                  <a:cubicBezTo>
                    <a:pt x="629" y="367"/>
                    <a:pt x="629" y="359"/>
                    <a:pt x="633" y="355"/>
                  </a:cubicBezTo>
                  <a:cubicBezTo>
                    <a:pt x="637" y="352"/>
                    <a:pt x="638" y="344"/>
                    <a:pt x="638" y="344"/>
                  </a:cubicBezTo>
                  <a:cubicBezTo>
                    <a:pt x="635" y="313"/>
                    <a:pt x="635" y="313"/>
                    <a:pt x="635" y="313"/>
                  </a:cubicBezTo>
                  <a:cubicBezTo>
                    <a:pt x="635" y="313"/>
                    <a:pt x="624" y="305"/>
                    <a:pt x="625" y="301"/>
                  </a:cubicBezTo>
                  <a:cubicBezTo>
                    <a:pt x="625" y="294"/>
                    <a:pt x="633" y="290"/>
                    <a:pt x="633" y="283"/>
                  </a:cubicBezTo>
                  <a:cubicBezTo>
                    <a:pt x="637" y="279"/>
                    <a:pt x="633" y="271"/>
                    <a:pt x="633" y="271"/>
                  </a:cubicBezTo>
                  <a:cubicBezTo>
                    <a:pt x="638" y="264"/>
                    <a:pt x="638" y="264"/>
                    <a:pt x="638" y="264"/>
                  </a:cubicBezTo>
                  <a:cubicBezTo>
                    <a:pt x="634" y="256"/>
                    <a:pt x="634" y="256"/>
                    <a:pt x="634" y="256"/>
                  </a:cubicBezTo>
                  <a:cubicBezTo>
                    <a:pt x="627" y="256"/>
                    <a:pt x="627" y="256"/>
                    <a:pt x="627" y="256"/>
                  </a:cubicBezTo>
                  <a:cubicBezTo>
                    <a:pt x="631" y="248"/>
                    <a:pt x="631" y="248"/>
                    <a:pt x="631" y="248"/>
                  </a:cubicBezTo>
                  <a:cubicBezTo>
                    <a:pt x="627" y="244"/>
                    <a:pt x="627" y="244"/>
                    <a:pt x="627" y="244"/>
                  </a:cubicBezTo>
                  <a:cubicBezTo>
                    <a:pt x="616" y="251"/>
                    <a:pt x="616" y="251"/>
                    <a:pt x="616" y="251"/>
                  </a:cubicBezTo>
                  <a:cubicBezTo>
                    <a:pt x="616" y="251"/>
                    <a:pt x="620" y="240"/>
                    <a:pt x="609" y="239"/>
                  </a:cubicBezTo>
                  <a:cubicBezTo>
                    <a:pt x="601" y="235"/>
                    <a:pt x="597" y="250"/>
                    <a:pt x="590" y="250"/>
                  </a:cubicBezTo>
                  <a:cubicBezTo>
                    <a:pt x="582" y="253"/>
                    <a:pt x="579" y="246"/>
                    <a:pt x="571" y="241"/>
                  </a:cubicBezTo>
                  <a:cubicBezTo>
                    <a:pt x="560" y="241"/>
                    <a:pt x="556" y="252"/>
                    <a:pt x="556" y="256"/>
                  </a:cubicBezTo>
                  <a:cubicBezTo>
                    <a:pt x="552" y="260"/>
                    <a:pt x="548" y="256"/>
                    <a:pt x="540" y="263"/>
                  </a:cubicBezTo>
                  <a:cubicBezTo>
                    <a:pt x="536" y="270"/>
                    <a:pt x="543" y="282"/>
                    <a:pt x="539" y="293"/>
                  </a:cubicBezTo>
                  <a:cubicBezTo>
                    <a:pt x="535" y="305"/>
                    <a:pt x="520" y="308"/>
                    <a:pt x="520" y="308"/>
                  </a:cubicBezTo>
                  <a:cubicBezTo>
                    <a:pt x="520" y="300"/>
                    <a:pt x="520" y="300"/>
                    <a:pt x="520" y="300"/>
                  </a:cubicBezTo>
                  <a:cubicBezTo>
                    <a:pt x="516" y="300"/>
                    <a:pt x="516" y="300"/>
                    <a:pt x="516" y="300"/>
                  </a:cubicBezTo>
                  <a:cubicBezTo>
                    <a:pt x="509" y="303"/>
                    <a:pt x="509" y="303"/>
                    <a:pt x="509" y="303"/>
                  </a:cubicBezTo>
                  <a:cubicBezTo>
                    <a:pt x="505" y="296"/>
                    <a:pt x="505" y="296"/>
                    <a:pt x="505" y="296"/>
                  </a:cubicBezTo>
                  <a:cubicBezTo>
                    <a:pt x="505" y="296"/>
                    <a:pt x="513" y="277"/>
                    <a:pt x="514" y="269"/>
                  </a:cubicBezTo>
                  <a:cubicBezTo>
                    <a:pt x="518" y="266"/>
                    <a:pt x="507" y="257"/>
                    <a:pt x="507" y="257"/>
                  </a:cubicBezTo>
                  <a:cubicBezTo>
                    <a:pt x="507" y="257"/>
                    <a:pt x="507" y="246"/>
                    <a:pt x="511" y="239"/>
                  </a:cubicBezTo>
                  <a:cubicBezTo>
                    <a:pt x="512" y="219"/>
                    <a:pt x="512" y="219"/>
                    <a:pt x="512" y="219"/>
                  </a:cubicBezTo>
                  <a:cubicBezTo>
                    <a:pt x="512" y="219"/>
                    <a:pt x="516" y="212"/>
                    <a:pt x="517" y="204"/>
                  </a:cubicBezTo>
                  <a:cubicBezTo>
                    <a:pt x="517" y="201"/>
                    <a:pt x="510" y="196"/>
                    <a:pt x="510" y="196"/>
                  </a:cubicBezTo>
                  <a:cubicBezTo>
                    <a:pt x="510" y="193"/>
                    <a:pt x="510" y="193"/>
                    <a:pt x="510" y="193"/>
                  </a:cubicBezTo>
                  <a:cubicBezTo>
                    <a:pt x="502" y="200"/>
                    <a:pt x="502" y="200"/>
                    <a:pt x="502" y="200"/>
                  </a:cubicBezTo>
                  <a:cubicBezTo>
                    <a:pt x="498" y="196"/>
                    <a:pt x="498" y="196"/>
                    <a:pt x="498" y="196"/>
                  </a:cubicBezTo>
                  <a:cubicBezTo>
                    <a:pt x="491" y="196"/>
                    <a:pt x="491" y="196"/>
                    <a:pt x="491" y="196"/>
                  </a:cubicBezTo>
                  <a:cubicBezTo>
                    <a:pt x="487" y="199"/>
                    <a:pt x="487" y="199"/>
                    <a:pt x="487" y="199"/>
                  </a:cubicBezTo>
                  <a:cubicBezTo>
                    <a:pt x="487" y="195"/>
                    <a:pt x="487" y="195"/>
                    <a:pt x="487" y="195"/>
                  </a:cubicBezTo>
                  <a:cubicBezTo>
                    <a:pt x="484" y="195"/>
                    <a:pt x="484" y="195"/>
                    <a:pt x="484" y="195"/>
                  </a:cubicBezTo>
                  <a:cubicBezTo>
                    <a:pt x="483" y="203"/>
                    <a:pt x="483" y="203"/>
                    <a:pt x="483" y="203"/>
                  </a:cubicBezTo>
                  <a:cubicBezTo>
                    <a:pt x="475" y="210"/>
                    <a:pt x="475" y="210"/>
                    <a:pt x="475" y="210"/>
                  </a:cubicBezTo>
                  <a:cubicBezTo>
                    <a:pt x="475" y="218"/>
                    <a:pt x="475" y="218"/>
                    <a:pt x="475" y="218"/>
                  </a:cubicBezTo>
                  <a:cubicBezTo>
                    <a:pt x="475" y="218"/>
                    <a:pt x="471" y="233"/>
                    <a:pt x="463" y="244"/>
                  </a:cubicBezTo>
                  <a:cubicBezTo>
                    <a:pt x="454" y="259"/>
                    <a:pt x="454" y="278"/>
                    <a:pt x="454" y="278"/>
                  </a:cubicBezTo>
                  <a:cubicBezTo>
                    <a:pt x="442" y="289"/>
                    <a:pt x="442" y="289"/>
                    <a:pt x="442" y="289"/>
                  </a:cubicBezTo>
                  <a:cubicBezTo>
                    <a:pt x="438" y="289"/>
                    <a:pt x="438" y="289"/>
                    <a:pt x="438" y="289"/>
                  </a:cubicBezTo>
                  <a:cubicBezTo>
                    <a:pt x="427" y="296"/>
                    <a:pt x="427" y="296"/>
                    <a:pt x="427" y="296"/>
                  </a:cubicBezTo>
                  <a:cubicBezTo>
                    <a:pt x="415" y="295"/>
                    <a:pt x="415" y="295"/>
                    <a:pt x="415" y="295"/>
                  </a:cubicBezTo>
                  <a:cubicBezTo>
                    <a:pt x="415" y="299"/>
                    <a:pt x="415" y="299"/>
                    <a:pt x="415" y="299"/>
                  </a:cubicBezTo>
                  <a:cubicBezTo>
                    <a:pt x="415" y="299"/>
                    <a:pt x="411" y="310"/>
                    <a:pt x="403" y="310"/>
                  </a:cubicBezTo>
                  <a:cubicBezTo>
                    <a:pt x="396" y="306"/>
                    <a:pt x="408" y="287"/>
                    <a:pt x="408" y="287"/>
                  </a:cubicBezTo>
                  <a:cubicBezTo>
                    <a:pt x="401" y="287"/>
                    <a:pt x="401" y="287"/>
                    <a:pt x="401" y="287"/>
                  </a:cubicBezTo>
                  <a:cubicBezTo>
                    <a:pt x="417" y="268"/>
                    <a:pt x="417" y="268"/>
                    <a:pt x="417" y="268"/>
                  </a:cubicBezTo>
                  <a:cubicBezTo>
                    <a:pt x="409" y="260"/>
                    <a:pt x="409" y="260"/>
                    <a:pt x="409" y="260"/>
                  </a:cubicBezTo>
                  <a:cubicBezTo>
                    <a:pt x="398" y="264"/>
                    <a:pt x="398" y="264"/>
                    <a:pt x="398" y="264"/>
                  </a:cubicBezTo>
                  <a:cubicBezTo>
                    <a:pt x="398" y="271"/>
                    <a:pt x="398" y="271"/>
                    <a:pt x="398" y="271"/>
                  </a:cubicBezTo>
                  <a:cubicBezTo>
                    <a:pt x="383" y="271"/>
                    <a:pt x="383" y="271"/>
                    <a:pt x="383" y="271"/>
                  </a:cubicBezTo>
                  <a:cubicBezTo>
                    <a:pt x="375" y="270"/>
                    <a:pt x="371" y="278"/>
                    <a:pt x="371" y="278"/>
                  </a:cubicBezTo>
                  <a:cubicBezTo>
                    <a:pt x="371" y="278"/>
                    <a:pt x="367" y="281"/>
                    <a:pt x="363" y="289"/>
                  </a:cubicBezTo>
                  <a:cubicBezTo>
                    <a:pt x="359" y="296"/>
                    <a:pt x="354" y="319"/>
                    <a:pt x="354" y="319"/>
                  </a:cubicBezTo>
                  <a:cubicBezTo>
                    <a:pt x="347" y="315"/>
                    <a:pt x="347" y="315"/>
                    <a:pt x="347" y="315"/>
                  </a:cubicBezTo>
                  <a:cubicBezTo>
                    <a:pt x="352" y="300"/>
                    <a:pt x="352" y="300"/>
                    <a:pt x="352" y="300"/>
                  </a:cubicBezTo>
                  <a:cubicBezTo>
                    <a:pt x="356" y="289"/>
                    <a:pt x="356" y="289"/>
                    <a:pt x="356" y="289"/>
                  </a:cubicBezTo>
                  <a:cubicBezTo>
                    <a:pt x="344" y="292"/>
                    <a:pt x="344" y="292"/>
                    <a:pt x="344" y="292"/>
                  </a:cubicBezTo>
                  <a:cubicBezTo>
                    <a:pt x="340" y="311"/>
                    <a:pt x="340" y="311"/>
                    <a:pt x="340" y="311"/>
                  </a:cubicBezTo>
                  <a:cubicBezTo>
                    <a:pt x="340" y="311"/>
                    <a:pt x="332" y="318"/>
                    <a:pt x="328" y="322"/>
                  </a:cubicBezTo>
                  <a:cubicBezTo>
                    <a:pt x="324" y="325"/>
                    <a:pt x="323" y="341"/>
                    <a:pt x="323" y="341"/>
                  </a:cubicBezTo>
                  <a:cubicBezTo>
                    <a:pt x="316" y="348"/>
                    <a:pt x="316" y="348"/>
                    <a:pt x="316" y="348"/>
                  </a:cubicBezTo>
                  <a:cubicBezTo>
                    <a:pt x="316" y="348"/>
                    <a:pt x="317" y="329"/>
                    <a:pt x="321" y="317"/>
                  </a:cubicBezTo>
                  <a:cubicBezTo>
                    <a:pt x="321" y="306"/>
                    <a:pt x="337" y="295"/>
                    <a:pt x="337" y="295"/>
                  </a:cubicBezTo>
                  <a:cubicBezTo>
                    <a:pt x="342" y="273"/>
                    <a:pt x="342" y="273"/>
                    <a:pt x="342" y="273"/>
                  </a:cubicBezTo>
                  <a:cubicBezTo>
                    <a:pt x="327" y="268"/>
                    <a:pt x="327" y="268"/>
                    <a:pt x="327" y="268"/>
                  </a:cubicBezTo>
                  <a:cubicBezTo>
                    <a:pt x="342" y="265"/>
                    <a:pt x="342" y="265"/>
                    <a:pt x="342" y="265"/>
                  </a:cubicBezTo>
                  <a:cubicBezTo>
                    <a:pt x="350" y="250"/>
                    <a:pt x="350" y="250"/>
                    <a:pt x="350" y="250"/>
                  </a:cubicBezTo>
                  <a:cubicBezTo>
                    <a:pt x="335" y="245"/>
                    <a:pt x="335" y="245"/>
                    <a:pt x="335" y="245"/>
                  </a:cubicBezTo>
                  <a:cubicBezTo>
                    <a:pt x="347" y="242"/>
                    <a:pt x="347" y="242"/>
                    <a:pt x="347" y="242"/>
                  </a:cubicBezTo>
                  <a:cubicBezTo>
                    <a:pt x="351" y="235"/>
                    <a:pt x="351" y="235"/>
                    <a:pt x="351" y="235"/>
                  </a:cubicBezTo>
                  <a:cubicBezTo>
                    <a:pt x="351" y="235"/>
                    <a:pt x="336" y="230"/>
                    <a:pt x="333" y="222"/>
                  </a:cubicBezTo>
                  <a:cubicBezTo>
                    <a:pt x="329" y="215"/>
                    <a:pt x="333" y="215"/>
                    <a:pt x="337" y="211"/>
                  </a:cubicBezTo>
                  <a:cubicBezTo>
                    <a:pt x="338" y="196"/>
                    <a:pt x="338" y="196"/>
                    <a:pt x="338" y="196"/>
                  </a:cubicBezTo>
                  <a:cubicBezTo>
                    <a:pt x="341" y="196"/>
                    <a:pt x="341" y="196"/>
                    <a:pt x="341" y="196"/>
                  </a:cubicBezTo>
                  <a:cubicBezTo>
                    <a:pt x="341" y="196"/>
                    <a:pt x="341" y="211"/>
                    <a:pt x="344" y="215"/>
                  </a:cubicBezTo>
                  <a:cubicBezTo>
                    <a:pt x="344" y="223"/>
                    <a:pt x="355" y="223"/>
                    <a:pt x="359" y="224"/>
                  </a:cubicBezTo>
                  <a:cubicBezTo>
                    <a:pt x="366" y="224"/>
                    <a:pt x="363" y="212"/>
                    <a:pt x="363" y="212"/>
                  </a:cubicBezTo>
                  <a:cubicBezTo>
                    <a:pt x="363" y="212"/>
                    <a:pt x="370" y="217"/>
                    <a:pt x="390" y="198"/>
                  </a:cubicBezTo>
                  <a:cubicBezTo>
                    <a:pt x="409" y="180"/>
                    <a:pt x="372" y="171"/>
                    <a:pt x="376" y="167"/>
                  </a:cubicBezTo>
                  <a:cubicBezTo>
                    <a:pt x="377" y="159"/>
                    <a:pt x="399" y="168"/>
                    <a:pt x="399" y="168"/>
                  </a:cubicBezTo>
                  <a:cubicBezTo>
                    <a:pt x="399" y="161"/>
                    <a:pt x="399" y="161"/>
                    <a:pt x="399" y="161"/>
                  </a:cubicBezTo>
                  <a:cubicBezTo>
                    <a:pt x="392" y="153"/>
                    <a:pt x="392" y="153"/>
                    <a:pt x="392" y="153"/>
                  </a:cubicBezTo>
                  <a:cubicBezTo>
                    <a:pt x="396" y="141"/>
                    <a:pt x="396" y="141"/>
                    <a:pt x="396" y="141"/>
                  </a:cubicBezTo>
                  <a:cubicBezTo>
                    <a:pt x="389" y="141"/>
                    <a:pt x="389" y="141"/>
                    <a:pt x="389" y="141"/>
                  </a:cubicBezTo>
                  <a:cubicBezTo>
                    <a:pt x="381" y="152"/>
                    <a:pt x="381" y="152"/>
                    <a:pt x="381" y="152"/>
                  </a:cubicBezTo>
                  <a:cubicBezTo>
                    <a:pt x="381" y="141"/>
                    <a:pt x="381" y="141"/>
                    <a:pt x="381" y="141"/>
                  </a:cubicBezTo>
                  <a:cubicBezTo>
                    <a:pt x="378" y="137"/>
                    <a:pt x="386" y="129"/>
                    <a:pt x="390" y="122"/>
                  </a:cubicBezTo>
                  <a:cubicBezTo>
                    <a:pt x="394" y="111"/>
                    <a:pt x="383" y="110"/>
                    <a:pt x="379" y="102"/>
                  </a:cubicBezTo>
                  <a:cubicBezTo>
                    <a:pt x="376" y="94"/>
                    <a:pt x="384" y="87"/>
                    <a:pt x="384" y="87"/>
                  </a:cubicBezTo>
                  <a:cubicBezTo>
                    <a:pt x="373" y="83"/>
                    <a:pt x="373" y="83"/>
                    <a:pt x="373" y="83"/>
                  </a:cubicBezTo>
                  <a:cubicBezTo>
                    <a:pt x="373" y="71"/>
                    <a:pt x="373" y="71"/>
                    <a:pt x="373" y="71"/>
                  </a:cubicBezTo>
                  <a:cubicBezTo>
                    <a:pt x="366" y="71"/>
                    <a:pt x="366" y="71"/>
                    <a:pt x="366" y="71"/>
                  </a:cubicBezTo>
                  <a:cubicBezTo>
                    <a:pt x="366" y="71"/>
                    <a:pt x="370" y="64"/>
                    <a:pt x="374" y="60"/>
                  </a:cubicBezTo>
                  <a:cubicBezTo>
                    <a:pt x="382" y="53"/>
                    <a:pt x="367" y="44"/>
                    <a:pt x="367" y="44"/>
                  </a:cubicBezTo>
                  <a:cubicBezTo>
                    <a:pt x="375" y="29"/>
                    <a:pt x="375" y="29"/>
                    <a:pt x="375" y="29"/>
                  </a:cubicBezTo>
                  <a:cubicBezTo>
                    <a:pt x="372" y="22"/>
                    <a:pt x="372" y="22"/>
                    <a:pt x="372" y="22"/>
                  </a:cubicBezTo>
                  <a:cubicBezTo>
                    <a:pt x="364" y="36"/>
                    <a:pt x="364" y="36"/>
                    <a:pt x="364" y="36"/>
                  </a:cubicBezTo>
                  <a:cubicBezTo>
                    <a:pt x="357" y="21"/>
                    <a:pt x="357" y="21"/>
                    <a:pt x="357" y="21"/>
                  </a:cubicBezTo>
                  <a:cubicBezTo>
                    <a:pt x="349" y="24"/>
                    <a:pt x="349" y="24"/>
                    <a:pt x="349" y="24"/>
                  </a:cubicBezTo>
                  <a:cubicBezTo>
                    <a:pt x="335" y="1"/>
                    <a:pt x="335" y="1"/>
                    <a:pt x="335" y="1"/>
                  </a:cubicBezTo>
                  <a:cubicBezTo>
                    <a:pt x="328" y="0"/>
                    <a:pt x="328" y="0"/>
                    <a:pt x="328" y="0"/>
                  </a:cubicBezTo>
                  <a:cubicBezTo>
                    <a:pt x="327" y="12"/>
                    <a:pt x="327" y="12"/>
                    <a:pt x="327" y="12"/>
                  </a:cubicBezTo>
                  <a:cubicBezTo>
                    <a:pt x="316" y="4"/>
                    <a:pt x="316" y="4"/>
                    <a:pt x="316" y="4"/>
                  </a:cubicBezTo>
                  <a:cubicBezTo>
                    <a:pt x="313" y="3"/>
                    <a:pt x="313" y="3"/>
                    <a:pt x="313" y="3"/>
                  </a:cubicBezTo>
                  <a:cubicBezTo>
                    <a:pt x="313" y="3"/>
                    <a:pt x="316" y="19"/>
                    <a:pt x="308" y="19"/>
                  </a:cubicBezTo>
                  <a:cubicBezTo>
                    <a:pt x="304" y="22"/>
                    <a:pt x="301" y="11"/>
                    <a:pt x="301" y="11"/>
                  </a:cubicBezTo>
                  <a:cubicBezTo>
                    <a:pt x="294" y="10"/>
                    <a:pt x="294" y="10"/>
                    <a:pt x="294" y="10"/>
                  </a:cubicBezTo>
                  <a:cubicBezTo>
                    <a:pt x="294" y="10"/>
                    <a:pt x="293" y="22"/>
                    <a:pt x="304" y="30"/>
                  </a:cubicBezTo>
                  <a:cubicBezTo>
                    <a:pt x="315" y="38"/>
                    <a:pt x="326" y="31"/>
                    <a:pt x="326" y="31"/>
                  </a:cubicBezTo>
                  <a:cubicBezTo>
                    <a:pt x="322" y="38"/>
                    <a:pt x="322" y="38"/>
                    <a:pt x="322" y="38"/>
                  </a:cubicBezTo>
                  <a:cubicBezTo>
                    <a:pt x="326" y="39"/>
                    <a:pt x="326" y="39"/>
                    <a:pt x="326" y="39"/>
                  </a:cubicBezTo>
                  <a:cubicBezTo>
                    <a:pt x="341" y="35"/>
                    <a:pt x="341" y="35"/>
                    <a:pt x="341" y="35"/>
                  </a:cubicBezTo>
                  <a:cubicBezTo>
                    <a:pt x="329" y="46"/>
                    <a:pt x="329" y="46"/>
                    <a:pt x="329" y="46"/>
                  </a:cubicBezTo>
                  <a:cubicBezTo>
                    <a:pt x="333" y="54"/>
                    <a:pt x="333" y="54"/>
                    <a:pt x="333" y="54"/>
                  </a:cubicBezTo>
                  <a:cubicBezTo>
                    <a:pt x="344" y="55"/>
                    <a:pt x="344" y="55"/>
                    <a:pt x="344" y="55"/>
                  </a:cubicBezTo>
                  <a:cubicBezTo>
                    <a:pt x="340" y="58"/>
                    <a:pt x="340" y="58"/>
                    <a:pt x="340" y="58"/>
                  </a:cubicBezTo>
                  <a:cubicBezTo>
                    <a:pt x="340" y="58"/>
                    <a:pt x="343" y="70"/>
                    <a:pt x="340" y="66"/>
                  </a:cubicBezTo>
                  <a:cubicBezTo>
                    <a:pt x="332" y="62"/>
                    <a:pt x="325" y="61"/>
                    <a:pt x="322" y="54"/>
                  </a:cubicBezTo>
                  <a:cubicBezTo>
                    <a:pt x="318" y="46"/>
                    <a:pt x="307" y="45"/>
                    <a:pt x="299" y="49"/>
                  </a:cubicBezTo>
                  <a:cubicBezTo>
                    <a:pt x="288" y="56"/>
                    <a:pt x="305" y="80"/>
                    <a:pt x="309" y="84"/>
                  </a:cubicBezTo>
                  <a:cubicBezTo>
                    <a:pt x="313" y="88"/>
                    <a:pt x="323" y="103"/>
                    <a:pt x="323" y="103"/>
                  </a:cubicBezTo>
                  <a:cubicBezTo>
                    <a:pt x="323" y="103"/>
                    <a:pt x="315" y="107"/>
                    <a:pt x="312" y="110"/>
                  </a:cubicBezTo>
                  <a:cubicBezTo>
                    <a:pt x="308" y="114"/>
                    <a:pt x="311" y="122"/>
                    <a:pt x="307" y="133"/>
                  </a:cubicBezTo>
                  <a:cubicBezTo>
                    <a:pt x="306" y="145"/>
                    <a:pt x="291" y="152"/>
                    <a:pt x="291" y="152"/>
                  </a:cubicBezTo>
                  <a:cubicBezTo>
                    <a:pt x="287" y="148"/>
                    <a:pt x="287" y="148"/>
                    <a:pt x="287" y="148"/>
                  </a:cubicBezTo>
                  <a:cubicBezTo>
                    <a:pt x="287" y="148"/>
                    <a:pt x="299" y="137"/>
                    <a:pt x="300" y="121"/>
                  </a:cubicBezTo>
                  <a:cubicBezTo>
                    <a:pt x="300" y="110"/>
                    <a:pt x="280" y="136"/>
                    <a:pt x="280" y="136"/>
                  </a:cubicBezTo>
                  <a:cubicBezTo>
                    <a:pt x="281" y="132"/>
                    <a:pt x="281" y="132"/>
                    <a:pt x="281" y="132"/>
                  </a:cubicBezTo>
                  <a:cubicBezTo>
                    <a:pt x="296" y="114"/>
                    <a:pt x="296" y="114"/>
                    <a:pt x="296" y="114"/>
                  </a:cubicBezTo>
                  <a:cubicBezTo>
                    <a:pt x="293" y="102"/>
                    <a:pt x="293" y="102"/>
                    <a:pt x="293" y="102"/>
                  </a:cubicBezTo>
                  <a:cubicBezTo>
                    <a:pt x="297" y="94"/>
                    <a:pt x="297" y="94"/>
                    <a:pt x="297" y="94"/>
                  </a:cubicBezTo>
                  <a:cubicBezTo>
                    <a:pt x="290" y="94"/>
                    <a:pt x="290" y="94"/>
                    <a:pt x="290" y="94"/>
                  </a:cubicBezTo>
                  <a:cubicBezTo>
                    <a:pt x="270" y="116"/>
                    <a:pt x="270" y="116"/>
                    <a:pt x="270" y="116"/>
                  </a:cubicBezTo>
                  <a:cubicBezTo>
                    <a:pt x="278" y="101"/>
                    <a:pt x="278" y="101"/>
                    <a:pt x="278" y="101"/>
                  </a:cubicBezTo>
                  <a:cubicBezTo>
                    <a:pt x="275" y="101"/>
                    <a:pt x="275" y="101"/>
                    <a:pt x="275" y="101"/>
                  </a:cubicBezTo>
                  <a:cubicBezTo>
                    <a:pt x="267" y="105"/>
                    <a:pt x="267" y="105"/>
                    <a:pt x="267" y="105"/>
                  </a:cubicBezTo>
                  <a:cubicBezTo>
                    <a:pt x="275" y="93"/>
                    <a:pt x="275" y="93"/>
                    <a:pt x="275" y="93"/>
                  </a:cubicBezTo>
                  <a:cubicBezTo>
                    <a:pt x="271" y="89"/>
                    <a:pt x="271" y="89"/>
                    <a:pt x="271" y="89"/>
                  </a:cubicBezTo>
                  <a:cubicBezTo>
                    <a:pt x="260" y="93"/>
                    <a:pt x="260" y="93"/>
                    <a:pt x="260" y="93"/>
                  </a:cubicBezTo>
                  <a:cubicBezTo>
                    <a:pt x="276" y="78"/>
                    <a:pt x="276" y="78"/>
                    <a:pt x="276" y="78"/>
                  </a:cubicBezTo>
                  <a:cubicBezTo>
                    <a:pt x="276" y="71"/>
                    <a:pt x="276" y="71"/>
                    <a:pt x="276" y="71"/>
                  </a:cubicBezTo>
                  <a:cubicBezTo>
                    <a:pt x="276" y="71"/>
                    <a:pt x="264" y="78"/>
                    <a:pt x="261" y="74"/>
                  </a:cubicBezTo>
                  <a:cubicBezTo>
                    <a:pt x="261" y="70"/>
                    <a:pt x="272" y="67"/>
                    <a:pt x="272" y="67"/>
                  </a:cubicBezTo>
                  <a:cubicBezTo>
                    <a:pt x="269" y="55"/>
                    <a:pt x="269" y="55"/>
                    <a:pt x="269" y="55"/>
                  </a:cubicBezTo>
                  <a:cubicBezTo>
                    <a:pt x="270" y="43"/>
                    <a:pt x="270" y="43"/>
                    <a:pt x="270" y="43"/>
                  </a:cubicBezTo>
                  <a:cubicBezTo>
                    <a:pt x="270" y="43"/>
                    <a:pt x="263" y="32"/>
                    <a:pt x="248" y="31"/>
                  </a:cubicBezTo>
                  <a:cubicBezTo>
                    <a:pt x="233" y="34"/>
                    <a:pt x="251" y="46"/>
                    <a:pt x="251" y="46"/>
                  </a:cubicBezTo>
                  <a:cubicBezTo>
                    <a:pt x="251" y="46"/>
                    <a:pt x="244" y="42"/>
                    <a:pt x="236" y="42"/>
                  </a:cubicBezTo>
                  <a:cubicBezTo>
                    <a:pt x="232" y="42"/>
                    <a:pt x="229" y="41"/>
                    <a:pt x="236" y="53"/>
                  </a:cubicBezTo>
                  <a:cubicBezTo>
                    <a:pt x="239" y="69"/>
                    <a:pt x="242" y="73"/>
                    <a:pt x="238" y="73"/>
                  </a:cubicBezTo>
                  <a:cubicBezTo>
                    <a:pt x="235" y="76"/>
                    <a:pt x="231" y="68"/>
                    <a:pt x="228" y="61"/>
                  </a:cubicBezTo>
                  <a:cubicBezTo>
                    <a:pt x="225" y="49"/>
                    <a:pt x="217" y="41"/>
                    <a:pt x="210" y="44"/>
                  </a:cubicBezTo>
                  <a:cubicBezTo>
                    <a:pt x="198" y="52"/>
                    <a:pt x="209" y="71"/>
                    <a:pt x="208" y="75"/>
                  </a:cubicBezTo>
                  <a:cubicBezTo>
                    <a:pt x="212" y="83"/>
                    <a:pt x="204" y="82"/>
                    <a:pt x="204" y="82"/>
                  </a:cubicBezTo>
                  <a:cubicBezTo>
                    <a:pt x="211" y="90"/>
                    <a:pt x="211" y="90"/>
                    <a:pt x="211" y="90"/>
                  </a:cubicBezTo>
                  <a:cubicBezTo>
                    <a:pt x="219" y="91"/>
                    <a:pt x="219" y="91"/>
                    <a:pt x="219" y="91"/>
                  </a:cubicBezTo>
                  <a:cubicBezTo>
                    <a:pt x="222" y="106"/>
                    <a:pt x="222" y="106"/>
                    <a:pt x="222" y="106"/>
                  </a:cubicBezTo>
                  <a:cubicBezTo>
                    <a:pt x="222" y="106"/>
                    <a:pt x="197" y="78"/>
                    <a:pt x="186" y="70"/>
                  </a:cubicBezTo>
                  <a:cubicBezTo>
                    <a:pt x="179" y="66"/>
                    <a:pt x="177" y="96"/>
                    <a:pt x="188" y="108"/>
                  </a:cubicBezTo>
                  <a:cubicBezTo>
                    <a:pt x="199" y="124"/>
                    <a:pt x="221" y="125"/>
                    <a:pt x="221" y="125"/>
                  </a:cubicBezTo>
                  <a:cubicBezTo>
                    <a:pt x="217" y="133"/>
                    <a:pt x="217" y="133"/>
                    <a:pt x="217" y="133"/>
                  </a:cubicBezTo>
                  <a:cubicBezTo>
                    <a:pt x="187" y="124"/>
                    <a:pt x="187" y="124"/>
                    <a:pt x="187" y="124"/>
                  </a:cubicBezTo>
                  <a:cubicBezTo>
                    <a:pt x="191" y="135"/>
                    <a:pt x="191" y="135"/>
                    <a:pt x="191" y="135"/>
                  </a:cubicBezTo>
                  <a:cubicBezTo>
                    <a:pt x="202" y="143"/>
                    <a:pt x="202" y="143"/>
                    <a:pt x="202" y="143"/>
                  </a:cubicBezTo>
                  <a:cubicBezTo>
                    <a:pt x="187" y="143"/>
                    <a:pt x="187" y="143"/>
                    <a:pt x="187" y="143"/>
                  </a:cubicBezTo>
                  <a:cubicBezTo>
                    <a:pt x="183" y="139"/>
                    <a:pt x="183" y="139"/>
                    <a:pt x="183" y="139"/>
                  </a:cubicBezTo>
                  <a:cubicBezTo>
                    <a:pt x="172" y="142"/>
                    <a:pt x="172" y="142"/>
                    <a:pt x="172" y="142"/>
                  </a:cubicBezTo>
                  <a:cubicBezTo>
                    <a:pt x="172" y="142"/>
                    <a:pt x="176" y="138"/>
                    <a:pt x="180" y="127"/>
                  </a:cubicBezTo>
                  <a:cubicBezTo>
                    <a:pt x="180" y="116"/>
                    <a:pt x="152" y="76"/>
                    <a:pt x="152" y="76"/>
                  </a:cubicBezTo>
                  <a:cubicBezTo>
                    <a:pt x="152" y="76"/>
                    <a:pt x="144" y="83"/>
                    <a:pt x="144" y="95"/>
                  </a:cubicBezTo>
                  <a:cubicBezTo>
                    <a:pt x="143" y="106"/>
                    <a:pt x="150" y="126"/>
                    <a:pt x="150" y="126"/>
                  </a:cubicBezTo>
                  <a:cubicBezTo>
                    <a:pt x="136" y="106"/>
                    <a:pt x="136" y="106"/>
                    <a:pt x="136" y="106"/>
                  </a:cubicBezTo>
                  <a:cubicBezTo>
                    <a:pt x="135" y="129"/>
                    <a:pt x="135" y="129"/>
                    <a:pt x="135" y="129"/>
                  </a:cubicBezTo>
                  <a:cubicBezTo>
                    <a:pt x="138" y="137"/>
                    <a:pt x="145" y="145"/>
                    <a:pt x="145" y="145"/>
                  </a:cubicBezTo>
                  <a:cubicBezTo>
                    <a:pt x="134" y="144"/>
                    <a:pt x="134" y="144"/>
                    <a:pt x="134" y="144"/>
                  </a:cubicBezTo>
                  <a:cubicBezTo>
                    <a:pt x="130" y="144"/>
                    <a:pt x="131" y="132"/>
                    <a:pt x="131" y="129"/>
                  </a:cubicBezTo>
                  <a:cubicBezTo>
                    <a:pt x="131" y="125"/>
                    <a:pt x="124" y="128"/>
                    <a:pt x="124" y="121"/>
                  </a:cubicBezTo>
                  <a:cubicBezTo>
                    <a:pt x="124" y="113"/>
                    <a:pt x="125" y="102"/>
                    <a:pt x="114" y="97"/>
                  </a:cubicBezTo>
                  <a:cubicBezTo>
                    <a:pt x="103" y="93"/>
                    <a:pt x="98" y="108"/>
                    <a:pt x="94" y="112"/>
                  </a:cubicBezTo>
                  <a:cubicBezTo>
                    <a:pt x="91" y="115"/>
                    <a:pt x="83" y="115"/>
                    <a:pt x="79" y="119"/>
                  </a:cubicBezTo>
                  <a:cubicBezTo>
                    <a:pt x="75" y="122"/>
                    <a:pt x="86" y="123"/>
                    <a:pt x="98" y="127"/>
                  </a:cubicBezTo>
                  <a:cubicBezTo>
                    <a:pt x="105" y="127"/>
                    <a:pt x="105" y="135"/>
                    <a:pt x="108" y="139"/>
                  </a:cubicBezTo>
                  <a:cubicBezTo>
                    <a:pt x="119" y="151"/>
                    <a:pt x="119" y="151"/>
                    <a:pt x="119" y="151"/>
                  </a:cubicBezTo>
                  <a:cubicBezTo>
                    <a:pt x="111" y="158"/>
                    <a:pt x="111" y="158"/>
                    <a:pt x="111" y="158"/>
                  </a:cubicBezTo>
                  <a:cubicBezTo>
                    <a:pt x="111" y="158"/>
                    <a:pt x="107" y="162"/>
                    <a:pt x="122" y="166"/>
                  </a:cubicBezTo>
                  <a:cubicBezTo>
                    <a:pt x="133" y="175"/>
                    <a:pt x="144" y="164"/>
                    <a:pt x="159" y="168"/>
                  </a:cubicBezTo>
                  <a:cubicBezTo>
                    <a:pt x="174" y="173"/>
                    <a:pt x="177" y="181"/>
                    <a:pt x="185" y="181"/>
                  </a:cubicBezTo>
                  <a:cubicBezTo>
                    <a:pt x="189" y="181"/>
                    <a:pt x="197" y="166"/>
                    <a:pt x="197" y="166"/>
                  </a:cubicBezTo>
                  <a:cubicBezTo>
                    <a:pt x="196" y="174"/>
                    <a:pt x="196" y="174"/>
                    <a:pt x="196" y="174"/>
                  </a:cubicBezTo>
                  <a:cubicBezTo>
                    <a:pt x="203" y="182"/>
                    <a:pt x="203" y="182"/>
                    <a:pt x="203" y="182"/>
                  </a:cubicBezTo>
                  <a:cubicBezTo>
                    <a:pt x="219" y="171"/>
                    <a:pt x="219" y="171"/>
                    <a:pt x="219" y="171"/>
                  </a:cubicBezTo>
                  <a:cubicBezTo>
                    <a:pt x="218" y="183"/>
                    <a:pt x="218" y="183"/>
                    <a:pt x="218" y="183"/>
                  </a:cubicBezTo>
                  <a:cubicBezTo>
                    <a:pt x="226" y="175"/>
                    <a:pt x="226" y="175"/>
                    <a:pt x="226" y="175"/>
                  </a:cubicBezTo>
                  <a:cubicBezTo>
                    <a:pt x="237" y="180"/>
                    <a:pt x="237" y="180"/>
                    <a:pt x="237" y="180"/>
                  </a:cubicBezTo>
                  <a:cubicBezTo>
                    <a:pt x="229" y="202"/>
                    <a:pt x="229" y="202"/>
                    <a:pt x="229" y="202"/>
                  </a:cubicBezTo>
                  <a:cubicBezTo>
                    <a:pt x="240" y="195"/>
                    <a:pt x="240" y="195"/>
                    <a:pt x="240" y="195"/>
                  </a:cubicBezTo>
                  <a:cubicBezTo>
                    <a:pt x="244" y="199"/>
                    <a:pt x="244" y="199"/>
                    <a:pt x="244" y="199"/>
                  </a:cubicBezTo>
                  <a:cubicBezTo>
                    <a:pt x="252" y="192"/>
                    <a:pt x="252" y="192"/>
                    <a:pt x="252" y="192"/>
                  </a:cubicBezTo>
                  <a:cubicBezTo>
                    <a:pt x="247" y="218"/>
                    <a:pt x="247" y="218"/>
                    <a:pt x="247" y="218"/>
                  </a:cubicBezTo>
                  <a:cubicBezTo>
                    <a:pt x="277" y="220"/>
                    <a:pt x="277" y="220"/>
                    <a:pt x="277" y="220"/>
                  </a:cubicBezTo>
                  <a:cubicBezTo>
                    <a:pt x="265" y="227"/>
                    <a:pt x="265" y="227"/>
                    <a:pt x="265" y="227"/>
                  </a:cubicBezTo>
                  <a:cubicBezTo>
                    <a:pt x="250" y="226"/>
                    <a:pt x="250" y="226"/>
                    <a:pt x="250" y="226"/>
                  </a:cubicBezTo>
                  <a:cubicBezTo>
                    <a:pt x="257" y="246"/>
                    <a:pt x="257" y="246"/>
                    <a:pt x="257" y="246"/>
                  </a:cubicBezTo>
                  <a:cubicBezTo>
                    <a:pt x="272" y="235"/>
                    <a:pt x="272" y="235"/>
                    <a:pt x="272" y="235"/>
                  </a:cubicBezTo>
                  <a:cubicBezTo>
                    <a:pt x="272" y="235"/>
                    <a:pt x="280" y="235"/>
                    <a:pt x="283" y="243"/>
                  </a:cubicBezTo>
                  <a:cubicBezTo>
                    <a:pt x="286" y="251"/>
                    <a:pt x="283" y="254"/>
                    <a:pt x="283" y="254"/>
                  </a:cubicBezTo>
                  <a:cubicBezTo>
                    <a:pt x="301" y="263"/>
                    <a:pt x="301" y="263"/>
                    <a:pt x="301" y="263"/>
                  </a:cubicBezTo>
                  <a:cubicBezTo>
                    <a:pt x="271" y="262"/>
                    <a:pt x="271" y="262"/>
                    <a:pt x="271" y="262"/>
                  </a:cubicBezTo>
                  <a:cubicBezTo>
                    <a:pt x="263" y="265"/>
                    <a:pt x="263" y="265"/>
                    <a:pt x="263" y="265"/>
                  </a:cubicBezTo>
                  <a:cubicBezTo>
                    <a:pt x="263" y="265"/>
                    <a:pt x="237" y="264"/>
                    <a:pt x="215" y="266"/>
                  </a:cubicBezTo>
                  <a:cubicBezTo>
                    <a:pt x="188" y="265"/>
                    <a:pt x="207" y="278"/>
                    <a:pt x="207" y="278"/>
                  </a:cubicBezTo>
                  <a:cubicBezTo>
                    <a:pt x="195" y="281"/>
                    <a:pt x="195" y="281"/>
                    <a:pt x="195" y="281"/>
                  </a:cubicBezTo>
                  <a:cubicBezTo>
                    <a:pt x="210" y="289"/>
                    <a:pt x="210" y="289"/>
                    <a:pt x="210" y="289"/>
                  </a:cubicBezTo>
                  <a:cubicBezTo>
                    <a:pt x="209" y="301"/>
                    <a:pt x="209" y="301"/>
                    <a:pt x="209" y="301"/>
                  </a:cubicBezTo>
                  <a:cubicBezTo>
                    <a:pt x="213" y="305"/>
                    <a:pt x="220" y="301"/>
                    <a:pt x="220" y="301"/>
                  </a:cubicBezTo>
                  <a:cubicBezTo>
                    <a:pt x="220" y="301"/>
                    <a:pt x="224" y="317"/>
                    <a:pt x="227" y="317"/>
                  </a:cubicBezTo>
                  <a:cubicBezTo>
                    <a:pt x="235" y="317"/>
                    <a:pt x="254" y="310"/>
                    <a:pt x="254" y="310"/>
                  </a:cubicBezTo>
                  <a:cubicBezTo>
                    <a:pt x="254" y="310"/>
                    <a:pt x="261" y="307"/>
                    <a:pt x="265" y="315"/>
                  </a:cubicBezTo>
                  <a:cubicBezTo>
                    <a:pt x="268" y="326"/>
                    <a:pt x="242" y="329"/>
                    <a:pt x="242" y="329"/>
                  </a:cubicBezTo>
                  <a:cubicBezTo>
                    <a:pt x="237" y="340"/>
                    <a:pt x="237" y="340"/>
                    <a:pt x="237" y="340"/>
                  </a:cubicBezTo>
                  <a:cubicBezTo>
                    <a:pt x="226" y="340"/>
                    <a:pt x="226" y="340"/>
                    <a:pt x="226" y="340"/>
                  </a:cubicBezTo>
                  <a:cubicBezTo>
                    <a:pt x="219" y="339"/>
                    <a:pt x="216" y="324"/>
                    <a:pt x="216" y="324"/>
                  </a:cubicBezTo>
                  <a:cubicBezTo>
                    <a:pt x="216" y="324"/>
                    <a:pt x="212" y="320"/>
                    <a:pt x="208" y="324"/>
                  </a:cubicBezTo>
                  <a:cubicBezTo>
                    <a:pt x="201" y="323"/>
                    <a:pt x="201" y="312"/>
                    <a:pt x="190" y="304"/>
                  </a:cubicBezTo>
                  <a:cubicBezTo>
                    <a:pt x="180" y="295"/>
                    <a:pt x="168" y="306"/>
                    <a:pt x="168" y="306"/>
                  </a:cubicBezTo>
                  <a:cubicBezTo>
                    <a:pt x="172" y="291"/>
                    <a:pt x="172" y="291"/>
                    <a:pt x="172" y="291"/>
                  </a:cubicBezTo>
                  <a:cubicBezTo>
                    <a:pt x="165" y="283"/>
                    <a:pt x="165" y="283"/>
                    <a:pt x="165" y="283"/>
                  </a:cubicBezTo>
                  <a:cubicBezTo>
                    <a:pt x="150" y="286"/>
                    <a:pt x="150" y="286"/>
                    <a:pt x="150" y="286"/>
                  </a:cubicBezTo>
                  <a:cubicBezTo>
                    <a:pt x="153" y="294"/>
                    <a:pt x="153" y="294"/>
                    <a:pt x="153" y="294"/>
                  </a:cubicBezTo>
                  <a:cubicBezTo>
                    <a:pt x="153" y="294"/>
                    <a:pt x="150" y="298"/>
                    <a:pt x="142" y="297"/>
                  </a:cubicBezTo>
                  <a:cubicBezTo>
                    <a:pt x="138" y="297"/>
                    <a:pt x="139" y="293"/>
                    <a:pt x="135" y="286"/>
                  </a:cubicBezTo>
                  <a:cubicBezTo>
                    <a:pt x="132" y="282"/>
                    <a:pt x="128" y="289"/>
                    <a:pt x="120" y="296"/>
                  </a:cubicBezTo>
                  <a:cubicBezTo>
                    <a:pt x="112" y="304"/>
                    <a:pt x="116" y="289"/>
                    <a:pt x="120" y="289"/>
                  </a:cubicBezTo>
                  <a:cubicBezTo>
                    <a:pt x="124" y="285"/>
                    <a:pt x="124" y="277"/>
                    <a:pt x="117" y="277"/>
                  </a:cubicBezTo>
                  <a:cubicBezTo>
                    <a:pt x="110" y="273"/>
                    <a:pt x="109" y="288"/>
                    <a:pt x="101" y="288"/>
                  </a:cubicBezTo>
                  <a:cubicBezTo>
                    <a:pt x="94" y="288"/>
                    <a:pt x="98" y="280"/>
                    <a:pt x="98" y="280"/>
                  </a:cubicBezTo>
                  <a:cubicBezTo>
                    <a:pt x="91" y="280"/>
                    <a:pt x="91" y="280"/>
                    <a:pt x="91" y="280"/>
                  </a:cubicBezTo>
                  <a:cubicBezTo>
                    <a:pt x="87" y="276"/>
                    <a:pt x="87" y="276"/>
                    <a:pt x="87" y="276"/>
                  </a:cubicBezTo>
                  <a:cubicBezTo>
                    <a:pt x="87" y="276"/>
                    <a:pt x="68" y="279"/>
                    <a:pt x="61" y="278"/>
                  </a:cubicBezTo>
                  <a:cubicBezTo>
                    <a:pt x="53" y="274"/>
                    <a:pt x="58" y="259"/>
                    <a:pt x="43" y="258"/>
                  </a:cubicBezTo>
                  <a:cubicBezTo>
                    <a:pt x="28" y="258"/>
                    <a:pt x="23" y="276"/>
                    <a:pt x="27" y="288"/>
                  </a:cubicBezTo>
                  <a:cubicBezTo>
                    <a:pt x="26" y="303"/>
                    <a:pt x="37" y="308"/>
                    <a:pt x="44" y="308"/>
                  </a:cubicBezTo>
                  <a:cubicBezTo>
                    <a:pt x="52" y="308"/>
                    <a:pt x="48" y="301"/>
                    <a:pt x="56" y="297"/>
                  </a:cubicBezTo>
                  <a:cubicBezTo>
                    <a:pt x="63" y="298"/>
                    <a:pt x="67" y="305"/>
                    <a:pt x="70" y="309"/>
                  </a:cubicBezTo>
                  <a:cubicBezTo>
                    <a:pt x="74" y="310"/>
                    <a:pt x="78" y="306"/>
                    <a:pt x="78" y="306"/>
                  </a:cubicBezTo>
                  <a:cubicBezTo>
                    <a:pt x="103" y="330"/>
                    <a:pt x="103" y="330"/>
                    <a:pt x="103" y="330"/>
                  </a:cubicBezTo>
                  <a:cubicBezTo>
                    <a:pt x="111" y="330"/>
                    <a:pt x="111" y="330"/>
                    <a:pt x="111" y="330"/>
                  </a:cubicBezTo>
                  <a:cubicBezTo>
                    <a:pt x="121" y="342"/>
                    <a:pt x="121" y="342"/>
                    <a:pt x="121" y="342"/>
                  </a:cubicBezTo>
                  <a:cubicBezTo>
                    <a:pt x="125" y="343"/>
                    <a:pt x="125" y="339"/>
                    <a:pt x="129" y="339"/>
                  </a:cubicBezTo>
                  <a:cubicBezTo>
                    <a:pt x="136" y="343"/>
                    <a:pt x="132" y="347"/>
                    <a:pt x="136" y="351"/>
                  </a:cubicBezTo>
                  <a:cubicBezTo>
                    <a:pt x="139" y="355"/>
                    <a:pt x="147" y="347"/>
                    <a:pt x="151" y="351"/>
                  </a:cubicBezTo>
                  <a:cubicBezTo>
                    <a:pt x="158" y="359"/>
                    <a:pt x="150" y="363"/>
                    <a:pt x="150" y="363"/>
                  </a:cubicBezTo>
                  <a:cubicBezTo>
                    <a:pt x="157" y="371"/>
                    <a:pt x="157" y="371"/>
                    <a:pt x="157" y="371"/>
                  </a:cubicBezTo>
                  <a:cubicBezTo>
                    <a:pt x="146" y="378"/>
                    <a:pt x="146" y="378"/>
                    <a:pt x="146" y="378"/>
                  </a:cubicBezTo>
                  <a:cubicBezTo>
                    <a:pt x="149" y="386"/>
                    <a:pt x="149" y="386"/>
                    <a:pt x="149" y="386"/>
                  </a:cubicBezTo>
                  <a:cubicBezTo>
                    <a:pt x="134" y="385"/>
                    <a:pt x="134" y="385"/>
                    <a:pt x="134" y="385"/>
                  </a:cubicBezTo>
                  <a:cubicBezTo>
                    <a:pt x="133" y="412"/>
                    <a:pt x="133" y="412"/>
                    <a:pt x="133" y="412"/>
                  </a:cubicBezTo>
                  <a:cubicBezTo>
                    <a:pt x="137" y="412"/>
                    <a:pt x="137" y="412"/>
                    <a:pt x="137" y="412"/>
                  </a:cubicBezTo>
                  <a:cubicBezTo>
                    <a:pt x="129" y="427"/>
                    <a:pt x="129" y="427"/>
                    <a:pt x="129" y="427"/>
                  </a:cubicBezTo>
                  <a:cubicBezTo>
                    <a:pt x="132" y="427"/>
                    <a:pt x="132" y="427"/>
                    <a:pt x="132" y="427"/>
                  </a:cubicBezTo>
                  <a:cubicBezTo>
                    <a:pt x="132" y="427"/>
                    <a:pt x="132" y="435"/>
                    <a:pt x="140" y="435"/>
                  </a:cubicBezTo>
                  <a:cubicBezTo>
                    <a:pt x="143" y="435"/>
                    <a:pt x="151" y="428"/>
                    <a:pt x="151" y="428"/>
                  </a:cubicBezTo>
                  <a:cubicBezTo>
                    <a:pt x="155" y="432"/>
                    <a:pt x="155" y="432"/>
                    <a:pt x="155" y="432"/>
                  </a:cubicBezTo>
                  <a:cubicBezTo>
                    <a:pt x="166" y="432"/>
                    <a:pt x="166" y="432"/>
                    <a:pt x="166" y="432"/>
                  </a:cubicBezTo>
                  <a:cubicBezTo>
                    <a:pt x="174" y="425"/>
                    <a:pt x="174" y="425"/>
                    <a:pt x="174" y="425"/>
                  </a:cubicBezTo>
                  <a:cubicBezTo>
                    <a:pt x="177" y="433"/>
                    <a:pt x="177" y="433"/>
                    <a:pt x="177" y="433"/>
                  </a:cubicBezTo>
                  <a:cubicBezTo>
                    <a:pt x="173" y="440"/>
                    <a:pt x="173" y="440"/>
                    <a:pt x="173" y="440"/>
                  </a:cubicBezTo>
                  <a:cubicBezTo>
                    <a:pt x="158" y="440"/>
                    <a:pt x="158" y="440"/>
                    <a:pt x="158" y="440"/>
                  </a:cubicBezTo>
                  <a:cubicBezTo>
                    <a:pt x="151" y="439"/>
                    <a:pt x="135" y="450"/>
                    <a:pt x="135" y="450"/>
                  </a:cubicBezTo>
                  <a:cubicBezTo>
                    <a:pt x="135" y="458"/>
                    <a:pt x="135" y="458"/>
                    <a:pt x="135" y="458"/>
                  </a:cubicBezTo>
                  <a:cubicBezTo>
                    <a:pt x="146" y="458"/>
                    <a:pt x="146" y="458"/>
                    <a:pt x="146" y="458"/>
                  </a:cubicBezTo>
                  <a:cubicBezTo>
                    <a:pt x="146" y="466"/>
                    <a:pt x="146" y="466"/>
                    <a:pt x="146" y="466"/>
                  </a:cubicBezTo>
                  <a:cubicBezTo>
                    <a:pt x="131" y="465"/>
                    <a:pt x="131" y="465"/>
                    <a:pt x="131" y="465"/>
                  </a:cubicBezTo>
                  <a:cubicBezTo>
                    <a:pt x="119" y="472"/>
                    <a:pt x="119" y="472"/>
                    <a:pt x="119" y="472"/>
                  </a:cubicBezTo>
                  <a:cubicBezTo>
                    <a:pt x="130" y="477"/>
                    <a:pt x="130" y="477"/>
                    <a:pt x="130" y="477"/>
                  </a:cubicBezTo>
                  <a:cubicBezTo>
                    <a:pt x="153" y="478"/>
                    <a:pt x="153" y="478"/>
                    <a:pt x="153" y="478"/>
                  </a:cubicBezTo>
                  <a:cubicBezTo>
                    <a:pt x="153" y="478"/>
                    <a:pt x="160" y="470"/>
                    <a:pt x="175" y="479"/>
                  </a:cubicBezTo>
                  <a:cubicBezTo>
                    <a:pt x="186" y="483"/>
                    <a:pt x="178" y="494"/>
                    <a:pt x="178" y="494"/>
                  </a:cubicBezTo>
                  <a:cubicBezTo>
                    <a:pt x="167" y="482"/>
                    <a:pt x="167" y="482"/>
                    <a:pt x="167" y="482"/>
                  </a:cubicBezTo>
                  <a:cubicBezTo>
                    <a:pt x="167" y="482"/>
                    <a:pt x="156" y="486"/>
                    <a:pt x="145" y="485"/>
                  </a:cubicBezTo>
                  <a:cubicBezTo>
                    <a:pt x="133" y="484"/>
                    <a:pt x="130" y="484"/>
                    <a:pt x="129" y="496"/>
                  </a:cubicBezTo>
                  <a:cubicBezTo>
                    <a:pt x="125" y="503"/>
                    <a:pt x="132" y="519"/>
                    <a:pt x="132" y="519"/>
                  </a:cubicBezTo>
                  <a:cubicBezTo>
                    <a:pt x="117" y="522"/>
                    <a:pt x="117" y="522"/>
                    <a:pt x="117" y="522"/>
                  </a:cubicBezTo>
                  <a:cubicBezTo>
                    <a:pt x="110" y="510"/>
                    <a:pt x="110" y="510"/>
                    <a:pt x="110" y="510"/>
                  </a:cubicBezTo>
                  <a:cubicBezTo>
                    <a:pt x="95" y="513"/>
                    <a:pt x="95" y="513"/>
                    <a:pt x="95" y="513"/>
                  </a:cubicBezTo>
                  <a:cubicBezTo>
                    <a:pt x="98" y="525"/>
                    <a:pt x="98" y="525"/>
                    <a:pt x="98" y="525"/>
                  </a:cubicBezTo>
                  <a:cubicBezTo>
                    <a:pt x="79" y="528"/>
                    <a:pt x="79" y="528"/>
                    <a:pt x="79" y="528"/>
                  </a:cubicBezTo>
                  <a:cubicBezTo>
                    <a:pt x="79" y="528"/>
                    <a:pt x="76" y="524"/>
                    <a:pt x="68" y="523"/>
                  </a:cubicBezTo>
                  <a:cubicBezTo>
                    <a:pt x="61" y="519"/>
                    <a:pt x="53" y="523"/>
                    <a:pt x="49" y="523"/>
                  </a:cubicBezTo>
                  <a:cubicBezTo>
                    <a:pt x="42" y="522"/>
                    <a:pt x="35" y="514"/>
                    <a:pt x="35" y="514"/>
                  </a:cubicBezTo>
                  <a:cubicBezTo>
                    <a:pt x="43" y="503"/>
                    <a:pt x="43" y="503"/>
                    <a:pt x="43" y="503"/>
                  </a:cubicBezTo>
                  <a:cubicBezTo>
                    <a:pt x="32" y="487"/>
                    <a:pt x="32" y="487"/>
                    <a:pt x="32" y="487"/>
                  </a:cubicBezTo>
                  <a:cubicBezTo>
                    <a:pt x="17" y="502"/>
                    <a:pt x="17" y="502"/>
                    <a:pt x="17" y="502"/>
                  </a:cubicBezTo>
                  <a:cubicBezTo>
                    <a:pt x="16" y="517"/>
                    <a:pt x="16" y="517"/>
                    <a:pt x="16" y="517"/>
                  </a:cubicBezTo>
                  <a:cubicBezTo>
                    <a:pt x="8" y="521"/>
                    <a:pt x="8" y="521"/>
                    <a:pt x="8" y="521"/>
                  </a:cubicBezTo>
                  <a:cubicBezTo>
                    <a:pt x="8" y="528"/>
                    <a:pt x="8" y="528"/>
                    <a:pt x="8" y="528"/>
                  </a:cubicBezTo>
                  <a:cubicBezTo>
                    <a:pt x="0" y="535"/>
                    <a:pt x="0" y="535"/>
                    <a:pt x="0" y="535"/>
                  </a:cubicBezTo>
                  <a:cubicBezTo>
                    <a:pt x="15" y="548"/>
                    <a:pt x="15" y="548"/>
                    <a:pt x="15" y="548"/>
                  </a:cubicBezTo>
                  <a:lnTo>
                    <a:pt x="22" y="54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0" name="Freeform 564">
              <a:extLst>
                <a:ext uri="{FF2B5EF4-FFF2-40B4-BE49-F238E27FC236}">
                  <a16:creationId xmlns:a16="http://schemas.microsoft.com/office/drawing/2014/main" id="{934C60DF-F3AF-7A5D-F5C5-3BF67629FD76}"/>
                </a:ext>
              </a:extLst>
            </p:cNvPr>
            <p:cNvSpPr>
              <a:spLocks/>
            </p:cNvSpPr>
            <p:nvPr/>
          </p:nvSpPr>
          <p:spPr bwMode="gray">
            <a:xfrm>
              <a:off x="8973947" y="1670663"/>
              <a:ext cx="16183" cy="23374"/>
            </a:xfrm>
            <a:custGeom>
              <a:avLst/>
              <a:gdLst>
                <a:gd name="T0" fmla="*/ 14 w 26"/>
                <a:gd name="T1" fmla="*/ 39 h 39"/>
                <a:gd name="T2" fmla="*/ 26 w 26"/>
                <a:gd name="T3" fmla="*/ 25 h 39"/>
                <a:gd name="T4" fmla="*/ 15 w 26"/>
                <a:gd name="T5" fmla="*/ 9 h 39"/>
                <a:gd name="T6" fmla="*/ 1 w 26"/>
                <a:gd name="T7" fmla="*/ 0 h 39"/>
                <a:gd name="T8" fmla="*/ 0 w 26"/>
                <a:gd name="T9" fmla="*/ 16 h 39"/>
                <a:gd name="T10" fmla="*/ 11 w 26"/>
                <a:gd name="T11" fmla="*/ 16 h 39"/>
                <a:gd name="T12" fmla="*/ 14 w 26"/>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6" h="39">
                  <a:moveTo>
                    <a:pt x="14" y="39"/>
                  </a:moveTo>
                  <a:cubicBezTo>
                    <a:pt x="26" y="25"/>
                    <a:pt x="26" y="25"/>
                    <a:pt x="26" y="25"/>
                  </a:cubicBezTo>
                  <a:cubicBezTo>
                    <a:pt x="26" y="25"/>
                    <a:pt x="22" y="17"/>
                    <a:pt x="15" y="9"/>
                  </a:cubicBezTo>
                  <a:cubicBezTo>
                    <a:pt x="12" y="5"/>
                    <a:pt x="1" y="0"/>
                    <a:pt x="1" y="0"/>
                  </a:cubicBezTo>
                  <a:cubicBezTo>
                    <a:pt x="0" y="16"/>
                    <a:pt x="0" y="16"/>
                    <a:pt x="0" y="16"/>
                  </a:cubicBezTo>
                  <a:cubicBezTo>
                    <a:pt x="11" y="16"/>
                    <a:pt x="11" y="16"/>
                    <a:pt x="11" y="16"/>
                  </a:cubicBezTo>
                  <a:lnTo>
                    <a:pt x="14" y="3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1" name="Freeform 565">
              <a:extLst>
                <a:ext uri="{FF2B5EF4-FFF2-40B4-BE49-F238E27FC236}">
                  <a16:creationId xmlns:a16="http://schemas.microsoft.com/office/drawing/2014/main" id="{B75D5B9A-72B9-5597-2879-49B16C866C21}"/>
                </a:ext>
              </a:extLst>
            </p:cNvPr>
            <p:cNvSpPr>
              <a:spLocks/>
            </p:cNvSpPr>
            <p:nvPr/>
          </p:nvSpPr>
          <p:spPr bwMode="gray">
            <a:xfrm>
              <a:off x="9011704" y="1620321"/>
              <a:ext cx="8991" cy="23374"/>
            </a:xfrm>
            <a:custGeom>
              <a:avLst/>
              <a:gdLst>
                <a:gd name="T0" fmla="*/ 1 w 5"/>
                <a:gd name="T1" fmla="*/ 6 h 13"/>
                <a:gd name="T2" fmla="*/ 0 w 5"/>
                <a:gd name="T3" fmla="*/ 7 h 13"/>
                <a:gd name="T4" fmla="*/ 0 w 5"/>
                <a:gd name="T5" fmla="*/ 10 h 13"/>
                <a:gd name="T6" fmla="*/ 4 w 5"/>
                <a:gd name="T7" fmla="*/ 13 h 13"/>
                <a:gd name="T8" fmla="*/ 5 w 5"/>
                <a:gd name="T9" fmla="*/ 9 h 13"/>
                <a:gd name="T10" fmla="*/ 3 w 5"/>
                <a:gd name="T11" fmla="*/ 0 h 13"/>
                <a:gd name="T12" fmla="*/ 2 w 5"/>
                <a:gd name="T13" fmla="*/ 0 h 13"/>
                <a:gd name="T14" fmla="*/ 1 w 5"/>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3">
                  <a:moveTo>
                    <a:pt x="1" y="6"/>
                  </a:moveTo>
                  <a:lnTo>
                    <a:pt x="0" y="7"/>
                  </a:lnTo>
                  <a:lnTo>
                    <a:pt x="0" y="10"/>
                  </a:lnTo>
                  <a:lnTo>
                    <a:pt x="4" y="13"/>
                  </a:lnTo>
                  <a:lnTo>
                    <a:pt x="5" y="9"/>
                  </a:lnTo>
                  <a:lnTo>
                    <a:pt x="3" y="0"/>
                  </a:lnTo>
                  <a:lnTo>
                    <a:pt x="2"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2" name="Freeform 566">
              <a:extLst>
                <a:ext uri="{FF2B5EF4-FFF2-40B4-BE49-F238E27FC236}">
                  <a16:creationId xmlns:a16="http://schemas.microsoft.com/office/drawing/2014/main" id="{4065B013-41DB-06A7-4E82-4A67DFD0B01E}"/>
                </a:ext>
              </a:extLst>
            </p:cNvPr>
            <p:cNvSpPr>
              <a:spLocks/>
            </p:cNvSpPr>
            <p:nvPr/>
          </p:nvSpPr>
          <p:spPr bwMode="gray">
            <a:xfrm>
              <a:off x="8972149" y="1654482"/>
              <a:ext cx="7192" cy="12586"/>
            </a:xfrm>
            <a:custGeom>
              <a:avLst/>
              <a:gdLst>
                <a:gd name="T0" fmla="*/ 4 w 4"/>
                <a:gd name="T1" fmla="*/ 7 h 7"/>
                <a:gd name="T2" fmla="*/ 3 w 4"/>
                <a:gd name="T3" fmla="*/ 0 h 7"/>
                <a:gd name="T4" fmla="*/ 0 w 4"/>
                <a:gd name="T5" fmla="*/ 1 h 7"/>
                <a:gd name="T6" fmla="*/ 3 w 4"/>
                <a:gd name="T7" fmla="*/ 5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lnTo>
                    <a:pt x="3" y="0"/>
                  </a:lnTo>
                  <a:lnTo>
                    <a:pt x="0" y="1"/>
                  </a:lnTo>
                  <a:lnTo>
                    <a:pt x="3" y="5"/>
                  </a:lnTo>
                  <a:lnTo>
                    <a:pt x="4"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3" name="Freeform 567">
              <a:extLst>
                <a:ext uri="{FF2B5EF4-FFF2-40B4-BE49-F238E27FC236}">
                  <a16:creationId xmlns:a16="http://schemas.microsoft.com/office/drawing/2014/main" id="{61316A70-0E05-430E-563E-3B02BEC20937}"/>
                </a:ext>
              </a:extLst>
            </p:cNvPr>
            <p:cNvSpPr>
              <a:spLocks/>
            </p:cNvSpPr>
            <p:nvPr/>
          </p:nvSpPr>
          <p:spPr bwMode="gray">
            <a:xfrm>
              <a:off x="9027887" y="1618522"/>
              <a:ext cx="14383" cy="7192"/>
            </a:xfrm>
            <a:custGeom>
              <a:avLst/>
              <a:gdLst>
                <a:gd name="T0" fmla="*/ 11 w 23"/>
                <a:gd name="T1" fmla="*/ 11 h 11"/>
                <a:gd name="T2" fmla="*/ 12 w 23"/>
                <a:gd name="T3" fmla="*/ 3 h 11"/>
                <a:gd name="T4" fmla="*/ 11 w 23"/>
                <a:gd name="T5" fmla="*/ 11 h 11"/>
              </a:gdLst>
              <a:ahLst/>
              <a:cxnLst>
                <a:cxn ang="0">
                  <a:pos x="T0" y="T1"/>
                </a:cxn>
                <a:cxn ang="0">
                  <a:pos x="T2" y="T3"/>
                </a:cxn>
                <a:cxn ang="0">
                  <a:pos x="T4" y="T5"/>
                </a:cxn>
              </a:cxnLst>
              <a:rect l="0" t="0" r="r" b="b"/>
              <a:pathLst>
                <a:path w="23" h="11">
                  <a:moveTo>
                    <a:pt x="11" y="11"/>
                  </a:moveTo>
                  <a:cubicBezTo>
                    <a:pt x="19" y="11"/>
                    <a:pt x="23" y="0"/>
                    <a:pt x="12" y="3"/>
                  </a:cubicBezTo>
                  <a:cubicBezTo>
                    <a:pt x="0" y="7"/>
                    <a:pt x="11" y="11"/>
                    <a:pt x="11"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4" name="Freeform 568">
              <a:extLst>
                <a:ext uri="{FF2B5EF4-FFF2-40B4-BE49-F238E27FC236}">
                  <a16:creationId xmlns:a16="http://schemas.microsoft.com/office/drawing/2014/main" id="{A7B39C29-FC68-D10B-5D12-9597475318B0}"/>
                </a:ext>
              </a:extLst>
            </p:cNvPr>
            <p:cNvSpPr>
              <a:spLocks/>
            </p:cNvSpPr>
            <p:nvPr/>
          </p:nvSpPr>
          <p:spPr bwMode="gray">
            <a:xfrm>
              <a:off x="8995523" y="1638300"/>
              <a:ext cx="10788" cy="16183"/>
            </a:xfrm>
            <a:custGeom>
              <a:avLst/>
              <a:gdLst>
                <a:gd name="T0" fmla="*/ 6 w 6"/>
                <a:gd name="T1" fmla="*/ 5 h 9"/>
                <a:gd name="T2" fmla="*/ 4 w 6"/>
                <a:gd name="T3" fmla="*/ 1 h 9"/>
                <a:gd name="T4" fmla="*/ 2 w 6"/>
                <a:gd name="T5" fmla="*/ 0 h 9"/>
                <a:gd name="T6" fmla="*/ 3 w 6"/>
                <a:gd name="T7" fmla="*/ 4 h 9"/>
                <a:gd name="T8" fmla="*/ 0 w 6"/>
                <a:gd name="T9" fmla="*/ 7 h 9"/>
                <a:gd name="T10" fmla="*/ 2 w 6"/>
                <a:gd name="T11" fmla="*/ 9 h 9"/>
                <a:gd name="T12" fmla="*/ 6 w 6"/>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5"/>
                  </a:moveTo>
                  <a:lnTo>
                    <a:pt x="4" y="1"/>
                  </a:lnTo>
                  <a:lnTo>
                    <a:pt x="2" y="0"/>
                  </a:lnTo>
                  <a:lnTo>
                    <a:pt x="3" y="4"/>
                  </a:lnTo>
                  <a:lnTo>
                    <a:pt x="0" y="7"/>
                  </a:lnTo>
                  <a:lnTo>
                    <a:pt x="2" y="9"/>
                  </a:lnTo>
                  <a:lnTo>
                    <a:pt x="6"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5" name="Freeform 569">
              <a:extLst>
                <a:ext uri="{FF2B5EF4-FFF2-40B4-BE49-F238E27FC236}">
                  <a16:creationId xmlns:a16="http://schemas.microsoft.com/office/drawing/2014/main" id="{70B1A88E-9F34-FAE3-EB05-951FED984007}"/>
                </a:ext>
              </a:extLst>
            </p:cNvPr>
            <p:cNvSpPr>
              <a:spLocks/>
            </p:cNvSpPr>
            <p:nvPr/>
          </p:nvSpPr>
          <p:spPr bwMode="gray">
            <a:xfrm>
              <a:off x="9022492" y="1609533"/>
              <a:ext cx="3596" cy="19778"/>
            </a:xfrm>
            <a:custGeom>
              <a:avLst/>
              <a:gdLst>
                <a:gd name="T0" fmla="*/ 2 w 2"/>
                <a:gd name="T1" fmla="*/ 11 h 11"/>
                <a:gd name="T2" fmla="*/ 2 w 2"/>
                <a:gd name="T3" fmla="*/ 0 h 11"/>
                <a:gd name="T4" fmla="*/ 0 w 2"/>
                <a:gd name="T5" fmla="*/ 1 h 11"/>
                <a:gd name="T6" fmla="*/ 1 w 2"/>
                <a:gd name="T7" fmla="*/ 10 h 11"/>
                <a:gd name="T8" fmla="*/ 2 w 2"/>
                <a:gd name="T9" fmla="*/ 11 h 11"/>
              </a:gdLst>
              <a:ahLst/>
              <a:cxnLst>
                <a:cxn ang="0">
                  <a:pos x="T0" y="T1"/>
                </a:cxn>
                <a:cxn ang="0">
                  <a:pos x="T2" y="T3"/>
                </a:cxn>
                <a:cxn ang="0">
                  <a:pos x="T4" y="T5"/>
                </a:cxn>
                <a:cxn ang="0">
                  <a:pos x="T6" y="T7"/>
                </a:cxn>
                <a:cxn ang="0">
                  <a:pos x="T8" y="T9"/>
                </a:cxn>
              </a:cxnLst>
              <a:rect l="0" t="0" r="r" b="b"/>
              <a:pathLst>
                <a:path w="2" h="11">
                  <a:moveTo>
                    <a:pt x="2" y="11"/>
                  </a:moveTo>
                  <a:lnTo>
                    <a:pt x="2" y="0"/>
                  </a:lnTo>
                  <a:lnTo>
                    <a:pt x="0" y="1"/>
                  </a:lnTo>
                  <a:lnTo>
                    <a:pt x="1" y="10"/>
                  </a:lnTo>
                  <a:lnTo>
                    <a:pt x="2"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6" name="Freeform 570">
              <a:extLst>
                <a:ext uri="{FF2B5EF4-FFF2-40B4-BE49-F238E27FC236}">
                  <a16:creationId xmlns:a16="http://schemas.microsoft.com/office/drawing/2014/main" id="{FFAE3D34-C75B-28F5-7E2D-05EA70FBE12D}"/>
                </a:ext>
              </a:extLst>
            </p:cNvPr>
            <p:cNvSpPr>
              <a:spLocks/>
            </p:cNvSpPr>
            <p:nvPr/>
          </p:nvSpPr>
          <p:spPr bwMode="gray">
            <a:xfrm>
              <a:off x="8934391" y="1627512"/>
              <a:ext cx="14383" cy="5395"/>
            </a:xfrm>
            <a:custGeom>
              <a:avLst/>
              <a:gdLst>
                <a:gd name="T0" fmla="*/ 7 w 8"/>
                <a:gd name="T1" fmla="*/ 0 h 3"/>
                <a:gd name="T2" fmla="*/ 0 w 8"/>
                <a:gd name="T3" fmla="*/ 1 h 3"/>
                <a:gd name="T4" fmla="*/ 8 w 8"/>
                <a:gd name="T5" fmla="*/ 3 h 3"/>
                <a:gd name="T6" fmla="*/ 7 w 8"/>
                <a:gd name="T7" fmla="*/ 0 h 3"/>
              </a:gdLst>
              <a:ahLst/>
              <a:cxnLst>
                <a:cxn ang="0">
                  <a:pos x="T0" y="T1"/>
                </a:cxn>
                <a:cxn ang="0">
                  <a:pos x="T2" y="T3"/>
                </a:cxn>
                <a:cxn ang="0">
                  <a:pos x="T4" y="T5"/>
                </a:cxn>
                <a:cxn ang="0">
                  <a:pos x="T6" y="T7"/>
                </a:cxn>
              </a:cxnLst>
              <a:rect l="0" t="0" r="r" b="b"/>
              <a:pathLst>
                <a:path w="8" h="3">
                  <a:moveTo>
                    <a:pt x="7" y="0"/>
                  </a:moveTo>
                  <a:lnTo>
                    <a:pt x="0" y="1"/>
                  </a:lnTo>
                  <a:lnTo>
                    <a:pt x="8" y="3"/>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7" name="Freeform 571">
              <a:extLst>
                <a:ext uri="{FF2B5EF4-FFF2-40B4-BE49-F238E27FC236}">
                  <a16:creationId xmlns:a16="http://schemas.microsoft.com/office/drawing/2014/main" id="{749A56FE-C458-3511-B2A2-79D8D3AB5D5B}"/>
                </a:ext>
              </a:extLst>
            </p:cNvPr>
            <p:cNvSpPr>
              <a:spLocks/>
            </p:cNvSpPr>
            <p:nvPr/>
          </p:nvSpPr>
          <p:spPr bwMode="gray">
            <a:xfrm>
              <a:off x="8954169" y="1629310"/>
              <a:ext cx="19778" cy="19778"/>
            </a:xfrm>
            <a:custGeom>
              <a:avLst/>
              <a:gdLst>
                <a:gd name="T0" fmla="*/ 4 w 33"/>
                <a:gd name="T1" fmla="*/ 12 h 35"/>
                <a:gd name="T2" fmla="*/ 3 w 33"/>
                <a:gd name="T3" fmla="*/ 23 h 35"/>
                <a:gd name="T4" fmla="*/ 18 w 33"/>
                <a:gd name="T5" fmla="*/ 35 h 35"/>
                <a:gd name="T6" fmla="*/ 33 w 33"/>
                <a:gd name="T7" fmla="*/ 21 h 35"/>
                <a:gd name="T8" fmla="*/ 23 w 33"/>
                <a:gd name="T9" fmla="*/ 1 h 35"/>
                <a:gd name="T10" fmla="*/ 15 w 33"/>
                <a:gd name="T11" fmla="*/ 8 h 35"/>
                <a:gd name="T12" fmla="*/ 8 w 33"/>
                <a:gd name="T13" fmla="*/ 0 h 35"/>
                <a:gd name="T14" fmla="*/ 0 w 33"/>
                <a:gd name="T15" fmla="*/ 4 h 35"/>
                <a:gd name="T16" fmla="*/ 4 w 33"/>
                <a:gd name="T17"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5">
                  <a:moveTo>
                    <a:pt x="4" y="12"/>
                  </a:moveTo>
                  <a:cubicBezTo>
                    <a:pt x="3" y="23"/>
                    <a:pt x="3" y="23"/>
                    <a:pt x="3" y="23"/>
                  </a:cubicBezTo>
                  <a:cubicBezTo>
                    <a:pt x="3" y="23"/>
                    <a:pt x="6" y="35"/>
                    <a:pt x="18" y="35"/>
                  </a:cubicBezTo>
                  <a:cubicBezTo>
                    <a:pt x="29" y="32"/>
                    <a:pt x="33" y="21"/>
                    <a:pt x="33" y="21"/>
                  </a:cubicBezTo>
                  <a:cubicBezTo>
                    <a:pt x="23" y="1"/>
                    <a:pt x="23" y="1"/>
                    <a:pt x="23" y="1"/>
                  </a:cubicBezTo>
                  <a:cubicBezTo>
                    <a:pt x="15" y="8"/>
                    <a:pt x="15" y="8"/>
                    <a:pt x="15" y="8"/>
                  </a:cubicBezTo>
                  <a:cubicBezTo>
                    <a:pt x="8" y="0"/>
                    <a:pt x="8" y="0"/>
                    <a:pt x="8" y="0"/>
                  </a:cubicBezTo>
                  <a:cubicBezTo>
                    <a:pt x="0" y="4"/>
                    <a:pt x="0" y="4"/>
                    <a:pt x="0" y="4"/>
                  </a:cubicBezTo>
                  <a:cubicBezTo>
                    <a:pt x="0" y="4"/>
                    <a:pt x="8" y="8"/>
                    <a:pt x="4"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8" name="Freeform 572">
              <a:extLst>
                <a:ext uri="{FF2B5EF4-FFF2-40B4-BE49-F238E27FC236}">
                  <a16:creationId xmlns:a16="http://schemas.microsoft.com/office/drawing/2014/main" id="{D5FC8A11-5F95-C7CC-F36C-9CE3344F7B9F}"/>
                </a:ext>
              </a:extLst>
            </p:cNvPr>
            <p:cNvSpPr>
              <a:spLocks/>
            </p:cNvSpPr>
            <p:nvPr/>
          </p:nvSpPr>
          <p:spPr bwMode="gray">
            <a:xfrm>
              <a:off x="9009906" y="1611331"/>
              <a:ext cx="5395" cy="16183"/>
            </a:xfrm>
            <a:custGeom>
              <a:avLst/>
              <a:gdLst>
                <a:gd name="T0" fmla="*/ 3 w 3"/>
                <a:gd name="T1" fmla="*/ 0 h 9"/>
                <a:gd name="T2" fmla="*/ 0 w 3"/>
                <a:gd name="T3" fmla="*/ 1 h 9"/>
                <a:gd name="T4" fmla="*/ 0 w 3"/>
                <a:gd name="T5" fmla="*/ 9 h 9"/>
                <a:gd name="T6" fmla="*/ 1 w 3"/>
                <a:gd name="T7" fmla="*/ 9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0" y="1"/>
                  </a:lnTo>
                  <a:lnTo>
                    <a:pt x="0" y="9"/>
                  </a:lnTo>
                  <a:lnTo>
                    <a:pt x="1" y="9"/>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9" name="Freeform 573">
              <a:extLst>
                <a:ext uri="{FF2B5EF4-FFF2-40B4-BE49-F238E27FC236}">
                  <a16:creationId xmlns:a16="http://schemas.microsoft.com/office/drawing/2014/main" id="{18408DDA-4291-95FE-82FA-7896E478025B}"/>
                </a:ext>
              </a:extLst>
            </p:cNvPr>
            <p:cNvSpPr>
              <a:spLocks/>
            </p:cNvSpPr>
            <p:nvPr/>
          </p:nvSpPr>
          <p:spPr bwMode="gray">
            <a:xfrm>
              <a:off x="8970352" y="1686846"/>
              <a:ext cx="5395" cy="7192"/>
            </a:xfrm>
            <a:custGeom>
              <a:avLst/>
              <a:gdLst>
                <a:gd name="T0" fmla="*/ 3 w 3"/>
                <a:gd name="T1" fmla="*/ 0 h 4"/>
                <a:gd name="T2" fmla="*/ 0 w 3"/>
                <a:gd name="T3" fmla="*/ 4 h 4"/>
                <a:gd name="T4" fmla="*/ 3 w 3"/>
                <a:gd name="T5" fmla="*/ 3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3"/>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0" name="Freeform 574">
              <a:extLst>
                <a:ext uri="{FF2B5EF4-FFF2-40B4-BE49-F238E27FC236}">
                  <a16:creationId xmlns:a16="http://schemas.microsoft.com/office/drawing/2014/main" id="{1DD0D431-8E14-8B3B-EAEF-B30F1B21CB79}"/>
                </a:ext>
              </a:extLst>
            </p:cNvPr>
            <p:cNvSpPr>
              <a:spLocks/>
            </p:cNvSpPr>
            <p:nvPr/>
          </p:nvSpPr>
          <p:spPr bwMode="gray">
            <a:xfrm>
              <a:off x="8955967" y="1697634"/>
              <a:ext cx="17980" cy="41354"/>
            </a:xfrm>
            <a:custGeom>
              <a:avLst/>
              <a:gdLst>
                <a:gd name="T0" fmla="*/ 23 w 31"/>
                <a:gd name="T1" fmla="*/ 39 h 70"/>
                <a:gd name="T2" fmla="*/ 27 w 31"/>
                <a:gd name="T3" fmla="*/ 32 h 70"/>
                <a:gd name="T4" fmla="*/ 13 w 31"/>
                <a:gd name="T5" fmla="*/ 23 h 70"/>
                <a:gd name="T6" fmla="*/ 17 w 31"/>
                <a:gd name="T7" fmla="*/ 12 h 70"/>
                <a:gd name="T8" fmla="*/ 6 w 31"/>
                <a:gd name="T9" fmla="*/ 8 h 70"/>
                <a:gd name="T10" fmla="*/ 4 w 31"/>
                <a:gd name="T11" fmla="*/ 38 h 70"/>
                <a:gd name="T12" fmla="*/ 0 w 31"/>
                <a:gd name="T13" fmla="*/ 46 h 70"/>
                <a:gd name="T14" fmla="*/ 14 w 31"/>
                <a:gd name="T15" fmla="*/ 69 h 70"/>
                <a:gd name="T16" fmla="*/ 18 w 31"/>
                <a:gd name="T17" fmla="*/ 70 h 70"/>
                <a:gd name="T18" fmla="*/ 22 w 31"/>
                <a:gd name="T19" fmla="*/ 58 h 70"/>
                <a:gd name="T20" fmla="*/ 15 w 31"/>
                <a:gd name="T21" fmla="*/ 54 h 70"/>
                <a:gd name="T22" fmla="*/ 22 w 31"/>
                <a:gd name="T23" fmla="*/ 55 h 70"/>
                <a:gd name="T24" fmla="*/ 23 w 31"/>
                <a:gd name="T25" fmla="*/ 3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70">
                  <a:moveTo>
                    <a:pt x="23" y="39"/>
                  </a:moveTo>
                  <a:cubicBezTo>
                    <a:pt x="23" y="39"/>
                    <a:pt x="31" y="40"/>
                    <a:pt x="27" y="32"/>
                  </a:cubicBezTo>
                  <a:cubicBezTo>
                    <a:pt x="20" y="28"/>
                    <a:pt x="12" y="27"/>
                    <a:pt x="13" y="23"/>
                  </a:cubicBezTo>
                  <a:cubicBezTo>
                    <a:pt x="13" y="20"/>
                    <a:pt x="17" y="16"/>
                    <a:pt x="17" y="12"/>
                  </a:cubicBezTo>
                  <a:cubicBezTo>
                    <a:pt x="17" y="8"/>
                    <a:pt x="10" y="0"/>
                    <a:pt x="6" y="8"/>
                  </a:cubicBezTo>
                  <a:cubicBezTo>
                    <a:pt x="2" y="15"/>
                    <a:pt x="4" y="38"/>
                    <a:pt x="4" y="38"/>
                  </a:cubicBezTo>
                  <a:cubicBezTo>
                    <a:pt x="0" y="46"/>
                    <a:pt x="0" y="46"/>
                    <a:pt x="0" y="46"/>
                  </a:cubicBezTo>
                  <a:cubicBezTo>
                    <a:pt x="14" y="69"/>
                    <a:pt x="14" y="69"/>
                    <a:pt x="14" y="69"/>
                  </a:cubicBezTo>
                  <a:cubicBezTo>
                    <a:pt x="18" y="70"/>
                    <a:pt x="18" y="70"/>
                    <a:pt x="18" y="70"/>
                  </a:cubicBezTo>
                  <a:cubicBezTo>
                    <a:pt x="22" y="58"/>
                    <a:pt x="22" y="58"/>
                    <a:pt x="22" y="58"/>
                  </a:cubicBezTo>
                  <a:cubicBezTo>
                    <a:pt x="15" y="54"/>
                    <a:pt x="15" y="54"/>
                    <a:pt x="15" y="54"/>
                  </a:cubicBezTo>
                  <a:cubicBezTo>
                    <a:pt x="22" y="55"/>
                    <a:pt x="22" y="55"/>
                    <a:pt x="22" y="55"/>
                  </a:cubicBezTo>
                  <a:lnTo>
                    <a:pt x="23" y="3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1" name="Freeform 575">
              <a:extLst>
                <a:ext uri="{FF2B5EF4-FFF2-40B4-BE49-F238E27FC236}">
                  <a16:creationId xmlns:a16="http://schemas.microsoft.com/office/drawing/2014/main" id="{CF3540F6-E993-E64D-9D91-2D63B67823AB}"/>
                </a:ext>
              </a:extLst>
            </p:cNvPr>
            <p:cNvSpPr>
              <a:spLocks/>
            </p:cNvSpPr>
            <p:nvPr/>
          </p:nvSpPr>
          <p:spPr bwMode="gray">
            <a:xfrm>
              <a:off x="9000916" y="1613128"/>
              <a:ext cx="5395" cy="16183"/>
            </a:xfrm>
            <a:custGeom>
              <a:avLst/>
              <a:gdLst>
                <a:gd name="T0" fmla="*/ 3 w 3"/>
                <a:gd name="T1" fmla="*/ 0 h 9"/>
                <a:gd name="T2" fmla="*/ 0 w 3"/>
                <a:gd name="T3" fmla="*/ 0 h 9"/>
                <a:gd name="T4" fmla="*/ 2 w 3"/>
                <a:gd name="T5" fmla="*/ 9 h 9"/>
                <a:gd name="T6" fmla="*/ 3 w 3"/>
                <a:gd name="T7" fmla="*/ 0 h 9"/>
              </a:gdLst>
              <a:ahLst/>
              <a:cxnLst>
                <a:cxn ang="0">
                  <a:pos x="T0" y="T1"/>
                </a:cxn>
                <a:cxn ang="0">
                  <a:pos x="T2" y="T3"/>
                </a:cxn>
                <a:cxn ang="0">
                  <a:pos x="T4" y="T5"/>
                </a:cxn>
                <a:cxn ang="0">
                  <a:pos x="T6" y="T7"/>
                </a:cxn>
              </a:cxnLst>
              <a:rect l="0" t="0" r="r" b="b"/>
              <a:pathLst>
                <a:path w="3" h="9">
                  <a:moveTo>
                    <a:pt x="3" y="0"/>
                  </a:moveTo>
                  <a:lnTo>
                    <a:pt x="0" y="0"/>
                  </a:lnTo>
                  <a:lnTo>
                    <a:pt x="2" y="9"/>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2" name="Freeform 576">
              <a:extLst>
                <a:ext uri="{FF2B5EF4-FFF2-40B4-BE49-F238E27FC236}">
                  <a16:creationId xmlns:a16="http://schemas.microsoft.com/office/drawing/2014/main" id="{31DBB589-94C5-B65C-DB40-181FC68B1C40}"/>
                </a:ext>
              </a:extLst>
            </p:cNvPr>
            <p:cNvSpPr>
              <a:spLocks/>
            </p:cNvSpPr>
            <p:nvPr/>
          </p:nvSpPr>
          <p:spPr bwMode="gray">
            <a:xfrm>
              <a:off x="8984735" y="1611331"/>
              <a:ext cx="19778" cy="35959"/>
            </a:xfrm>
            <a:custGeom>
              <a:avLst/>
              <a:gdLst>
                <a:gd name="T0" fmla="*/ 4 w 11"/>
                <a:gd name="T1" fmla="*/ 16 h 20"/>
                <a:gd name="T2" fmla="*/ 6 w 11"/>
                <a:gd name="T3" fmla="*/ 20 h 20"/>
                <a:gd name="T4" fmla="*/ 6 w 11"/>
                <a:gd name="T5" fmla="*/ 17 h 20"/>
                <a:gd name="T6" fmla="*/ 6 w 11"/>
                <a:gd name="T7" fmla="*/ 15 h 20"/>
                <a:gd name="T8" fmla="*/ 11 w 11"/>
                <a:gd name="T9" fmla="*/ 15 h 20"/>
                <a:gd name="T10" fmla="*/ 9 w 11"/>
                <a:gd name="T11" fmla="*/ 11 h 20"/>
                <a:gd name="T12" fmla="*/ 9 w 11"/>
                <a:gd name="T13" fmla="*/ 10 h 20"/>
                <a:gd name="T14" fmla="*/ 7 w 11"/>
                <a:gd name="T15" fmla="*/ 6 h 20"/>
                <a:gd name="T16" fmla="*/ 4 w 11"/>
                <a:gd name="T17" fmla="*/ 6 h 20"/>
                <a:gd name="T18" fmla="*/ 6 w 11"/>
                <a:gd name="T19" fmla="*/ 3 h 20"/>
                <a:gd name="T20" fmla="*/ 6 w 11"/>
                <a:gd name="T21" fmla="*/ 1 h 20"/>
                <a:gd name="T22" fmla="*/ 1 w 11"/>
                <a:gd name="T23" fmla="*/ 0 h 20"/>
                <a:gd name="T24" fmla="*/ 0 w 11"/>
                <a:gd name="T25" fmla="*/ 10 h 20"/>
                <a:gd name="T26" fmla="*/ 4 w 11"/>
                <a:gd name="T27" fmla="*/ 13 h 20"/>
                <a:gd name="T28" fmla="*/ 4 w 11"/>
                <a:gd name="T2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0">
                  <a:moveTo>
                    <a:pt x="4" y="16"/>
                  </a:moveTo>
                  <a:lnTo>
                    <a:pt x="6" y="20"/>
                  </a:lnTo>
                  <a:lnTo>
                    <a:pt x="6" y="17"/>
                  </a:lnTo>
                  <a:lnTo>
                    <a:pt x="6" y="15"/>
                  </a:lnTo>
                  <a:lnTo>
                    <a:pt x="11" y="15"/>
                  </a:lnTo>
                  <a:lnTo>
                    <a:pt x="9" y="11"/>
                  </a:lnTo>
                  <a:lnTo>
                    <a:pt x="9" y="10"/>
                  </a:lnTo>
                  <a:lnTo>
                    <a:pt x="7" y="6"/>
                  </a:lnTo>
                  <a:lnTo>
                    <a:pt x="4" y="6"/>
                  </a:lnTo>
                  <a:lnTo>
                    <a:pt x="6" y="3"/>
                  </a:lnTo>
                  <a:lnTo>
                    <a:pt x="6" y="1"/>
                  </a:lnTo>
                  <a:lnTo>
                    <a:pt x="1" y="0"/>
                  </a:lnTo>
                  <a:lnTo>
                    <a:pt x="0" y="10"/>
                  </a:lnTo>
                  <a:lnTo>
                    <a:pt x="4" y="13"/>
                  </a:lnTo>
                  <a:lnTo>
                    <a:pt x="4" y="1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3" name="Freeform 577">
              <a:extLst>
                <a:ext uri="{FF2B5EF4-FFF2-40B4-BE49-F238E27FC236}">
                  <a16:creationId xmlns:a16="http://schemas.microsoft.com/office/drawing/2014/main" id="{3C2A2017-EA77-FA88-9E75-68B1A7A17984}"/>
                </a:ext>
              </a:extLst>
            </p:cNvPr>
            <p:cNvSpPr>
              <a:spLocks/>
            </p:cNvSpPr>
            <p:nvPr/>
          </p:nvSpPr>
          <p:spPr bwMode="gray">
            <a:xfrm>
              <a:off x="9027887" y="1631107"/>
              <a:ext cx="8991" cy="10788"/>
            </a:xfrm>
            <a:custGeom>
              <a:avLst/>
              <a:gdLst>
                <a:gd name="T0" fmla="*/ 2 w 5"/>
                <a:gd name="T1" fmla="*/ 2 h 6"/>
                <a:gd name="T2" fmla="*/ 5 w 5"/>
                <a:gd name="T3" fmla="*/ 1 h 6"/>
                <a:gd name="T4" fmla="*/ 4 w 5"/>
                <a:gd name="T5" fmla="*/ 0 h 6"/>
                <a:gd name="T6" fmla="*/ 0 w 5"/>
                <a:gd name="T7" fmla="*/ 2 h 6"/>
                <a:gd name="T8" fmla="*/ 0 w 5"/>
                <a:gd name="T9" fmla="*/ 4 h 6"/>
                <a:gd name="T10" fmla="*/ 2 w 5"/>
                <a:gd name="T11" fmla="*/ 6 h 6"/>
                <a:gd name="T12" fmla="*/ 2 w 5"/>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2" y="2"/>
                  </a:moveTo>
                  <a:lnTo>
                    <a:pt x="5" y="1"/>
                  </a:lnTo>
                  <a:lnTo>
                    <a:pt x="4" y="0"/>
                  </a:lnTo>
                  <a:lnTo>
                    <a:pt x="0" y="2"/>
                  </a:lnTo>
                  <a:lnTo>
                    <a:pt x="0" y="4"/>
                  </a:lnTo>
                  <a:lnTo>
                    <a:pt x="2" y="6"/>
                  </a:lnTo>
                  <a:lnTo>
                    <a:pt x="2"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4" name="Freeform 578">
              <a:extLst>
                <a:ext uri="{FF2B5EF4-FFF2-40B4-BE49-F238E27FC236}">
                  <a16:creationId xmlns:a16="http://schemas.microsoft.com/office/drawing/2014/main" id="{D75DFC67-CD78-56B2-0B21-07ABCFFC5AFA}"/>
                </a:ext>
              </a:extLst>
            </p:cNvPr>
            <p:cNvSpPr>
              <a:spLocks/>
            </p:cNvSpPr>
            <p:nvPr/>
          </p:nvSpPr>
          <p:spPr bwMode="gray">
            <a:xfrm>
              <a:off x="8991926" y="1659875"/>
              <a:ext cx="7192" cy="12586"/>
            </a:xfrm>
            <a:custGeom>
              <a:avLst/>
              <a:gdLst>
                <a:gd name="T0" fmla="*/ 0 w 4"/>
                <a:gd name="T1" fmla="*/ 7 h 7"/>
                <a:gd name="T2" fmla="*/ 4 w 4"/>
                <a:gd name="T3" fmla="*/ 7 h 7"/>
                <a:gd name="T4" fmla="*/ 2 w 4"/>
                <a:gd name="T5" fmla="*/ 0 h 7"/>
                <a:gd name="T6" fmla="*/ 0 w 4"/>
                <a:gd name="T7" fmla="*/ 7 h 7"/>
              </a:gdLst>
              <a:ahLst/>
              <a:cxnLst>
                <a:cxn ang="0">
                  <a:pos x="T0" y="T1"/>
                </a:cxn>
                <a:cxn ang="0">
                  <a:pos x="T2" y="T3"/>
                </a:cxn>
                <a:cxn ang="0">
                  <a:pos x="T4" y="T5"/>
                </a:cxn>
                <a:cxn ang="0">
                  <a:pos x="T6" y="T7"/>
                </a:cxn>
              </a:cxnLst>
              <a:rect l="0" t="0" r="r" b="b"/>
              <a:pathLst>
                <a:path w="4" h="7">
                  <a:moveTo>
                    <a:pt x="0" y="7"/>
                  </a:moveTo>
                  <a:lnTo>
                    <a:pt x="4" y="7"/>
                  </a:lnTo>
                  <a:lnTo>
                    <a:pt x="2" y="0"/>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5" name="Freeform 579">
              <a:extLst>
                <a:ext uri="{FF2B5EF4-FFF2-40B4-BE49-F238E27FC236}">
                  <a16:creationId xmlns:a16="http://schemas.microsoft.com/office/drawing/2014/main" id="{2A7C0961-2D1D-8935-04B8-F2E2A1A6EED4}"/>
                </a:ext>
              </a:extLst>
            </p:cNvPr>
            <p:cNvSpPr>
              <a:spLocks/>
            </p:cNvSpPr>
            <p:nvPr/>
          </p:nvSpPr>
          <p:spPr bwMode="gray">
            <a:xfrm>
              <a:off x="8972149" y="1613128"/>
              <a:ext cx="19778" cy="59334"/>
            </a:xfrm>
            <a:custGeom>
              <a:avLst/>
              <a:gdLst>
                <a:gd name="T0" fmla="*/ 14 w 35"/>
                <a:gd name="T1" fmla="*/ 46 h 97"/>
                <a:gd name="T2" fmla="*/ 20 w 35"/>
                <a:gd name="T3" fmla="*/ 85 h 97"/>
                <a:gd name="T4" fmla="*/ 27 w 35"/>
                <a:gd name="T5" fmla="*/ 97 h 97"/>
                <a:gd name="T6" fmla="*/ 35 w 35"/>
                <a:gd name="T7" fmla="*/ 78 h 97"/>
                <a:gd name="T8" fmla="*/ 28 w 35"/>
                <a:gd name="T9" fmla="*/ 66 h 97"/>
                <a:gd name="T10" fmla="*/ 29 w 35"/>
                <a:gd name="T11" fmla="*/ 55 h 97"/>
                <a:gd name="T12" fmla="*/ 19 w 35"/>
                <a:gd name="T13" fmla="*/ 31 h 97"/>
                <a:gd name="T14" fmla="*/ 13 w 35"/>
                <a:gd name="T15" fmla="*/ 0 h 97"/>
                <a:gd name="T16" fmla="*/ 5 w 35"/>
                <a:gd name="T17" fmla="*/ 11 h 97"/>
                <a:gd name="T18" fmla="*/ 0 w 35"/>
                <a:gd name="T19" fmla="*/ 26 h 97"/>
                <a:gd name="T20" fmla="*/ 14 w 35"/>
                <a:gd name="T21" fmla="*/ 4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97">
                  <a:moveTo>
                    <a:pt x="14" y="46"/>
                  </a:moveTo>
                  <a:cubicBezTo>
                    <a:pt x="14" y="58"/>
                    <a:pt x="17" y="81"/>
                    <a:pt x="20" y="85"/>
                  </a:cubicBezTo>
                  <a:cubicBezTo>
                    <a:pt x="24" y="85"/>
                    <a:pt x="27" y="97"/>
                    <a:pt x="27" y="97"/>
                  </a:cubicBezTo>
                  <a:cubicBezTo>
                    <a:pt x="27" y="97"/>
                    <a:pt x="35" y="85"/>
                    <a:pt x="35" y="78"/>
                  </a:cubicBezTo>
                  <a:cubicBezTo>
                    <a:pt x="32" y="70"/>
                    <a:pt x="28" y="66"/>
                    <a:pt x="28" y="66"/>
                  </a:cubicBezTo>
                  <a:cubicBezTo>
                    <a:pt x="28" y="66"/>
                    <a:pt x="33" y="59"/>
                    <a:pt x="29" y="55"/>
                  </a:cubicBezTo>
                  <a:cubicBezTo>
                    <a:pt x="25" y="51"/>
                    <a:pt x="19" y="31"/>
                    <a:pt x="19" y="31"/>
                  </a:cubicBezTo>
                  <a:cubicBezTo>
                    <a:pt x="19" y="31"/>
                    <a:pt x="20" y="1"/>
                    <a:pt x="13" y="0"/>
                  </a:cubicBezTo>
                  <a:cubicBezTo>
                    <a:pt x="9" y="0"/>
                    <a:pt x="5" y="11"/>
                    <a:pt x="5" y="11"/>
                  </a:cubicBezTo>
                  <a:cubicBezTo>
                    <a:pt x="0" y="26"/>
                    <a:pt x="0" y="26"/>
                    <a:pt x="0" y="26"/>
                  </a:cubicBezTo>
                  <a:cubicBezTo>
                    <a:pt x="4" y="38"/>
                    <a:pt x="15" y="35"/>
                    <a:pt x="14" y="4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0" name="Freeform 584">
              <a:extLst>
                <a:ext uri="{FF2B5EF4-FFF2-40B4-BE49-F238E27FC236}">
                  <a16:creationId xmlns:a16="http://schemas.microsoft.com/office/drawing/2014/main" id="{E1E24FAE-D7F9-C089-9EAF-F08722A8DE0F}"/>
                </a:ext>
              </a:extLst>
            </p:cNvPr>
            <p:cNvSpPr>
              <a:spLocks/>
            </p:cNvSpPr>
            <p:nvPr/>
          </p:nvSpPr>
          <p:spPr bwMode="gray">
            <a:xfrm>
              <a:off x="10302651" y="2855532"/>
              <a:ext cx="891797" cy="773131"/>
            </a:xfrm>
            <a:custGeom>
              <a:avLst/>
              <a:gdLst>
                <a:gd name="T0" fmla="*/ 0 w 1495"/>
                <a:gd name="T1" fmla="*/ 447 h 1295"/>
                <a:gd name="T2" fmla="*/ 79 w 1495"/>
                <a:gd name="T3" fmla="*/ 585 h 1295"/>
                <a:gd name="T4" fmla="*/ 92 w 1495"/>
                <a:gd name="T5" fmla="*/ 727 h 1295"/>
                <a:gd name="T6" fmla="*/ 131 w 1495"/>
                <a:gd name="T7" fmla="*/ 843 h 1295"/>
                <a:gd name="T8" fmla="*/ 106 w 1495"/>
                <a:gd name="T9" fmla="*/ 911 h 1295"/>
                <a:gd name="T10" fmla="*/ 132 w 1495"/>
                <a:gd name="T11" fmla="*/ 901 h 1295"/>
                <a:gd name="T12" fmla="*/ 184 w 1495"/>
                <a:gd name="T13" fmla="*/ 926 h 1295"/>
                <a:gd name="T14" fmla="*/ 286 w 1495"/>
                <a:gd name="T15" fmla="*/ 969 h 1295"/>
                <a:gd name="T16" fmla="*/ 356 w 1495"/>
                <a:gd name="T17" fmla="*/ 992 h 1295"/>
                <a:gd name="T18" fmla="*/ 371 w 1495"/>
                <a:gd name="T19" fmla="*/ 1092 h 1295"/>
                <a:gd name="T20" fmla="*/ 443 w 1495"/>
                <a:gd name="T21" fmla="*/ 1072 h 1295"/>
                <a:gd name="T22" fmla="*/ 419 w 1495"/>
                <a:gd name="T23" fmla="*/ 1018 h 1295"/>
                <a:gd name="T24" fmla="*/ 541 w 1495"/>
                <a:gd name="T25" fmla="*/ 1046 h 1295"/>
                <a:gd name="T26" fmla="*/ 553 w 1495"/>
                <a:gd name="T27" fmla="*/ 1100 h 1295"/>
                <a:gd name="T28" fmla="*/ 587 w 1495"/>
                <a:gd name="T29" fmla="*/ 1106 h 1295"/>
                <a:gd name="T30" fmla="*/ 688 w 1495"/>
                <a:gd name="T31" fmla="*/ 1183 h 1295"/>
                <a:gd name="T32" fmla="*/ 742 w 1495"/>
                <a:gd name="T33" fmla="*/ 1224 h 1295"/>
                <a:gd name="T34" fmla="*/ 787 w 1495"/>
                <a:gd name="T35" fmla="*/ 1223 h 1295"/>
                <a:gd name="T36" fmla="*/ 836 w 1495"/>
                <a:gd name="T37" fmla="*/ 1232 h 1295"/>
                <a:gd name="T38" fmla="*/ 865 w 1495"/>
                <a:gd name="T39" fmla="*/ 1238 h 1295"/>
                <a:gd name="T40" fmla="*/ 893 w 1495"/>
                <a:gd name="T41" fmla="*/ 1277 h 1295"/>
                <a:gd name="T42" fmla="*/ 978 w 1495"/>
                <a:gd name="T43" fmla="*/ 1232 h 1295"/>
                <a:gd name="T44" fmla="*/ 1068 w 1495"/>
                <a:gd name="T45" fmla="*/ 1228 h 1295"/>
                <a:gd name="T46" fmla="*/ 1169 w 1495"/>
                <a:gd name="T47" fmla="*/ 1225 h 1295"/>
                <a:gd name="T48" fmla="*/ 1301 w 1495"/>
                <a:gd name="T49" fmla="*/ 1278 h 1295"/>
                <a:gd name="T50" fmla="*/ 1321 w 1495"/>
                <a:gd name="T51" fmla="*/ 1256 h 1295"/>
                <a:gd name="T52" fmla="*/ 1346 w 1495"/>
                <a:gd name="T53" fmla="*/ 1111 h 1295"/>
                <a:gd name="T54" fmla="*/ 1481 w 1495"/>
                <a:gd name="T55" fmla="*/ 950 h 1295"/>
                <a:gd name="T56" fmla="*/ 1481 w 1495"/>
                <a:gd name="T57" fmla="*/ 858 h 1295"/>
                <a:gd name="T58" fmla="*/ 1429 w 1495"/>
                <a:gd name="T59" fmla="*/ 779 h 1295"/>
                <a:gd name="T60" fmla="*/ 1401 w 1495"/>
                <a:gd name="T61" fmla="*/ 734 h 1295"/>
                <a:gd name="T62" fmla="*/ 1375 w 1495"/>
                <a:gd name="T63" fmla="*/ 654 h 1295"/>
                <a:gd name="T64" fmla="*/ 1389 w 1495"/>
                <a:gd name="T65" fmla="*/ 590 h 1295"/>
                <a:gd name="T66" fmla="*/ 1335 w 1495"/>
                <a:gd name="T67" fmla="*/ 465 h 1295"/>
                <a:gd name="T68" fmla="*/ 1403 w 1495"/>
                <a:gd name="T69" fmla="*/ 368 h 1295"/>
                <a:gd name="T70" fmla="*/ 1342 w 1495"/>
                <a:gd name="T71" fmla="*/ 235 h 1295"/>
                <a:gd name="T72" fmla="*/ 1295 w 1495"/>
                <a:gd name="T73" fmla="*/ 133 h 1295"/>
                <a:gd name="T74" fmla="*/ 1217 w 1495"/>
                <a:gd name="T75" fmla="*/ 46 h 1295"/>
                <a:gd name="T76" fmla="*/ 1063 w 1495"/>
                <a:gd name="T77" fmla="*/ 82 h 1295"/>
                <a:gd name="T78" fmla="*/ 1055 w 1495"/>
                <a:gd name="T79" fmla="*/ 82 h 1295"/>
                <a:gd name="T80" fmla="*/ 1041 w 1495"/>
                <a:gd name="T81" fmla="*/ 84 h 1295"/>
                <a:gd name="T82" fmla="*/ 1032 w 1495"/>
                <a:gd name="T83" fmla="*/ 85 h 1295"/>
                <a:gd name="T84" fmla="*/ 1020 w 1495"/>
                <a:gd name="T85" fmla="*/ 85 h 1295"/>
                <a:gd name="T86" fmla="*/ 1012 w 1495"/>
                <a:gd name="T87" fmla="*/ 85 h 1295"/>
                <a:gd name="T88" fmla="*/ 1000 w 1495"/>
                <a:gd name="T89" fmla="*/ 85 h 1295"/>
                <a:gd name="T90" fmla="*/ 795 w 1495"/>
                <a:gd name="T91" fmla="*/ 83 h 1295"/>
                <a:gd name="T92" fmla="*/ 752 w 1495"/>
                <a:gd name="T93" fmla="*/ 112 h 1295"/>
                <a:gd name="T94" fmla="*/ 718 w 1495"/>
                <a:gd name="T95" fmla="*/ 122 h 1295"/>
                <a:gd name="T96" fmla="*/ 804 w 1495"/>
                <a:gd name="T97" fmla="*/ 41 h 1295"/>
                <a:gd name="T98" fmla="*/ 648 w 1495"/>
                <a:gd name="T99" fmla="*/ 99 h 1295"/>
                <a:gd name="T100" fmla="*/ 654 w 1495"/>
                <a:gd name="T101" fmla="*/ 53 h 1295"/>
                <a:gd name="T102" fmla="*/ 581 w 1495"/>
                <a:gd name="T103" fmla="*/ 0 h 1295"/>
                <a:gd name="T104" fmla="*/ 395 w 1495"/>
                <a:gd name="T105" fmla="*/ 60 h 1295"/>
                <a:gd name="T106" fmla="*/ 304 w 1495"/>
                <a:gd name="T107" fmla="*/ 117 h 1295"/>
                <a:gd name="T108" fmla="*/ 99 w 1495"/>
                <a:gd name="T109" fmla="*/ 157 h 1295"/>
                <a:gd name="T110" fmla="*/ 37 w 1495"/>
                <a:gd name="T111" fmla="*/ 196 h 1295"/>
                <a:gd name="T112" fmla="*/ 83 w 1495"/>
                <a:gd name="T113" fmla="*/ 172 h 1295"/>
                <a:gd name="T114" fmla="*/ 78 w 1495"/>
                <a:gd name="T115" fmla="*/ 202 h 1295"/>
                <a:gd name="T116" fmla="*/ 99 w 1495"/>
                <a:gd name="T117" fmla="*/ 318 h 1295"/>
                <a:gd name="T118" fmla="*/ 75 w 1495"/>
                <a:gd name="T119" fmla="*/ 267 h 1295"/>
                <a:gd name="T120" fmla="*/ 39 w 1495"/>
                <a:gd name="T121" fmla="*/ 32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95" h="1295">
                  <a:moveTo>
                    <a:pt x="36" y="391"/>
                  </a:moveTo>
                  <a:cubicBezTo>
                    <a:pt x="32" y="406"/>
                    <a:pt x="17" y="406"/>
                    <a:pt x="9" y="417"/>
                  </a:cubicBezTo>
                  <a:cubicBezTo>
                    <a:pt x="5" y="420"/>
                    <a:pt x="4" y="439"/>
                    <a:pt x="0" y="447"/>
                  </a:cubicBezTo>
                  <a:cubicBezTo>
                    <a:pt x="33" y="452"/>
                    <a:pt x="76" y="504"/>
                    <a:pt x="74" y="531"/>
                  </a:cubicBezTo>
                  <a:cubicBezTo>
                    <a:pt x="74" y="542"/>
                    <a:pt x="59" y="538"/>
                    <a:pt x="62" y="557"/>
                  </a:cubicBezTo>
                  <a:cubicBezTo>
                    <a:pt x="65" y="572"/>
                    <a:pt x="65" y="576"/>
                    <a:pt x="79" y="585"/>
                  </a:cubicBezTo>
                  <a:cubicBezTo>
                    <a:pt x="90" y="589"/>
                    <a:pt x="78" y="623"/>
                    <a:pt x="81" y="623"/>
                  </a:cubicBezTo>
                  <a:cubicBezTo>
                    <a:pt x="100" y="628"/>
                    <a:pt x="83" y="661"/>
                    <a:pt x="75" y="672"/>
                  </a:cubicBezTo>
                  <a:cubicBezTo>
                    <a:pt x="60" y="691"/>
                    <a:pt x="85" y="707"/>
                    <a:pt x="92" y="727"/>
                  </a:cubicBezTo>
                  <a:cubicBezTo>
                    <a:pt x="99" y="735"/>
                    <a:pt x="79" y="749"/>
                    <a:pt x="90" y="757"/>
                  </a:cubicBezTo>
                  <a:cubicBezTo>
                    <a:pt x="105" y="765"/>
                    <a:pt x="124" y="763"/>
                    <a:pt x="123" y="785"/>
                  </a:cubicBezTo>
                  <a:cubicBezTo>
                    <a:pt x="122" y="808"/>
                    <a:pt x="140" y="821"/>
                    <a:pt x="131" y="843"/>
                  </a:cubicBezTo>
                  <a:cubicBezTo>
                    <a:pt x="131" y="858"/>
                    <a:pt x="121" y="896"/>
                    <a:pt x="110" y="903"/>
                  </a:cubicBezTo>
                  <a:cubicBezTo>
                    <a:pt x="110" y="907"/>
                    <a:pt x="110" y="907"/>
                    <a:pt x="107" y="910"/>
                  </a:cubicBezTo>
                  <a:cubicBezTo>
                    <a:pt x="107" y="910"/>
                    <a:pt x="107" y="911"/>
                    <a:pt x="106" y="911"/>
                  </a:cubicBezTo>
                  <a:cubicBezTo>
                    <a:pt x="131" y="920"/>
                    <a:pt x="131" y="920"/>
                    <a:pt x="131" y="920"/>
                  </a:cubicBezTo>
                  <a:cubicBezTo>
                    <a:pt x="139" y="912"/>
                    <a:pt x="139" y="912"/>
                    <a:pt x="139" y="912"/>
                  </a:cubicBezTo>
                  <a:cubicBezTo>
                    <a:pt x="132" y="901"/>
                    <a:pt x="132" y="901"/>
                    <a:pt x="132" y="901"/>
                  </a:cubicBezTo>
                  <a:cubicBezTo>
                    <a:pt x="140" y="890"/>
                    <a:pt x="140" y="890"/>
                    <a:pt x="140" y="890"/>
                  </a:cubicBezTo>
                  <a:cubicBezTo>
                    <a:pt x="189" y="899"/>
                    <a:pt x="189" y="899"/>
                    <a:pt x="189" y="899"/>
                  </a:cubicBezTo>
                  <a:cubicBezTo>
                    <a:pt x="184" y="926"/>
                    <a:pt x="184" y="926"/>
                    <a:pt x="184" y="926"/>
                  </a:cubicBezTo>
                  <a:cubicBezTo>
                    <a:pt x="208" y="954"/>
                    <a:pt x="208" y="954"/>
                    <a:pt x="208" y="954"/>
                  </a:cubicBezTo>
                  <a:cubicBezTo>
                    <a:pt x="209" y="939"/>
                    <a:pt x="209" y="939"/>
                    <a:pt x="209" y="939"/>
                  </a:cubicBezTo>
                  <a:cubicBezTo>
                    <a:pt x="286" y="969"/>
                    <a:pt x="286" y="969"/>
                    <a:pt x="286" y="969"/>
                  </a:cubicBezTo>
                  <a:cubicBezTo>
                    <a:pt x="289" y="992"/>
                    <a:pt x="289" y="992"/>
                    <a:pt x="289" y="992"/>
                  </a:cubicBezTo>
                  <a:cubicBezTo>
                    <a:pt x="335" y="971"/>
                    <a:pt x="335" y="971"/>
                    <a:pt x="335" y="971"/>
                  </a:cubicBezTo>
                  <a:cubicBezTo>
                    <a:pt x="356" y="992"/>
                    <a:pt x="356" y="992"/>
                    <a:pt x="356" y="992"/>
                  </a:cubicBezTo>
                  <a:cubicBezTo>
                    <a:pt x="356" y="992"/>
                    <a:pt x="310" y="1016"/>
                    <a:pt x="317" y="1028"/>
                  </a:cubicBezTo>
                  <a:cubicBezTo>
                    <a:pt x="324" y="1036"/>
                    <a:pt x="355" y="1034"/>
                    <a:pt x="358" y="1045"/>
                  </a:cubicBezTo>
                  <a:cubicBezTo>
                    <a:pt x="365" y="1057"/>
                    <a:pt x="360" y="1084"/>
                    <a:pt x="371" y="1092"/>
                  </a:cubicBezTo>
                  <a:cubicBezTo>
                    <a:pt x="381" y="1100"/>
                    <a:pt x="404" y="1093"/>
                    <a:pt x="408" y="1086"/>
                  </a:cubicBezTo>
                  <a:cubicBezTo>
                    <a:pt x="409" y="1078"/>
                    <a:pt x="428" y="1068"/>
                    <a:pt x="428" y="1068"/>
                  </a:cubicBezTo>
                  <a:cubicBezTo>
                    <a:pt x="443" y="1072"/>
                    <a:pt x="443" y="1072"/>
                    <a:pt x="443" y="1072"/>
                  </a:cubicBezTo>
                  <a:cubicBezTo>
                    <a:pt x="443" y="1072"/>
                    <a:pt x="451" y="1054"/>
                    <a:pt x="443" y="1053"/>
                  </a:cubicBezTo>
                  <a:cubicBezTo>
                    <a:pt x="436" y="1053"/>
                    <a:pt x="422" y="1041"/>
                    <a:pt x="422" y="1041"/>
                  </a:cubicBezTo>
                  <a:cubicBezTo>
                    <a:pt x="419" y="1018"/>
                    <a:pt x="419" y="1018"/>
                    <a:pt x="419" y="1018"/>
                  </a:cubicBezTo>
                  <a:cubicBezTo>
                    <a:pt x="419" y="1018"/>
                    <a:pt x="445" y="1026"/>
                    <a:pt x="467" y="1035"/>
                  </a:cubicBezTo>
                  <a:cubicBezTo>
                    <a:pt x="485" y="1044"/>
                    <a:pt x="499" y="1063"/>
                    <a:pt x="499" y="1063"/>
                  </a:cubicBezTo>
                  <a:cubicBezTo>
                    <a:pt x="541" y="1046"/>
                    <a:pt x="541" y="1046"/>
                    <a:pt x="541" y="1046"/>
                  </a:cubicBezTo>
                  <a:cubicBezTo>
                    <a:pt x="555" y="1066"/>
                    <a:pt x="555" y="1066"/>
                    <a:pt x="555" y="1066"/>
                  </a:cubicBezTo>
                  <a:cubicBezTo>
                    <a:pt x="539" y="1081"/>
                    <a:pt x="539" y="1081"/>
                    <a:pt x="539" y="1081"/>
                  </a:cubicBezTo>
                  <a:cubicBezTo>
                    <a:pt x="539" y="1081"/>
                    <a:pt x="550" y="1096"/>
                    <a:pt x="553" y="1100"/>
                  </a:cubicBezTo>
                  <a:cubicBezTo>
                    <a:pt x="561" y="1105"/>
                    <a:pt x="567" y="1128"/>
                    <a:pt x="567" y="1128"/>
                  </a:cubicBezTo>
                  <a:cubicBezTo>
                    <a:pt x="582" y="1121"/>
                    <a:pt x="582" y="1121"/>
                    <a:pt x="582" y="1121"/>
                  </a:cubicBezTo>
                  <a:cubicBezTo>
                    <a:pt x="587" y="1106"/>
                    <a:pt x="587" y="1106"/>
                    <a:pt x="587" y="1106"/>
                  </a:cubicBezTo>
                  <a:cubicBezTo>
                    <a:pt x="642" y="1128"/>
                    <a:pt x="642" y="1128"/>
                    <a:pt x="642" y="1128"/>
                  </a:cubicBezTo>
                  <a:cubicBezTo>
                    <a:pt x="679" y="1137"/>
                    <a:pt x="679" y="1137"/>
                    <a:pt x="679" y="1137"/>
                  </a:cubicBezTo>
                  <a:cubicBezTo>
                    <a:pt x="688" y="1183"/>
                    <a:pt x="688" y="1183"/>
                    <a:pt x="688" y="1183"/>
                  </a:cubicBezTo>
                  <a:cubicBezTo>
                    <a:pt x="718" y="1185"/>
                    <a:pt x="718" y="1185"/>
                    <a:pt x="718" y="1185"/>
                  </a:cubicBezTo>
                  <a:cubicBezTo>
                    <a:pt x="731" y="1224"/>
                    <a:pt x="731" y="1224"/>
                    <a:pt x="731" y="1224"/>
                  </a:cubicBezTo>
                  <a:cubicBezTo>
                    <a:pt x="742" y="1224"/>
                    <a:pt x="742" y="1224"/>
                    <a:pt x="742" y="1224"/>
                  </a:cubicBezTo>
                  <a:cubicBezTo>
                    <a:pt x="741" y="1251"/>
                    <a:pt x="741" y="1251"/>
                    <a:pt x="741" y="1251"/>
                  </a:cubicBezTo>
                  <a:cubicBezTo>
                    <a:pt x="775" y="1249"/>
                    <a:pt x="775" y="1249"/>
                    <a:pt x="775" y="1249"/>
                  </a:cubicBezTo>
                  <a:cubicBezTo>
                    <a:pt x="787" y="1223"/>
                    <a:pt x="787" y="1223"/>
                    <a:pt x="787" y="1223"/>
                  </a:cubicBezTo>
                  <a:cubicBezTo>
                    <a:pt x="799" y="1223"/>
                    <a:pt x="799" y="1223"/>
                    <a:pt x="799" y="1223"/>
                  </a:cubicBezTo>
                  <a:cubicBezTo>
                    <a:pt x="799" y="1223"/>
                    <a:pt x="803" y="1200"/>
                    <a:pt x="818" y="1201"/>
                  </a:cubicBezTo>
                  <a:cubicBezTo>
                    <a:pt x="833" y="1206"/>
                    <a:pt x="836" y="1232"/>
                    <a:pt x="836" y="1232"/>
                  </a:cubicBezTo>
                  <a:cubicBezTo>
                    <a:pt x="850" y="1233"/>
                    <a:pt x="850" y="1233"/>
                    <a:pt x="850" y="1233"/>
                  </a:cubicBezTo>
                  <a:cubicBezTo>
                    <a:pt x="846" y="1244"/>
                    <a:pt x="846" y="1244"/>
                    <a:pt x="846" y="1244"/>
                  </a:cubicBezTo>
                  <a:cubicBezTo>
                    <a:pt x="865" y="1238"/>
                    <a:pt x="865" y="1238"/>
                    <a:pt x="865" y="1238"/>
                  </a:cubicBezTo>
                  <a:cubicBezTo>
                    <a:pt x="875" y="1261"/>
                    <a:pt x="875" y="1261"/>
                    <a:pt x="875" y="1261"/>
                  </a:cubicBezTo>
                  <a:cubicBezTo>
                    <a:pt x="875" y="1261"/>
                    <a:pt x="859" y="1287"/>
                    <a:pt x="870" y="1288"/>
                  </a:cubicBezTo>
                  <a:cubicBezTo>
                    <a:pt x="878" y="1288"/>
                    <a:pt x="893" y="1277"/>
                    <a:pt x="893" y="1277"/>
                  </a:cubicBezTo>
                  <a:cubicBezTo>
                    <a:pt x="919" y="1290"/>
                    <a:pt x="919" y="1290"/>
                    <a:pt x="919" y="1290"/>
                  </a:cubicBezTo>
                  <a:cubicBezTo>
                    <a:pt x="932" y="1256"/>
                    <a:pt x="932" y="1256"/>
                    <a:pt x="932" y="1256"/>
                  </a:cubicBezTo>
                  <a:cubicBezTo>
                    <a:pt x="932" y="1256"/>
                    <a:pt x="951" y="1234"/>
                    <a:pt x="978" y="1232"/>
                  </a:cubicBezTo>
                  <a:cubicBezTo>
                    <a:pt x="1019" y="1234"/>
                    <a:pt x="1019" y="1234"/>
                    <a:pt x="1019" y="1234"/>
                  </a:cubicBezTo>
                  <a:cubicBezTo>
                    <a:pt x="1019" y="1234"/>
                    <a:pt x="1022" y="1257"/>
                    <a:pt x="1044" y="1254"/>
                  </a:cubicBezTo>
                  <a:cubicBezTo>
                    <a:pt x="1063" y="1251"/>
                    <a:pt x="1068" y="1228"/>
                    <a:pt x="1068" y="1228"/>
                  </a:cubicBezTo>
                  <a:cubicBezTo>
                    <a:pt x="1068" y="1228"/>
                    <a:pt x="1087" y="1214"/>
                    <a:pt x="1113" y="1211"/>
                  </a:cubicBezTo>
                  <a:cubicBezTo>
                    <a:pt x="1140" y="1209"/>
                    <a:pt x="1151" y="1213"/>
                    <a:pt x="1151" y="1213"/>
                  </a:cubicBezTo>
                  <a:cubicBezTo>
                    <a:pt x="1169" y="1225"/>
                    <a:pt x="1169" y="1225"/>
                    <a:pt x="1169" y="1225"/>
                  </a:cubicBezTo>
                  <a:cubicBezTo>
                    <a:pt x="1169" y="1225"/>
                    <a:pt x="1210" y="1227"/>
                    <a:pt x="1213" y="1235"/>
                  </a:cubicBezTo>
                  <a:cubicBezTo>
                    <a:pt x="1217" y="1243"/>
                    <a:pt x="1216" y="1262"/>
                    <a:pt x="1216" y="1262"/>
                  </a:cubicBezTo>
                  <a:cubicBezTo>
                    <a:pt x="1301" y="1278"/>
                    <a:pt x="1301" y="1278"/>
                    <a:pt x="1301" y="1278"/>
                  </a:cubicBezTo>
                  <a:cubicBezTo>
                    <a:pt x="1349" y="1295"/>
                    <a:pt x="1349" y="1295"/>
                    <a:pt x="1349" y="1295"/>
                  </a:cubicBezTo>
                  <a:cubicBezTo>
                    <a:pt x="1354" y="1276"/>
                    <a:pt x="1354" y="1276"/>
                    <a:pt x="1354" y="1276"/>
                  </a:cubicBezTo>
                  <a:cubicBezTo>
                    <a:pt x="1354" y="1276"/>
                    <a:pt x="1324" y="1267"/>
                    <a:pt x="1321" y="1256"/>
                  </a:cubicBezTo>
                  <a:cubicBezTo>
                    <a:pt x="1318" y="1244"/>
                    <a:pt x="1322" y="1233"/>
                    <a:pt x="1319" y="1217"/>
                  </a:cubicBezTo>
                  <a:cubicBezTo>
                    <a:pt x="1320" y="1198"/>
                    <a:pt x="1299" y="1170"/>
                    <a:pt x="1299" y="1170"/>
                  </a:cubicBezTo>
                  <a:cubicBezTo>
                    <a:pt x="1299" y="1170"/>
                    <a:pt x="1334" y="1138"/>
                    <a:pt x="1346" y="1111"/>
                  </a:cubicBezTo>
                  <a:cubicBezTo>
                    <a:pt x="1362" y="1089"/>
                    <a:pt x="1368" y="1051"/>
                    <a:pt x="1380" y="1037"/>
                  </a:cubicBezTo>
                  <a:cubicBezTo>
                    <a:pt x="1391" y="1026"/>
                    <a:pt x="1432" y="963"/>
                    <a:pt x="1432" y="963"/>
                  </a:cubicBezTo>
                  <a:cubicBezTo>
                    <a:pt x="1432" y="963"/>
                    <a:pt x="1468" y="976"/>
                    <a:pt x="1481" y="950"/>
                  </a:cubicBezTo>
                  <a:cubicBezTo>
                    <a:pt x="1493" y="923"/>
                    <a:pt x="1495" y="893"/>
                    <a:pt x="1484" y="885"/>
                  </a:cubicBezTo>
                  <a:cubicBezTo>
                    <a:pt x="1473" y="880"/>
                    <a:pt x="1458" y="876"/>
                    <a:pt x="1462" y="868"/>
                  </a:cubicBezTo>
                  <a:cubicBezTo>
                    <a:pt x="1466" y="861"/>
                    <a:pt x="1481" y="858"/>
                    <a:pt x="1481" y="858"/>
                  </a:cubicBezTo>
                  <a:cubicBezTo>
                    <a:pt x="1493" y="847"/>
                    <a:pt x="1493" y="847"/>
                    <a:pt x="1493" y="847"/>
                  </a:cubicBezTo>
                  <a:cubicBezTo>
                    <a:pt x="1493" y="847"/>
                    <a:pt x="1464" y="834"/>
                    <a:pt x="1457" y="822"/>
                  </a:cubicBezTo>
                  <a:cubicBezTo>
                    <a:pt x="1450" y="810"/>
                    <a:pt x="1443" y="791"/>
                    <a:pt x="1429" y="779"/>
                  </a:cubicBezTo>
                  <a:cubicBezTo>
                    <a:pt x="1414" y="767"/>
                    <a:pt x="1400" y="762"/>
                    <a:pt x="1401" y="739"/>
                  </a:cubicBezTo>
                  <a:cubicBezTo>
                    <a:pt x="1401" y="737"/>
                    <a:pt x="1401" y="735"/>
                    <a:pt x="1401" y="734"/>
                  </a:cubicBezTo>
                  <a:cubicBezTo>
                    <a:pt x="1401" y="734"/>
                    <a:pt x="1401" y="734"/>
                    <a:pt x="1401" y="734"/>
                  </a:cubicBezTo>
                  <a:cubicBezTo>
                    <a:pt x="1400" y="727"/>
                    <a:pt x="1398" y="721"/>
                    <a:pt x="1396" y="715"/>
                  </a:cubicBezTo>
                  <a:cubicBezTo>
                    <a:pt x="1392" y="704"/>
                    <a:pt x="1385" y="694"/>
                    <a:pt x="1381" y="685"/>
                  </a:cubicBezTo>
                  <a:cubicBezTo>
                    <a:pt x="1374" y="673"/>
                    <a:pt x="1375" y="654"/>
                    <a:pt x="1375" y="654"/>
                  </a:cubicBezTo>
                  <a:cubicBezTo>
                    <a:pt x="1390" y="639"/>
                    <a:pt x="1390" y="639"/>
                    <a:pt x="1390" y="639"/>
                  </a:cubicBezTo>
                  <a:cubicBezTo>
                    <a:pt x="1380" y="616"/>
                    <a:pt x="1380" y="616"/>
                    <a:pt x="1380" y="616"/>
                  </a:cubicBezTo>
                  <a:cubicBezTo>
                    <a:pt x="1389" y="590"/>
                    <a:pt x="1389" y="590"/>
                    <a:pt x="1389" y="590"/>
                  </a:cubicBezTo>
                  <a:cubicBezTo>
                    <a:pt x="1389" y="590"/>
                    <a:pt x="1397" y="571"/>
                    <a:pt x="1364" y="558"/>
                  </a:cubicBezTo>
                  <a:cubicBezTo>
                    <a:pt x="1331" y="541"/>
                    <a:pt x="1305" y="540"/>
                    <a:pt x="1305" y="540"/>
                  </a:cubicBezTo>
                  <a:cubicBezTo>
                    <a:pt x="1305" y="540"/>
                    <a:pt x="1311" y="486"/>
                    <a:pt x="1335" y="465"/>
                  </a:cubicBezTo>
                  <a:cubicBezTo>
                    <a:pt x="1358" y="447"/>
                    <a:pt x="1400" y="437"/>
                    <a:pt x="1400" y="437"/>
                  </a:cubicBezTo>
                  <a:cubicBezTo>
                    <a:pt x="1395" y="372"/>
                    <a:pt x="1395" y="372"/>
                    <a:pt x="1395" y="372"/>
                  </a:cubicBezTo>
                  <a:cubicBezTo>
                    <a:pt x="1403" y="368"/>
                    <a:pt x="1403" y="368"/>
                    <a:pt x="1403" y="368"/>
                  </a:cubicBezTo>
                  <a:cubicBezTo>
                    <a:pt x="1386" y="337"/>
                    <a:pt x="1386" y="337"/>
                    <a:pt x="1386" y="337"/>
                  </a:cubicBezTo>
                  <a:cubicBezTo>
                    <a:pt x="1394" y="322"/>
                    <a:pt x="1394" y="322"/>
                    <a:pt x="1394" y="322"/>
                  </a:cubicBezTo>
                  <a:cubicBezTo>
                    <a:pt x="1394" y="322"/>
                    <a:pt x="1344" y="258"/>
                    <a:pt x="1342" y="235"/>
                  </a:cubicBezTo>
                  <a:cubicBezTo>
                    <a:pt x="1335" y="212"/>
                    <a:pt x="1332" y="193"/>
                    <a:pt x="1332" y="193"/>
                  </a:cubicBezTo>
                  <a:cubicBezTo>
                    <a:pt x="1308" y="146"/>
                    <a:pt x="1308" y="146"/>
                    <a:pt x="1308" y="146"/>
                  </a:cubicBezTo>
                  <a:cubicBezTo>
                    <a:pt x="1295" y="133"/>
                    <a:pt x="1295" y="133"/>
                    <a:pt x="1295" y="133"/>
                  </a:cubicBezTo>
                  <a:cubicBezTo>
                    <a:pt x="1295" y="133"/>
                    <a:pt x="1309" y="122"/>
                    <a:pt x="1295" y="94"/>
                  </a:cubicBezTo>
                  <a:cubicBezTo>
                    <a:pt x="1280" y="66"/>
                    <a:pt x="1251" y="71"/>
                    <a:pt x="1237" y="68"/>
                  </a:cubicBezTo>
                  <a:cubicBezTo>
                    <a:pt x="1224" y="65"/>
                    <a:pt x="1229" y="49"/>
                    <a:pt x="1217" y="46"/>
                  </a:cubicBezTo>
                  <a:cubicBezTo>
                    <a:pt x="1205" y="43"/>
                    <a:pt x="1201" y="61"/>
                    <a:pt x="1201" y="61"/>
                  </a:cubicBezTo>
                  <a:cubicBezTo>
                    <a:pt x="1196" y="60"/>
                    <a:pt x="1196" y="60"/>
                    <a:pt x="1196" y="60"/>
                  </a:cubicBezTo>
                  <a:cubicBezTo>
                    <a:pt x="1193" y="61"/>
                    <a:pt x="1123" y="75"/>
                    <a:pt x="1063" y="82"/>
                  </a:cubicBezTo>
                  <a:cubicBezTo>
                    <a:pt x="1063" y="82"/>
                    <a:pt x="1063" y="82"/>
                    <a:pt x="1063" y="82"/>
                  </a:cubicBezTo>
                  <a:cubicBezTo>
                    <a:pt x="1060" y="82"/>
                    <a:pt x="1058" y="82"/>
                    <a:pt x="1055" y="82"/>
                  </a:cubicBezTo>
                  <a:cubicBezTo>
                    <a:pt x="1055" y="82"/>
                    <a:pt x="1055" y="82"/>
                    <a:pt x="1055" y="82"/>
                  </a:cubicBezTo>
                  <a:cubicBezTo>
                    <a:pt x="1052" y="83"/>
                    <a:pt x="1050" y="83"/>
                    <a:pt x="1048" y="83"/>
                  </a:cubicBezTo>
                  <a:cubicBezTo>
                    <a:pt x="1047" y="83"/>
                    <a:pt x="1047" y="83"/>
                    <a:pt x="1047" y="83"/>
                  </a:cubicBezTo>
                  <a:cubicBezTo>
                    <a:pt x="1045" y="83"/>
                    <a:pt x="1043" y="84"/>
                    <a:pt x="1041" y="84"/>
                  </a:cubicBezTo>
                  <a:cubicBezTo>
                    <a:pt x="1040" y="84"/>
                    <a:pt x="1040" y="84"/>
                    <a:pt x="1039" y="84"/>
                  </a:cubicBezTo>
                  <a:cubicBezTo>
                    <a:pt x="1037" y="84"/>
                    <a:pt x="1035" y="84"/>
                    <a:pt x="1034" y="84"/>
                  </a:cubicBezTo>
                  <a:cubicBezTo>
                    <a:pt x="1033" y="84"/>
                    <a:pt x="1032" y="84"/>
                    <a:pt x="1032" y="85"/>
                  </a:cubicBezTo>
                  <a:cubicBezTo>
                    <a:pt x="1030" y="85"/>
                    <a:pt x="1028" y="85"/>
                    <a:pt x="1027" y="85"/>
                  </a:cubicBezTo>
                  <a:cubicBezTo>
                    <a:pt x="1026" y="85"/>
                    <a:pt x="1025" y="85"/>
                    <a:pt x="1025" y="85"/>
                  </a:cubicBezTo>
                  <a:cubicBezTo>
                    <a:pt x="1023" y="85"/>
                    <a:pt x="1022" y="85"/>
                    <a:pt x="1020" y="85"/>
                  </a:cubicBezTo>
                  <a:cubicBezTo>
                    <a:pt x="1019" y="85"/>
                    <a:pt x="1019" y="85"/>
                    <a:pt x="1018" y="85"/>
                  </a:cubicBezTo>
                  <a:cubicBezTo>
                    <a:pt x="1017" y="85"/>
                    <a:pt x="1015" y="85"/>
                    <a:pt x="1014" y="85"/>
                  </a:cubicBezTo>
                  <a:cubicBezTo>
                    <a:pt x="1013" y="85"/>
                    <a:pt x="1012" y="85"/>
                    <a:pt x="1012" y="85"/>
                  </a:cubicBezTo>
                  <a:cubicBezTo>
                    <a:pt x="1010" y="85"/>
                    <a:pt x="1009" y="85"/>
                    <a:pt x="1008" y="85"/>
                  </a:cubicBezTo>
                  <a:cubicBezTo>
                    <a:pt x="1007" y="85"/>
                    <a:pt x="1006" y="85"/>
                    <a:pt x="1006" y="85"/>
                  </a:cubicBezTo>
                  <a:cubicBezTo>
                    <a:pt x="1004" y="85"/>
                    <a:pt x="1002" y="85"/>
                    <a:pt x="1000" y="85"/>
                  </a:cubicBezTo>
                  <a:cubicBezTo>
                    <a:pt x="991" y="86"/>
                    <a:pt x="978" y="85"/>
                    <a:pt x="963" y="85"/>
                  </a:cubicBezTo>
                  <a:cubicBezTo>
                    <a:pt x="899" y="82"/>
                    <a:pt x="803" y="72"/>
                    <a:pt x="803" y="72"/>
                  </a:cubicBezTo>
                  <a:cubicBezTo>
                    <a:pt x="795" y="83"/>
                    <a:pt x="795" y="83"/>
                    <a:pt x="795" y="83"/>
                  </a:cubicBezTo>
                  <a:cubicBezTo>
                    <a:pt x="780" y="82"/>
                    <a:pt x="780" y="82"/>
                    <a:pt x="780" y="82"/>
                  </a:cubicBezTo>
                  <a:cubicBezTo>
                    <a:pt x="775" y="101"/>
                    <a:pt x="775" y="101"/>
                    <a:pt x="775" y="101"/>
                  </a:cubicBezTo>
                  <a:cubicBezTo>
                    <a:pt x="775" y="101"/>
                    <a:pt x="760" y="104"/>
                    <a:pt x="752" y="112"/>
                  </a:cubicBezTo>
                  <a:cubicBezTo>
                    <a:pt x="748" y="115"/>
                    <a:pt x="744" y="130"/>
                    <a:pt x="744" y="130"/>
                  </a:cubicBezTo>
                  <a:cubicBezTo>
                    <a:pt x="733" y="122"/>
                    <a:pt x="733" y="122"/>
                    <a:pt x="733" y="122"/>
                  </a:cubicBezTo>
                  <a:cubicBezTo>
                    <a:pt x="718" y="122"/>
                    <a:pt x="718" y="122"/>
                    <a:pt x="718" y="122"/>
                  </a:cubicBezTo>
                  <a:cubicBezTo>
                    <a:pt x="726" y="110"/>
                    <a:pt x="726" y="110"/>
                    <a:pt x="726" y="110"/>
                  </a:cubicBezTo>
                  <a:cubicBezTo>
                    <a:pt x="726" y="110"/>
                    <a:pt x="749" y="96"/>
                    <a:pt x="761" y="89"/>
                  </a:cubicBezTo>
                  <a:cubicBezTo>
                    <a:pt x="776" y="82"/>
                    <a:pt x="804" y="41"/>
                    <a:pt x="804" y="41"/>
                  </a:cubicBezTo>
                  <a:cubicBezTo>
                    <a:pt x="801" y="34"/>
                    <a:pt x="801" y="34"/>
                    <a:pt x="801" y="34"/>
                  </a:cubicBezTo>
                  <a:cubicBezTo>
                    <a:pt x="801" y="34"/>
                    <a:pt x="769" y="82"/>
                    <a:pt x="757" y="85"/>
                  </a:cubicBezTo>
                  <a:cubicBezTo>
                    <a:pt x="750" y="85"/>
                    <a:pt x="684" y="131"/>
                    <a:pt x="648" y="99"/>
                  </a:cubicBezTo>
                  <a:cubicBezTo>
                    <a:pt x="608" y="67"/>
                    <a:pt x="603" y="20"/>
                    <a:pt x="603" y="20"/>
                  </a:cubicBezTo>
                  <a:cubicBezTo>
                    <a:pt x="603" y="20"/>
                    <a:pt x="621" y="25"/>
                    <a:pt x="629" y="29"/>
                  </a:cubicBezTo>
                  <a:cubicBezTo>
                    <a:pt x="636" y="33"/>
                    <a:pt x="654" y="53"/>
                    <a:pt x="654" y="53"/>
                  </a:cubicBezTo>
                  <a:cubicBezTo>
                    <a:pt x="658" y="46"/>
                    <a:pt x="658" y="46"/>
                    <a:pt x="658" y="46"/>
                  </a:cubicBezTo>
                  <a:cubicBezTo>
                    <a:pt x="658" y="46"/>
                    <a:pt x="644" y="26"/>
                    <a:pt x="633" y="18"/>
                  </a:cubicBezTo>
                  <a:cubicBezTo>
                    <a:pt x="622" y="14"/>
                    <a:pt x="596" y="1"/>
                    <a:pt x="581" y="0"/>
                  </a:cubicBezTo>
                  <a:cubicBezTo>
                    <a:pt x="570" y="0"/>
                    <a:pt x="513" y="16"/>
                    <a:pt x="498" y="19"/>
                  </a:cubicBezTo>
                  <a:cubicBezTo>
                    <a:pt x="483" y="19"/>
                    <a:pt x="468" y="25"/>
                    <a:pt x="453" y="25"/>
                  </a:cubicBezTo>
                  <a:cubicBezTo>
                    <a:pt x="438" y="28"/>
                    <a:pt x="407" y="53"/>
                    <a:pt x="395" y="60"/>
                  </a:cubicBezTo>
                  <a:cubicBezTo>
                    <a:pt x="380" y="67"/>
                    <a:pt x="362" y="65"/>
                    <a:pt x="351" y="72"/>
                  </a:cubicBezTo>
                  <a:cubicBezTo>
                    <a:pt x="339" y="79"/>
                    <a:pt x="339" y="81"/>
                    <a:pt x="327" y="92"/>
                  </a:cubicBezTo>
                  <a:cubicBezTo>
                    <a:pt x="315" y="107"/>
                    <a:pt x="304" y="117"/>
                    <a:pt x="304" y="117"/>
                  </a:cubicBezTo>
                  <a:cubicBezTo>
                    <a:pt x="224" y="136"/>
                    <a:pt x="164" y="133"/>
                    <a:pt x="164" y="133"/>
                  </a:cubicBezTo>
                  <a:cubicBezTo>
                    <a:pt x="148" y="144"/>
                    <a:pt x="148" y="144"/>
                    <a:pt x="148" y="144"/>
                  </a:cubicBezTo>
                  <a:cubicBezTo>
                    <a:pt x="99" y="157"/>
                    <a:pt x="99" y="157"/>
                    <a:pt x="99" y="157"/>
                  </a:cubicBezTo>
                  <a:cubicBezTo>
                    <a:pt x="84" y="160"/>
                    <a:pt x="84" y="160"/>
                    <a:pt x="84" y="160"/>
                  </a:cubicBezTo>
                  <a:cubicBezTo>
                    <a:pt x="34" y="188"/>
                    <a:pt x="34" y="188"/>
                    <a:pt x="34" y="188"/>
                  </a:cubicBezTo>
                  <a:cubicBezTo>
                    <a:pt x="37" y="196"/>
                    <a:pt x="37" y="196"/>
                    <a:pt x="37" y="196"/>
                  </a:cubicBezTo>
                  <a:cubicBezTo>
                    <a:pt x="49" y="193"/>
                    <a:pt x="49" y="193"/>
                    <a:pt x="49" y="193"/>
                  </a:cubicBezTo>
                  <a:cubicBezTo>
                    <a:pt x="67" y="201"/>
                    <a:pt x="67" y="201"/>
                    <a:pt x="67" y="201"/>
                  </a:cubicBezTo>
                  <a:cubicBezTo>
                    <a:pt x="83" y="172"/>
                    <a:pt x="83" y="172"/>
                    <a:pt x="83" y="172"/>
                  </a:cubicBezTo>
                  <a:cubicBezTo>
                    <a:pt x="102" y="165"/>
                    <a:pt x="102" y="165"/>
                    <a:pt x="102" y="165"/>
                  </a:cubicBezTo>
                  <a:cubicBezTo>
                    <a:pt x="98" y="184"/>
                    <a:pt x="98" y="184"/>
                    <a:pt x="98" y="184"/>
                  </a:cubicBezTo>
                  <a:cubicBezTo>
                    <a:pt x="98" y="184"/>
                    <a:pt x="79" y="191"/>
                    <a:pt x="78" y="202"/>
                  </a:cubicBezTo>
                  <a:cubicBezTo>
                    <a:pt x="82" y="210"/>
                    <a:pt x="88" y="233"/>
                    <a:pt x="88" y="237"/>
                  </a:cubicBezTo>
                  <a:cubicBezTo>
                    <a:pt x="88" y="241"/>
                    <a:pt x="72" y="251"/>
                    <a:pt x="76" y="259"/>
                  </a:cubicBezTo>
                  <a:cubicBezTo>
                    <a:pt x="83" y="263"/>
                    <a:pt x="111" y="314"/>
                    <a:pt x="99" y="318"/>
                  </a:cubicBezTo>
                  <a:cubicBezTo>
                    <a:pt x="91" y="325"/>
                    <a:pt x="73" y="320"/>
                    <a:pt x="77" y="313"/>
                  </a:cubicBezTo>
                  <a:cubicBezTo>
                    <a:pt x="81" y="302"/>
                    <a:pt x="85" y="290"/>
                    <a:pt x="85" y="290"/>
                  </a:cubicBezTo>
                  <a:cubicBezTo>
                    <a:pt x="75" y="267"/>
                    <a:pt x="75" y="267"/>
                    <a:pt x="75" y="267"/>
                  </a:cubicBezTo>
                  <a:cubicBezTo>
                    <a:pt x="75" y="267"/>
                    <a:pt x="49" y="262"/>
                    <a:pt x="42" y="261"/>
                  </a:cubicBezTo>
                  <a:cubicBezTo>
                    <a:pt x="38" y="261"/>
                    <a:pt x="34" y="265"/>
                    <a:pt x="30" y="269"/>
                  </a:cubicBezTo>
                  <a:cubicBezTo>
                    <a:pt x="33" y="284"/>
                    <a:pt x="32" y="311"/>
                    <a:pt x="39" y="322"/>
                  </a:cubicBezTo>
                  <a:cubicBezTo>
                    <a:pt x="49" y="346"/>
                    <a:pt x="41" y="368"/>
                    <a:pt x="36" y="39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1" name="Freeform 585">
              <a:extLst>
                <a:ext uri="{FF2B5EF4-FFF2-40B4-BE49-F238E27FC236}">
                  <a16:creationId xmlns:a16="http://schemas.microsoft.com/office/drawing/2014/main" id="{C46D5704-C9C3-A1E9-0457-6E5337192EF4}"/>
                </a:ext>
              </a:extLst>
            </p:cNvPr>
            <p:cNvSpPr>
              <a:spLocks/>
            </p:cNvSpPr>
            <p:nvPr/>
          </p:nvSpPr>
          <p:spPr bwMode="gray">
            <a:xfrm>
              <a:off x="10365581" y="3398521"/>
              <a:ext cx="0" cy="1798"/>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1"/>
                  </a:cubicBezTo>
                  <a:cubicBezTo>
                    <a:pt x="0" y="1"/>
                    <a:pt x="0" y="1"/>
                    <a:pt x="0" y="1"/>
                  </a:cubicBezTo>
                  <a:cubicBezTo>
                    <a:pt x="1"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2" name="Freeform 586">
              <a:extLst>
                <a:ext uri="{FF2B5EF4-FFF2-40B4-BE49-F238E27FC236}">
                  <a16:creationId xmlns:a16="http://schemas.microsoft.com/office/drawing/2014/main" id="{D741F502-7B08-7DC1-EC9D-164C8850FE0E}"/>
                </a:ext>
              </a:extLst>
            </p:cNvPr>
            <p:cNvSpPr>
              <a:spLocks/>
            </p:cNvSpPr>
            <p:nvPr/>
          </p:nvSpPr>
          <p:spPr bwMode="gray">
            <a:xfrm>
              <a:off x="11136913" y="3294238"/>
              <a:ext cx="0" cy="3596"/>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1"/>
                    <a:pt x="0" y="3"/>
                    <a:pt x="0" y="5"/>
                  </a:cubicBezTo>
                  <a:cubicBezTo>
                    <a:pt x="0" y="3"/>
                    <a:pt x="0" y="2"/>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3" name="Freeform 587">
              <a:extLst>
                <a:ext uri="{FF2B5EF4-FFF2-40B4-BE49-F238E27FC236}">
                  <a16:creationId xmlns:a16="http://schemas.microsoft.com/office/drawing/2014/main" id="{C6CA050C-8731-D888-D82D-D33DDB4BE5F5}"/>
                </a:ext>
              </a:extLst>
            </p:cNvPr>
            <p:cNvSpPr>
              <a:spLocks/>
            </p:cNvSpPr>
            <p:nvPr/>
          </p:nvSpPr>
          <p:spPr bwMode="gray">
            <a:xfrm>
              <a:off x="11135116" y="3283450"/>
              <a:ext cx="1798" cy="10788"/>
            </a:xfrm>
            <a:custGeom>
              <a:avLst/>
              <a:gdLst>
                <a:gd name="T0" fmla="*/ 0 w 5"/>
                <a:gd name="T1" fmla="*/ 0 h 19"/>
                <a:gd name="T2" fmla="*/ 5 w 5"/>
                <a:gd name="T3" fmla="*/ 19 h 19"/>
                <a:gd name="T4" fmla="*/ 0 w 5"/>
                <a:gd name="T5" fmla="*/ 0 h 19"/>
              </a:gdLst>
              <a:ahLst/>
              <a:cxnLst>
                <a:cxn ang="0">
                  <a:pos x="T0" y="T1"/>
                </a:cxn>
                <a:cxn ang="0">
                  <a:pos x="T2" y="T3"/>
                </a:cxn>
                <a:cxn ang="0">
                  <a:pos x="T4" y="T5"/>
                </a:cxn>
              </a:cxnLst>
              <a:rect l="0" t="0" r="r" b="b"/>
              <a:pathLst>
                <a:path w="5" h="19">
                  <a:moveTo>
                    <a:pt x="0" y="0"/>
                  </a:moveTo>
                  <a:cubicBezTo>
                    <a:pt x="2" y="6"/>
                    <a:pt x="4" y="12"/>
                    <a:pt x="5" y="19"/>
                  </a:cubicBezTo>
                  <a:cubicBezTo>
                    <a:pt x="4" y="12"/>
                    <a:pt x="3" y="6"/>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4" name="Freeform 588">
              <a:extLst>
                <a:ext uri="{FF2B5EF4-FFF2-40B4-BE49-F238E27FC236}">
                  <a16:creationId xmlns:a16="http://schemas.microsoft.com/office/drawing/2014/main" id="{522CF6C8-D059-C2AB-986A-62836A73098F}"/>
                </a:ext>
              </a:extLst>
            </p:cNvPr>
            <p:cNvSpPr>
              <a:spLocks noEditPoints="1"/>
            </p:cNvSpPr>
            <p:nvPr/>
          </p:nvSpPr>
          <p:spPr bwMode="gray">
            <a:xfrm>
              <a:off x="10856428" y="2585834"/>
              <a:ext cx="462080" cy="357798"/>
            </a:xfrm>
            <a:custGeom>
              <a:avLst/>
              <a:gdLst>
                <a:gd name="T0" fmla="*/ 25 w 774"/>
                <a:gd name="T1" fmla="*/ 234 h 599"/>
                <a:gd name="T2" fmla="*/ 33 w 774"/>
                <a:gd name="T3" fmla="*/ 307 h 599"/>
                <a:gd name="T4" fmla="*/ 73 w 774"/>
                <a:gd name="T5" fmla="*/ 339 h 599"/>
                <a:gd name="T6" fmla="*/ 155 w 774"/>
                <a:gd name="T7" fmla="*/ 355 h 599"/>
                <a:gd name="T8" fmla="*/ 229 w 774"/>
                <a:gd name="T9" fmla="*/ 358 h 599"/>
                <a:gd name="T10" fmla="*/ 247 w 774"/>
                <a:gd name="T11" fmla="*/ 459 h 599"/>
                <a:gd name="T12" fmla="*/ 288 w 774"/>
                <a:gd name="T13" fmla="*/ 499 h 599"/>
                <a:gd name="T14" fmla="*/ 366 w 774"/>
                <a:gd name="T15" fmla="*/ 586 h 599"/>
                <a:gd name="T16" fmla="*/ 425 w 774"/>
                <a:gd name="T17" fmla="*/ 582 h 599"/>
                <a:gd name="T18" fmla="*/ 499 w 774"/>
                <a:gd name="T19" fmla="*/ 597 h 599"/>
                <a:gd name="T20" fmla="*/ 547 w 774"/>
                <a:gd name="T21" fmla="*/ 526 h 599"/>
                <a:gd name="T22" fmla="*/ 635 w 774"/>
                <a:gd name="T23" fmla="*/ 489 h 599"/>
                <a:gd name="T24" fmla="*/ 643 w 774"/>
                <a:gd name="T25" fmla="*/ 470 h 599"/>
                <a:gd name="T26" fmla="*/ 691 w 774"/>
                <a:gd name="T27" fmla="*/ 319 h 599"/>
                <a:gd name="T28" fmla="*/ 758 w 774"/>
                <a:gd name="T29" fmla="*/ 246 h 599"/>
                <a:gd name="T30" fmla="*/ 728 w 774"/>
                <a:gd name="T31" fmla="*/ 183 h 599"/>
                <a:gd name="T32" fmla="*/ 693 w 774"/>
                <a:gd name="T33" fmla="*/ 128 h 599"/>
                <a:gd name="T34" fmla="*/ 654 w 774"/>
                <a:gd name="T35" fmla="*/ 76 h 599"/>
                <a:gd name="T36" fmla="*/ 524 w 774"/>
                <a:gd name="T37" fmla="*/ 51 h 599"/>
                <a:gd name="T38" fmla="*/ 462 w 774"/>
                <a:gd name="T39" fmla="*/ 18 h 599"/>
                <a:gd name="T40" fmla="*/ 424 w 774"/>
                <a:gd name="T41" fmla="*/ 39 h 599"/>
                <a:gd name="T42" fmla="*/ 334 w 774"/>
                <a:gd name="T43" fmla="*/ 31 h 599"/>
                <a:gd name="T44" fmla="*/ 274 w 774"/>
                <a:gd name="T45" fmla="*/ 35 h 599"/>
                <a:gd name="T46" fmla="*/ 248 w 774"/>
                <a:gd name="T47" fmla="*/ 30 h 599"/>
                <a:gd name="T48" fmla="*/ 192 w 774"/>
                <a:gd name="T49" fmla="*/ 39 h 599"/>
                <a:gd name="T50" fmla="*/ 101 w 774"/>
                <a:gd name="T51" fmla="*/ 54 h 599"/>
                <a:gd name="T52" fmla="*/ 23 w 774"/>
                <a:gd name="T53" fmla="*/ 123 h 599"/>
                <a:gd name="T54" fmla="*/ 0 w 774"/>
                <a:gd name="T55" fmla="*/ 133 h 599"/>
                <a:gd name="T56" fmla="*/ 14 w 774"/>
                <a:gd name="T57" fmla="*/ 237 h 599"/>
                <a:gd name="T58" fmla="*/ 15 w 774"/>
                <a:gd name="T59" fmla="*/ 310 h 599"/>
                <a:gd name="T60" fmla="*/ 293 w 774"/>
                <a:gd name="T61" fmla="*/ 284 h 599"/>
                <a:gd name="T62" fmla="*/ 404 w 774"/>
                <a:gd name="T63" fmla="*/ 237 h 599"/>
                <a:gd name="T64" fmla="*/ 436 w 774"/>
                <a:gd name="T65" fmla="*/ 208 h 599"/>
                <a:gd name="T66" fmla="*/ 368 w 774"/>
                <a:gd name="T67" fmla="*/ 290 h 599"/>
                <a:gd name="T68" fmla="*/ 435 w 774"/>
                <a:gd name="T69" fmla="*/ 299 h 599"/>
                <a:gd name="T70" fmla="*/ 462 w 774"/>
                <a:gd name="T71" fmla="*/ 233 h 599"/>
                <a:gd name="T72" fmla="*/ 505 w 774"/>
                <a:gd name="T73" fmla="*/ 232 h 599"/>
                <a:gd name="T74" fmla="*/ 563 w 774"/>
                <a:gd name="T75" fmla="*/ 265 h 599"/>
                <a:gd name="T76" fmla="*/ 670 w 774"/>
                <a:gd name="T77" fmla="*/ 297 h 599"/>
                <a:gd name="T78" fmla="*/ 656 w 774"/>
                <a:gd name="T79" fmla="*/ 411 h 599"/>
                <a:gd name="T80" fmla="*/ 296 w 774"/>
                <a:gd name="T81" fmla="*/ 367 h 599"/>
                <a:gd name="T82" fmla="*/ 334 w 774"/>
                <a:gd name="T83" fmla="*/ 351 h 599"/>
                <a:gd name="T84" fmla="*/ 306 w 774"/>
                <a:gd name="T85" fmla="*/ 351 h 599"/>
                <a:gd name="T86" fmla="*/ 287 w 774"/>
                <a:gd name="T87" fmla="*/ 355 h 599"/>
                <a:gd name="T88" fmla="*/ 287 w 774"/>
                <a:gd name="T89" fmla="*/ 30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74" h="599">
                  <a:moveTo>
                    <a:pt x="23" y="287"/>
                  </a:moveTo>
                  <a:cubicBezTo>
                    <a:pt x="21" y="241"/>
                    <a:pt x="21" y="241"/>
                    <a:pt x="21" y="241"/>
                  </a:cubicBezTo>
                  <a:cubicBezTo>
                    <a:pt x="25" y="234"/>
                    <a:pt x="25" y="234"/>
                    <a:pt x="25" y="234"/>
                  </a:cubicBezTo>
                  <a:cubicBezTo>
                    <a:pt x="29" y="249"/>
                    <a:pt x="35" y="261"/>
                    <a:pt x="35" y="261"/>
                  </a:cubicBezTo>
                  <a:cubicBezTo>
                    <a:pt x="42" y="292"/>
                    <a:pt x="42" y="292"/>
                    <a:pt x="42" y="292"/>
                  </a:cubicBezTo>
                  <a:cubicBezTo>
                    <a:pt x="33" y="307"/>
                    <a:pt x="33" y="307"/>
                    <a:pt x="33" y="307"/>
                  </a:cubicBezTo>
                  <a:cubicBezTo>
                    <a:pt x="48" y="308"/>
                    <a:pt x="48" y="308"/>
                    <a:pt x="48" y="308"/>
                  </a:cubicBezTo>
                  <a:cubicBezTo>
                    <a:pt x="55" y="323"/>
                    <a:pt x="55" y="323"/>
                    <a:pt x="55" y="323"/>
                  </a:cubicBezTo>
                  <a:cubicBezTo>
                    <a:pt x="73" y="339"/>
                    <a:pt x="73" y="339"/>
                    <a:pt x="73" y="339"/>
                  </a:cubicBezTo>
                  <a:cubicBezTo>
                    <a:pt x="96" y="337"/>
                    <a:pt x="96" y="337"/>
                    <a:pt x="96" y="337"/>
                  </a:cubicBezTo>
                  <a:cubicBezTo>
                    <a:pt x="96" y="337"/>
                    <a:pt x="103" y="341"/>
                    <a:pt x="117" y="349"/>
                  </a:cubicBezTo>
                  <a:cubicBezTo>
                    <a:pt x="132" y="361"/>
                    <a:pt x="155" y="355"/>
                    <a:pt x="155" y="355"/>
                  </a:cubicBezTo>
                  <a:cubicBezTo>
                    <a:pt x="158" y="366"/>
                    <a:pt x="158" y="366"/>
                    <a:pt x="158" y="366"/>
                  </a:cubicBezTo>
                  <a:cubicBezTo>
                    <a:pt x="192" y="357"/>
                    <a:pt x="192" y="357"/>
                    <a:pt x="192" y="357"/>
                  </a:cubicBezTo>
                  <a:cubicBezTo>
                    <a:pt x="229" y="358"/>
                    <a:pt x="229" y="358"/>
                    <a:pt x="229" y="358"/>
                  </a:cubicBezTo>
                  <a:cubicBezTo>
                    <a:pt x="229" y="358"/>
                    <a:pt x="262" y="383"/>
                    <a:pt x="273" y="391"/>
                  </a:cubicBezTo>
                  <a:cubicBezTo>
                    <a:pt x="283" y="403"/>
                    <a:pt x="256" y="421"/>
                    <a:pt x="256" y="421"/>
                  </a:cubicBezTo>
                  <a:cubicBezTo>
                    <a:pt x="256" y="421"/>
                    <a:pt x="248" y="436"/>
                    <a:pt x="247" y="459"/>
                  </a:cubicBezTo>
                  <a:cubicBezTo>
                    <a:pt x="242" y="485"/>
                    <a:pt x="267" y="513"/>
                    <a:pt x="267" y="513"/>
                  </a:cubicBezTo>
                  <a:cubicBezTo>
                    <a:pt x="272" y="514"/>
                    <a:pt x="272" y="514"/>
                    <a:pt x="272" y="514"/>
                  </a:cubicBezTo>
                  <a:cubicBezTo>
                    <a:pt x="272" y="514"/>
                    <a:pt x="276" y="496"/>
                    <a:pt x="288" y="499"/>
                  </a:cubicBezTo>
                  <a:cubicBezTo>
                    <a:pt x="300" y="502"/>
                    <a:pt x="295" y="518"/>
                    <a:pt x="308" y="521"/>
                  </a:cubicBezTo>
                  <a:cubicBezTo>
                    <a:pt x="322" y="524"/>
                    <a:pt x="351" y="519"/>
                    <a:pt x="366" y="547"/>
                  </a:cubicBezTo>
                  <a:cubicBezTo>
                    <a:pt x="380" y="575"/>
                    <a:pt x="366" y="586"/>
                    <a:pt x="366" y="586"/>
                  </a:cubicBezTo>
                  <a:cubicBezTo>
                    <a:pt x="379" y="599"/>
                    <a:pt x="379" y="599"/>
                    <a:pt x="379" y="599"/>
                  </a:cubicBezTo>
                  <a:cubicBezTo>
                    <a:pt x="420" y="597"/>
                    <a:pt x="420" y="597"/>
                    <a:pt x="420" y="597"/>
                  </a:cubicBezTo>
                  <a:cubicBezTo>
                    <a:pt x="425" y="582"/>
                    <a:pt x="425" y="582"/>
                    <a:pt x="425" y="582"/>
                  </a:cubicBezTo>
                  <a:cubicBezTo>
                    <a:pt x="447" y="591"/>
                    <a:pt x="447" y="591"/>
                    <a:pt x="447" y="591"/>
                  </a:cubicBezTo>
                  <a:cubicBezTo>
                    <a:pt x="473" y="584"/>
                    <a:pt x="473" y="584"/>
                    <a:pt x="473" y="584"/>
                  </a:cubicBezTo>
                  <a:cubicBezTo>
                    <a:pt x="499" y="597"/>
                    <a:pt x="499" y="597"/>
                    <a:pt x="499" y="597"/>
                  </a:cubicBezTo>
                  <a:cubicBezTo>
                    <a:pt x="523" y="567"/>
                    <a:pt x="523" y="567"/>
                    <a:pt x="523" y="567"/>
                  </a:cubicBezTo>
                  <a:cubicBezTo>
                    <a:pt x="523" y="567"/>
                    <a:pt x="537" y="576"/>
                    <a:pt x="553" y="569"/>
                  </a:cubicBezTo>
                  <a:cubicBezTo>
                    <a:pt x="564" y="566"/>
                    <a:pt x="543" y="534"/>
                    <a:pt x="547" y="526"/>
                  </a:cubicBezTo>
                  <a:cubicBezTo>
                    <a:pt x="555" y="515"/>
                    <a:pt x="581" y="528"/>
                    <a:pt x="581" y="528"/>
                  </a:cubicBezTo>
                  <a:cubicBezTo>
                    <a:pt x="597" y="494"/>
                    <a:pt x="597" y="494"/>
                    <a:pt x="597" y="494"/>
                  </a:cubicBezTo>
                  <a:cubicBezTo>
                    <a:pt x="597" y="494"/>
                    <a:pt x="620" y="488"/>
                    <a:pt x="635" y="489"/>
                  </a:cubicBezTo>
                  <a:cubicBezTo>
                    <a:pt x="650" y="486"/>
                    <a:pt x="634" y="504"/>
                    <a:pt x="645" y="516"/>
                  </a:cubicBezTo>
                  <a:cubicBezTo>
                    <a:pt x="656" y="528"/>
                    <a:pt x="679" y="510"/>
                    <a:pt x="676" y="487"/>
                  </a:cubicBezTo>
                  <a:cubicBezTo>
                    <a:pt x="677" y="468"/>
                    <a:pt x="643" y="470"/>
                    <a:pt x="643" y="470"/>
                  </a:cubicBezTo>
                  <a:cubicBezTo>
                    <a:pt x="657" y="413"/>
                    <a:pt x="657" y="413"/>
                    <a:pt x="657" y="413"/>
                  </a:cubicBezTo>
                  <a:cubicBezTo>
                    <a:pt x="657" y="413"/>
                    <a:pt x="648" y="371"/>
                    <a:pt x="649" y="352"/>
                  </a:cubicBezTo>
                  <a:cubicBezTo>
                    <a:pt x="649" y="336"/>
                    <a:pt x="676" y="322"/>
                    <a:pt x="691" y="319"/>
                  </a:cubicBezTo>
                  <a:cubicBezTo>
                    <a:pt x="707" y="312"/>
                    <a:pt x="704" y="278"/>
                    <a:pt x="704" y="278"/>
                  </a:cubicBezTo>
                  <a:cubicBezTo>
                    <a:pt x="757" y="265"/>
                    <a:pt x="757" y="265"/>
                    <a:pt x="757" y="265"/>
                  </a:cubicBezTo>
                  <a:cubicBezTo>
                    <a:pt x="758" y="246"/>
                    <a:pt x="758" y="246"/>
                    <a:pt x="758" y="246"/>
                  </a:cubicBezTo>
                  <a:cubicBezTo>
                    <a:pt x="758" y="246"/>
                    <a:pt x="774" y="228"/>
                    <a:pt x="771" y="216"/>
                  </a:cubicBezTo>
                  <a:cubicBezTo>
                    <a:pt x="768" y="204"/>
                    <a:pt x="722" y="221"/>
                    <a:pt x="722" y="221"/>
                  </a:cubicBezTo>
                  <a:cubicBezTo>
                    <a:pt x="728" y="183"/>
                    <a:pt x="728" y="183"/>
                    <a:pt x="728" y="183"/>
                  </a:cubicBezTo>
                  <a:cubicBezTo>
                    <a:pt x="736" y="165"/>
                    <a:pt x="736" y="165"/>
                    <a:pt x="736" y="165"/>
                  </a:cubicBezTo>
                  <a:cubicBezTo>
                    <a:pt x="737" y="142"/>
                    <a:pt x="737" y="142"/>
                    <a:pt x="737" y="142"/>
                  </a:cubicBezTo>
                  <a:cubicBezTo>
                    <a:pt x="693" y="128"/>
                    <a:pt x="693" y="128"/>
                    <a:pt x="693" y="128"/>
                  </a:cubicBezTo>
                  <a:cubicBezTo>
                    <a:pt x="690" y="113"/>
                    <a:pt x="690" y="113"/>
                    <a:pt x="690" y="113"/>
                  </a:cubicBezTo>
                  <a:cubicBezTo>
                    <a:pt x="671" y="112"/>
                    <a:pt x="671" y="112"/>
                    <a:pt x="671" y="112"/>
                  </a:cubicBezTo>
                  <a:cubicBezTo>
                    <a:pt x="671" y="112"/>
                    <a:pt x="661" y="88"/>
                    <a:pt x="654" y="76"/>
                  </a:cubicBezTo>
                  <a:cubicBezTo>
                    <a:pt x="643" y="64"/>
                    <a:pt x="595" y="58"/>
                    <a:pt x="595" y="58"/>
                  </a:cubicBezTo>
                  <a:cubicBezTo>
                    <a:pt x="595" y="47"/>
                    <a:pt x="595" y="47"/>
                    <a:pt x="595" y="47"/>
                  </a:cubicBezTo>
                  <a:cubicBezTo>
                    <a:pt x="524" y="51"/>
                    <a:pt x="524" y="51"/>
                    <a:pt x="524" y="51"/>
                  </a:cubicBezTo>
                  <a:cubicBezTo>
                    <a:pt x="504" y="8"/>
                    <a:pt x="504" y="8"/>
                    <a:pt x="504" y="8"/>
                  </a:cubicBezTo>
                  <a:cubicBezTo>
                    <a:pt x="485" y="0"/>
                    <a:pt x="485" y="0"/>
                    <a:pt x="485" y="0"/>
                  </a:cubicBezTo>
                  <a:cubicBezTo>
                    <a:pt x="462" y="18"/>
                    <a:pt x="462" y="18"/>
                    <a:pt x="462" y="18"/>
                  </a:cubicBezTo>
                  <a:cubicBezTo>
                    <a:pt x="450" y="40"/>
                    <a:pt x="450" y="40"/>
                    <a:pt x="450" y="40"/>
                  </a:cubicBezTo>
                  <a:cubicBezTo>
                    <a:pt x="438" y="43"/>
                    <a:pt x="438" y="43"/>
                    <a:pt x="438" y="43"/>
                  </a:cubicBezTo>
                  <a:cubicBezTo>
                    <a:pt x="424" y="39"/>
                    <a:pt x="424" y="39"/>
                    <a:pt x="424" y="39"/>
                  </a:cubicBezTo>
                  <a:cubicBezTo>
                    <a:pt x="401" y="49"/>
                    <a:pt x="401" y="49"/>
                    <a:pt x="401" y="49"/>
                  </a:cubicBezTo>
                  <a:cubicBezTo>
                    <a:pt x="379" y="33"/>
                    <a:pt x="379" y="33"/>
                    <a:pt x="379" y="33"/>
                  </a:cubicBezTo>
                  <a:cubicBezTo>
                    <a:pt x="334" y="31"/>
                    <a:pt x="334" y="31"/>
                    <a:pt x="334" y="31"/>
                  </a:cubicBezTo>
                  <a:cubicBezTo>
                    <a:pt x="319" y="45"/>
                    <a:pt x="319" y="45"/>
                    <a:pt x="319" y="45"/>
                  </a:cubicBezTo>
                  <a:cubicBezTo>
                    <a:pt x="297" y="33"/>
                    <a:pt x="297" y="33"/>
                    <a:pt x="297" y="33"/>
                  </a:cubicBezTo>
                  <a:cubicBezTo>
                    <a:pt x="274" y="35"/>
                    <a:pt x="274" y="35"/>
                    <a:pt x="274" y="35"/>
                  </a:cubicBezTo>
                  <a:cubicBezTo>
                    <a:pt x="266" y="54"/>
                    <a:pt x="266" y="54"/>
                    <a:pt x="266" y="54"/>
                  </a:cubicBezTo>
                  <a:cubicBezTo>
                    <a:pt x="251" y="53"/>
                    <a:pt x="251" y="53"/>
                    <a:pt x="251" y="53"/>
                  </a:cubicBezTo>
                  <a:cubicBezTo>
                    <a:pt x="248" y="30"/>
                    <a:pt x="248" y="30"/>
                    <a:pt x="248" y="30"/>
                  </a:cubicBezTo>
                  <a:cubicBezTo>
                    <a:pt x="237" y="34"/>
                    <a:pt x="237" y="34"/>
                    <a:pt x="237" y="34"/>
                  </a:cubicBezTo>
                  <a:cubicBezTo>
                    <a:pt x="206" y="51"/>
                    <a:pt x="206" y="51"/>
                    <a:pt x="206" y="51"/>
                  </a:cubicBezTo>
                  <a:cubicBezTo>
                    <a:pt x="192" y="39"/>
                    <a:pt x="192" y="39"/>
                    <a:pt x="192" y="39"/>
                  </a:cubicBezTo>
                  <a:cubicBezTo>
                    <a:pt x="128" y="40"/>
                    <a:pt x="128" y="40"/>
                    <a:pt x="128" y="40"/>
                  </a:cubicBezTo>
                  <a:cubicBezTo>
                    <a:pt x="112" y="58"/>
                    <a:pt x="112" y="58"/>
                    <a:pt x="112" y="58"/>
                  </a:cubicBezTo>
                  <a:cubicBezTo>
                    <a:pt x="101" y="54"/>
                    <a:pt x="101" y="54"/>
                    <a:pt x="101" y="54"/>
                  </a:cubicBezTo>
                  <a:cubicBezTo>
                    <a:pt x="82" y="68"/>
                    <a:pt x="82" y="68"/>
                    <a:pt x="82" y="68"/>
                  </a:cubicBezTo>
                  <a:cubicBezTo>
                    <a:pt x="82" y="68"/>
                    <a:pt x="71" y="60"/>
                    <a:pt x="59" y="75"/>
                  </a:cubicBezTo>
                  <a:cubicBezTo>
                    <a:pt x="43" y="89"/>
                    <a:pt x="23" y="123"/>
                    <a:pt x="23" y="123"/>
                  </a:cubicBezTo>
                  <a:cubicBezTo>
                    <a:pt x="15" y="130"/>
                    <a:pt x="15" y="130"/>
                    <a:pt x="15" y="130"/>
                  </a:cubicBezTo>
                  <a:cubicBezTo>
                    <a:pt x="12" y="122"/>
                    <a:pt x="12" y="122"/>
                    <a:pt x="12" y="122"/>
                  </a:cubicBezTo>
                  <a:cubicBezTo>
                    <a:pt x="0" y="133"/>
                    <a:pt x="0" y="133"/>
                    <a:pt x="0" y="133"/>
                  </a:cubicBezTo>
                  <a:cubicBezTo>
                    <a:pt x="0" y="133"/>
                    <a:pt x="9" y="183"/>
                    <a:pt x="12" y="199"/>
                  </a:cubicBezTo>
                  <a:cubicBezTo>
                    <a:pt x="12" y="206"/>
                    <a:pt x="15" y="214"/>
                    <a:pt x="19" y="222"/>
                  </a:cubicBezTo>
                  <a:cubicBezTo>
                    <a:pt x="14" y="237"/>
                    <a:pt x="14" y="237"/>
                    <a:pt x="14" y="237"/>
                  </a:cubicBezTo>
                  <a:cubicBezTo>
                    <a:pt x="16" y="279"/>
                    <a:pt x="16" y="279"/>
                    <a:pt x="16" y="279"/>
                  </a:cubicBezTo>
                  <a:cubicBezTo>
                    <a:pt x="7" y="313"/>
                    <a:pt x="7" y="313"/>
                    <a:pt x="7" y="313"/>
                  </a:cubicBezTo>
                  <a:cubicBezTo>
                    <a:pt x="15" y="310"/>
                    <a:pt x="15" y="310"/>
                    <a:pt x="15" y="310"/>
                  </a:cubicBezTo>
                  <a:lnTo>
                    <a:pt x="23" y="287"/>
                  </a:lnTo>
                  <a:close/>
                  <a:moveTo>
                    <a:pt x="287" y="301"/>
                  </a:moveTo>
                  <a:cubicBezTo>
                    <a:pt x="293" y="284"/>
                    <a:pt x="293" y="284"/>
                    <a:pt x="293" y="284"/>
                  </a:cubicBezTo>
                  <a:cubicBezTo>
                    <a:pt x="354" y="284"/>
                    <a:pt x="354" y="284"/>
                    <a:pt x="354" y="284"/>
                  </a:cubicBezTo>
                  <a:cubicBezTo>
                    <a:pt x="366" y="275"/>
                    <a:pt x="366" y="275"/>
                    <a:pt x="366" y="275"/>
                  </a:cubicBezTo>
                  <a:cubicBezTo>
                    <a:pt x="404" y="237"/>
                    <a:pt x="404" y="237"/>
                    <a:pt x="404" y="237"/>
                  </a:cubicBezTo>
                  <a:cubicBezTo>
                    <a:pt x="423" y="203"/>
                    <a:pt x="423" y="203"/>
                    <a:pt x="423" y="203"/>
                  </a:cubicBezTo>
                  <a:cubicBezTo>
                    <a:pt x="430" y="200"/>
                    <a:pt x="430" y="200"/>
                    <a:pt x="430" y="200"/>
                  </a:cubicBezTo>
                  <a:cubicBezTo>
                    <a:pt x="436" y="208"/>
                    <a:pt x="436" y="208"/>
                    <a:pt x="436" y="208"/>
                  </a:cubicBezTo>
                  <a:cubicBezTo>
                    <a:pt x="416" y="224"/>
                    <a:pt x="416" y="224"/>
                    <a:pt x="416" y="224"/>
                  </a:cubicBezTo>
                  <a:cubicBezTo>
                    <a:pt x="414" y="238"/>
                    <a:pt x="414" y="238"/>
                    <a:pt x="414" y="238"/>
                  </a:cubicBezTo>
                  <a:cubicBezTo>
                    <a:pt x="368" y="290"/>
                    <a:pt x="368" y="290"/>
                    <a:pt x="368" y="290"/>
                  </a:cubicBezTo>
                  <a:cubicBezTo>
                    <a:pt x="368" y="290"/>
                    <a:pt x="393" y="290"/>
                    <a:pt x="397" y="290"/>
                  </a:cubicBezTo>
                  <a:cubicBezTo>
                    <a:pt x="400" y="291"/>
                    <a:pt x="410" y="295"/>
                    <a:pt x="410" y="295"/>
                  </a:cubicBezTo>
                  <a:cubicBezTo>
                    <a:pt x="435" y="299"/>
                    <a:pt x="435" y="299"/>
                    <a:pt x="435" y="299"/>
                  </a:cubicBezTo>
                  <a:cubicBezTo>
                    <a:pt x="458" y="287"/>
                    <a:pt x="458" y="287"/>
                    <a:pt x="458" y="287"/>
                  </a:cubicBezTo>
                  <a:cubicBezTo>
                    <a:pt x="451" y="232"/>
                    <a:pt x="451" y="232"/>
                    <a:pt x="451" y="232"/>
                  </a:cubicBezTo>
                  <a:cubicBezTo>
                    <a:pt x="462" y="233"/>
                    <a:pt x="462" y="233"/>
                    <a:pt x="462" y="233"/>
                  </a:cubicBezTo>
                  <a:cubicBezTo>
                    <a:pt x="468" y="216"/>
                    <a:pt x="468" y="216"/>
                    <a:pt x="468" y="216"/>
                  </a:cubicBezTo>
                  <a:cubicBezTo>
                    <a:pt x="484" y="233"/>
                    <a:pt x="484" y="233"/>
                    <a:pt x="484" y="233"/>
                  </a:cubicBezTo>
                  <a:cubicBezTo>
                    <a:pt x="505" y="232"/>
                    <a:pt x="505" y="232"/>
                    <a:pt x="505" y="232"/>
                  </a:cubicBezTo>
                  <a:cubicBezTo>
                    <a:pt x="505" y="232"/>
                    <a:pt x="512" y="236"/>
                    <a:pt x="525" y="245"/>
                  </a:cubicBezTo>
                  <a:cubicBezTo>
                    <a:pt x="538" y="258"/>
                    <a:pt x="560" y="254"/>
                    <a:pt x="560" y="254"/>
                  </a:cubicBezTo>
                  <a:cubicBezTo>
                    <a:pt x="563" y="265"/>
                    <a:pt x="563" y="265"/>
                    <a:pt x="563" y="265"/>
                  </a:cubicBezTo>
                  <a:cubicBezTo>
                    <a:pt x="596" y="258"/>
                    <a:pt x="596" y="258"/>
                    <a:pt x="596" y="258"/>
                  </a:cubicBezTo>
                  <a:cubicBezTo>
                    <a:pt x="632" y="263"/>
                    <a:pt x="632" y="263"/>
                    <a:pt x="632" y="263"/>
                  </a:cubicBezTo>
                  <a:cubicBezTo>
                    <a:pt x="632" y="263"/>
                    <a:pt x="661" y="288"/>
                    <a:pt x="670" y="297"/>
                  </a:cubicBezTo>
                  <a:cubicBezTo>
                    <a:pt x="680" y="309"/>
                    <a:pt x="653" y="324"/>
                    <a:pt x="653" y="324"/>
                  </a:cubicBezTo>
                  <a:cubicBezTo>
                    <a:pt x="653" y="324"/>
                    <a:pt x="644" y="337"/>
                    <a:pt x="641" y="358"/>
                  </a:cubicBezTo>
                  <a:cubicBezTo>
                    <a:pt x="634" y="383"/>
                    <a:pt x="656" y="411"/>
                    <a:pt x="656" y="411"/>
                  </a:cubicBezTo>
                  <a:cubicBezTo>
                    <a:pt x="656" y="411"/>
                    <a:pt x="520" y="426"/>
                    <a:pt x="467" y="419"/>
                  </a:cubicBezTo>
                  <a:cubicBezTo>
                    <a:pt x="423" y="417"/>
                    <a:pt x="311" y="395"/>
                    <a:pt x="282" y="391"/>
                  </a:cubicBezTo>
                  <a:cubicBezTo>
                    <a:pt x="296" y="367"/>
                    <a:pt x="296" y="367"/>
                    <a:pt x="296" y="367"/>
                  </a:cubicBezTo>
                  <a:cubicBezTo>
                    <a:pt x="303" y="372"/>
                    <a:pt x="303" y="372"/>
                    <a:pt x="303" y="372"/>
                  </a:cubicBezTo>
                  <a:cubicBezTo>
                    <a:pt x="334" y="358"/>
                    <a:pt x="334" y="358"/>
                    <a:pt x="334" y="358"/>
                  </a:cubicBezTo>
                  <a:cubicBezTo>
                    <a:pt x="334" y="351"/>
                    <a:pt x="334" y="351"/>
                    <a:pt x="334" y="351"/>
                  </a:cubicBezTo>
                  <a:cubicBezTo>
                    <a:pt x="350" y="345"/>
                    <a:pt x="350" y="345"/>
                    <a:pt x="350" y="345"/>
                  </a:cubicBezTo>
                  <a:cubicBezTo>
                    <a:pt x="325" y="339"/>
                    <a:pt x="325" y="339"/>
                    <a:pt x="325" y="339"/>
                  </a:cubicBezTo>
                  <a:cubicBezTo>
                    <a:pt x="306" y="351"/>
                    <a:pt x="306" y="351"/>
                    <a:pt x="306" y="351"/>
                  </a:cubicBezTo>
                  <a:cubicBezTo>
                    <a:pt x="300" y="339"/>
                    <a:pt x="300" y="339"/>
                    <a:pt x="300" y="339"/>
                  </a:cubicBezTo>
                  <a:cubicBezTo>
                    <a:pt x="292" y="345"/>
                    <a:pt x="292" y="345"/>
                    <a:pt x="292" y="345"/>
                  </a:cubicBezTo>
                  <a:cubicBezTo>
                    <a:pt x="287" y="355"/>
                    <a:pt x="287" y="355"/>
                    <a:pt x="287" y="355"/>
                  </a:cubicBezTo>
                  <a:cubicBezTo>
                    <a:pt x="280" y="351"/>
                    <a:pt x="280" y="351"/>
                    <a:pt x="280" y="351"/>
                  </a:cubicBezTo>
                  <a:cubicBezTo>
                    <a:pt x="292" y="316"/>
                    <a:pt x="292" y="316"/>
                    <a:pt x="292" y="316"/>
                  </a:cubicBezTo>
                  <a:lnTo>
                    <a:pt x="287" y="30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5" name="Freeform 589">
              <a:extLst>
                <a:ext uri="{FF2B5EF4-FFF2-40B4-BE49-F238E27FC236}">
                  <a16:creationId xmlns:a16="http://schemas.microsoft.com/office/drawing/2014/main" id="{784102AF-6713-44E5-5B6D-405809BE36E1}"/>
                </a:ext>
              </a:extLst>
            </p:cNvPr>
            <p:cNvSpPr>
              <a:spLocks/>
            </p:cNvSpPr>
            <p:nvPr/>
          </p:nvSpPr>
          <p:spPr bwMode="gray">
            <a:xfrm>
              <a:off x="9193300" y="4826115"/>
              <a:ext cx="50344" cy="43151"/>
            </a:xfrm>
            <a:custGeom>
              <a:avLst/>
              <a:gdLst>
                <a:gd name="T0" fmla="*/ 53 w 85"/>
                <a:gd name="T1" fmla="*/ 5 h 71"/>
                <a:gd name="T2" fmla="*/ 0 w 85"/>
                <a:gd name="T3" fmla="*/ 17 h 71"/>
                <a:gd name="T4" fmla="*/ 3 w 85"/>
                <a:gd name="T5" fmla="*/ 37 h 71"/>
                <a:gd name="T6" fmla="*/ 36 w 85"/>
                <a:gd name="T7" fmla="*/ 42 h 71"/>
                <a:gd name="T8" fmla="*/ 58 w 85"/>
                <a:gd name="T9" fmla="*/ 62 h 71"/>
                <a:gd name="T10" fmla="*/ 80 w 85"/>
                <a:gd name="T11" fmla="*/ 71 h 71"/>
                <a:gd name="T12" fmla="*/ 85 w 85"/>
                <a:gd name="T13" fmla="*/ 48 h 71"/>
                <a:gd name="T14" fmla="*/ 53 w 85"/>
                <a:gd name="T15" fmla="*/ 5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71">
                  <a:moveTo>
                    <a:pt x="53" y="5"/>
                  </a:moveTo>
                  <a:cubicBezTo>
                    <a:pt x="35" y="0"/>
                    <a:pt x="0" y="17"/>
                    <a:pt x="0" y="17"/>
                  </a:cubicBezTo>
                  <a:cubicBezTo>
                    <a:pt x="3" y="37"/>
                    <a:pt x="3" y="37"/>
                    <a:pt x="3" y="37"/>
                  </a:cubicBezTo>
                  <a:cubicBezTo>
                    <a:pt x="3" y="37"/>
                    <a:pt x="22" y="38"/>
                    <a:pt x="36" y="42"/>
                  </a:cubicBezTo>
                  <a:cubicBezTo>
                    <a:pt x="48" y="43"/>
                    <a:pt x="58" y="62"/>
                    <a:pt x="58" y="62"/>
                  </a:cubicBezTo>
                  <a:cubicBezTo>
                    <a:pt x="80" y="71"/>
                    <a:pt x="80" y="71"/>
                    <a:pt x="80" y="71"/>
                  </a:cubicBezTo>
                  <a:cubicBezTo>
                    <a:pt x="85" y="48"/>
                    <a:pt x="85" y="48"/>
                    <a:pt x="85" y="48"/>
                  </a:cubicBezTo>
                  <a:cubicBezTo>
                    <a:pt x="85" y="48"/>
                    <a:pt x="71" y="13"/>
                    <a:pt x="53"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6" name="Freeform 590">
              <a:extLst>
                <a:ext uri="{FF2B5EF4-FFF2-40B4-BE49-F238E27FC236}">
                  <a16:creationId xmlns:a16="http://schemas.microsoft.com/office/drawing/2014/main" id="{B3E7459F-737B-7108-97B9-64255C638020}"/>
                </a:ext>
              </a:extLst>
            </p:cNvPr>
            <p:cNvSpPr>
              <a:spLocks/>
            </p:cNvSpPr>
            <p:nvPr/>
          </p:nvSpPr>
          <p:spPr bwMode="gray">
            <a:xfrm>
              <a:off x="9029684" y="4833306"/>
              <a:ext cx="124061" cy="95293"/>
            </a:xfrm>
            <a:custGeom>
              <a:avLst/>
              <a:gdLst>
                <a:gd name="T0" fmla="*/ 159 w 207"/>
                <a:gd name="T1" fmla="*/ 55 h 160"/>
                <a:gd name="T2" fmla="*/ 145 w 207"/>
                <a:gd name="T3" fmla="*/ 32 h 160"/>
                <a:gd name="T4" fmla="*/ 160 w 207"/>
                <a:gd name="T5" fmla="*/ 17 h 160"/>
                <a:gd name="T6" fmla="*/ 149 w 207"/>
                <a:gd name="T7" fmla="*/ 17 h 160"/>
                <a:gd name="T8" fmla="*/ 165 w 207"/>
                <a:gd name="T9" fmla="*/ 2 h 160"/>
                <a:gd name="T10" fmla="*/ 90 w 207"/>
                <a:gd name="T11" fmla="*/ 10 h 160"/>
                <a:gd name="T12" fmla="*/ 39 w 207"/>
                <a:gd name="T13" fmla="*/ 50 h 160"/>
                <a:gd name="T14" fmla="*/ 28 w 207"/>
                <a:gd name="T15" fmla="*/ 45 h 160"/>
                <a:gd name="T16" fmla="*/ 1 w 207"/>
                <a:gd name="T17" fmla="*/ 59 h 160"/>
                <a:gd name="T18" fmla="*/ 0 w 207"/>
                <a:gd name="T19" fmla="*/ 90 h 160"/>
                <a:gd name="T20" fmla="*/ 15 w 207"/>
                <a:gd name="T21" fmla="*/ 83 h 160"/>
                <a:gd name="T22" fmla="*/ 26 w 207"/>
                <a:gd name="T23" fmla="*/ 103 h 160"/>
                <a:gd name="T24" fmla="*/ 53 w 207"/>
                <a:gd name="T25" fmla="*/ 85 h 160"/>
                <a:gd name="T26" fmla="*/ 69 w 207"/>
                <a:gd name="T27" fmla="*/ 124 h 160"/>
                <a:gd name="T28" fmla="*/ 103 w 207"/>
                <a:gd name="T29" fmla="*/ 137 h 160"/>
                <a:gd name="T30" fmla="*/ 113 w 207"/>
                <a:gd name="T31" fmla="*/ 160 h 160"/>
                <a:gd name="T32" fmla="*/ 132 w 207"/>
                <a:gd name="T33" fmla="*/ 154 h 160"/>
                <a:gd name="T34" fmla="*/ 151 w 207"/>
                <a:gd name="T35" fmla="*/ 143 h 160"/>
                <a:gd name="T36" fmla="*/ 163 w 207"/>
                <a:gd name="T37" fmla="*/ 117 h 160"/>
                <a:gd name="T38" fmla="*/ 191 w 207"/>
                <a:gd name="T39" fmla="*/ 91 h 160"/>
                <a:gd name="T40" fmla="*/ 187 w 207"/>
                <a:gd name="T41" fmla="*/ 87 h 160"/>
                <a:gd name="T42" fmla="*/ 195 w 207"/>
                <a:gd name="T43" fmla="*/ 88 h 160"/>
                <a:gd name="T44" fmla="*/ 207 w 207"/>
                <a:gd name="T45" fmla="*/ 62 h 160"/>
                <a:gd name="T46" fmla="*/ 186 w 207"/>
                <a:gd name="T47" fmla="*/ 41 h 160"/>
                <a:gd name="T48" fmla="*/ 159 w 207"/>
                <a:gd name="T49" fmla="*/ 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7" h="160">
                  <a:moveTo>
                    <a:pt x="159" y="55"/>
                  </a:moveTo>
                  <a:cubicBezTo>
                    <a:pt x="148" y="51"/>
                    <a:pt x="145" y="32"/>
                    <a:pt x="145" y="32"/>
                  </a:cubicBezTo>
                  <a:cubicBezTo>
                    <a:pt x="160" y="17"/>
                    <a:pt x="160" y="17"/>
                    <a:pt x="160" y="17"/>
                  </a:cubicBezTo>
                  <a:cubicBezTo>
                    <a:pt x="149" y="17"/>
                    <a:pt x="149" y="17"/>
                    <a:pt x="149" y="17"/>
                  </a:cubicBezTo>
                  <a:cubicBezTo>
                    <a:pt x="165" y="2"/>
                    <a:pt x="165" y="2"/>
                    <a:pt x="165" y="2"/>
                  </a:cubicBezTo>
                  <a:cubicBezTo>
                    <a:pt x="165" y="2"/>
                    <a:pt x="128" y="0"/>
                    <a:pt x="90" y="10"/>
                  </a:cubicBezTo>
                  <a:cubicBezTo>
                    <a:pt x="55" y="24"/>
                    <a:pt x="39" y="50"/>
                    <a:pt x="39" y="50"/>
                  </a:cubicBezTo>
                  <a:cubicBezTo>
                    <a:pt x="28" y="45"/>
                    <a:pt x="28" y="45"/>
                    <a:pt x="28" y="45"/>
                  </a:cubicBezTo>
                  <a:cubicBezTo>
                    <a:pt x="1" y="59"/>
                    <a:pt x="1" y="59"/>
                    <a:pt x="1" y="59"/>
                  </a:cubicBezTo>
                  <a:cubicBezTo>
                    <a:pt x="0" y="90"/>
                    <a:pt x="0" y="90"/>
                    <a:pt x="0" y="90"/>
                  </a:cubicBezTo>
                  <a:cubicBezTo>
                    <a:pt x="15" y="83"/>
                    <a:pt x="15" y="83"/>
                    <a:pt x="15" y="83"/>
                  </a:cubicBezTo>
                  <a:cubicBezTo>
                    <a:pt x="15" y="83"/>
                    <a:pt x="22" y="102"/>
                    <a:pt x="26" y="103"/>
                  </a:cubicBezTo>
                  <a:cubicBezTo>
                    <a:pt x="33" y="103"/>
                    <a:pt x="38" y="84"/>
                    <a:pt x="53" y="85"/>
                  </a:cubicBezTo>
                  <a:cubicBezTo>
                    <a:pt x="71" y="90"/>
                    <a:pt x="59" y="104"/>
                    <a:pt x="69" y="124"/>
                  </a:cubicBezTo>
                  <a:cubicBezTo>
                    <a:pt x="84" y="144"/>
                    <a:pt x="103" y="137"/>
                    <a:pt x="103" y="137"/>
                  </a:cubicBezTo>
                  <a:cubicBezTo>
                    <a:pt x="113" y="160"/>
                    <a:pt x="113" y="160"/>
                    <a:pt x="113" y="160"/>
                  </a:cubicBezTo>
                  <a:cubicBezTo>
                    <a:pt x="132" y="154"/>
                    <a:pt x="132" y="154"/>
                    <a:pt x="132" y="154"/>
                  </a:cubicBezTo>
                  <a:cubicBezTo>
                    <a:pt x="132" y="154"/>
                    <a:pt x="139" y="150"/>
                    <a:pt x="151" y="143"/>
                  </a:cubicBezTo>
                  <a:cubicBezTo>
                    <a:pt x="162" y="136"/>
                    <a:pt x="163" y="117"/>
                    <a:pt x="163" y="117"/>
                  </a:cubicBezTo>
                  <a:cubicBezTo>
                    <a:pt x="191" y="91"/>
                    <a:pt x="191" y="91"/>
                    <a:pt x="191" y="91"/>
                  </a:cubicBezTo>
                  <a:cubicBezTo>
                    <a:pt x="187" y="87"/>
                    <a:pt x="187" y="87"/>
                    <a:pt x="187" y="87"/>
                  </a:cubicBezTo>
                  <a:cubicBezTo>
                    <a:pt x="195" y="88"/>
                    <a:pt x="195" y="88"/>
                    <a:pt x="195" y="88"/>
                  </a:cubicBezTo>
                  <a:cubicBezTo>
                    <a:pt x="207" y="62"/>
                    <a:pt x="207" y="62"/>
                    <a:pt x="207" y="62"/>
                  </a:cubicBezTo>
                  <a:cubicBezTo>
                    <a:pt x="186" y="41"/>
                    <a:pt x="186" y="41"/>
                    <a:pt x="186" y="41"/>
                  </a:cubicBezTo>
                  <a:cubicBezTo>
                    <a:pt x="186" y="41"/>
                    <a:pt x="174" y="56"/>
                    <a:pt x="159" y="5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7" name="Freeform 591">
              <a:extLst>
                <a:ext uri="{FF2B5EF4-FFF2-40B4-BE49-F238E27FC236}">
                  <a16:creationId xmlns:a16="http://schemas.microsoft.com/office/drawing/2014/main" id="{19CE9617-46F5-965B-B810-ED69E56F1F59}"/>
                </a:ext>
              </a:extLst>
            </p:cNvPr>
            <p:cNvSpPr>
              <a:spLocks/>
            </p:cNvSpPr>
            <p:nvPr/>
          </p:nvSpPr>
          <p:spPr bwMode="gray">
            <a:xfrm>
              <a:off x="7925726" y="4074560"/>
              <a:ext cx="1262179" cy="1112949"/>
            </a:xfrm>
            <a:custGeom>
              <a:avLst/>
              <a:gdLst>
                <a:gd name="T0" fmla="*/ 1900 w 2115"/>
                <a:gd name="T1" fmla="*/ 699 h 1868"/>
                <a:gd name="T2" fmla="*/ 1846 w 2115"/>
                <a:gd name="T3" fmla="*/ 650 h 1868"/>
                <a:gd name="T4" fmla="*/ 1788 w 2115"/>
                <a:gd name="T5" fmla="*/ 642 h 1868"/>
                <a:gd name="T6" fmla="*/ 1738 w 2115"/>
                <a:gd name="T7" fmla="*/ 565 h 1868"/>
                <a:gd name="T8" fmla="*/ 1614 w 2115"/>
                <a:gd name="T9" fmla="*/ 570 h 1868"/>
                <a:gd name="T10" fmla="*/ 1490 w 2115"/>
                <a:gd name="T11" fmla="*/ 511 h 1868"/>
                <a:gd name="T12" fmla="*/ 1424 w 2115"/>
                <a:gd name="T13" fmla="*/ 470 h 1868"/>
                <a:gd name="T14" fmla="*/ 1345 w 2115"/>
                <a:gd name="T15" fmla="*/ 405 h 1868"/>
                <a:gd name="T16" fmla="*/ 1298 w 2115"/>
                <a:gd name="T17" fmla="*/ 353 h 1868"/>
                <a:gd name="T18" fmla="*/ 1044 w 2115"/>
                <a:gd name="T19" fmla="*/ 272 h 1868"/>
                <a:gd name="T20" fmla="*/ 971 w 2115"/>
                <a:gd name="T21" fmla="*/ 241 h 1868"/>
                <a:gd name="T22" fmla="*/ 647 w 2115"/>
                <a:gd name="T23" fmla="*/ 115 h 1868"/>
                <a:gd name="T24" fmla="*/ 435 w 2115"/>
                <a:gd name="T25" fmla="*/ 97 h 1868"/>
                <a:gd name="T26" fmla="*/ 360 w 2115"/>
                <a:gd name="T27" fmla="*/ 17 h 1868"/>
                <a:gd name="T28" fmla="*/ 289 w 2115"/>
                <a:gd name="T29" fmla="*/ 14 h 1868"/>
                <a:gd name="T30" fmla="*/ 241 w 2115"/>
                <a:gd name="T31" fmla="*/ 80 h 1868"/>
                <a:gd name="T32" fmla="*/ 69 w 2115"/>
                <a:gd name="T33" fmla="*/ 65 h 1868"/>
                <a:gd name="T34" fmla="*/ 61 w 2115"/>
                <a:gd name="T35" fmla="*/ 160 h 1868"/>
                <a:gd name="T36" fmla="*/ 63 w 2115"/>
                <a:gd name="T37" fmla="*/ 213 h 1868"/>
                <a:gd name="T38" fmla="*/ 69 w 2115"/>
                <a:gd name="T39" fmla="*/ 229 h 1868"/>
                <a:gd name="T40" fmla="*/ 67 w 2115"/>
                <a:gd name="T41" fmla="*/ 283 h 1868"/>
                <a:gd name="T42" fmla="*/ 54 w 2115"/>
                <a:gd name="T43" fmla="*/ 316 h 1868"/>
                <a:gd name="T44" fmla="*/ 139 w 2115"/>
                <a:gd name="T45" fmla="*/ 351 h 1868"/>
                <a:gd name="T46" fmla="*/ 150 w 2115"/>
                <a:gd name="T47" fmla="*/ 420 h 1868"/>
                <a:gd name="T48" fmla="*/ 269 w 2115"/>
                <a:gd name="T49" fmla="*/ 441 h 1868"/>
                <a:gd name="T50" fmla="*/ 396 w 2115"/>
                <a:gd name="T51" fmla="*/ 451 h 1868"/>
                <a:gd name="T52" fmla="*/ 462 w 2115"/>
                <a:gd name="T53" fmla="*/ 558 h 1868"/>
                <a:gd name="T54" fmla="*/ 311 w 2115"/>
                <a:gd name="T55" fmla="*/ 661 h 1868"/>
                <a:gd name="T56" fmla="*/ 246 w 2115"/>
                <a:gd name="T57" fmla="*/ 853 h 1868"/>
                <a:gd name="T58" fmla="*/ 119 w 2115"/>
                <a:gd name="T59" fmla="*/ 939 h 1868"/>
                <a:gd name="T60" fmla="*/ 190 w 2115"/>
                <a:gd name="T61" fmla="*/ 1103 h 1868"/>
                <a:gd name="T62" fmla="*/ 144 w 2115"/>
                <a:gd name="T63" fmla="*/ 1296 h 1868"/>
                <a:gd name="T64" fmla="*/ 24 w 2115"/>
                <a:gd name="T65" fmla="*/ 1390 h 1868"/>
                <a:gd name="T66" fmla="*/ 73 w 2115"/>
                <a:gd name="T67" fmla="*/ 1534 h 1868"/>
                <a:gd name="T68" fmla="*/ 131 w 2115"/>
                <a:gd name="T69" fmla="*/ 1578 h 1868"/>
                <a:gd name="T70" fmla="*/ 152 w 2115"/>
                <a:gd name="T71" fmla="*/ 1686 h 1868"/>
                <a:gd name="T72" fmla="*/ 176 w 2115"/>
                <a:gd name="T73" fmla="*/ 1730 h 1868"/>
                <a:gd name="T74" fmla="*/ 231 w 2115"/>
                <a:gd name="T75" fmla="*/ 1839 h 1868"/>
                <a:gd name="T76" fmla="*/ 302 w 2115"/>
                <a:gd name="T77" fmla="*/ 1843 h 1868"/>
                <a:gd name="T78" fmla="*/ 512 w 2115"/>
                <a:gd name="T79" fmla="*/ 1765 h 1868"/>
                <a:gd name="T80" fmla="*/ 819 w 2115"/>
                <a:gd name="T81" fmla="*/ 1833 h 1868"/>
                <a:gd name="T82" fmla="*/ 988 w 2115"/>
                <a:gd name="T83" fmla="*/ 1810 h 1868"/>
                <a:gd name="T84" fmla="*/ 1147 w 2115"/>
                <a:gd name="T85" fmla="*/ 1707 h 1868"/>
                <a:gd name="T86" fmla="*/ 1222 w 2115"/>
                <a:gd name="T87" fmla="*/ 1688 h 1868"/>
                <a:gd name="T88" fmla="*/ 1287 w 2115"/>
                <a:gd name="T89" fmla="*/ 1572 h 1868"/>
                <a:gd name="T90" fmla="*/ 1434 w 2115"/>
                <a:gd name="T91" fmla="*/ 1468 h 1868"/>
                <a:gd name="T92" fmla="*/ 1460 w 2115"/>
                <a:gd name="T93" fmla="*/ 1160 h 1868"/>
                <a:gd name="T94" fmla="*/ 1592 w 2115"/>
                <a:gd name="T95" fmla="*/ 1059 h 1868"/>
                <a:gd name="T96" fmla="*/ 1634 w 2115"/>
                <a:gd name="T97" fmla="*/ 1042 h 1868"/>
                <a:gd name="T98" fmla="*/ 1784 w 2115"/>
                <a:gd name="T99" fmla="*/ 946 h 1868"/>
                <a:gd name="T100" fmla="*/ 2077 w 2115"/>
                <a:gd name="T101" fmla="*/ 761 h 1868"/>
                <a:gd name="T102" fmla="*/ 2068 w 2115"/>
                <a:gd name="T103" fmla="*/ 707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5" h="1868">
                  <a:moveTo>
                    <a:pt x="2043" y="686"/>
                  </a:moveTo>
                  <a:cubicBezTo>
                    <a:pt x="2017" y="681"/>
                    <a:pt x="2004" y="715"/>
                    <a:pt x="1997" y="715"/>
                  </a:cubicBezTo>
                  <a:cubicBezTo>
                    <a:pt x="1978" y="714"/>
                    <a:pt x="1978" y="714"/>
                    <a:pt x="1978" y="714"/>
                  </a:cubicBezTo>
                  <a:cubicBezTo>
                    <a:pt x="1978" y="714"/>
                    <a:pt x="1967" y="706"/>
                    <a:pt x="1957" y="690"/>
                  </a:cubicBezTo>
                  <a:cubicBezTo>
                    <a:pt x="1942" y="674"/>
                    <a:pt x="1915" y="699"/>
                    <a:pt x="1900" y="699"/>
                  </a:cubicBezTo>
                  <a:cubicBezTo>
                    <a:pt x="1885" y="698"/>
                    <a:pt x="1882" y="683"/>
                    <a:pt x="1882" y="683"/>
                  </a:cubicBezTo>
                  <a:cubicBezTo>
                    <a:pt x="1882" y="683"/>
                    <a:pt x="1891" y="660"/>
                    <a:pt x="1891" y="656"/>
                  </a:cubicBezTo>
                  <a:cubicBezTo>
                    <a:pt x="1891" y="652"/>
                    <a:pt x="1868" y="667"/>
                    <a:pt x="1868" y="667"/>
                  </a:cubicBezTo>
                  <a:cubicBezTo>
                    <a:pt x="1846" y="650"/>
                    <a:pt x="1846" y="650"/>
                    <a:pt x="1846" y="650"/>
                  </a:cubicBezTo>
                  <a:cubicBezTo>
                    <a:pt x="1846" y="650"/>
                    <a:pt x="1846" y="650"/>
                    <a:pt x="1846" y="650"/>
                  </a:cubicBezTo>
                  <a:cubicBezTo>
                    <a:pt x="1846" y="650"/>
                    <a:pt x="1835" y="661"/>
                    <a:pt x="1831" y="661"/>
                  </a:cubicBezTo>
                  <a:cubicBezTo>
                    <a:pt x="1826" y="662"/>
                    <a:pt x="1822" y="657"/>
                    <a:pt x="1822" y="657"/>
                  </a:cubicBezTo>
                  <a:cubicBezTo>
                    <a:pt x="1807" y="669"/>
                    <a:pt x="1807" y="669"/>
                    <a:pt x="1807" y="669"/>
                  </a:cubicBezTo>
                  <a:cubicBezTo>
                    <a:pt x="1799" y="652"/>
                    <a:pt x="1799" y="652"/>
                    <a:pt x="1799" y="652"/>
                  </a:cubicBezTo>
                  <a:cubicBezTo>
                    <a:pt x="1788" y="642"/>
                    <a:pt x="1788" y="642"/>
                    <a:pt x="1788" y="642"/>
                  </a:cubicBezTo>
                  <a:cubicBezTo>
                    <a:pt x="1799" y="629"/>
                    <a:pt x="1799" y="629"/>
                    <a:pt x="1799" y="629"/>
                  </a:cubicBezTo>
                  <a:cubicBezTo>
                    <a:pt x="1807" y="614"/>
                    <a:pt x="1807" y="614"/>
                    <a:pt x="1807" y="614"/>
                  </a:cubicBezTo>
                  <a:cubicBezTo>
                    <a:pt x="1807" y="614"/>
                    <a:pt x="1804" y="599"/>
                    <a:pt x="1793" y="590"/>
                  </a:cubicBezTo>
                  <a:cubicBezTo>
                    <a:pt x="1785" y="586"/>
                    <a:pt x="1759" y="593"/>
                    <a:pt x="1759" y="593"/>
                  </a:cubicBezTo>
                  <a:cubicBezTo>
                    <a:pt x="1759" y="593"/>
                    <a:pt x="1741" y="569"/>
                    <a:pt x="1738" y="565"/>
                  </a:cubicBezTo>
                  <a:cubicBezTo>
                    <a:pt x="1734" y="557"/>
                    <a:pt x="1716" y="560"/>
                    <a:pt x="1716" y="560"/>
                  </a:cubicBezTo>
                  <a:cubicBezTo>
                    <a:pt x="1716" y="560"/>
                    <a:pt x="1701" y="544"/>
                    <a:pt x="1683" y="543"/>
                  </a:cubicBezTo>
                  <a:cubicBezTo>
                    <a:pt x="1664" y="542"/>
                    <a:pt x="1681" y="570"/>
                    <a:pt x="1666" y="577"/>
                  </a:cubicBezTo>
                  <a:cubicBezTo>
                    <a:pt x="1647" y="587"/>
                    <a:pt x="1626" y="556"/>
                    <a:pt x="1626" y="556"/>
                  </a:cubicBezTo>
                  <a:cubicBezTo>
                    <a:pt x="1626" y="556"/>
                    <a:pt x="1622" y="571"/>
                    <a:pt x="1614" y="570"/>
                  </a:cubicBezTo>
                  <a:cubicBezTo>
                    <a:pt x="1610" y="570"/>
                    <a:pt x="1611" y="559"/>
                    <a:pt x="1600" y="551"/>
                  </a:cubicBezTo>
                  <a:cubicBezTo>
                    <a:pt x="1593" y="543"/>
                    <a:pt x="1555" y="556"/>
                    <a:pt x="1555" y="556"/>
                  </a:cubicBezTo>
                  <a:cubicBezTo>
                    <a:pt x="1519" y="512"/>
                    <a:pt x="1519" y="512"/>
                    <a:pt x="1519" y="512"/>
                  </a:cubicBezTo>
                  <a:cubicBezTo>
                    <a:pt x="1493" y="515"/>
                    <a:pt x="1493" y="515"/>
                    <a:pt x="1493" y="515"/>
                  </a:cubicBezTo>
                  <a:cubicBezTo>
                    <a:pt x="1490" y="511"/>
                    <a:pt x="1490" y="511"/>
                    <a:pt x="1490" y="511"/>
                  </a:cubicBezTo>
                  <a:cubicBezTo>
                    <a:pt x="1474" y="522"/>
                    <a:pt x="1474" y="522"/>
                    <a:pt x="1474" y="522"/>
                  </a:cubicBezTo>
                  <a:cubicBezTo>
                    <a:pt x="1453" y="490"/>
                    <a:pt x="1453" y="490"/>
                    <a:pt x="1453" y="490"/>
                  </a:cubicBezTo>
                  <a:cubicBezTo>
                    <a:pt x="1462" y="468"/>
                    <a:pt x="1462" y="468"/>
                    <a:pt x="1462" y="468"/>
                  </a:cubicBezTo>
                  <a:cubicBezTo>
                    <a:pt x="1454" y="463"/>
                    <a:pt x="1454" y="463"/>
                    <a:pt x="1454" y="463"/>
                  </a:cubicBezTo>
                  <a:cubicBezTo>
                    <a:pt x="1424" y="470"/>
                    <a:pt x="1424" y="470"/>
                    <a:pt x="1424" y="470"/>
                  </a:cubicBezTo>
                  <a:cubicBezTo>
                    <a:pt x="1366" y="429"/>
                    <a:pt x="1366" y="429"/>
                    <a:pt x="1366" y="429"/>
                  </a:cubicBezTo>
                  <a:cubicBezTo>
                    <a:pt x="1367" y="413"/>
                    <a:pt x="1367" y="413"/>
                    <a:pt x="1367" y="413"/>
                  </a:cubicBezTo>
                  <a:cubicBezTo>
                    <a:pt x="1347" y="435"/>
                    <a:pt x="1347" y="435"/>
                    <a:pt x="1347" y="435"/>
                  </a:cubicBezTo>
                  <a:cubicBezTo>
                    <a:pt x="1347" y="435"/>
                    <a:pt x="1336" y="431"/>
                    <a:pt x="1329" y="419"/>
                  </a:cubicBezTo>
                  <a:cubicBezTo>
                    <a:pt x="1322" y="411"/>
                    <a:pt x="1333" y="408"/>
                    <a:pt x="1345" y="405"/>
                  </a:cubicBezTo>
                  <a:cubicBezTo>
                    <a:pt x="1356" y="405"/>
                    <a:pt x="1354" y="374"/>
                    <a:pt x="1354" y="374"/>
                  </a:cubicBezTo>
                  <a:cubicBezTo>
                    <a:pt x="1335" y="366"/>
                    <a:pt x="1335" y="366"/>
                    <a:pt x="1335" y="366"/>
                  </a:cubicBezTo>
                  <a:cubicBezTo>
                    <a:pt x="1335" y="366"/>
                    <a:pt x="1324" y="373"/>
                    <a:pt x="1316" y="369"/>
                  </a:cubicBezTo>
                  <a:cubicBezTo>
                    <a:pt x="1309" y="365"/>
                    <a:pt x="1313" y="353"/>
                    <a:pt x="1313" y="353"/>
                  </a:cubicBezTo>
                  <a:cubicBezTo>
                    <a:pt x="1298" y="353"/>
                    <a:pt x="1298" y="353"/>
                    <a:pt x="1298" y="353"/>
                  </a:cubicBezTo>
                  <a:cubicBezTo>
                    <a:pt x="1298" y="353"/>
                    <a:pt x="1288" y="337"/>
                    <a:pt x="1292" y="337"/>
                  </a:cubicBezTo>
                  <a:cubicBezTo>
                    <a:pt x="1213" y="341"/>
                    <a:pt x="1213" y="341"/>
                    <a:pt x="1213" y="341"/>
                  </a:cubicBezTo>
                  <a:cubicBezTo>
                    <a:pt x="1213" y="341"/>
                    <a:pt x="1141" y="288"/>
                    <a:pt x="1114" y="287"/>
                  </a:cubicBezTo>
                  <a:cubicBezTo>
                    <a:pt x="1092" y="289"/>
                    <a:pt x="1080" y="304"/>
                    <a:pt x="1080" y="304"/>
                  </a:cubicBezTo>
                  <a:cubicBezTo>
                    <a:pt x="1044" y="272"/>
                    <a:pt x="1044" y="272"/>
                    <a:pt x="1044" y="272"/>
                  </a:cubicBezTo>
                  <a:cubicBezTo>
                    <a:pt x="1022" y="271"/>
                    <a:pt x="1022" y="271"/>
                    <a:pt x="1022" y="271"/>
                  </a:cubicBezTo>
                  <a:cubicBezTo>
                    <a:pt x="1026" y="256"/>
                    <a:pt x="1026" y="256"/>
                    <a:pt x="1026" y="256"/>
                  </a:cubicBezTo>
                  <a:cubicBezTo>
                    <a:pt x="1008" y="243"/>
                    <a:pt x="1008" y="243"/>
                    <a:pt x="1008" y="243"/>
                  </a:cubicBezTo>
                  <a:cubicBezTo>
                    <a:pt x="959" y="252"/>
                    <a:pt x="959" y="252"/>
                    <a:pt x="959" y="252"/>
                  </a:cubicBezTo>
                  <a:cubicBezTo>
                    <a:pt x="971" y="241"/>
                    <a:pt x="971" y="241"/>
                    <a:pt x="971" y="241"/>
                  </a:cubicBezTo>
                  <a:cubicBezTo>
                    <a:pt x="960" y="233"/>
                    <a:pt x="960" y="233"/>
                    <a:pt x="960" y="233"/>
                  </a:cubicBezTo>
                  <a:cubicBezTo>
                    <a:pt x="851" y="236"/>
                    <a:pt x="851" y="236"/>
                    <a:pt x="851" y="236"/>
                  </a:cubicBezTo>
                  <a:cubicBezTo>
                    <a:pt x="734" y="169"/>
                    <a:pt x="734" y="169"/>
                    <a:pt x="734" y="169"/>
                  </a:cubicBezTo>
                  <a:cubicBezTo>
                    <a:pt x="668" y="147"/>
                    <a:pt x="668" y="147"/>
                    <a:pt x="668" y="147"/>
                  </a:cubicBezTo>
                  <a:cubicBezTo>
                    <a:pt x="668" y="147"/>
                    <a:pt x="666" y="120"/>
                    <a:pt x="647" y="115"/>
                  </a:cubicBezTo>
                  <a:cubicBezTo>
                    <a:pt x="629" y="110"/>
                    <a:pt x="609" y="125"/>
                    <a:pt x="609" y="125"/>
                  </a:cubicBezTo>
                  <a:cubicBezTo>
                    <a:pt x="580" y="104"/>
                    <a:pt x="580" y="104"/>
                    <a:pt x="580" y="104"/>
                  </a:cubicBezTo>
                  <a:cubicBezTo>
                    <a:pt x="524" y="105"/>
                    <a:pt x="524" y="105"/>
                    <a:pt x="524" y="105"/>
                  </a:cubicBezTo>
                  <a:cubicBezTo>
                    <a:pt x="450" y="79"/>
                    <a:pt x="450" y="79"/>
                    <a:pt x="450" y="79"/>
                  </a:cubicBezTo>
                  <a:cubicBezTo>
                    <a:pt x="435" y="97"/>
                    <a:pt x="435" y="97"/>
                    <a:pt x="435" y="97"/>
                  </a:cubicBezTo>
                  <a:cubicBezTo>
                    <a:pt x="439" y="82"/>
                    <a:pt x="439" y="82"/>
                    <a:pt x="439" y="82"/>
                  </a:cubicBezTo>
                  <a:cubicBezTo>
                    <a:pt x="410" y="69"/>
                    <a:pt x="410" y="69"/>
                    <a:pt x="410" y="69"/>
                  </a:cubicBezTo>
                  <a:cubicBezTo>
                    <a:pt x="410" y="69"/>
                    <a:pt x="396" y="30"/>
                    <a:pt x="385" y="26"/>
                  </a:cubicBezTo>
                  <a:cubicBezTo>
                    <a:pt x="374" y="22"/>
                    <a:pt x="363" y="37"/>
                    <a:pt x="363" y="37"/>
                  </a:cubicBezTo>
                  <a:cubicBezTo>
                    <a:pt x="360" y="17"/>
                    <a:pt x="360" y="17"/>
                    <a:pt x="360" y="17"/>
                  </a:cubicBezTo>
                  <a:cubicBezTo>
                    <a:pt x="341" y="9"/>
                    <a:pt x="341" y="9"/>
                    <a:pt x="341" y="9"/>
                  </a:cubicBezTo>
                  <a:cubicBezTo>
                    <a:pt x="315" y="15"/>
                    <a:pt x="315" y="15"/>
                    <a:pt x="315" y="15"/>
                  </a:cubicBezTo>
                  <a:cubicBezTo>
                    <a:pt x="327" y="0"/>
                    <a:pt x="327" y="0"/>
                    <a:pt x="327" y="0"/>
                  </a:cubicBezTo>
                  <a:cubicBezTo>
                    <a:pt x="293" y="3"/>
                    <a:pt x="293" y="3"/>
                    <a:pt x="293" y="3"/>
                  </a:cubicBezTo>
                  <a:cubicBezTo>
                    <a:pt x="289" y="14"/>
                    <a:pt x="289" y="14"/>
                    <a:pt x="289" y="14"/>
                  </a:cubicBezTo>
                  <a:cubicBezTo>
                    <a:pt x="289" y="14"/>
                    <a:pt x="270" y="13"/>
                    <a:pt x="251" y="24"/>
                  </a:cubicBezTo>
                  <a:cubicBezTo>
                    <a:pt x="235" y="34"/>
                    <a:pt x="242" y="46"/>
                    <a:pt x="242" y="46"/>
                  </a:cubicBezTo>
                  <a:cubicBezTo>
                    <a:pt x="238" y="57"/>
                    <a:pt x="238" y="57"/>
                    <a:pt x="238" y="57"/>
                  </a:cubicBezTo>
                  <a:cubicBezTo>
                    <a:pt x="264" y="59"/>
                    <a:pt x="264" y="59"/>
                    <a:pt x="264" y="59"/>
                  </a:cubicBezTo>
                  <a:cubicBezTo>
                    <a:pt x="241" y="80"/>
                    <a:pt x="241" y="80"/>
                    <a:pt x="241" y="80"/>
                  </a:cubicBezTo>
                  <a:cubicBezTo>
                    <a:pt x="230" y="61"/>
                    <a:pt x="230" y="61"/>
                    <a:pt x="230" y="61"/>
                  </a:cubicBezTo>
                  <a:cubicBezTo>
                    <a:pt x="163" y="61"/>
                    <a:pt x="163" y="61"/>
                    <a:pt x="163" y="61"/>
                  </a:cubicBezTo>
                  <a:cubicBezTo>
                    <a:pt x="134" y="41"/>
                    <a:pt x="134" y="41"/>
                    <a:pt x="134" y="41"/>
                  </a:cubicBezTo>
                  <a:cubicBezTo>
                    <a:pt x="103" y="59"/>
                    <a:pt x="103" y="59"/>
                    <a:pt x="103" y="59"/>
                  </a:cubicBezTo>
                  <a:cubicBezTo>
                    <a:pt x="69" y="65"/>
                    <a:pt x="69" y="65"/>
                    <a:pt x="69" y="65"/>
                  </a:cubicBezTo>
                  <a:cubicBezTo>
                    <a:pt x="76" y="76"/>
                    <a:pt x="76" y="76"/>
                    <a:pt x="76" y="76"/>
                  </a:cubicBezTo>
                  <a:cubicBezTo>
                    <a:pt x="54" y="83"/>
                    <a:pt x="54" y="83"/>
                    <a:pt x="54" y="83"/>
                  </a:cubicBezTo>
                  <a:cubicBezTo>
                    <a:pt x="44" y="121"/>
                    <a:pt x="44" y="121"/>
                    <a:pt x="44" y="121"/>
                  </a:cubicBezTo>
                  <a:cubicBezTo>
                    <a:pt x="63" y="118"/>
                    <a:pt x="63" y="118"/>
                    <a:pt x="63" y="118"/>
                  </a:cubicBezTo>
                  <a:cubicBezTo>
                    <a:pt x="61" y="160"/>
                    <a:pt x="61" y="160"/>
                    <a:pt x="61" y="160"/>
                  </a:cubicBezTo>
                  <a:cubicBezTo>
                    <a:pt x="99" y="150"/>
                    <a:pt x="99" y="150"/>
                    <a:pt x="99" y="150"/>
                  </a:cubicBezTo>
                  <a:cubicBezTo>
                    <a:pt x="94" y="169"/>
                    <a:pt x="94" y="169"/>
                    <a:pt x="94" y="169"/>
                  </a:cubicBezTo>
                  <a:cubicBezTo>
                    <a:pt x="72" y="172"/>
                    <a:pt x="72" y="172"/>
                    <a:pt x="72" y="172"/>
                  </a:cubicBezTo>
                  <a:cubicBezTo>
                    <a:pt x="52" y="194"/>
                    <a:pt x="52" y="194"/>
                    <a:pt x="52" y="194"/>
                  </a:cubicBezTo>
                  <a:cubicBezTo>
                    <a:pt x="63" y="213"/>
                    <a:pt x="63" y="213"/>
                    <a:pt x="63" y="213"/>
                  </a:cubicBezTo>
                  <a:cubicBezTo>
                    <a:pt x="120" y="189"/>
                    <a:pt x="120" y="189"/>
                    <a:pt x="120" y="189"/>
                  </a:cubicBezTo>
                  <a:cubicBezTo>
                    <a:pt x="100" y="211"/>
                    <a:pt x="100" y="211"/>
                    <a:pt x="100" y="211"/>
                  </a:cubicBezTo>
                  <a:cubicBezTo>
                    <a:pt x="85" y="215"/>
                    <a:pt x="85" y="215"/>
                    <a:pt x="85" y="215"/>
                  </a:cubicBezTo>
                  <a:cubicBezTo>
                    <a:pt x="88" y="234"/>
                    <a:pt x="88" y="234"/>
                    <a:pt x="88" y="234"/>
                  </a:cubicBezTo>
                  <a:cubicBezTo>
                    <a:pt x="69" y="229"/>
                    <a:pt x="69" y="229"/>
                    <a:pt x="69" y="229"/>
                  </a:cubicBezTo>
                  <a:cubicBezTo>
                    <a:pt x="79" y="256"/>
                    <a:pt x="79" y="256"/>
                    <a:pt x="79" y="256"/>
                  </a:cubicBezTo>
                  <a:cubicBezTo>
                    <a:pt x="105" y="258"/>
                    <a:pt x="105" y="258"/>
                    <a:pt x="105" y="258"/>
                  </a:cubicBezTo>
                  <a:cubicBezTo>
                    <a:pt x="90" y="268"/>
                    <a:pt x="90" y="268"/>
                    <a:pt x="90" y="268"/>
                  </a:cubicBezTo>
                  <a:cubicBezTo>
                    <a:pt x="64" y="267"/>
                    <a:pt x="64" y="267"/>
                    <a:pt x="64" y="267"/>
                  </a:cubicBezTo>
                  <a:cubicBezTo>
                    <a:pt x="67" y="283"/>
                    <a:pt x="67" y="283"/>
                    <a:pt x="67" y="283"/>
                  </a:cubicBezTo>
                  <a:cubicBezTo>
                    <a:pt x="97" y="284"/>
                    <a:pt x="97" y="284"/>
                    <a:pt x="97" y="284"/>
                  </a:cubicBezTo>
                  <a:cubicBezTo>
                    <a:pt x="105" y="277"/>
                    <a:pt x="105" y="277"/>
                    <a:pt x="105" y="277"/>
                  </a:cubicBezTo>
                  <a:cubicBezTo>
                    <a:pt x="108" y="281"/>
                    <a:pt x="108" y="281"/>
                    <a:pt x="108" y="281"/>
                  </a:cubicBezTo>
                  <a:cubicBezTo>
                    <a:pt x="77" y="298"/>
                    <a:pt x="77" y="298"/>
                    <a:pt x="77" y="298"/>
                  </a:cubicBezTo>
                  <a:cubicBezTo>
                    <a:pt x="54" y="316"/>
                    <a:pt x="54" y="316"/>
                    <a:pt x="54" y="316"/>
                  </a:cubicBezTo>
                  <a:cubicBezTo>
                    <a:pt x="40" y="369"/>
                    <a:pt x="40" y="369"/>
                    <a:pt x="40" y="369"/>
                  </a:cubicBezTo>
                  <a:cubicBezTo>
                    <a:pt x="48" y="370"/>
                    <a:pt x="48" y="370"/>
                    <a:pt x="48" y="370"/>
                  </a:cubicBezTo>
                  <a:cubicBezTo>
                    <a:pt x="75" y="356"/>
                    <a:pt x="75" y="356"/>
                    <a:pt x="75" y="356"/>
                  </a:cubicBezTo>
                  <a:cubicBezTo>
                    <a:pt x="90" y="341"/>
                    <a:pt x="90" y="341"/>
                    <a:pt x="90" y="341"/>
                  </a:cubicBezTo>
                  <a:cubicBezTo>
                    <a:pt x="139" y="351"/>
                    <a:pt x="139" y="351"/>
                    <a:pt x="139" y="351"/>
                  </a:cubicBezTo>
                  <a:cubicBezTo>
                    <a:pt x="173" y="341"/>
                    <a:pt x="173" y="341"/>
                    <a:pt x="173" y="341"/>
                  </a:cubicBezTo>
                  <a:cubicBezTo>
                    <a:pt x="164" y="360"/>
                    <a:pt x="164" y="360"/>
                    <a:pt x="164" y="360"/>
                  </a:cubicBezTo>
                  <a:cubicBezTo>
                    <a:pt x="179" y="364"/>
                    <a:pt x="179" y="364"/>
                    <a:pt x="179" y="364"/>
                  </a:cubicBezTo>
                  <a:cubicBezTo>
                    <a:pt x="179" y="376"/>
                    <a:pt x="179" y="376"/>
                    <a:pt x="179" y="376"/>
                  </a:cubicBezTo>
                  <a:cubicBezTo>
                    <a:pt x="179" y="376"/>
                    <a:pt x="125" y="396"/>
                    <a:pt x="150" y="420"/>
                  </a:cubicBezTo>
                  <a:cubicBezTo>
                    <a:pt x="179" y="449"/>
                    <a:pt x="192" y="415"/>
                    <a:pt x="192" y="415"/>
                  </a:cubicBezTo>
                  <a:cubicBezTo>
                    <a:pt x="202" y="431"/>
                    <a:pt x="202" y="431"/>
                    <a:pt x="202" y="431"/>
                  </a:cubicBezTo>
                  <a:cubicBezTo>
                    <a:pt x="229" y="424"/>
                    <a:pt x="229" y="424"/>
                    <a:pt x="229" y="424"/>
                  </a:cubicBezTo>
                  <a:cubicBezTo>
                    <a:pt x="250" y="448"/>
                    <a:pt x="250" y="448"/>
                    <a:pt x="250" y="448"/>
                  </a:cubicBezTo>
                  <a:cubicBezTo>
                    <a:pt x="269" y="441"/>
                    <a:pt x="269" y="441"/>
                    <a:pt x="269" y="441"/>
                  </a:cubicBezTo>
                  <a:cubicBezTo>
                    <a:pt x="269" y="441"/>
                    <a:pt x="283" y="465"/>
                    <a:pt x="302" y="458"/>
                  </a:cubicBezTo>
                  <a:cubicBezTo>
                    <a:pt x="325" y="455"/>
                    <a:pt x="318" y="432"/>
                    <a:pt x="329" y="433"/>
                  </a:cubicBezTo>
                  <a:cubicBezTo>
                    <a:pt x="344" y="433"/>
                    <a:pt x="347" y="449"/>
                    <a:pt x="347" y="449"/>
                  </a:cubicBezTo>
                  <a:cubicBezTo>
                    <a:pt x="380" y="462"/>
                    <a:pt x="380" y="462"/>
                    <a:pt x="380" y="462"/>
                  </a:cubicBezTo>
                  <a:cubicBezTo>
                    <a:pt x="396" y="451"/>
                    <a:pt x="396" y="451"/>
                    <a:pt x="396" y="451"/>
                  </a:cubicBezTo>
                  <a:cubicBezTo>
                    <a:pt x="396" y="459"/>
                    <a:pt x="396" y="459"/>
                    <a:pt x="396" y="459"/>
                  </a:cubicBezTo>
                  <a:cubicBezTo>
                    <a:pt x="425" y="468"/>
                    <a:pt x="425" y="468"/>
                    <a:pt x="425" y="468"/>
                  </a:cubicBezTo>
                  <a:cubicBezTo>
                    <a:pt x="416" y="510"/>
                    <a:pt x="416" y="510"/>
                    <a:pt x="416" y="510"/>
                  </a:cubicBezTo>
                  <a:cubicBezTo>
                    <a:pt x="416" y="510"/>
                    <a:pt x="407" y="540"/>
                    <a:pt x="418" y="540"/>
                  </a:cubicBezTo>
                  <a:cubicBezTo>
                    <a:pt x="433" y="541"/>
                    <a:pt x="463" y="542"/>
                    <a:pt x="462" y="558"/>
                  </a:cubicBezTo>
                  <a:cubicBezTo>
                    <a:pt x="457" y="577"/>
                    <a:pt x="430" y="606"/>
                    <a:pt x="430" y="606"/>
                  </a:cubicBezTo>
                  <a:cubicBezTo>
                    <a:pt x="430" y="606"/>
                    <a:pt x="395" y="631"/>
                    <a:pt x="388" y="631"/>
                  </a:cubicBezTo>
                  <a:cubicBezTo>
                    <a:pt x="365" y="630"/>
                    <a:pt x="365" y="630"/>
                    <a:pt x="365" y="630"/>
                  </a:cubicBezTo>
                  <a:cubicBezTo>
                    <a:pt x="338" y="663"/>
                    <a:pt x="338" y="663"/>
                    <a:pt x="338" y="663"/>
                  </a:cubicBezTo>
                  <a:cubicBezTo>
                    <a:pt x="311" y="661"/>
                    <a:pt x="311" y="661"/>
                    <a:pt x="311" y="661"/>
                  </a:cubicBezTo>
                  <a:cubicBezTo>
                    <a:pt x="321" y="704"/>
                    <a:pt x="321" y="704"/>
                    <a:pt x="321" y="704"/>
                  </a:cubicBezTo>
                  <a:cubicBezTo>
                    <a:pt x="287" y="794"/>
                    <a:pt x="287" y="794"/>
                    <a:pt x="287" y="794"/>
                  </a:cubicBezTo>
                  <a:cubicBezTo>
                    <a:pt x="293" y="821"/>
                    <a:pt x="293" y="821"/>
                    <a:pt x="293" y="821"/>
                  </a:cubicBezTo>
                  <a:cubicBezTo>
                    <a:pt x="273" y="839"/>
                    <a:pt x="273" y="839"/>
                    <a:pt x="273" y="839"/>
                  </a:cubicBezTo>
                  <a:cubicBezTo>
                    <a:pt x="273" y="839"/>
                    <a:pt x="247" y="834"/>
                    <a:pt x="246" y="853"/>
                  </a:cubicBezTo>
                  <a:cubicBezTo>
                    <a:pt x="246" y="869"/>
                    <a:pt x="260" y="896"/>
                    <a:pt x="260" y="896"/>
                  </a:cubicBezTo>
                  <a:cubicBezTo>
                    <a:pt x="239" y="933"/>
                    <a:pt x="239" y="933"/>
                    <a:pt x="239" y="933"/>
                  </a:cubicBezTo>
                  <a:cubicBezTo>
                    <a:pt x="228" y="933"/>
                    <a:pt x="228" y="933"/>
                    <a:pt x="228" y="933"/>
                  </a:cubicBezTo>
                  <a:cubicBezTo>
                    <a:pt x="215" y="963"/>
                    <a:pt x="215" y="963"/>
                    <a:pt x="215" y="963"/>
                  </a:cubicBezTo>
                  <a:cubicBezTo>
                    <a:pt x="119" y="939"/>
                    <a:pt x="119" y="939"/>
                    <a:pt x="119" y="939"/>
                  </a:cubicBezTo>
                  <a:cubicBezTo>
                    <a:pt x="139" y="994"/>
                    <a:pt x="139" y="994"/>
                    <a:pt x="139" y="994"/>
                  </a:cubicBezTo>
                  <a:cubicBezTo>
                    <a:pt x="139" y="994"/>
                    <a:pt x="154" y="987"/>
                    <a:pt x="154" y="994"/>
                  </a:cubicBezTo>
                  <a:cubicBezTo>
                    <a:pt x="153" y="1006"/>
                    <a:pt x="142" y="1020"/>
                    <a:pt x="142" y="1020"/>
                  </a:cubicBezTo>
                  <a:cubicBezTo>
                    <a:pt x="161" y="1086"/>
                    <a:pt x="161" y="1086"/>
                    <a:pt x="161" y="1086"/>
                  </a:cubicBezTo>
                  <a:cubicBezTo>
                    <a:pt x="161" y="1086"/>
                    <a:pt x="199" y="1081"/>
                    <a:pt x="190" y="1103"/>
                  </a:cubicBezTo>
                  <a:cubicBezTo>
                    <a:pt x="182" y="1126"/>
                    <a:pt x="154" y="1155"/>
                    <a:pt x="154" y="1155"/>
                  </a:cubicBezTo>
                  <a:cubicBezTo>
                    <a:pt x="116" y="1165"/>
                    <a:pt x="116" y="1165"/>
                    <a:pt x="116" y="1165"/>
                  </a:cubicBezTo>
                  <a:cubicBezTo>
                    <a:pt x="84" y="1224"/>
                    <a:pt x="84" y="1224"/>
                    <a:pt x="84" y="1224"/>
                  </a:cubicBezTo>
                  <a:cubicBezTo>
                    <a:pt x="110" y="1294"/>
                    <a:pt x="110" y="1294"/>
                    <a:pt x="110" y="1294"/>
                  </a:cubicBezTo>
                  <a:cubicBezTo>
                    <a:pt x="144" y="1296"/>
                    <a:pt x="144" y="1296"/>
                    <a:pt x="144" y="1296"/>
                  </a:cubicBezTo>
                  <a:cubicBezTo>
                    <a:pt x="136" y="1307"/>
                    <a:pt x="136" y="1307"/>
                    <a:pt x="136" y="1307"/>
                  </a:cubicBezTo>
                  <a:cubicBezTo>
                    <a:pt x="123" y="1333"/>
                    <a:pt x="123" y="1333"/>
                    <a:pt x="123" y="1333"/>
                  </a:cubicBezTo>
                  <a:cubicBezTo>
                    <a:pt x="71" y="1335"/>
                    <a:pt x="71" y="1335"/>
                    <a:pt x="71" y="1335"/>
                  </a:cubicBezTo>
                  <a:cubicBezTo>
                    <a:pt x="62" y="1361"/>
                    <a:pt x="62" y="1361"/>
                    <a:pt x="62" y="1361"/>
                  </a:cubicBezTo>
                  <a:cubicBezTo>
                    <a:pt x="62" y="1361"/>
                    <a:pt x="36" y="1367"/>
                    <a:pt x="24" y="1390"/>
                  </a:cubicBezTo>
                  <a:cubicBezTo>
                    <a:pt x="8" y="1408"/>
                    <a:pt x="0" y="1419"/>
                    <a:pt x="0" y="1419"/>
                  </a:cubicBezTo>
                  <a:cubicBezTo>
                    <a:pt x="6" y="1446"/>
                    <a:pt x="6" y="1446"/>
                    <a:pt x="6" y="1446"/>
                  </a:cubicBezTo>
                  <a:cubicBezTo>
                    <a:pt x="3" y="1507"/>
                    <a:pt x="3" y="1507"/>
                    <a:pt x="3" y="1507"/>
                  </a:cubicBezTo>
                  <a:cubicBezTo>
                    <a:pt x="62" y="1522"/>
                    <a:pt x="62" y="1522"/>
                    <a:pt x="62" y="1522"/>
                  </a:cubicBezTo>
                  <a:cubicBezTo>
                    <a:pt x="73" y="1534"/>
                    <a:pt x="73" y="1534"/>
                    <a:pt x="73" y="1534"/>
                  </a:cubicBezTo>
                  <a:cubicBezTo>
                    <a:pt x="81" y="1522"/>
                    <a:pt x="81" y="1522"/>
                    <a:pt x="81" y="1522"/>
                  </a:cubicBezTo>
                  <a:cubicBezTo>
                    <a:pt x="108" y="1512"/>
                    <a:pt x="108" y="1512"/>
                    <a:pt x="108" y="1512"/>
                  </a:cubicBezTo>
                  <a:cubicBezTo>
                    <a:pt x="96" y="1527"/>
                    <a:pt x="96" y="1527"/>
                    <a:pt x="96" y="1527"/>
                  </a:cubicBezTo>
                  <a:cubicBezTo>
                    <a:pt x="92" y="1538"/>
                    <a:pt x="92" y="1538"/>
                    <a:pt x="92" y="1538"/>
                  </a:cubicBezTo>
                  <a:cubicBezTo>
                    <a:pt x="92" y="1538"/>
                    <a:pt x="113" y="1562"/>
                    <a:pt x="131" y="1578"/>
                  </a:cubicBezTo>
                  <a:cubicBezTo>
                    <a:pt x="152" y="1599"/>
                    <a:pt x="165" y="1645"/>
                    <a:pt x="165" y="1645"/>
                  </a:cubicBezTo>
                  <a:cubicBezTo>
                    <a:pt x="170" y="1634"/>
                    <a:pt x="170" y="1634"/>
                    <a:pt x="170" y="1634"/>
                  </a:cubicBezTo>
                  <a:cubicBezTo>
                    <a:pt x="170" y="1634"/>
                    <a:pt x="176" y="1649"/>
                    <a:pt x="169" y="1657"/>
                  </a:cubicBezTo>
                  <a:cubicBezTo>
                    <a:pt x="161" y="1660"/>
                    <a:pt x="150" y="1660"/>
                    <a:pt x="150" y="1660"/>
                  </a:cubicBezTo>
                  <a:cubicBezTo>
                    <a:pt x="152" y="1686"/>
                    <a:pt x="152" y="1686"/>
                    <a:pt x="152" y="1686"/>
                  </a:cubicBezTo>
                  <a:cubicBezTo>
                    <a:pt x="167" y="1687"/>
                    <a:pt x="167" y="1687"/>
                    <a:pt x="167" y="1687"/>
                  </a:cubicBezTo>
                  <a:cubicBezTo>
                    <a:pt x="166" y="1702"/>
                    <a:pt x="166" y="1702"/>
                    <a:pt x="166" y="1702"/>
                  </a:cubicBezTo>
                  <a:cubicBezTo>
                    <a:pt x="178" y="1703"/>
                    <a:pt x="178" y="1703"/>
                    <a:pt x="178" y="1703"/>
                  </a:cubicBezTo>
                  <a:cubicBezTo>
                    <a:pt x="184" y="1722"/>
                    <a:pt x="184" y="1722"/>
                    <a:pt x="184" y="1722"/>
                  </a:cubicBezTo>
                  <a:cubicBezTo>
                    <a:pt x="176" y="1730"/>
                    <a:pt x="176" y="1730"/>
                    <a:pt x="176" y="1730"/>
                  </a:cubicBezTo>
                  <a:cubicBezTo>
                    <a:pt x="170" y="1714"/>
                    <a:pt x="170" y="1714"/>
                    <a:pt x="170" y="1714"/>
                  </a:cubicBezTo>
                  <a:cubicBezTo>
                    <a:pt x="162" y="1714"/>
                    <a:pt x="162" y="1714"/>
                    <a:pt x="162" y="1714"/>
                  </a:cubicBezTo>
                  <a:cubicBezTo>
                    <a:pt x="188" y="1803"/>
                    <a:pt x="188" y="1803"/>
                    <a:pt x="188" y="1803"/>
                  </a:cubicBezTo>
                  <a:cubicBezTo>
                    <a:pt x="221" y="1812"/>
                    <a:pt x="221" y="1812"/>
                    <a:pt x="221" y="1812"/>
                  </a:cubicBezTo>
                  <a:cubicBezTo>
                    <a:pt x="231" y="1839"/>
                    <a:pt x="231" y="1839"/>
                    <a:pt x="231" y="1839"/>
                  </a:cubicBezTo>
                  <a:cubicBezTo>
                    <a:pt x="257" y="1856"/>
                    <a:pt x="257" y="1856"/>
                    <a:pt x="257" y="1856"/>
                  </a:cubicBezTo>
                  <a:cubicBezTo>
                    <a:pt x="260" y="1868"/>
                    <a:pt x="260" y="1868"/>
                    <a:pt x="260" y="1868"/>
                  </a:cubicBezTo>
                  <a:cubicBezTo>
                    <a:pt x="279" y="1857"/>
                    <a:pt x="279" y="1857"/>
                    <a:pt x="279" y="1857"/>
                  </a:cubicBezTo>
                  <a:cubicBezTo>
                    <a:pt x="298" y="1862"/>
                    <a:pt x="298" y="1862"/>
                    <a:pt x="298" y="1862"/>
                  </a:cubicBezTo>
                  <a:cubicBezTo>
                    <a:pt x="298" y="1862"/>
                    <a:pt x="298" y="1846"/>
                    <a:pt x="302" y="1843"/>
                  </a:cubicBezTo>
                  <a:cubicBezTo>
                    <a:pt x="310" y="1835"/>
                    <a:pt x="321" y="1851"/>
                    <a:pt x="321" y="1851"/>
                  </a:cubicBezTo>
                  <a:cubicBezTo>
                    <a:pt x="364" y="1800"/>
                    <a:pt x="364" y="1800"/>
                    <a:pt x="364" y="1800"/>
                  </a:cubicBezTo>
                  <a:cubicBezTo>
                    <a:pt x="421" y="1791"/>
                    <a:pt x="421" y="1791"/>
                    <a:pt x="421" y="1791"/>
                  </a:cubicBezTo>
                  <a:cubicBezTo>
                    <a:pt x="421" y="1791"/>
                    <a:pt x="435" y="1803"/>
                    <a:pt x="466" y="1789"/>
                  </a:cubicBezTo>
                  <a:cubicBezTo>
                    <a:pt x="496" y="1776"/>
                    <a:pt x="512" y="1765"/>
                    <a:pt x="512" y="1765"/>
                  </a:cubicBezTo>
                  <a:cubicBezTo>
                    <a:pt x="549" y="1770"/>
                    <a:pt x="549" y="1770"/>
                    <a:pt x="549" y="1770"/>
                  </a:cubicBezTo>
                  <a:cubicBezTo>
                    <a:pt x="642" y="1779"/>
                    <a:pt x="642" y="1779"/>
                    <a:pt x="642" y="1779"/>
                  </a:cubicBezTo>
                  <a:cubicBezTo>
                    <a:pt x="693" y="1804"/>
                    <a:pt x="693" y="1804"/>
                    <a:pt x="693" y="1804"/>
                  </a:cubicBezTo>
                  <a:cubicBezTo>
                    <a:pt x="731" y="1802"/>
                    <a:pt x="731" y="1802"/>
                    <a:pt x="731" y="1802"/>
                  </a:cubicBezTo>
                  <a:cubicBezTo>
                    <a:pt x="819" y="1833"/>
                    <a:pt x="819" y="1833"/>
                    <a:pt x="819" y="1833"/>
                  </a:cubicBezTo>
                  <a:cubicBezTo>
                    <a:pt x="841" y="1834"/>
                    <a:pt x="841" y="1834"/>
                    <a:pt x="841" y="1834"/>
                  </a:cubicBezTo>
                  <a:cubicBezTo>
                    <a:pt x="841" y="1834"/>
                    <a:pt x="854" y="1804"/>
                    <a:pt x="887" y="1809"/>
                  </a:cubicBezTo>
                  <a:cubicBezTo>
                    <a:pt x="925" y="1815"/>
                    <a:pt x="927" y="1850"/>
                    <a:pt x="927" y="1850"/>
                  </a:cubicBezTo>
                  <a:cubicBezTo>
                    <a:pt x="966" y="1821"/>
                    <a:pt x="966" y="1821"/>
                    <a:pt x="966" y="1821"/>
                  </a:cubicBezTo>
                  <a:cubicBezTo>
                    <a:pt x="988" y="1810"/>
                    <a:pt x="988" y="1810"/>
                    <a:pt x="988" y="1810"/>
                  </a:cubicBezTo>
                  <a:cubicBezTo>
                    <a:pt x="1014" y="1750"/>
                    <a:pt x="1014" y="1750"/>
                    <a:pt x="1014" y="1750"/>
                  </a:cubicBezTo>
                  <a:cubicBezTo>
                    <a:pt x="1068" y="1715"/>
                    <a:pt x="1068" y="1715"/>
                    <a:pt x="1068" y="1715"/>
                  </a:cubicBezTo>
                  <a:cubicBezTo>
                    <a:pt x="1083" y="1715"/>
                    <a:pt x="1083" y="1715"/>
                    <a:pt x="1083" y="1715"/>
                  </a:cubicBezTo>
                  <a:cubicBezTo>
                    <a:pt x="1083" y="1715"/>
                    <a:pt x="1095" y="1689"/>
                    <a:pt x="1110" y="1690"/>
                  </a:cubicBezTo>
                  <a:cubicBezTo>
                    <a:pt x="1129" y="1687"/>
                    <a:pt x="1147" y="1707"/>
                    <a:pt x="1147" y="1707"/>
                  </a:cubicBezTo>
                  <a:cubicBezTo>
                    <a:pt x="1147" y="1707"/>
                    <a:pt x="1166" y="1697"/>
                    <a:pt x="1170" y="1697"/>
                  </a:cubicBezTo>
                  <a:cubicBezTo>
                    <a:pt x="1177" y="1697"/>
                    <a:pt x="1184" y="1705"/>
                    <a:pt x="1184" y="1705"/>
                  </a:cubicBezTo>
                  <a:cubicBezTo>
                    <a:pt x="1237" y="1700"/>
                    <a:pt x="1237" y="1700"/>
                    <a:pt x="1237" y="1700"/>
                  </a:cubicBezTo>
                  <a:cubicBezTo>
                    <a:pt x="1234" y="1673"/>
                    <a:pt x="1234" y="1673"/>
                    <a:pt x="1234" y="1673"/>
                  </a:cubicBezTo>
                  <a:cubicBezTo>
                    <a:pt x="1222" y="1688"/>
                    <a:pt x="1222" y="1688"/>
                    <a:pt x="1222" y="1688"/>
                  </a:cubicBezTo>
                  <a:cubicBezTo>
                    <a:pt x="1208" y="1668"/>
                    <a:pt x="1208" y="1668"/>
                    <a:pt x="1208" y="1668"/>
                  </a:cubicBezTo>
                  <a:cubicBezTo>
                    <a:pt x="1233" y="1619"/>
                    <a:pt x="1233" y="1619"/>
                    <a:pt x="1233" y="1619"/>
                  </a:cubicBezTo>
                  <a:cubicBezTo>
                    <a:pt x="1252" y="1616"/>
                    <a:pt x="1252" y="1616"/>
                    <a:pt x="1252" y="1616"/>
                  </a:cubicBezTo>
                  <a:cubicBezTo>
                    <a:pt x="1252" y="1616"/>
                    <a:pt x="1260" y="1590"/>
                    <a:pt x="1268" y="1579"/>
                  </a:cubicBezTo>
                  <a:cubicBezTo>
                    <a:pt x="1276" y="1568"/>
                    <a:pt x="1287" y="1572"/>
                    <a:pt x="1287" y="1572"/>
                  </a:cubicBezTo>
                  <a:cubicBezTo>
                    <a:pt x="1296" y="1542"/>
                    <a:pt x="1296" y="1542"/>
                    <a:pt x="1296" y="1542"/>
                  </a:cubicBezTo>
                  <a:cubicBezTo>
                    <a:pt x="1311" y="1547"/>
                    <a:pt x="1311" y="1547"/>
                    <a:pt x="1311" y="1547"/>
                  </a:cubicBezTo>
                  <a:cubicBezTo>
                    <a:pt x="1346" y="1510"/>
                    <a:pt x="1346" y="1510"/>
                    <a:pt x="1346" y="1510"/>
                  </a:cubicBezTo>
                  <a:cubicBezTo>
                    <a:pt x="1403" y="1494"/>
                    <a:pt x="1403" y="1494"/>
                    <a:pt x="1403" y="1494"/>
                  </a:cubicBezTo>
                  <a:cubicBezTo>
                    <a:pt x="1434" y="1468"/>
                    <a:pt x="1434" y="1468"/>
                    <a:pt x="1434" y="1468"/>
                  </a:cubicBezTo>
                  <a:cubicBezTo>
                    <a:pt x="1435" y="1445"/>
                    <a:pt x="1435" y="1445"/>
                    <a:pt x="1435" y="1445"/>
                  </a:cubicBezTo>
                  <a:cubicBezTo>
                    <a:pt x="1435" y="1445"/>
                    <a:pt x="1413" y="1444"/>
                    <a:pt x="1399" y="1428"/>
                  </a:cubicBezTo>
                  <a:cubicBezTo>
                    <a:pt x="1384" y="1416"/>
                    <a:pt x="1368" y="1293"/>
                    <a:pt x="1368" y="1293"/>
                  </a:cubicBezTo>
                  <a:cubicBezTo>
                    <a:pt x="1455" y="1190"/>
                    <a:pt x="1455" y="1190"/>
                    <a:pt x="1455" y="1190"/>
                  </a:cubicBezTo>
                  <a:cubicBezTo>
                    <a:pt x="1460" y="1160"/>
                    <a:pt x="1460" y="1160"/>
                    <a:pt x="1460" y="1160"/>
                  </a:cubicBezTo>
                  <a:cubicBezTo>
                    <a:pt x="1475" y="1164"/>
                    <a:pt x="1475" y="1164"/>
                    <a:pt x="1475" y="1164"/>
                  </a:cubicBezTo>
                  <a:cubicBezTo>
                    <a:pt x="1533" y="1106"/>
                    <a:pt x="1533" y="1106"/>
                    <a:pt x="1533" y="1106"/>
                  </a:cubicBezTo>
                  <a:cubicBezTo>
                    <a:pt x="1533" y="1106"/>
                    <a:pt x="1561" y="1065"/>
                    <a:pt x="1573" y="1058"/>
                  </a:cubicBezTo>
                  <a:cubicBezTo>
                    <a:pt x="1585" y="1047"/>
                    <a:pt x="1596" y="1052"/>
                    <a:pt x="1596" y="1052"/>
                  </a:cubicBezTo>
                  <a:cubicBezTo>
                    <a:pt x="1592" y="1059"/>
                    <a:pt x="1592" y="1059"/>
                    <a:pt x="1592" y="1059"/>
                  </a:cubicBezTo>
                  <a:cubicBezTo>
                    <a:pt x="1580" y="1058"/>
                    <a:pt x="1580" y="1058"/>
                    <a:pt x="1580" y="1058"/>
                  </a:cubicBezTo>
                  <a:cubicBezTo>
                    <a:pt x="1580" y="1066"/>
                    <a:pt x="1580" y="1066"/>
                    <a:pt x="1580" y="1066"/>
                  </a:cubicBezTo>
                  <a:cubicBezTo>
                    <a:pt x="1591" y="1070"/>
                    <a:pt x="1591" y="1070"/>
                    <a:pt x="1591" y="1070"/>
                  </a:cubicBezTo>
                  <a:cubicBezTo>
                    <a:pt x="1607" y="1052"/>
                    <a:pt x="1607" y="1052"/>
                    <a:pt x="1607" y="1052"/>
                  </a:cubicBezTo>
                  <a:cubicBezTo>
                    <a:pt x="1607" y="1052"/>
                    <a:pt x="1626" y="1049"/>
                    <a:pt x="1634" y="1042"/>
                  </a:cubicBezTo>
                  <a:cubicBezTo>
                    <a:pt x="1638" y="1038"/>
                    <a:pt x="1609" y="1014"/>
                    <a:pt x="1609" y="1014"/>
                  </a:cubicBezTo>
                  <a:cubicBezTo>
                    <a:pt x="1663" y="963"/>
                    <a:pt x="1663" y="963"/>
                    <a:pt x="1663" y="963"/>
                  </a:cubicBezTo>
                  <a:cubicBezTo>
                    <a:pt x="1697" y="965"/>
                    <a:pt x="1697" y="965"/>
                    <a:pt x="1697" y="965"/>
                  </a:cubicBezTo>
                  <a:cubicBezTo>
                    <a:pt x="1709" y="954"/>
                    <a:pt x="1709" y="954"/>
                    <a:pt x="1709" y="954"/>
                  </a:cubicBezTo>
                  <a:cubicBezTo>
                    <a:pt x="1709" y="954"/>
                    <a:pt x="1762" y="945"/>
                    <a:pt x="1784" y="946"/>
                  </a:cubicBezTo>
                  <a:cubicBezTo>
                    <a:pt x="1803" y="947"/>
                    <a:pt x="1847" y="949"/>
                    <a:pt x="1870" y="938"/>
                  </a:cubicBezTo>
                  <a:cubicBezTo>
                    <a:pt x="1893" y="928"/>
                    <a:pt x="1882" y="920"/>
                    <a:pt x="1909" y="906"/>
                  </a:cubicBezTo>
                  <a:cubicBezTo>
                    <a:pt x="1940" y="888"/>
                    <a:pt x="2030" y="873"/>
                    <a:pt x="2054" y="855"/>
                  </a:cubicBezTo>
                  <a:cubicBezTo>
                    <a:pt x="2077" y="837"/>
                    <a:pt x="2086" y="807"/>
                    <a:pt x="2083" y="795"/>
                  </a:cubicBezTo>
                  <a:cubicBezTo>
                    <a:pt x="2083" y="784"/>
                    <a:pt x="2073" y="772"/>
                    <a:pt x="2077" y="761"/>
                  </a:cubicBezTo>
                  <a:cubicBezTo>
                    <a:pt x="2081" y="750"/>
                    <a:pt x="2095" y="762"/>
                    <a:pt x="2103" y="754"/>
                  </a:cubicBezTo>
                  <a:cubicBezTo>
                    <a:pt x="2115" y="751"/>
                    <a:pt x="2115" y="736"/>
                    <a:pt x="2115" y="736"/>
                  </a:cubicBezTo>
                  <a:cubicBezTo>
                    <a:pt x="2093" y="723"/>
                    <a:pt x="2093" y="723"/>
                    <a:pt x="2093" y="723"/>
                  </a:cubicBezTo>
                  <a:cubicBezTo>
                    <a:pt x="2090" y="708"/>
                    <a:pt x="2090" y="708"/>
                    <a:pt x="2090" y="708"/>
                  </a:cubicBezTo>
                  <a:cubicBezTo>
                    <a:pt x="2068" y="707"/>
                    <a:pt x="2068" y="707"/>
                    <a:pt x="2068" y="707"/>
                  </a:cubicBezTo>
                  <a:cubicBezTo>
                    <a:pt x="2068" y="707"/>
                    <a:pt x="2065" y="695"/>
                    <a:pt x="2043" y="68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8" name="Freeform 592">
              <a:extLst>
                <a:ext uri="{FF2B5EF4-FFF2-40B4-BE49-F238E27FC236}">
                  <a16:creationId xmlns:a16="http://schemas.microsoft.com/office/drawing/2014/main" id="{30E2FCEB-3643-BB99-6DC0-FC826E2C33DC}"/>
                </a:ext>
              </a:extLst>
            </p:cNvPr>
            <p:cNvSpPr>
              <a:spLocks/>
            </p:cNvSpPr>
            <p:nvPr/>
          </p:nvSpPr>
          <p:spPr bwMode="gray">
            <a:xfrm>
              <a:off x="8907422" y="4968154"/>
              <a:ext cx="21576" cy="19778"/>
            </a:xfrm>
            <a:custGeom>
              <a:avLst/>
              <a:gdLst>
                <a:gd name="T0" fmla="*/ 3 w 12"/>
                <a:gd name="T1" fmla="*/ 0 h 11"/>
                <a:gd name="T2" fmla="*/ 0 w 12"/>
                <a:gd name="T3" fmla="*/ 5 h 11"/>
                <a:gd name="T4" fmla="*/ 1 w 12"/>
                <a:gd name="T5" fmla="*/ 11 h 11"/>
                <a:gd name="T6" fmla="*/ 5 w 12"/>
                <a:gd name="T7" fmla="*/ 7 h 11"/>
                <a:gd name="T8" fmla="*/ 10 w 12"/>
                <a:gd name="T9" fmla="*/ 11 h 11"/>
                <a:gd name="T10" fmla="*/ 12 w 12"/>
                <a:gd name="T11" fmla="*/ 9 h 11"/>
                <a:gd name="T12" fmla="*/ 8 w 12"/>
                <a:gd name="T13" fmla="*/ 6 h 11"/>
                <a:gd name="T14" fmla="*/ 3 w 1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3" y="0"/>
                  </a:moveTo>
                  <a:lnTo>
                    <a:pt x="0" y="5"/>
                  </a:lnTo>
                  <a:lnTo>
                    <a:pt x="1" y="11"/>
                  </a:lnTo>
                  <a:lnTo>
                    <a:pt x="5" y="7"/>
                  </a:lnTo>
                  <a:lnTo>
                    <a:pt x="10" y="11"/>
                  </a:lnTo>
                  <a:lnTo>
                    <a:pt x="12" y="9"/>
                  </a:lnTo>
                  <a:lnTo>
                    <a:pt x="8"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9" name="Freeform 593">
              <a:extLst>
                <a:ext uri="{FF2B5EF4-FFF2-40B4-BE49-F238E27FC236}">
                  <a16:creationId xmlns:a16="http://schemas.microsoft.com/office/drawing/2014/main" id="{EB7BEDC5-3FA7-F703-D7E1-E98BA6176BF9}"/>
                </a:ext>
              </a:extLst>
            </p:cNvPr>
            <p:cNvSpPr>
              <a:spLocks/>
            </p:cNvSpPr>
            <p:nvPr/>
          </p:nvSpPr>
          <p:spPr bwMode="gray">
            <a:xfrm>
              <a:off x="8894836" y="4921407"/>
              <a:ext cx="48546" cy="39556"/>
            </a:xfrm>
            <a:custGeom>
              <a:avLst/>
              <a:gdLst>
                <a:gd name="T0" fmla="*/ 62 w 81"/>
                <a:gd name="T1" fmla="*/ 1 h 64"/>
                <a:gd name="T2" fmla="*/ 17 w 81"/>
                <a:gd name="T3" fmla="*/ 7 h 64"/>
                <a:gd name="T4" fmla="*/ 20 w 81"/>
                <a:gd name="T5" fmla="*/ 26 h 64"/>
                <a:gd name="T6" fmla="*/ 5 w 81"/>
                <a:gd name="T7" fmla="*/ 29 h 64"/>
                <a:gd name="T8" fmla="*/ 0 w 81"/>
                <a:gd name="T9" fmla="*/ 48 h 64"/>
                <a:gd name="T10" fmla="*/ 15 w 81"/>
                <a:gd name="T11" fmla="*/ 60 h 64"/>
                <a:gd name="T12" fmla="*/ 22 w 81"/>
                <a:gd name="T13" fmla="*/ 56 h 64"/>
                <a:gd name="T14" fmla="*/ 26 w 81"/>
                <a:gd name="T15" fmla="*/ 64 h 64"/>
                <a:gd name="T16" fmla="*/ 34 w 81"/>
                <a:gd name="T17" fmla="*/ 46 h 64"/>
                <a:gd name="T18" fmla="*/ 45 w 81"/>
                <a:gd name="T19" fmla="*/ 46 h 64"/>
                <a:gd name="T20" fmla="*/ 72 w 81"/>
                <a:gd name="T21" fmla="*/ 28 h 64"/>
                <a:gd name="T22" fmla="*/ 62 w 81"/>
                <a:gd name="T23" fmla="*/ 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4">
                  <a:moveTo>
                    <a:pt x="62" y="1"/>
                  </a:moveTo>
                  <a:cubicBezTo>
                    <a:pt x="47" y="0"/>
                    <a:pt x="17" y="7"/>
                    <a:pt x="17" y="7"/>
                  </a:cubicBezTo>
                  <a:cubicBezTo>
                    <a:pt x="20" y="26"/>
                    <a:pt x="20" y="26"/>
                    <a:pt x="20" y="26"/>
                  </a:cubicBezTo>
                  <a:cubicBezTo>
                    <a:pt x="5" y="29"/>
                    <a:pt x="5" y="29"/>
                    <a:pt x="5" y="29"/>
                  </a:cubicBezTo>
                  <a:cubicBezTo>
                    <a:pt x="0" y="48"/>
                    <a:pt x="0" y="48"/>
                    <a:pt x="0" y="48"/>
                  </a:cubicBezTo>
                  <a:cubicBezTo>
                    <a:pt x="15" y="60"/>
                    <a:pt x="15" y="60"/>
                    <a:pt x="15" y="60"/>
                  </a:cubicBezTo>
                  <a:cubicBezTo>
                    <a:pt x="22" y="56"/>
                    <a:pt x="22" y="56"/>
                    <a:pt x="22" y="56"/>
                  </a:cubicBezTo>
                  <a:cubicBezTo>
                    <a:pt x="26" y="64"/>
                    <a:pt x="26" y="64"/>
                    <a:pt x="26" y="64"/>
                  </a:cubicBezTo>
                  <a:cubicBezTo>
                    <a:pt x="34" y="46"/>
                    <a:pt x="34" y="46"/>
                    <a:pt x="34" y="46"/>
                  </a:cubicBezTo>
                  <a:cubicBezTo>
                    <a:pt x="45" y="46"/>
                    <a:pt x="45" y="46"/>
                    <a:pt x="45" y="46"/>
                  </a:cubicBezTo>
                  <a:cubicBezTo>
                    <a:pt x="72" y="28"/>
                    <a:pt x="72" y="28"/>
                    <a:pt x="72" y="28"/>
                  </a:cubicBezTo>
                  <a:cubicBezTo>
                    <a:pt x="72" y="28"/>
                    <a:pt x="81" y="2"/>
                    <a:pt x="6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0" name="Freeform 594">
              <a:extLst>
                <a:ext uri="{FF2B5EF4-FFF2-40B4-BE49-F238E27FC236}">
                  <a16:creationId xmlns:a16="http://schemas.microsoft.com/office/drawing/2014/main" id="{4860B77C-3700-19E4-7CC8-0BF7AFB96A25}"/>
                </a:ext>
              </a:extLst>
            </p:cNvPr>
            <p:cNvSpPr>
              <a:spLocks/>
            </p:cNvSpPr>
            <p:nvPr/>
          </p:nvSpPr>
          <p:spPr bwMode="gray">
            <a:xfrm>
              <a:off x="10043743" y="5343932"/>
              <a:ext cx="21576" cy="25171"/>
            </a:xfrm>
            <a:custGeom>
              <a:avLst/>
              <a:gdLst>
                <a:gd name="T0" fmla="*/ 18 w 36"/>
                <a:gd name="T1" fmla="*/ 16 h 43"/>
                <a:gd name="T2" fmla="*/ 3 w 36"/>
                <a:gd name="T3" fmla="*/ 15 h 43"/>
                <a:gd name="T4" fmla="*/ 2 w 36"/>
                <a:gd name="T5" fmla="*/ 30 h 43"/>
                <a:gd name="T6" fmla="*/ 18 w 36"/>
                <a:gd name="T7" fmla="*/ 16 h 43"/>
              </a:gdLst>
              <a:ahLst/>
              <a:cxnLst>
                <a:cxn ang="0">
                  <a:pos x="T0" y="T1"/>
                </a:cxn>
                <a:cxn ang="0">
                  <a:pos x="T2" y="T3"/>
                </a:cxn>
                <a:cxn ang="0">
                  <a:pos x="T4" y="T5"/>
                </a:cxn>
                <a:cxn ang="0">
                  <a:pos x="T6" y="T7"/>
                </a:cxn>
              </a:cxnLst>
              <a:rect l="0" t="0" r="r" b="b"/>
              <a:pathLst>
                <a:path w="36" h="43">
                  <a:moveTo>
                    <a:pt x="18" y="16"/>
                  </a:moveTo>
                  <a:cubicBezTo>
                    <a:pt x="0" y="0"/>
                    <a:pt x="3" y="15"/>
                    <a:pt x="3" y="15"/>
                  </a:cubicBezTo>
                  <a:cubicBezTo>
                    <a:pt x="2" y="30"/>
                    <a:pt x="2" y="30"/>
                    <a:pt x="2" y="30"/>
                  </a:cubicBezTo>
                  <a:cubicBezTo>
                    <a:pt x="28" y="43"/>
                    <a:pt x="36" y="32"/>
                    <a:pt x="18"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1" name="Freeform 595">
              <a:extLst>
                <a:ext uri="{FF2B5EF4-FFF2-40B4-BE49-F238E27FC236}">
                  <a16:creationId xmlns:a16="http://schemas.microsoft.com/office/drawing/2014/main" id="{AAA7E533-7ECF-7AAF-9F6B-737FDE4086E3}"/>
                </a:ext>
              </a:extLst>
            </p:cNvPr>
            <p:cNvSpPr>
              <a:spLocks/>
            </p:cNvSpPr>
            <p:nvPr/>
          </p:nvSpPr>
          <p:spPr bwMode="gray">
            <a:xfrm>
              <a:off x="9953844" y="4577993"/>
              <a:ext cx="19778" cy="10788"/>
            </a:xfrm>
            <a:custGeom>
              <a:avLst/>
              <a:gdLst>
                <a:gd name="T0" fmla="*/ 19 w 34"/>
                <a:gd name="T1" fmla="*/ 0 h 19"/>
                <a:gd name="T2" fmla="*/ 14 w 34"/>
                <a:gd name="T3" fmla="*/ 19 h 19"/>
                <a:gd name="T4" fmla="*/ 19 w 34"/>
                <a:gd name="T5" fmla="*/ 0 h 19"/>
              </a:gdLst>
              <a:ahLst/>
              <a:cxnLst>
                <a:cxn ang="0">
                  <a:pos x="T0" y="T1"/>
                </a:cxn>
                <a:cxn ang="0">
                  <a:pos x="T2" y="T3"/>
                </a:cxn>
                <a:cxn ang="0">
                  <a:pos x="T4" y="T5"/>
                </a:cxn>
              </a:cxnLst>
              <a:rect l="0" t="0" r="r" b="b"/>
              <a:pathLst>
                <a:path w="34" h="19">
                  <a:moveTo>
                    <a:pt x="19" y="0"/>
                  </a:moveTo>
                  <a:cubicBezTo>
                    <a:pt x="0" y="3"/>
                    <a:pt x="14" y="19"/>
                    <a:pt x="14" y="19"/>
                  </a:cubicBezTo>
                  <a:cubicBezTo>
                    <a:pt x="26" y="19"/>
                    <a:pt x="34" y="1"/>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2" name="Freeform 596">
              <a:extLst>
                <a:ext uri="{FF2B5EF4-FFF2-40B4-BE49-F238E27FC236}">
                  <a16:creationId xmlns:a16="http://schemas.microsoft.com/office/drawing/2014/main" id="{1EFCB1D8-FD02-6CD3-1197-7F120494866A}"/>
                </a:ext>
              </a:extLst>
            </p:cNvPr>
            <p:cNvSpPr>
              <a:spLocks/>
            </p:cNvSpPr>
            <p:nvPr/>
          </p:nvSpPr>
          <p:spPr bwMode="gray">
            <a:xfrm>
              <a:off x="10360187" y="5110195"/>
              <a:ext cx="17980" cy="8991"/>
            </a:xfrm>
            <a:custGeom>
              <a:avLst/>
              <a:gdLst>
                <a:gd name="T0" fmla="*/ 15 w 30"/>
                <a:gd name="T1" fmla="*/ 1 h 16"/>
                <a:gd name="T2" fmla="*/ 10 w 30"/>
                <a:gd name="T3" fmla="*/ 12 h 16"/>
                <a:gd name="T4" fmla="*/ 15 w 30"/>
                <a:gd name="T5" fmla="*/ 1 h 16"/>
              </a:gdLst>
              <a:ahLst/>
              <a:cxnLst>
                <a:cxn ang="0">
                  <a:pos x="T0" y="T1"/>
                </a:cxn>
                <a:cxn ang="0">
                  <a:pos x="T2" y="T3"/>
                </a:cxn>
                <a:cxn ang="0">
                  <a:pos x="T4" y="T5"/>
                </a:cxn>
              </a:cxnLst>
              <a:rect l="0" t="0" r="r" b="b"/>
              <a:pathLst>
                <a:path w="30" h="16">
                  <a:moveTo>
                    <a:pt x="15" y="1"/>
                  </a:moveTo>
                  <a:cubicBezTo>
                    <a:pt x="0" y="0"/>
                    <a:pt x="10" y="12"/>
                    <a:pt x="10" y="12"/>
                  </a:cubicBezTo>
                  <a:cubicBezTo>
                    <a:pt x="18" y="16"/>
                    <a:pt x="30" y="1"/>
                    <a:pt x="1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3" name="Freeform 597">
              <a:extLst>
                <a:ext uri="{FF2B5EF4-FFF2-40B4-BE49-F238E27FC236}">
                  <a16:creationId xmlns:a16="http://schemas.microsoft.com/office/drawing/2014/main" id="{D8DB5B92-4284-9B07-FEFD-0DDB961CBEBA}"/>
                </a:ext>
              </a:extLst>
            </p:cNvPr>
            <p:cNvSpPr>
              <a:spLocks/>
            </p:cNvSpPr>
            <p:nvPr/>
          </p:nvSpPr>
          <p:spPr bwMode="gray">
            <a:xfrm>
              <a:off x="9883723" y="4509671"/>
              <a:ext cx="37758" cy="21576"/>
            </a:xfrm>
            <a:custGeom>
              <a:avLst/>
              <a:gdLst>
                <a:gd name="T0" fmla="*/ 15 w 21"/>
                <a:gd name="T1" fmla="*/ 3 h 12"/>
                <a:gd name="T2" fmla="*/ 0 w 21"/>
                <a:gd name="T3" fmla="*/ 4 h 12"/>
                <a:gd name="T4" fmla="*/ 1 w 21"/>
                <a:gd name="T5" fmla="*/ 12 h 12"/>
                <a:gd name="T6" fmla="*/ 13 w 21"/>
                <a:gd name="T7" fmla="*/ 7 h 12"/>
                <a:gd name="T8" fmla="*/ 19 w 21"/>
                <a:gd name="T9" fmla="*/ 11 h 12"/>
                <a:gd name="T10" fmla="*/ 21 w 21"/>
                <a:gd name="T11" fmla="*/ 2 h 12"/>
                <a:gd name="T12" fmla="*/ 19 w 21"/>
                <a:gd name="T13" fmla="*/ 0 h 12"/>
                <a:gd name="T14" fmla="*/ 15 w 21"/>
                <a:gd name="T15" fmla="*/ 3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2">
                  <a:moveTo>
                    <a:pt x="15" y="3"/>
                  </a:moveTo>
                  <a:lnTo>
                    <a:pt x="0" y="4"/>
                  </a:lnTo>
                  <a:lnTo>
                    <a:pt x="1" y="12"/>
                  </a:lnTo>
                  <a:lnTo>
                    <a:pt x="13" y="7"/>
                  </a:lnTo>
                  <a:lnTo>
                    <a:pt x="19" y="11"/>
                  </a:lnTo>
                  <a:lnTo>
                    <a:pt x="21" y="2"/>
                  </a:lnTo>
                  <a:lnTo>
                    <a:pt x="19" y="0"/>
                  </a:lnTo>
                  <a:lnTo>
                    <a:pt x="15"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4" name="Freeform 598">
              <a:extLst>
                <a:ext uri="{FF2B5EF4-FFF2-40B4-BE49-F238E27FC236}">
                  <a16:creationId xmlns:a16="http://schemas.microsoft.com/office/drawing/2014/main" id="{8E5B2365-9A5D-07AF-1ED1-983EBF355D52}"/>
                </a:ext>
              </a:extLst>
            </p:cNvPr>
            <p:cNvSpPr>
              <a:spLocks/>
            </p:cNvSpPr>
            <p:nvPr/>
          </p:nvSpPr>
          <p:spPr bwMode="gray">
            <a:xfrm>
              <a:off x="10374570" y="5135367"/>
              <a:ext cx="19778" cy="5395"/>
            </a:xfrm>
            <a:custGeom>
              <a:avLst/>
              <a:gdLst>
                <a:gd name="T0" fmla="*/ 14 w 33"/>
                <a:gd name="T1" fmla="*/ 9 h 9"/>
                <a:gd name="T2" fmla="*/ 15 w 33"/>
                <a:gd name="T3" fmla="*/ 1 h 9"/>
                <a:gd name="T4" fmla="*/ 14 w 33"/>
                <a:gd name="T5" fmla="*/ 9 h 9"/>
              </a:gdLst>
              <a:ahLst/>
              <a:cxnLst>
                <a:cxn ang="0">
                  <a:pos x="T0" y="T1"/>
                </a:cxn>
                <a:cxn ang="0">
                  <a:pos x="T2" y="T3"/>
                </a:cxn>
                <a:cxn ang="0">
                  <a:pos x="T4" y="T5"/>
                </a:cxn>
              </a:cxnLst>
              <a:rect l="0" t="0" r="r" b="b"/>
              <a:pathLst>
                <a:path w="33" h="9">
                  <a:moveTo>
                    <a:pt x="14" y="9"/>
                  </a:moveTo>
                  <a:cubicBezTo>
                    <a:pt x="22" y="9"/>
                    <a:pt x="33" y="2"/>
                    <a:pt x="15" y="1"/>
                  </a:cubicBezTo>
                  <a:cubicBezTo>
                    <a:pt x="0" y="0"/>
                    <a:pt x="14" y="9"/>
                    <a:pt x="14" y="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5" name="Freeform 599">
              <a:extLst>
                <a:ext uri="{FF2B5EF4-FFF2-40B4-BE49-F238E27FC236}">
                  <a16:creationId xmlns:a16="http://schemas.microsoft.com/office/drawing/2014/main" id="{007DFEB0-AB6A-9FAD-BBDA-AA15D2C2F815}"/>
                </a:ext>
              </a:extLst>
            </p:cNvPr>
            <p:cNvSpPr>
              <a:spLocks/>
            </p:cNvSpPr>
            <p:nvPr/>
          </p:nvSpPr>
          <p:spPr bwMode="gray">
            <a:xfrm>
              <a:off x="10083298" y="5196497"/>
              <a:ext cx="21576" cy="8991"/>
            </a:xfrm>
            <a:custGeom>
              <a:avLst/>
              <a:gdLst>
                <a:gd name="T0" fmla="*/ 19 w 34"/>
                <a:gd name="T1" fmla="*/ 5 h 16"/>
                <a:gd name="T2" fmla="*/ 0 w 34"/>
                <a:gd name="T3" fmla="*/ 8 h 16"/>
                <a:gd name="T4" fmla="*/ 11 w 34"/>
                <a:gd name="T5" fmla="*/ 12 h 16"/>
                <a:gd name="T6" fmla="*/ 19 w 34"/>
                <a:gd name="T7" fmla="*/ 5 h 16"/>
              </a:gdLst>
              <a:ahLst/>
              <a:cxnLst>
                <a:cxn ang="0">
                  <a:pos x="T0" y="T1"/>
                </a:cxn>
                <a:cxn ang="0">
                  <a:pos x="T2" y="T3"/>
                </a:cxn>
                <a:cxn ang="0">
                  <a:pos x="T4" y="T5"/>
                </a:cxn>
                <a:cxn ang="0">
                  <a:pos x="T6" y="T7"/>
                </a:cxn>
              </a:cxnLst>
              <a:rect l="0" t="0" r="r" b="b"/>
              <a:pathLst>
                <a:path w="34" h="16">
                  <a:moveTo>
                    <a:pt x="19" y="5"/>
                  </a:moveTo>
                  <a:cubicBezTo>
                    <a:pt x="0" y="0"/>
                    <a:pt x="0" y="8"/>
                    <a:pt x="0" y="8"/>
                  </a:cubicBezTo>
                  <a:cubicBezTo>
                    <a:pt x="11" y="12"/>
                    <a:pt x="11" y="12"/>
                    <a:pt x="11" y="12"/>
                  </a:cubicBezTo>
                  <a:cubicBezTo>
                    <a:pt x="18" y="16"/>
                    <a:pt x="34" y="6"/>
                    <a:pt x="19"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6" name="Freeform 600">
              <a:extLst>
                <a:ext uri="{FF2B5EF4-FFF2-40B4-BE49-F238E27FC236}">
                  <a16:creationId xmlns:a16="http://schemas.microsoft.com/office/drawing/2014/main" id="{06FE2022-AB7E-5BE3-D62D-B7B55E350873}"/>
                </a:ext>
              </a:extLst>
            </p:cNvPr>
            <p:cNvSpPr>
              <a:spLocks/>
            </p:cNvSpPr>
            <p:nvPr/>
          </p:nvSpPr>
          <p:spPr bwMode="gray">
            <a:xfrm>
              <a:off x="10061723" y="5191104"/>
              <a:ext cx="8991" cy="8991"/>
            </a:xfrm>
            <a:custGeom>
              <a:avLst/>
              <a:gdLst>
                <a:gd name="T0" fmla="*/ 8 w 15"/>
                <a:gd name="T1" fmla="*/ 0 h 16"/>
                <a:gd name="T2" fmla="*/ 0 w 15"/>
                <a:gd name="T3" fmla="*/ 11 h 16"/>
                <a:gd name="T4" fmla="*/ 8 w 15"/>
                <a:gd name="T5" fmla="*/ 0 h 16"/>
              </a:gdLst>
              <a:ahLst/>
              <a:cxnLst>
                <a:cxn ang="0">
                  <a:pos x="T0" y="T1"/>
                </a:cxn>
                <a:cxn ang="0">
                  <a:pos x="T2" y="T3"/>
                </a:cxn>
                <a:cxn ang="0">
                  <a:pos x="T4" y="T5"/>
                </a:cxn>
              </a:cxnLst>
              <a:rect l="0" t="0" r="r" b="b"/>
              <a:pathLst>
                <a:path w="15" h="16">
                  <a:moveTo>
                    <a:pt x="8" y="0"/>
                  </a:moveTo>
                  <a:cubicBezTo>
                    <a:pt x="0" y="0"/>
                    <a:pt x="0" y="11"/>
                    <a:pt x="0" y="11"/>
                  </a:cubicBezTo>
                  <a:cubicBezTo>
                    <a:pt x="11" y="16"/>
                    <a:pt x="15" y="4"/>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7" name="Freeform 601">
              <a:extLst>
                <a:ext uri="{FF2B5EF4-FFF2-40B4-BE49-F238E27FC236}">
                  <a16:creationId xmlns:a16="http://schemas.microsoft.com/office/drawing/2014/main" id="{D37C3969-3896-201A-031B-0A0CBB96AA60}"/>
                </a:ext>
              </a:extLst>
            </p:cNvPr>
            <p:cNvSpPr>
              <a:spLocks/>
            </p:cNvSpPr>
            <p:nvPr/>
          </p:nvSpPr>
          <p:spPr bwMode="gray">
            <a:xfrm>
              <a:off x="9869340" y="4534842"/>
              <a:ext cx="19778" cy="17980"/>
            </a:xfrm>
            <a:custGeom>
              <a:avLst/>
              <a:gdLst>
                <a:gd name="T0" fmla="*/ 15 w 33"/>
                <a:gd name="T1" fmla="*/ 7 h 30"/>
                <a:gd name="T2" fmla="*/ 18 w 33"/>
                <a:gd name="T3" fmla="*/ 30 h 30"/>
                <a:gd name="T4" fmla="*/ 15 w 33"/>
                <a:gd name="T5" fmla="*/ 7 h 30"/>
              </a:gdLst>
              <a:ahLst/>
              <a:cxnLst>
                <a:cxn ang="0">
                  <a:pos x="T0" y="T1"/>
                </a:cxn>
                <a:cxn ang="0">
                  <a:pos x="T2" y="T3"/>
                </a:cxn>
                <a:cxn ang="0">
                  <a:pos x="T4" y="T5"/>
                </a:cxn>
              </a:cxnLst>
              <a:rect l="0" t="0" r="r" b="b"/>
              <a:pathLst>
                <a:path w="33" h="30">
                  <a:moveTo>
                    <a:pt x="15" y="7"/>
                  </a:moveTo>
                  <a:cubicBezTo>
                    <a:pt x="0" y="17"/>
                    <a:pt x="18" y="30"/>
                    <a:pt x="18" y="30"/>
                  </a:cubicBezTo>
                  <a:cubicBezTo>
                    <a:pt x="33" y="26"/>
                    <a:pt x="31" y="0"/>
                    <a:pt x="15"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8" name="Freeform 602">
              <a:extLst>
                <a:ext uri="{FF2B5EF4-FFF2-40B4-BE49-F238E27FC236}">
                  <a16:creationId xmlns:a16="http://schemas.microsoft.com/office/drawing/2014/main" id="{6FAECBF2-6BDC-BBF0-54FA-D05BDCBEBCE7}"/>
                </a:ext>
              </a:extLst>
            </p:cNvPr>
            <p:cNvSpPr>
              <a:spLocks/>
            </p:cNvSpPr>
            <p:nvPr/>
          </p:nvSpPr>
          <p:spPr bwMode="gray">
            <a:xfrm>
              <a:off x="10104874" y="5149750"/>
              <a:ext cx="352403" cy="231940"/>
            </a:xfrm>
            <a:custGeom>
              <a:avLst/>
              <a:gdLst>
                <a:gd name="T0" fmla="*/ 578 w 589"/>
                <a:gd name="T1" fmla="*/ 0 h 390"/>
                <a:gd name="T2" fmla="*/ 514 w 589"/>
                <a:gd name="T3" fmla="*/ 16 h 390"/>
                <a:gd name="T4" fmla="*/ 483 w 589"/>
                <a:gd name="T5" fmla="*/ 38 h 390"/>
                <a:gd name="T6" fmla="*/ 457 w 589"/>
                <a:gd name="T7" fmla="*/ 29 h 390"/>
                <a:gd name="T8" fmla="*/ 431 w 589"/>
                <a:gd name="T9" fmla="*/ 32 h 390"/>
                <a:gd name="T10" fmla="*/ 377 w 589"/>
                <a:gd name="T11" fmla="*/ 60 h 390"/>
                <a:gd name="T12" fmla="*/ 313 w 589"/>
                <a:gd name="T13" fmla="*/ 72 h 390"/>
                <a:gd name="T14" fmla="*/ 249 w 589"/>
                <a:gd name="T15" fmla="*/ 80 h 390"/>
                <a:gd name="T16" fmla="*/ 205 w 589"/>
                <a:gd name="T17" fmla="*/ 48 h 390"/>
                <a:gd name="T18" fmla="*/ 176 w 589"/>
                <a:gd name="T19" fmla="*/ 31 h 390"/>
                <a:gd name="T20" fmla="*/ 124 w 589"/>
                <a:gd name="T21" fmla="*/ 28 h 390"/>
                <a:gd name="T22" fmla="*/ 119 w 589"/>
                <a:gd name="T23" fmla="*/ 51 h 390"/>
                <a:gd name="T24" fmla="*/ 70 w 589"/>
                <a:gd name="T25" fmla="*/ 53 h 390"/>
                <a:gd name="T26" fmla="*/ 45 w 589"/>
                <a:gd name="T27" fmla="*/ 25 h 390"/>
                <a:gd name="T28" fmla="*/ 56 w 589"/>
                <a:gd name="T29" fmla="*/ 41 h 390"/>
                <a:gd name="T30" fmla="*/ 10 w 589"/>
                <a:gd name="T31" fmla="*/ 73 h 390"/>
                <a:gd name="T32" fmla="*/ 0 w 589"/>
                <a:gd name="T33" fmla="*/ 114 h 390"/>
                <a:gd name="T34" fmla="*/ 32 w 589"/>
                <a:gd name="T35" fmla="*/ 147 h 390"/>
                <a:gd name="T36" fmla="*/ 95 w 589"/>
                <a:gd name="T37" fmla="*/ 176 h 390"/>
                <a:gd name="T38" fmla="*/ 135 w 589"/>
                <a:gd name="T39" fmla="*/ 190 h 390"/>
                <a:gd name="T40" fmla="*/ 208 w 589"/>
                <a:gd name="T41" fmla="*/ 243 h 390"/>
                <a:gd name="T42" fmla="*/ 288 w 589"/>
                <a:gd name="T43" fmla="*/ 285 h 390"/>
                <a:gd name="T44" fmla="*/ 375 w 589"/>
                <a:gd name="T45" fmla="*/ 354 h 390"/>
                <a:gd name="T46" fmla="*/ 419 w 589"/>
                <a:gd name="T47" fmla="*/ 371 h 390"/>
                <a:gd name="T48" fmla="*/ 471 w 589"/>
                <a:gd name="T49" fmla="*/ 378 h 390"/>
                <a:gd name="T50" fmla="*/ 497 w 589"/>
                <a:gd name="T51" fmla="*/ 383 h 390"/>
                <a:gd name="T52" fmla="*/ 534 w 589"/>
                <a:gd name="T53" fmla="*/ 304 h 390"/>
                <a:gd name="T54" fmla="*/ 527 w 589"/>
                <a:gd name="T55" fmla="*/ 292 h 390"/>
                <a:gd name="T56" fmla="*/ 510 w 589"/>
                <a:gd name="T57" fmla="*/ 257 h 390"/>
                <a:gd name="T58" fmla="*/ 511 w 589"/>
                <a:gd name="T59" fmla="*/ 234 h 390"/>
                <a:gd name="T60" fmla="*/ 490 w 589"/>
                <a:gd name="T61" fmla="*/ 207 h 390"/>
                <a:gd name="T62" fmla="*/ 512 w 589"/>
                <a:gd name="T63" fmla="*/ 127 h 390"/>
                <a:gd name="T64" fmla="*/ 577 w 589"/>
                <a:gd name="T65" fmla="*/ 31 h 390"/>
                <a:gd name="T66" fmla="*/ 589 w 589"/>
                <a:gd name="T67" fmla="*/ 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9" h="390">
                  <a:moveTo>
                    <a:pt x="582" y="4"/>
                  </a:moveTo>
                  <a:cubicBezTo>
                    <a:pt x="578" y="0"/>
                    <a:pt x="578" y="0"/>
                    <a:pt x="578" y="0"/>
                  </a:cubicBezTo>
                  <a:cubicBezTo>
                    <a:pt x="578" y="0"/>
                    <a:pt x="539" y="25"/>
                    <a:pt x="532" y="25"/>
                  </a:cubicBezTo>
                  <a:cubicBezTo>
                    <a:pt x="524" y="25"/>
                    <a:pt x="514" y="16"/>
                    <a:pt x="514" y="16"/>
                  </a:cubicBezTo>
                  <a:cubicBezTo>
                    <a:pt x="514" y="16"/>
                    <a:pt x="498" y="39"/>
                    <a:pt x="494" y="42"/>
                  </a:cubicBezTo>
                  <a:cubicBezTo>
                    <a:pt x="486" y="42"/>
                    <a:pt x="483" y="38"/>
                    <a:pt x="483" y="38"/>
                  </a:cubicBezTo>
                  <a:cubicBezTo>
                    <a:pt x="468" y="33"/>
                    <a:pt x="468" y="33"/>
                    <a:pt x="468" y="33"/>
                  </a:cubicBezTo>
                  <a:cubicBezTo>
                    <a:pt x="457" y="29"/>
                    <a:pt x="457" y="29"/>
                    <a:pt x="457" y="29"/>
                  </a:cubicBezTo>
                  <a:cubicBezTo>
                    <a:pt x="457" y="29"/>
                    <a:pt x="449" y="40"/>
                    <a:pt x="445" y="40"/>
                  </a:cubicBezTo>
                  <a:cubicBezTo>
                    <a:pt x="438" y="36"/>
                    <a:pt x="431" y="32"/>
                    <a:pt x="431" y="32"/>
                  </a:cubicBezTo>
                  <a:cubicBezTo>
                    <a:pt x="431" y="32"/>
                    <a:pt x="407" y="50"/>
                    <a:pt x="400" y="57"/>
                  </a:cubicBezTo>
                  <a:cubicBezTo>
                    <a:pt x="392" y="60"/>
                    <a:pt x="377" y="60"/>
                    <a:pt x="377" y="60"/>
                  </a:cubicBezTo>
                  <a:cubicBezTo>
                    <a:pt x="361" y="70"/>
                    <a:pt x="361" y="70"/>
                    <a:pt x="361" y="70"/>
                  </a:cubicBezTo>
                  <a:cubicBezTo>
                    <a:pt x="313" y="72"/>
                    <a:pt x="313" y="72"/>
                    <a:pt x="313" y="72"/>
                  </a:cubicBezTo>
                  <a:cubicBezTo>
                    <a:pt x="313" y="72"/>
                    <a:pt x="306" y="64"/>
                    <a:pt x="294" y="63"/>
                  </a:cubicBezTo>
                  <a:cubicBezTo>
                    <a:pt x="283" y="63"/>
                    <a:pt x="260" y="81"/>
                    <a:pt x="249" y="80"/>
                  </a:cubicBezTo>
                  <a:cubicBezTo>
                    <a:pt x="234" y="80"/>
                    <a:pt x="208" y="63"/>
                    <a:pt x="208" y="63"/>
                  </a:cubicBezTo>
                  <a:cubicBezTo>
                    <a:pt x="205" y="48"/>
                    <a:pt x="205" y="48"/>
                    <a:pt x="205" y="48"/>
                  </a:cubicBezTo>
                  <a:cubicBezTo>
                    <a:pt x="205" y="48"/>
                    <a:pt x="179" y="54"/>
                    <a:pt x="175" y="50"/>
                  </a:cubicBezTo>
                  <a:cubicBezTo>
                    <a:pt x="172" y="42"/>
                    <a:pt x="176" y="31"/>
                    <a:pt x="176" y="31"/>
                  </a:cubicBezTo>
                  <a:cubicBezTo>
                    <a:pt x="162" y="23"/>
                    <a:pt x="162" y="23"/>
                    <a:pt x="162" y="23"/>
                  </a:cubicBezTo>
                  <a:cubicBezTo>
                    <a:pt x="124" y="28"/>
                    <a:pt x="124" y="28"/>
                    <a:pt x="124" y="28"/>
                  </a:cubicBezTo>
                  <a:cubicBezTo>
                    <a:pt x="116" y="36"/>
                    <a:pt x="116" y="36"/>
                    <a:pt x="116" y="36"/>
                  </a:cubicBezTo>
                  <a:cubicBezTo>
                    <a:pt x="119" y="51"/>
                    <a:pt x="119" y="51"/>
                    <a:pt x="119" y="51"/>
                  </a:cubicBezTo>
                  <a:cubicBezTo>
                    <a:pt x="89" y="65"/>
                    <a:pt x="89" y="65"/>
                    <a:pt x="89" y="65"/>
                  </a:cubicBezTo>
                  <a:cubicBezTo>
                    <a:pt x="70" y="53"/>
                    <a:pt x="70" y="53"/>
                    <a:pt x="70" y="53"/>
                  </a:cubicBezTo>
                  <a:cubicBezTo>
                    <a:pt x="70" y="53"/>
                    <a:pt x="71" y="41"/>
                    <a:pt x="64" y="33"/>
                  </a:cubicBezTo>
                  <a:cubicBezTo>
                    <a:pt x="53" y="25"/>
                    <a:pt x="45" y="25"/>
                    <a:pt x="45" y="25"/>
                  </a:cubicBezTo>
                  <a:cubicBezTo>
                    <a:pt x="45" y="32"/>
                    <a:pt x="45" y="32"/>
                    <a:pt x="45" y="32"/>
                  </a:cubicBezTo>
                  <a:cubicBezTo>
                    <a:pt x="45" y="32"/>
                    <a:pt x="56" y="37"/>
                    <a:pt x="56" y="41"/>
                  </a:cubicBezTo>
                  <a:cubicBezTo>
                    <a:pt x="52" y="44"/>
                    <a:pt x="26" y="51"/>
                    <a:pt x="26" y="51"/>
                  </a:cubicBezTo>
                  <a:cubicBezTo>
                    <a:pt x="10" y="73"/>
                    <a:pt x="10" y="73"/>
                    <a:pt x="10" y="73"/>
                  </a:cubicBezTo>
                  <a:cubicBezTo>
                    <a:pt x="12" y="100"/>
                    <a:pt x="12" y="100"/>
                    <a:pt x="12" y="100"/>
                  </a:cubicBezTo>
                  <a:cubicBezTo>
                    <a:pt x="0" y="114"/>
                    <a:pt x="0" y="114"/>
                    <a:pt x="0" y="114"/>
                  </a:cubicBezTo>
                  <a:cubicBezTo>
                    <a:pt x="10" y="149"/>
                    <a:pt x="10" y="149"/>
                    <a:pt x="10" y="149"/>
                  </a:cubicBezTo>
                  <a:cubicBezTo>
                    <a:pt x="32" y="147"/>
                    <a:pt x="32" y="147"/>
                    <a:pt x="32" y="147"/>
                  </a:cubicBezTo>
                  <a:cubicBezTo>
                    <a:pt x="42" y="174"/>
                    <a:pt x="42" y="174"/>
                    <a:pt x="42" y="174"/>
                  </a:cubicBezTo>
                  <a:cubicBezTo>
                    <a:pt x="42" y="174"/>
                    <a:pt x="73" y="168"/>
                    <a:pt x="95" y="176"/>
                  </a:cubicBezTo>
                  <a:cubicBezTo>
                    <a:pt x="102" y="180"/>
                    <a:pt x="106" y="184"/>
                    <a:pt x="113" y="189"/>
                  </a:cubicBezTo>
                  <a:cubicBezTo>
                    <a:pt x="128" y="193"/>
                    <a:pt x="135" y="190"/>
                    <a:pt x="135" y="190"/>
                  </a:cubicBezTo>
                  <a:cubicBezTo>
                    <a:pt x="135" y="190"/>
                    <a:pt x="174" y="237"/>
                    <a:pt x="182" y="238"/>
                  </a:cubicBezTo>
                  <a:cubicBezTo>
                    <a:pt x="189" y="238"/>
                    <a:pt x="201" y="235"/>
                    <a:pt x="208" y="243"/>
                  </a:cubicBezTo>
                  <a:cubicBezTo>
                    <a:pt x="211" y="247"/>
                    <a:pt x="218" y="259"/>
                    <a:pt x="233" y="267"/>
                  </a:cubicBezTo>
                  <a:cubicBezTo>
                    <a:pt x="247" y="279"/>
                    <a:pt x="273" y="284"/>
                    <a:pt x="288" y="285"/>
                  </a:cubicBezTo>
                  <a:cubicBezTo>
                    <a:pt x="303" y="286"/>
                    <a:pt x="340" y="287"/>
                    <a:pt x="351" y="307"/>
                  </a:cubicBezTo>
                  <a:cubicBezTo>
                    <a:pt x="365" y="323"/>
                    <a:pt x="371" y="350"/>
                    <a:pt x="375" y="354"/>
                  </a:cubicBezTo>
                  <a:cubicBezTo>
                    <a:pt x="382" y="358"/>
                    <a:pt x="397" y="351"/>
                    <a:pt x="408" y="359"/>
                  </a:cubicBezTo>
                  <a:cubicBezTo>
                    <a:pt x="415" y="367"/>
                    <a:pt x="419" y="371"/>
                    <a:pt x="419" y="371"/>
                  </a:cubicBezTo>
                  <a:cubicBezTo>
                    <a:pt x="419" y="371"/>
                    <a:pt x="441" y="369"/>
                    <a:pt x="453" y="369"/>
                  </a:cubicBezTo>
                  <a:cubicBezTo>
                    <a:pt x="460" y="370"/>
                    <a:pt x="471" y="378"/>
                    <a:pt x="471" y="378"/>
                  </a:cubicBezTo>
                  <a:cubicBezTo>
                    <a:pt x="475" y="374"/>
                    <a:pt x="475" y="374"/>
                    <a:pt x="475" y="374"/>
                  </a:cubicBezTo>
                  <a:cubicBezTo>
                    <a:pt x="475" y="374"/>
                    <a:pt x="493" y="390"/>
                    <a:pt x="497" y="383"/>
                  </a:cubicBezTo>
                  <a:cubicBezTo>
                    <a:pt x="501" y="375"/>
                    <a:pt x="490" y="363"/>
                    <a:pt x="499" y="337"/>
                  </a:cubicBezTo>
                  <a:cubicBezTo>
                    <a:pt x="511" y="311"/>
                    <a:pt x="534" y="304"/>
                    <a:pt x="534" y="304"/>
                  </a:cubicBezTo>
                  <a:cubicBezTo>
                    <a:pt x="535" y="293"/>
                    <a:pt x="535" y="293"/>
                    <a:pt x="535" y="293"/>
                  </a:cubicBezTo>
                  <a:cubicBezTo>
                    <a:pt x="527" y="292"/>
                    <a:pt x="527" y="292"/>
                    <a:pt x="527" y="292"/>
                  </a:cubicBezTo>
                  <a:cubicBezTo>
                    <a:pt x="528" y="281"/>
                    <a:pt x="528" y="281"/>
                    <a:pt x="528" y="281"/>
                  </a:cubicBezTo>
                  <a:cubicBezTo>
                    <a:pt x="510" y="257"/>
                    <a:pt x="510" y="257"/>
                    <a:pt x="510" y="257"/>
                  </a:cubicBezTo>
                  <a:cubicBezTo>
                    <a:pt x="518" y="254"/>
                    <a:pt x="518" y="254"/>
                    <a:pt x="518" y="254"/>
                  </a:cubicBezTo>
                  <a:cubicBezTo>
                    <a:pt x="511" y="234"/>
                    <a:pt x="511" y="234"/>
                    <a:pt x="511" y="234"/>
                  </a:cubicBezTo>
                  <a:cubicBezTo>
                    <a:pt x="503" y="238"/>
                    <a:pt x="503" y="238"/>
                    <a:pt x="503" y="238"/>
                  </a:cubicBezTo>
                  <a:cubicBezTo>
                    <a:pt x="503" y="238"/>
                    <a:pt x="489" y="226"/>
                    <a:pt x="490" y="207"/>
                  </a:cubicBezTo>
                  <a:cubicBezTo>
                    <a:pt x="491" y="187"/>
                    <a:pt x="499" y="180"/>
                    <a:pt x="499" y="180"/>
                  </a:cubicBezTo>
                  <a:cubicBezTo>
                    <a:pt x="512" y="127"/>
                    <a:pt x="512" y="127"/>
                    <a:pt x="512" y="127"/>
                  </a:cubicBezTo>
                  <a:cubicBezTo>
                    <a:pt x="512" y="127"/>
                    <a:pt x="544" y="83"/>
                    <a:pt x="556" y="64"/>
                  </a:cubicBezTo>
                  <a:cubicBezTo>
                    <a:pt x="572" y="46"/>
                    <a:pt x="577" y="31"/>
                    <a:pt x="577" y="31"/>
                  </a:cubicBezTo>
                  <a:cubicBezTo>
                    <a:pt x="577" y="23"/>
                    <a:pt x="577" y="23"/>
                    <a:pt x="577" y="23"/>
                  </a:cubicBezTo>
                  <a:cubicBezTo>
                    <a:pt x="589" y="9"/>
                    <a:pt x="589" y="9"/>
                    <a:pt x="589" y="9"/>
                  </a:cubicBezTo>
                  <a:lnTo>
                    <a:pt x="58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9" name="Freeform 603">
              <a:extLst>
                <a:ext uri="{FF2B5EF4-FFF2-40B4-BE49-F238E27FC236}">
                  <a16:creationId xmlns:a16="http://schemas.microsoft.com/office/drawing/2014/main" id="{ECF2FE1F-CCA0-B8DC-A6D1-4C84EE1E589A}"/>
                </a:ext>
              </a:extLst>
            </p:cNvPr>
            <p:cNvSpPr>
              <a:spLocks/>
            </p:cNvSpPr>
            <p:nvPr/>
          </p:nvSpPr>
          <p:spPr bwMode="gray">
            <a:xfrm>
              <a:off x="10376369" y="5111993"/>
              <a:ext cx="14383" cy="17980"/>
            </a:xfrm>
            <a:custGeom>
              <a:avLst/>
              <a:gdLst>
                <a:gd name="T0" fmla="*/ 11 w 26"/>
                <a:gd name="T1" fmla="*/ 12 h 31"/>
                <a:gd name="T2" fmla="*/ 0 w 26"/>
                <a:gd name="T3" fmla="*/ 19 h 31"/>
                <a:gd name="T4" fmla="*/ 11 w 26"/>
                <a:gd name="T5" fmla="*/ 12 h 31"/>
              </a:gdLst>
              <a:ahLst/>
              <a:cxnLst>
                <a:cxn ang="0">
                  <a:pos x="T0" y="T1"/>
                </a:cxn>
                <a:cxn ang="0">
                  <a:pos x="T2" y="T3"/>
                </a:cxn>
                <a:cxn ang="0">
                  <a:pos x="T4" y="T5"/>
                </a:cxn>
              </a:cxnLst>
              <a:rect l="0" t="0" r="r" b="b"/>
              <a:pathLst>
                <a:path w="26" h="31">
                  <a:moveTo>
                    <a:pt x="11" y="12"/>
                  </a:moveTo>
                  <a:cubicBezTo>
                    <a:pt x="1" y="0"/>
                    <a:pt x="0" y="19"/>
                    <a:pt x="0" y="19"/>
                  </a:cubicBezTo>
                  <a:cubicBezTo>
                    <a:pt x="10" y="31"/>
                    <a:pt x="26" y="24"/>
                    <a:pt x="11"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0" name="Freeform 604">
              <a:extLst>
                <a:ext uri="{FF2B5EF4-FFF2-40B4-BE49-F238E27FC236}">
                  <a16:creationId xmlns:a16="http://schemas.microsoft.com/office/drawing/2014/main" id="{CF04C0BC-B422-ABF0-7FE3-713041D0D9BD}"/>
                </a:ext>
              </a:extLst>
            </p:cNvPr>
            <p:cNvSpPr>
              <a:spLocks/>
            </p:cNvSpPr>
            <p:nvPr/>
          </p:nvSpPr>
          <p:spPr bwMode="gray">
            <a:xfrm>
              <a:off x="9640996" y="4998720"/>
              <a:ext cx="32364" cy="14383"/>
            </a:xfrm>
            <a:custGeom>
              <a:avLst/>
              <a:gdLst>
                <a:gd name="T0" fmla="*/ 26 w 56"/>
                <a:gd name="T1" fmla="*/ 3 h 23"/>
                <a:gd name="T2" fmla="*/ 25 w 56"/>
                <a:gd name="T3" fmla="*/ 22 h 23"/>
                <a:gd name="T4" fmla="*/ 26 w 56"/>
                <a:gd name="T5" fmla="*/ 3 h 23"/>
              </a:gdLst>
              <a:ahLst/>
              <a:cxnLst>
                <a:cxn ang="0">
                  <a:pos x="T0" y="T1"/>
                </a:cxn>
                <a:cxn ang="0">
                  <a:pos x="T2" y="T3"/>
                </a:cxn>
                <a:cxn ang="0">
                  <a:pos x="T4" y="T5"/>
                </a:cxn>
              </a:cxnLst>
              <a:rect l="0" t="0" r="r" b="b"/>
              <a:pathLst>
                <a:path w="56" h="23">
                  <a:moveTo>
                    <a:pt x="26" y="3"/>
                  </a:moveTo>
                  <a:cubicBezTo>
                    <a:pt x="0" y="5"/>
                    <a:pt x="25" y="22"/>
                    <a:pt x="25" y="22"/>
                  </a:cubicBezTo>
                  <a:cubicBezTo>
                    <a:pt x="51" y="23"/>
                    <a:pt x="56" y="0"/>
                    <a:pt x="26"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1" name="Freeform 605">
              <a:extLst>
                <a:ext uri="{FF2B5EF4-FFF2-40B4-BE49-F238E27FC236}">
                  <a16:creationId xmlns:a16="http://schemas.microsoft.com/office/drawing/2014/main" id="{23554C44-659B-19E6-F4D3-BF28A6FFDB4A}"/>
                </a:ext>
              </a:extLst>
            </p:cNvPr>
            <p:cNvSpPr>
              <a:spLocks/>
            </p:cNvSpPr>
            <p:nvPr/>
          </p:nvSpPr>
          <p:spPr bwMode="gray">
            <a:xfrm>
              <a:off x="9671562" y="4721832"/>
              <a:ext cx="23374" cy="26971"/>
            </a:xfrm>
            <a:custGeom>
              <a:avLst/>
              <a:gdLst>
                <a:gd name="T0" fmla="*/ 19 w 38"/>
                <a:gd name="T1" fmla="*/ 38 h 44"/>
                <a:gd name="T2" fmla="*/ 12 w 38"/>
                <a:gd name="T3" fmla="*/ 22 h 44"/>
                <a:gd name="T4" fmla="*/ 19 w 38"/>
                <a:gd name="T5" fmla="*/ 38 h 44"/>
              </a:gdLst>
              <a:ahLst/>
              <a:cxnLst>
                <a:cxn ang="0">
                  <a:pos x="T0" y="T1"/>
                </a:cxn>
                <a:cxn ang="0">
                  <a:pos x="T2" y="T3"/>
                </a:cxn>
                <a:cxn ang="0">
                  <a:pos x="T4" y="T5"/>
                </a:cxn>
              </a:cxnLst>
              <a:rect l="0" t="0" r="r" b="b"/>
              <a:pathLst>
                <a:path w="38" h="44">
                  <a:moveTo>
                    <a:pt x="19" y="38"/>
                  </a:moveTo>
                  <a:cubicBezTo>
                    <a:pt x="38" y="23"/>
                    <a:pt x="25" y="0"/>
                    <a:pt x="12" y="22"/>
                  </a:cubicBezTo>
                  <a:cubicBezTo>
                    <a:pt x="0" y="44"/>
                    <a:pt x="19" y="38"/>
                    <a:pt x="19" y="3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2" name="Freeform 606">
              <a:extLst>
                <a:ext uri="{FF2B5EF4-FFF2-40B4-BE49-F238E27FC236}">
                  <a16:creationId xmlns:a16="http://schemas.microsoft.com/office/drawing/2014/main" id="{39F0CD8B-AE99-908F-32AC-92D1FA6D96C2}"/>
                </a:ext>
              </a:extLst>
            </p:cNvPr>
            <p:cNvSpPr>
              <a:spLocks noEditPoints="1"/>
            </p:cNvSpPr>
            <p:nvPr/>
          </p:nvSpPr>
          <p:spPr bwMode="gray">
            <a:xfrm>
              <a:off x="9561885" y="3923530"/>
              <a:ext cx="1201049" cy="1287352"/>
            </a:xfrm>
            <a:custGeom>
              <a:avLst/>
              <a:gdLst>
                <a:gd name="T0" fmla="*/ 1134 w 2016"/>
                <a:gd name="T1" fmla="*/ 262 h 2159"/>
                <a:gd name="T2" fmla="*/ 1176 w 2016"/>
                <a:gd name="T3" fmla="*/ 168 h 2159"/>
                <a:gd name="T4" fmla="*/ 1036 w 2016"/>
                <a:gd name="T5" fmla="*/ 127 h 2159"/>
                <a:gd name="T6" fmla="*/ 945 w 2016"/>
                <a:gd name="T7" fmla="*/ 58 h 2159"/>
                <a:gd name="T8" fmla="*/ 899 w 2016"/>
                <a:gd name="T9" fmla="*/ 14 h 2159"/>
                <a:gd name="T10" fmla="*/ 754 w 2016"/>
                <a:gd name="T11" fmla="*/ 68 h 2159"/>
                <a:gd name="T12" fmla="*/ 657 w 2016"/>
                <a:gd name="T13" fmla="*/ 59 h 2159"/>
                <a:gd name="T14" fmla="*/ 618 w 2016"/>
                <a:gd name="T15" fmla="*/ 100 h 2159"/>
                <a:gd name="T16" fmla="*/ 592 w 2016"/>
                <a:gd name="T17" fmla="*/ 175 h 2159"/>
                <a:gd name="T18" fmla="*/ 567 w 2016"/>
                <a:gd name="T19" fmla="*/ 162 h 2159"/>
                <a:gd name="T20" fmla="*/ 464 w 2016"/>
                <a:gd name="T21" fmla="*/ 123 h 2159"/>
                <a:gd name="T22" fmla="*/ 418 w 2016"/>
                <a:gd name="T23" fmla="*/ 224 h 2159"/>
                <a:gd name="T24" fmla="*/ 397 w 2016"/>
                <a:gd name="T25" fmla="*/ 273 h 2159"/>
                <a:gd name="T26" fmla="*/ 347 w 2016"/>
                <a:gd name="T27" fmla="*/ 205 h 2159"/>
                <a:gd name="T28" fmla="*/ 295 w 2016"/>
                <a:gd name="T29" fmla="*/ 130 h 2159"/>
                <a:gd name="T30" fmla="*/ 277 w 2016"/>
                <a:gd name="T31" fmla="*/ 191 h 2159"/>
                <a:gd name="T32" fmla="*/ 171 w 2016"/>
                <a:gd name="T33" fmla="*/ 220 h 2159"/>
                <a:gd name="T34" fmla="*/ 82 w 2016"/>
                <a:gd name="T35" fmla="*/ 242 h 2159"/>
                <a:gd name="T36" fmla="*/ 91 w 2016"/>
                <a:gd name="T37" fmla="*/ 338 h 2159"/>
                <a:gd name="T38" fmla="*/ 19 w 2016"/>
                <a:gd name="T39" fmla="*/ 431 h 2159"/>
                <a:gd name="T40" fmla="*/ 41 w 2016"/>
                <a:gd name="T41" fmla="*/ 596 h 2159"/>
                <a:gd name="T42" fmla="*/ 128 w 2016"/>
                <a:gd name="T43" fmla="*/ 742 h 2159"/>
                <a:gd name="T44" fmla="*/ 400 w 2016"/>
                <a:gd name="T45" fmla="*/ 621 h 2159"/>
                <a:gd name="T46" fmla="*/ 524 w 2016"/>
                <a:gd name="T47" fmla="*/ 688 h 2159"/>
                <a:gd name="T48" fmla="*/ 605 w 2016"/>
                <a:gd name="T49" fmla="*/ 956 h 2159"/>
                <a:gd name="T50" fmla="*/ 716 w 2016"/>
                <a:gd name="T51" fmla="*/ 1057 h 2159"/>
                <a:gd name="T52" fmla="*/ 745 w 2016"/>
                <a:gd name="T53" fmla="*/ 1089 h 2159"/>
                <a:gd name="T54" fmla="*/ 889 w 2016"/>
                <a:gd name="T55" fmla="*/ 1218 h 2159"/>
                <a:gd name="T56" fmla="*/ 1025 w 2016"/>
                <a:gd name="T57" fmla="*/ 1347 h 2159"/>
                <a:gd name="T58" fmla="*/ 1173 w 2016"/>
                <a:gd name="T59" fmla="*/ 1388 h 2159"/>
                <a:gd name="T60" fmla="*/ 1225 w 2016"/>
                <a:gd name="T61" fmla="*/ 1475 h 2159"/>
                <a:gd name="T62" fmla="*/ 1260 w 2016"/>
                <a:gd name="T63" fmla="*/ 1526 h 2159"/>
                <a:gd name="T64" fmla="*/ 1324 w 2016"/>
                <a:gd name="T65" fmla="*/ 1522 h 2159"/>
                <a:gd name="T66" fmla="*/ 1368 w 2016"/>
                <a:gd name="T67" fmla="*/ 1612 h 2159"/>
                <a:gd name="T68" fmla="*/ 1490 w 2016"/>
                <a:gd name="T69" fmla="*/ 1644 h 2159"/>
                <a:gd name="T70" fmla="*/ 1584 w 2016"/>
                <a:gd name="T71" fmla="*/ 1886 h 2159"/>
                <a:gd name="T72" fmla="*/ 1535 w 2016"/>
                <a:gd name="T73" fmla="*/ 1979 h 2159"/>
                <a:gd name="T74" fmla="*/ 1507 w 2016"/>
                <a:gd name="T75" fmla="*/ 2100 h 2159"/>
                <a:gd name="T76" fmla="*/ 1675 w 2016"/>
                <a:gd name="T77" fmla="*/ 2028 h 2159"/>
                <a:gd name="T78" fmla="*/ 1765 w 2016"/>
                <a:gd name="T79" fmla="*/ 1856 h 2159"/>
                <a:gd name="T80" fmla="*/ 1728 w 2016"/>
                <a:gd name="T81" fmla="*/ 1767 h 2159"/>
                <a:gd name="T82" fmla="*/ 1670 w 2016"/>
                <a:gd name="T83" fmla="*/ 1645 h 2159"/>
                <a:gd name="T84" fmla="*/ 1772 w 2016"/>
                <a:gd name="T85" fmla="*/ 1547 h 2159"/>
                <a:gd name="T86" fmla="*/ 1900 w 2016"/>
                <a:gd name="T87" fmla="*/ 1595 h 2159"/>
                <a:gd name="T88" fmla="*/ 2016 w 2016"/>
                <a:gd name="T89" fmla="*/ 1612 h 2159"/>
                <a:gd name="T90" fmla="*/ 1919 w 2016"/>
                <a:gd name="T91" fmla="*/ 1516 h 2159"/>
                <a:gd name="T92" fmla="*/ 1810 w 2016"/>
                <a:gd name="T93" fmla="*/ 1453 h 2159"/>
                <a:gd name="T94" fmla="*/ 1674 w 2016"/>
                <a:gd name="T95" fmla="*/ 1389 h 2159"/>
                <a:gd name="T96" fmla="*/ 1587 w 2016"/>
                <a:gd name="T97" fmla="*/ 1251 h 2159"/>
                <a:gd name="T98" fmla="*/ 1391 w 2016"/>
                <a:gd name="T99" fmla="*/ 1207 h 2159"/>
                <a:gd name="T100" fmla="*/ 1257 w 2016"/>
                <a:gd name="T101" fmla="*/ 1105 h 2159"/>
                <a:gd name="T102" fmla="*/ 1191 w 2016"/>
                <a:gd name="T103" fmla="*/ 991 h 2159"/>
                <a:gd name="T104" fmla="*/ 1101 w 2016"/>
                <a:gd name="T105" fmla="*/ 823 h 2159"/>
                <a:gd name="T106" fmla="*/ 926 w 2016"/>
                <a:gd name="T107" fmla="*/ 573 h 2159"/>
                <a:gd name="T108" fmla="*/ 917 w 2016"/>
                <a:gd name="T109" fmla="*/ 431 h 2159"/>
                <a:gd name="T110" fmla="*/ 1009 w 2016"/>
                <a:gd name="T111" fmla="*/ 382 h 2159"/>
                <a:gd name="T112" fmla="*/ 1079 w 2016"/>
                <a:gd name="T113" fmla="*/ 324 h 2159"/>
                <a:gd name="T114" fmla="*/ 1198 w 2016"/>
                <a:gd name="T115" fmla="*/ 341 h 2159"/>
                <a:gd name="T116" fmla="*/ 963 w 2016"/>
                <a:gd name="T117" fmla="*/ 764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16" h="2159">
                  <a:moveTo>
                    <a:pt x="1198" y="341"/>
                  </a:moveTo>
                  <a:cubicBezTo>
                    <a:pt x="1199" y="322"/>
                    <a:pt x="1154" y="320"/>
                    <a:pt x="1154" y="320"/>
                  </a:cubicBezTo>
                  <a:cubicBezTo>
                    <a:pt x="1154" y="320"/>
                    <a:pt x="1171" y="279"/>
                    <a:pt x="1168" y="271"/>
                  </a:cubicBezTo>
                  <a:cubicBezTo>
                    <a:pt x="1164" y="263"/>
                    <a:pt x="1137" y="281"/>
                    <a:pt x="1137" y="281"/>
                  </a:cubicBezTo>
                  <a:cubicBezTo>
                    <a:pt x="1134" y="262"/>
                    <a:pt x="1134" y="262"/>
                    <a:pt x="1134" y="262"/>
                  </a:cubicBezTo>
                  <a:cubicBezTo>
                    <a:pt x="1134" y="262"/>
                    <a:pt x="1169" y="244"/>
                    <a:pt x="1170" y="229"/>
                  </a:cubicBezTo>
                  <a:cubicBezTo>
                    <a:pt x="1167" y="210"/>
                    <a:pt x="1133" y="220"/>
                    <a:pt x="1133" y="220"/>
                  </a:cubicBezTo>
                  <a:cubicBezTo>
                    <a:pt x="1122" y="200"/>
                    <a:pt x="1122" y="200"/>
                    <a:pt x="1122" y="200"/>
                  </a:cubicBezTo>
                  <a:cubicBezTo>
                    <a:pt x="1158" y="167"/>
                    <a:pt x="1158" y="167"/>
                    <a:pt x="1158" y="167"/>
                  </a:cubicBezTo>
                  <a:cubicBezTo>
                    <a:pt x="1176" y="168"/>
                    <a:pt x="1176" y="168"/>
                    <a:pt x="1176" y="168"/>
                  </a:cubicBezTo>
                  <a:cubicBezTo>
                    <a:pt x="1180" y="165"/>
                    <a:pt x="1177" y="154"/>
                    <a:pt x="1174" y="150"/>
                  </a:cubicBezTo>
                  <a:cubicBezTo>
                    <a:pt x="1122" y="135"/>
                    <a:pt x="1122" y="135"/>
                    <a:pt x="1122" y="135"/>
                  </a:cubicBezTo>
                  <a:cubicBezTo>
                    <a:pt x="1099" y="142"/>
                    <a:pt x="1099" y="142"/>
                    <a:pt x="1099" y="142"/>
                  </a:cubicBezTo>
                  <a:cubicBezTo>
                    <a:pt x="1092" y="130"/>
                    <a:pt x="1092" y="130"/>
                    <a:pt x="1092" y="130"/>
                  </a:cubicBezTo>
                  <a:cubicBezTo>
                    <a:pt x="1036" y="127"/>
                    <a:pt x="1036" y="127"/>
                    <a:pt x="1036" y="127"/>
                  </a:cubicBezTo>
                  <a:cubicBezTo>
                    <a:pt x="1029" y="115"/>
                    <a:pt x="1029" y="115"/>
                    <a:pt x="1029" y="115"/>
                  </a:cubicBezTo>
                  <a:cubicBezTo>
                    <a:pt x="969" y="109"/>
                    <a:pt x="969" y="109"/>
                    <a:pt x="969" y="109"/>
                  </a:cubicBezTo>
                  <a:cubicBezTo>
                    <a:pt x="959" y="81"/>
                    <a:pt x="959" y="81"/>
                    <a:pt x="959" y="81"/>
                  </a:cubicBezTo>
                  <a:cubicBezTo>
                    <a:pt x="948" y="77"/>
                    <a:pt x="948" y="77"/>
                    <a:pt x="948" y="77"/>
                  </a:cubicBezTo>
                  <a:cubicBezTo>
                    <a:pt x="948" y="77"/>
                    <a:pt x="953" y="62"/>
                    <a:pt x="945" y="58"/>
                  </a:cubicBezTo>
                  <a:cubicBezTo>
                    <a:pt x="938" y="54"/>
                    <a:pt x="930" y="61"/>
                    <a:pt x="930" y="61"/>
                  </a:cubicBezTo>
                  <a:cubicBezTo>
                    <a:pt x="924" y="30"/>
                    <a:pt x="924" y="30"/>
                    <a:pt x="924" y="30"/>
                  </a:cubicBezTo>
                  <a:cubicBezTo>
                    <a:pt x="924" y="30"/>
                    <a:pt x="947" y="16"/>
                    <a:pt x="940" y="8"/>
                  </a:cubicBezTo>
                  <a:cubicBezTo>
                    <a:pt x="933" y="0"/>
                    <a:pt x="913" y="22"/>
                    <a:pt x="913" y="22"/>
                  </a:cubicBezTo>
                  <a:cubicBezTo>
                    <a:pt x="899" y="14"/>
                    <a:pt x="899" y="14"/>
                    <a:pt x="899" y="14"/>
                  </a:cubicBezTo>
                  <a:cubicBezTo>
                    <a:pt x="868" y="43"/>
                    <a:pt x="868" y="43"/>
                    <a:pt x="868" y="43"/>
                  </a:cubicBezTo>
                  <a:cubicBezTo>
                    <a:pt x="816" y="21"/>
                    <a:pt x="816" y="21"/>
                    <a:pt x="816" y="21"/>
                  </a:cubicBezTo>
                  <a:cubicBezTo>
                    <a:pt x="808" y="36"/>
                    <a:pt x="808" y="36"/>
                    <a:pt x="808" y="36"/>
                  </a:cubicBezTo>
                  <a:cubicBezTo>
                    <a:pt x="808" y="36"/>
                    <a:pt x="801" y="32"/>
                    <a:pt x="767" y="34"/>
                  </a:cubicBezTo>
                  <a:cubicBezTo>
                    <a:pt x="737" y="36"/>
                    <a:pt x="754" y="68"/>
                    <a:pt x="754" y="68"/>
                  </a:cubicBezTo>
                  <a:cubicBezTo>
                    <a:pt x="742" y="83"/>
                    <a:pt x="742" y="83"/>
                    <a:pt x="742" y="83"/>
                  </a:cubicBezTo>
                  <a:cubicBezTo>
                    <a:pt x="698" y="73"/>
                    <a:pt x="698" y="73"/>
                    <a:pt x="698" y="73"/>
                  </a:cubicBezTo>
                  <a:cubicBezTo>
                    <a:pt x="698" y="73"/>
                    <a:pt x="699" y="58"/>
                    <a:pt x="688" y="49"/>
                  </a:cubicBezTo>
                  <a:cubicBezTo>
                    <a:pt x="677" y="45"/>
                    <a:pt x="669" y="60"/>
                    <a:pt x="669" y="60"/>
                  </a:cubicBezTo>
                  <a:cubicBezTo>
                    <a:pt x="657" y="59"/>
                    <a:pt x="657" y="59"/>
                    <a:pt x="657" y="59"/>
                  </a:cubicBezTo>
                  <a:cubicBezTo>
                    <a:pt x="644" y="109"/>
                    <a:pt x="644" y="109"/>
                    <a:pt x="644" y="109"/>
                  </a:cubicBezTo>
                  <a:cubicBezTo>
                    <a:pt x="655" y="109"/>
                    <a:pt x="655" y="109"/>
                    <a:pt x="655" y="109"/>
                  </a:cubicBezTo>
                  <a:cubicBezTo>
                    <a:pt x="654" y="132"/>
                    <a:pt x="654" y="132"/>
                    <a:pt x="654" y="132"/>
                  </a:cubicBezTo>
                  <a:cubicBezTo>
                    <a:pt x="621" y="123"/>
                    <a:pt x="621" y="123"/>
                    <a:pt x="621" y="123"/>
                  </a:cubicBezTo>
                  <a:cubicBezTo>
                    <a:pt x="618" y="100"/>
                    <a:pt x="618" y="100"/>
                    <a:pt x="618" y="100"/>
                  </a:cubicBezTo>
                  <a:cubicBezTo>
                    <a:pt x="618" y="100"/>
                    <a:pt x="611" y="95"/>
                    <a:pt x="587" y="117"/>
                  </a:cubicBezTo>
                  <a:cubicBezTo>
                    <a:pt x="568" y="136"/>
                    <a:pt x="586" y="152"/>
                    <a:pt x="586" y="152"/>
                  </a:cubicBezTo>
                  <a:cubicBezTo>
                    <a:pt x="597" y="152"/>
                    <a:pt x="597" y="152"/>
                    <a:pt x="597" y="152"/>
                  </a:cubicBezTo>
                  <a:cubicBezTo>
                    <a:pt x="604" y="156"/>
                    <a:pt x="604" y="156"/>
                    <a:pt x="604" y="156"/>
                  </a:cubicBezTo>
                  <a:cubicBezTo>
                    <a:pt x="592" y="175"/>
                    <a:pt x="592" y="175"/>
                    <a:pt x="592" y="175"/>
                  </a:cubicBezTo>
                  <a:cubicBezTo>
                    <a:pt x="591" y="198"/>
                    <a:pt x="591" y="198"/>
                    <a:pt x="591" y="198"/>
                  </a:cubicBezTo>
                  <a:cubicBezTo>
                    <a:pt x="584" y="197"/>
                    <a:pt x="584" y="197"/>
                    <a:pt x="584" y="197"/>
                  </a:cubicBezTo>
                  <a:cubicBezTo>
                    <a:pt x="580" y="190"/>
                    <a:pt x="580" y="190"/>
                    <a:pt x="580" y="190"/>
                  </a:cubicBezTo>
                  <a:cubicBezTo>
                    <a:pt x="573" y="178"/>
                    <a:pt x="573" y="178"/>
                    <a:pt x="573" y="178"/>
                  </a:cubicBezTo>
                  <a:cubicBezTo>
                    <a:pt x="567" y="162"/>
                    <a:pt x="567" y="162"/>
                    <a:pt x="567" y="162"/>
                  </a:cubicBezTo>
                  <a:cubicBezTo>
                    <a:pt x="533" y="168"/>
                    <a:pt x="533" y="168"/>
                    <a:pt x="533" y="168"/>
                  </a:cubicBezTo>
                  <a:cubicBezTo>
                    <a:pt x="533" y="168"/>
                    <a:pt x="521" y="183"/>
                    <a:pt x="502" y="174"/>
                  </a:cubicBezTo>
                  <a:cubicBezTo>
                    <a:pt x="484" y="162"/>
                    <a:pt x="490" y="124"/>
                    <a:pt x="490" y="124"/>
                  </a:cubicBezTo>
                  <a:cubicBezTo>
                    <a:pt x="478" y="131"/>
                    <a:pt x="478" y="131"/>
                    <a:pt x="478" y="131"/>
                  </a:cubicBezTo>
                  <a:cubicBezTo>
                    <a:pt x="464" y="123"/>
                    <a:pt x="464" y="123"/>
                    <a:pt x="464" y="123"/>
                  </a:cubicBezTo>
                  <a:cubicBezTo>
                    <a:pt x="455" y="142"/>
                    <a:pt x="455" y="142"/>
                    <a:pt x="455" y="142"/>
                  </a:cubicBezTo>
                  <a:cubicBezTo>
                    <a:pt x="462" y="150"/>
                    <a:pt x="462" y="150"/>
                    <a:pt x="462" y="150"/>
                  </a:cubicBezTo>
                  <a:cubicBezTo>
                    <a:pt x="462" y="150"/>
                    <a:pt x="462" y="161"/>
                    <a:pt x="453" y="180"/>
                  </a:cubicBezTo>
                  <a:cubicBezTo>
                    <a:pt x="445" y="199"/>
                    <a:pt x="422" y="213"/>
                    <a:pt x="422" y="213"/>
                  </a:cubicBezTo>
                  <a:cubicBezTo>
                    <a:pt x="418" y="224"/>
                    <a:pt x="418" y="224"/>
                    <a:pt x="418" y="224"/>
                  </a:cubicBezTo>
                  <a:cubicBezTo>
                    <a:pt x="402" y="235"/>
                    <a:pt x="402" y="235"/>
                    <a:pt x="402" y="235"/>
                  </a:cubicBezTo>
                  <a:cubicBezTo>
                    <a:pt x="405" y="250"/>
                    <a:pt x="405" y="250"/>
                    <a:pt x="405" y="250"/>
                  </a:cubicBezTo>
                  <a:cubicBezTo>
                    <a:pt x="412" y="258"/>
                    <a:pt x="412" y="258"/>
                    <a:pt x="412" y="258"/>
                  </a:cubicBezTo>
                  <a:cubicBezTo>
                    <a:pt x="408" y="277"/>
                    <a:pt x="408" y="277"/>
                    <a:pt x="408" y="277"/>
                  </a:cubicBezTo>
                  <a:cubicBezTo>
                    <a:pt x="397" y="273"/>
                    <a:pt x="397" y="273"/>
                    <a:pt x="397" y="273"/>
                  </a:cubicBezTo>
                  <a:cubicBezTo>
                    <a:pt x="383" y="238"/>
                    <a:pt x="383" y="238"/>
                    <a:pt x="383" y="238"/>
                  </a:cubicBezTo>
                  <a:cubicBezTo>
                    <a:pt x="376" y="230"/>
                    <a:pt x="376" y="230"/>
                    <a:pt x="376" y="230"/>
                  </a:cubicBezTo>
                  <a:cubicBezTo>
                    <a:pt x="388" y="223"/>
                    <a:pt x="388" y="223"/>
                    <a:pt x="388" y="223"/>
                  </a:cubicBezTo>
                  <a:cubicBezTo>
                    <a:pt x="377" y="211"/>
                    <a:pt x="377" y="211"/>
                    <a:pt x="377" y="211"/>
                  </a:cubicBezTo>
                  <a:cubicBezTo>
                    <a:pt x="377" y="211"/>
                    <a:pt x="358" y="213"/>
                    <a:pt x="347" y="205"/>
                  </a:cubicBezTo>
                  <a:cubicBezTo>
                    <a:pt x="337" y="197"/>
                    <a:pt x="341" y="190"/>
                    <a:pt x="341" y="186"/>
                  </a:cubicBezTo>
                  <a:cubicBezTo>
                    <a:pt x="341" y="182"/>
                    <a:pt x="326" y="178"/>
                    <a:pt x="319" y="166"/>
                  </a:cubicBezTo>
                  <a:cubicBezTo>
                    <a:pt x="312" y="154"/>
                    <a:pt x="336" y="132"/>
                    <a:pt x="336" y="132"/>
                  </a:cubicBezTo>
                  <a:cubicBezTo>
                    <a:pt x="321" y="124"/>
                    <a:pt x="321" y="124"/>
                    <a:pt x="321" y="124"/>
                  </a:cubicBezTo>
                  <a:cubicBezTo>
                    <a:pt x="295" y="130"/>
                    <a:pt x="295" y="130"/>
                    <a:pt x="295" y="130"/>
                  </a:cubicBezTo>
                  <a:cubicBezTo>
                    <a:pt x="302" y="142"/>
                    <a:pt x="302" y="142"/>
                    <a:pt x="302" y="142"/>
                  </a:cubicBezTo>
                  <a:cubicBezTo>
                    <a:pt x="282" y="156"/>
                    <a:pt x="282" y="156"/>
                    <a:pt x="282" y="156"/>
                  </a:cubicBezTo>
                  <a:cubicBezTo>
                    <a:pt x="275" y="152"/>
                    <a:pt x="275" y="152"/>
                    <a:pt x="275" y="152"/>
                  </a:cubicBezTo>
                  <a:cubicBezTo>
                    <a:pt x="267" y="163"/>
                    <a:pt x="267" y="163"/>
                    <a:pt x="267" y="163"/>
                  </a:cubicBezTo>
                  <a:cubicBezTo>
                    <a:pt x="277" y="191"/>
                    <a:pt x="277" y="191"/>
                    <a:pt x="277" y="191"/>
                  </a:cubicBezTo>
                  <a:cubicBezTo>
                    <a:pt x="277" y="191"/>
                    <a:pt x="265" y="201"/>
                    <a:pt x="254" y="205"/>
                  </a:cubicBezTo>
                  <a:cubicBezTo>
                    <a:pt x="246" y="208"/>
                    <a:pt x="250" y="220"/>
                    <a:pt x="246" y="223"/>
                  </a:cubicBezTo>
                  <a:cubicBezTo>
                    <a:pt x="242" y="227"/>
                    <a:pt x="231" y="227"/>
                    <a:pt x="227" y="226"/>
                  </a:cubicBezTo>
                  <a:cubicBezTo>
                    <a:pt x="223" y="226"/>
                    <a:pt x="226" y="242"/>
                    <a:pt x="211" y="241"/>
                  </a:cubicBezTo>
                  <a:cubicBezTo>
                    <a:pt x="200" y="240"/>
                    <a:pt x="175" y="220"/>
                    <a:pt x="171" y="220"/>
                  </a:cubicBezTo>
                  <a:cubicBezTo>
                    <a:pt x="163" y="219"/>
                    <a:pt x="159" y="235"/>
                    <a:pt x="148" y="234"/>
                  </a:cubicBezTo>
                  <a:cubicBezTo>
                    <a:pt x="136" y="237"/>
                    <a:pt x="133" y="233"/>
                    <a:pt x="126" y="229"/>
                  </a:cubicBezTo>
                  <a:cubicBezTo>
                    <a:pt x="122" y="229"/>
                    <a:pt x="121" y="240"/>
                    <a:pt x="106" y="244"/>
                  </a:cubicBezTo>
                  <a:cubicBezTo>
                    <a:pt x="99" y="243"/>
                    <a:pt x="92" y="239"/>
                    <a:pt x="92" y="235"/>
                  </a:cubicBezTo>
                  <a:cubicBezTo>
                    <a:pt x="89" y="238"/>
                    <a:pt x="86" y="240"/>
                    <a:pt x="82" y="242"/>
                  </a:cubicBezTo>
                  <a:cubicBezTo>
                    <a:pt x="80" y="243"/>
                    <a:pt x="77" y="243"/>
                    <a:pt x="74" y="244"/>
                  </a:cubicBezTo>
                  <a:cubicBezTo>
                    <a:pt x="65" y="247"/>
                    <a:pt x="56" y="250"/>
                    <a:pt x="49" y="260"/>
                  </a:cubicBezTo>
                  <a:cubicBezTo>
                    <a:pt x="37" y="282"/>
                    <a:pt x="74" y="288"/>
                    <a:pt x="74" y="288"/>
                  </a:cubicBezTo>
                  <a:cubicBezTo>
                    <a:pt x="72" y="330"/>
                    <a:pt x="72" y="330"/>
                    <a:pt x="72" y="330"/>
                  </a:cubicBezTo>
                  <a:cubicBezTo>
                    <a:pt x="72" y="338"/>
                    <a:pt x="80" y="330"/>
                    <a:pt x="91" y="338"/>
                  </a:cubicBezTo>
                  <a:cubicBezTo>
                    <a:pt x="98" y="346"/>
                    <a:pt x="98" y="350"/>
                    <a:pt x="89" y="377"/>
                  </a:cubicBezTo>
                  <a:cubicBezTo>
                    <a:pt x="84" y="399"/>
                    <a:pt x="39" y="409"/>
                    <a:pt x="39" y="409"/>
                  </a:cubicBezTo>
                  <a:cubicBezTo>
                    <a:pt x="24" y="404"/>
                    <a:pt x="24" y="404"/>
                    <a:pt x="24" y="404"/>
                  </a:cubicBezTo>
                  <a:cubicBezTo>
                    <a:pt x="24" y="404"/>
                    <a:pt x="5" y="407"/>
                    <a:pt x="4" y="426"/>
                  </a:cubicBezTo>
                  <a:cubicBezTo>
                    <a:pt x="0" y="449"/>
                    <a:pt x="19" y="431"/>
                    <a:pt x="19" y="431"/>
                  </a:cubicBezTo>
                  <a:cubicBezTo>
                    <a:pt x="19" y="431"/>
                    <a:pt x="19" y="434"/>
                    <a:pt x="29" y="462"/>
                  </a:cubicBezTo>
                  <a:cubicBezTo>
                    <a:pt x="35" y="485"/>
                    <a:pt x="58" y="471"/>
                    <a:pt x="58" y="471"/>
                  </a:cubicBezTo>
                  <a:cubicBezTo>
                    <a:pt x="60" y="513"/>
                    <a:pt x="60" y="513"/>
                    <a:pt x="60" y="513"/>
                  </a:cubicBezTo>
                  <a:cubicBezTo>
                    <a:pt x="60" y="513"/>
                    <a:pt x="56" y="524"/>
                    <a:pt x="45" y="527"/>
                  </a:cubicBezTo>
                  <a:cubicBezTo>
                    <a:pt x="37" y="535"/>
                    <a:pt x="24" y="565"/>
                    <a:pt x="41" y="596"/>
                  </a:cubicBezTo>
                  <a:cubicBezTo>
                    <a:pt x="55" y="627"/>
                    <a:pt x="73" y="640"/>
                    <a:pt x="95" y="648"/>
                  </a:cubicBezTo>
                  <a:cubicBezTo>
                    <a:pt x="114" y="657"/>
                    <a:pt x="144" y="643"/>
                    <a:pt x="152" y="643"/>
                  </a:cubicBezTo>
                  <a:cubicBezTo>
                    <a:pt x="155" y="644"/>
                    <a:pt x="162" y="652"/>
                    <a:pt x="154" y="678"/>
                  </a:cubicBezTo>
                  <a:cubicBezTo>
                    <a:pt x="141" y="708"/>
                    <a:pt x="115" y="711"/>
                    <a:pt x="115" y="711"/>
                  </a:cubicBezTo>
                  <a:cubicBezTo>
                    <a:pt x="128" y="742"/>
                    <a:pt x="128" y="742"/>
                    <a:pt x="128" y="742"/>
                  </a:cubicBezTo>
                  <a:cubicBezTo>
                    <a:pt x="128" y="742"/>
                    <a:pt x="166" y="744"/>
                    <a:pt x="188" y="737"/>
                  </a:cubicBezTo>
                  <a:cubicBezTo>
                    <a:pt x="207" y="730"/>
                    <a:pt x="238" y="713"/>
                    <a:pt x="238" y="713"/>
                  </a:cubicBezTo>
                  <a:cubicBezTo>
                    <a:pt x="238" y="713"/>
                    <a:pt x="247" y="682"/>
                    <a:pt x="259" y="668"/>
                  </a:cubicBezTo>
                  <a:cubicBezTo>
                    <a:pt x="267" y="653"/>
                    <a:pt x="306" y="616"/>
                    <a:pt x="333" y="606"/>
                  </a:cubicBezTo>
                  <a:cubicBezTo>
                    <a:pt x="359" y="600"/>
                    <a:pt x="400" y="621"/>
                    <a:pt x="400" y="621"/>
                  </a:cubicBezTo>
                  <a:cubicBezTo>
                    <a:pt x="406" y="633"/>
                    <a:pt x="406" y="633"/>
                    <a:pt x="406" y="633"/>
                  </a:cubicBezTo>
                  <a:cubicBezTo>
                    <a:pt x="422" y="630"/>
                    <a:pt x="422" y="630"/>
                    <a:pt x="422" y="630"/>
                  </a:cubicBezTo>
                  <a:cubicBezTo>
                    <a:pt x="458" y="654"/>
                    <a:pt x="458" y="654"/>
                    <a:pt x="458" y="654"/>
                  </a:cubicBezTo>
                  <a:cubicBezTo>
                    <a:pt x="512" y="691"/>
                    <a:pt x="512" y="691"/>
                    <a:pt x="512" y="691"/>
                  </a:cubicBezTo>
                  <a:cubicBezTo>
                    <a:pt x="524" y="688"/>
                    <a:pt x="524" y="688"/>
                    <a:pt x="524" y="688"/>
                  </a:cubicBezTo>
                  <a:cubicBezTo>
                    <a:pt x="577" y="740"/>
                    <a:pt x="577" y="740"/>
                    <a:pt x="577" y="740"/>
                  </a:cubicBezTo>
                  <a:cubicBezTo>
                    <a:pt x="577" y="759"/>
                    <a:pt x="577" y="759"/>
                    <a:pt x="577" y="759"/>
                  </a:cubicBezTo>
                  <a:cubicBezTo>
                    <a:pt x="584" y="836"/>
                    <a:pt x="584" y="836"/>
                    <a:pt x="584" y="836"/>
                  </a:cubicBezTo>
                  <a:cubicBezTo>
                    <a:pt x="584" y="836"/>
                    <a:pt x="609" y="872"/>
                    <a:pt x="618" y="907"/>
                  </a:cubicBezTo>
                  <a:cubicBezTo>
                    <a:pt x="632" y="942"/>
                    <a:pt x="605" y="956"/>
                    <a:pt x="605" y="956"/>
                  </a:cubicBezTo>
                  <a:cubicBezTo>
                    <a:pt x="615" y="972"/>
                    <a:pt x="615" y="972"/>
                    <a:pt x="615" y="972"/>
                  </a:cubicBezTo>
                  <a:cubicBezTo>
                    <a:pt x="615" y="972"/>
                    <a:pt x="638" y="965"/>
                    <a:pt x="653" y="973"/>
                  </a:cubicBezTo>
                  <a:cubicBezTo>
                    <a:pt x="671" y="982"/>
                    <a:pt x="651" y="1004"/>
                    <a:pt x="651" y="1004"/>
                  </a:cubicBezTo>
                  <a:cubicBezTo>
                    <a:pt x="681" y="1013"/>
                    <a:pt x="681" y="1013"/>
                    <a:pt x="681" y="1013"/>
                  </a:cubicBezTo>
                  <a:cubicBezTo>
                    <a:pt x="716" y="1057"/>
                    <a:pt x="716" y="1057"/>
                    <a:pt x="716" y="1057"/>
                  </a:cubicBezTo>
                  <a:cubicBezTo>
                    <a:pt x="734" y="1077"/>
                    <a:pt x="734" y="1077"/>
                    <a:pt x="734" y="1077"/>
                  </a:cubicBezTo>
                  <a:cubicBezTo>
                    <a:pt x="734" y="1077"/>
                    <a:pt x="723" y="1076"/>
                    <a:pt x="711" y="1087"/>
                  </a:cubicBezTo>
                  <a:cubicBezTo>
                    <a:pt x="703" y="1098"/>
                    <a:pt x="725" y="1107"/>
                    <a:pt x="725" y="1107"/>
                  </a:cubicBezTo>
                  <a:cubicBezTo>
                    <a:pt x="730" y="1088"/>
                    <a:pt x="730" y="1088"/>
                    <a:pt x="730" y="1088"/>
                  </a:cubicBezTo>
                  <a:cubicBezTo>
                    <a:pt x="745" y="1089"/>
                    <a:pt x="745" y="1089"/>
                    <a:pt x="745" y="1089"/>
                  </a:cubicBezTo>
                  <a:cubicBezTo>
                    <a:pt x="745" y="1089"/>
                    <a:pt x="767" y="1101"/>
                    <a:pt x="788" y="1117"/>
                  </a:cubicBezTo>
                  <a:cubicBezTo>
                    <a:pt x="814" y="1134"/>
                    <a:pt x="830" y="1188"/>
                    <a:pt x="830" y="1188"/>
                  </a:cubicBezTo>
                  <a:cubicBezTo>
                    <a:pt x="845" y="1185"/>
                    <a:pt x="845" y="1185"/>
                    <a:pt x="845" y="1185"/>
                  </a:cubicBezTo>
                  <a:cubicBezTo>
                    <a:pt x="852" y="1193"/>
                    <a:pt x="852" y="1193"/>
                    <a:pt x="852" y="1193"/>
                  </a:cubicBezTo>
                  <a:cubicBezTo>
                    <a:pt x="852" y="1193"/>
                    <a:pt x="871" y="1198"/>
                    <a:pt x="889" y="1218"/>
                  </a:cubicBezTo>
                  <a:cubicBezTo>
                    <a:pt x="903" y="1234"/>
                    <a:pt x="898" y="1257"/>
                    <a:pt x="898" y="1257"/>
                  </a:cubicBezTo>
                  <a:cubicBezTo>
                    <a:pt x="898" y="1257"/>
                    <a:pt x="924" y="1265"/>
                    <a:pt x="935" y="1274"/>
                  </a:cubicBezTo>
                  <a:cubicBezTo>
                    <a:pt x="945" y="1286"/>
                    <a:pt x="966" y="1325"/>
                    <a:pt x="966" y="1325"/>
                  </a:cubicBezTo>
                  <a:cubicBezTo>
                    <a:pt x="981" y="1326"/>
                    <a:pt x="981" y="1326"/>
                    <a:pt x="981" y="1326"/>
                  </a:cubicBezTo>
                  <a:cubicBezTo>
                    <a:pt x="981" y="1326"/>
                    <a:pt x="1014" y="1339"/>
                    <a:pt x="1025" y="1347"/>
                  </a:cubicBezTo>
                  <a:cubicBezTo>
                    <a:pt x="1032" y="1351"/>
                    <a:pt x="1042" y="1378"/>
                    <a:pt x="1042" y="1378"/>
                  </a:cubicBezTo>
                  <a:cubicBezTo>
                    <a:pt x="1046" y="1382"/>
                    <a:pt x="1046" y="1382"/>
                    <a:pt x="1046" y="1382"/>
                  </a:cubicBezTo>
                  <a:cubicBezTo>
                    <a:pt x="1046" y="1382"/>
                    <a:pt x="1061" y="1368"/>
                    <a:pt x="1080" y="1361"/>
                  </a:cubicBezTo>
                  <a:cubicBezTo>
                    <a:pt x="1099" y="1358"/>
                    <a:pt x="1135" y="1383"/>
                    <a:pt x="1135" y="1383"/>
                  </a:cubicBezTo>
                  <a:cubicBezTo>
                    <a:pt x="1135" y="1383"/>
                    <a:pt x="1148" y="1360"/>
                    <a:pt x="1173" y="1388"/>
                  </a:cubicBezTo>
                  <a:cubicBezTo>
                    <a:pt x="1198" y="1412"/>
                    <a:pt x="1200" y="1439"/>
                    <a:pt x="1200" y="1439"/>
                  </a:cubicBezTo>
                  <a:cubicBezTo>
                    <a:pt x="1200" y="1439"/>
                    <a:pt x="1215" y="1448"/>
                    <a:pt x="1218" y="1455"/>
                  </a:cubicBezTo>
                  <a:cubicBezTo>
                    <a:pt x="1222" y="1463"/>
                    <a:pt x="1213" y="1482"/>
                    <a:pt x="1213" y="1482"/>
                  </a:cubicBezTo>
                  <a:cubicBezTo>
                    <a:pt x="1221" y="1486"/>
                    <a:pt x="1221" y="1486"/>
                    <a:pt x="1221" y="1486"/>
                  </a:cubicBezTo>
                  <a:cubicBezTo>
                    <a:pt x="1225" y="1475"/>
                    <a:pt x="1225" y="1475"/>
                    <a:pt x="1225" y="1475"/>
                  </a:cubicBezTo>
                  <a:cubicBezTo>
                    <a:pt x="1243" y="1483"/>
                    <a:pt x="1243" y="1483"/>
                    <a:pt x="1243" y="1483"/>
                  </a:cubicBezTo>
                  <a:cubicBezTo>
                    <a:pt x="1259" y="1469"/>
                    <a:pt x="1259" y="1469"/>
                    <a:pt x="1259" y="1469"/>
                  </a:cubicBezTo>
                  <a:cubicBezTo>
                    <a:pt x="1280" y="1497"/>
                    <a:pt x="1280" y="1497"/>
                    <a:pt x="1280" y="1497"/>
                  </a:cubicBezTo>
                  <a:cubicBezTo>
                    <a:pt x="1291" y="1501"/>
                    <a:pt x="1291" y="1501"/>
                    <a:pt x="1291" y="1501"/>
                  </a:cubicBezTo>
                  <a:cubicBezTo>
                    <a:pt x="1260" y="1526"/>
                    <a:pt x="1260" y="1526"/>
                    <a:pt x="1260" y="1526"/>
                  </a:cubicBezTo>
                  <a:cubicBezTo>
                    <a:pt x="1267" y="1530"/>
                    <a:pt x="1267" y="1530"/>
                    <a:pt x="1267" y="1530"/>
                  </a:cubicBezTo>
                  <a:cubicBezTo>
                    <a:pt x="1290" y="1520"/>
                    <a:pt x="1290" y="1520"/>
                    <a:pt x="1290" y="1520"/>
                  </a:cubicBezTo>
                  <a:cubicBezTo>
                    <a:pt x="1301" y="1524"/>
                    <a:pt x="1301" y="1524"/>
                    <a:pt x="1301" y="1524"/>
                  </a:cubicBezTo>
                  <a:cubicBezTo>
                    <a:pt x="1316" y="1517"/>
                    <a:pt x="1316" y="1517"/>
                    <a:pt x="1316" y="1517"/>
                  </a:cubicBezTo>
                  <a:cubicBezTo>
                    <a:pt x="1324" y="1522"/>
                    <a:pt x="1324" y="1522"/>
                    <a:pt x="1324" y="1522"/>
                  </a:cubicBezTo>
                  <a:cubicBezTo>
                    <a:pt x="1339" y="1511"/>
                    <a:pt x="1339" y="1511"/>
                    <a:pt x="1339" y="1511"/>
                  </a:cubicBezTo>
                  <a:cubicBezTo>
                    <a:pt x="1339" y="1511"/>
                    <a:pt x="1357" y="1523"/>
                    <a:pt x="1372" y="1539"/>
                  </a:cubicBezTo>
                  <a:cubicBezTo>
                    <a:pt x="1382" y="1555"/>
                    <a:pt x="1381" y="1586"/>
                    <a:pt x="1381" y="1586"/>
                  </a:cubicBezTo>
                  <a:cubicBezTo>
                    <a:pt x="1369" y="1585"/>
                    <a:pt x="1369" y="1585"/>
                    <a:pt x="1369" y="1585"/>
                  </a:cubicBezTo>
                  <a:cubicBezTo>
                    <a:pt x="1368" y="1612"/>
                    <a:pt x="1368" y="1612"/>
                    <a:pt x="1368" y="1612"/>
                  </a:cubicBezTo>
                  <a:cubicBezTo>
                    <a:pt x="1397" y="1628"/>
                    <a:pt x="1397" y="1628"/>
                    <a:pt x="1397" y="1628"/>
                  </a:cubicBezTo>
                  <a:cubicBezTo>
                    <a:pt x="1397" y="1628"/>
                    <a:pt x="1409" y="1629"/>
                    <a:pt x="1420" y="1633"/>
                  </a:cubicBezTo>
                  <a:cubicBezTo>
                    <a:pt x="1431" y="1638"/>
                    <a:pt x="1437" y="1657"/>
                    <a:pt x="1437" y="1657"/>
                  </a:cubicBezTo>
                  <a:cubicBezTo>
                    <a:pt x="1452" y="1669"/>
                    <a:pt x="1452" y="1669"/>
                    <a:pt x="1452" y="1669"/>
                  </a:cubicBezTo>
                  <a:cubicBezTo>
                    <a:pt x="1452" y="1669"/>
                    <a:pt x="1475" y="1644"/>
                    <a:pt x="1490" y="1644"/>
                  </a:cubicBezTo>
                  <a:cubicBezTo>
                    <a:pt x="1505" y="1641"/>
                    <a:pt x="1508" y="1672"/>
                    <a:pt x="1508" y="1672"/>
                  </a:cubicBezTo>
                  <a:cubicBezTo>
                    <a:pt x="1522" y="1692"/>
                    <a:pt x="1522" y="1692"/>
                    <a:pt x="1522" y="1692"/>
                  </a:cubicBezTo>
                  <a:cubicBezTo>
                    <a:pt x="1522" y="1692"/>
                    <a:pt x="1531" y="1742"/>
                    <a:pt x="1541" y="1761"/>
                  </a:cubicBezTo>
                  <a:cubicBezTo>
                    <a:pt x="1551" y="1781"/>
                    <a:pt x="1562" y="1785"/>
                    <a:pt x="1572" y="1813"/>
                  </a:cubicBezTo>
                  <a:cubicBezTo>
                    <a:pt x="1582" y="1840"/>
                    <a:pt x="1584" y="1886"/>
                    <a:pt x="1584" y="1886"/>
                  </a:cubicBezTo>
                  <a:cubicBezTo>
                    <a:pt x="1594" y="1906"/>
                    <a:pt x="1594" y="1906"/>
                    <a:pt x="1594" y="1906"/>
                  </a:cubicBezTo>
                  <a:cubicBezTo>
                    <a:pt x="1594" y="1906"/>
                    <a:pt x="1602" y="1906"/>
                    <a:pt x="1605" y="1921"/>
                  </a:cubicBezTo>
                  <a:cubicBezTo>
                    <a:pt x="1608" y="1937"/>
                    <a:pt x="1592" y="1955"/>
                    <a:pt x="1592" y="1955"/>
                  </a:cubicBezTo>
                  <a:cubicBezTo>
                    <a:pt x="1566" y="1954"/>
                    <a:pt x="1566" y="1954"/>
                    <a:pt x="1566" y="1954"/>
                  </a:cubicBezTo>
                  <a:cubicBezTo>
                    <a:pt x="1566" y="1954"/>
                    <a:pt x="1539" y="1972"/>
                    <a:pt x="1535" y="1979"/>
                  </a:cubicBezTo>
                  <a:cubicBezTo>
                    <a:pt x="1527" y="1990"/>
                    <a:pt x="1549" y="1999"/>
                    <a:pt x="1552" y="2007"/>
                  </a:cubicBezTo>
                  <a:cubicBezTo>
                    <a:pt x="1559" y="2015"/>
                    <a:pt x="1548" y="2018"/>
                    <a:pt x="1540" y="2033"/>
                  </a:cubicBezTo>
                  <a:cubicBezTo>
                    <a:pt x="1528" y="2048"/>
                    <a:pt x="1531" y="2063"/>
                    <a:pt x="1531" y="2063"/>
                  </a:cubicBezTo>
                  <a:cubicBezTo>
                    <a:pt x="1500" y="2081"/>
                    <a:pt x="1500" y="2081"/>
                    <a:pt x="1500" y="2081"/>
                  </a:cubicBezTo>
                  <a:cubicBezTo>
                    <a:pt x="1507" y="2100"/>
                    <a:pt x="1507" y="2100"/>
                    <a:pt x="1507" y="2100"/>
                  </a:cubicBezTo>
                  <a:cubicBezTo>
                    <a:pt x="1507" y="2100"/>
                    <a:pt x="1502" y="2127"/>
                    <a:pt x="1512" y="2143"/>
                  </a:cubicBezTo>
                  <a:cubicBezTo>
                    <a:pt x="1526" y="2159"/>
                    <a:pt x="1553" y="2145"/>
                    <a:pt x="1553" y="2145"/>
                  </a:cubicBezTo>
                  <a:cubicBezTo>
                    <a:pt x="1553" y="2145"/>
                    <a:pt x="1576" y="2146"/>
                    <a:pt x="1591" y="2139"/>
                  </a:cubicBezTo>
                  <a:cubicBezTo>
                    <a:pt x="1606" y="2136"/>
                    <a:pt x="1605" y="2078"/>
                    <a:pt x="1621" y="2064"/>
                  </a:cubicBezTo>
                  <a:cubicBezTo>
                    <a:pt x="1636" y="2049"/>
                    <a:pt x="1663" y="2035"/>
                    <a:pt x="1675" y="2028"/>
                  </a:cubicBezTo>
                  <a:cubicBezTo>
                    <a:pt x="1686" y="2017"/>
                    <a:pt x="1670" y="1974"/>
                    <a:pt x="1671" y="1951"/>
                  </a:cubicBezTo>
                  <a:cubicBezTo>
                    <a:pt x="1668" y="1928"/>
                    <a:pt x="1717" y="1911"/>
                    <a:pt x="1729" y="1908"/>
                  </a:cubicBezTo>
                  <a:cubicBezTo>
                    <a:pt x="1744" y="1905"/>
                    <a:pt x="1759" y="1910"/>
                    <a:pt x="1770" y="1906"/>
                  </a:cubicBezTo>
                  <a:cubicBezTo>
                    <a:pt x="1781" y="1903"/>
                    <a:pt x="1782" y="1880"/>
                    <a:pt x="1782" y="1880"/>
                  </a:cubicBezTo>
                  <a:cubicBezTo>
                    <a:pt x="1765" y="1856"/>
                    <a:pt x="1765" y="1856"/>
                    <a:pt x="1765" y="1856"/>
                  </a:cubicBezTo>
                  <a:cubicBezTo>
                    <a:pt x="1770" y="1834"/>
                    <a:pt x="1770" y="1834"/>
                    <a:pt x="1770" y="1834"/>
                  </a:cubicBezTo>
                  <a:cubicBezTo>
                    <a:pt x="1763" y="1822"/>
                    <a:pt x="1763" y="1822"/>
                    <a:pt x="1763" y="1822"/>
                  </a:cubicBezTo>
                  <a:cubicBezTo>
                    <a:pt x="1768" y="1795"/>
                    <a:pt x="1768" y="1795"/>
                    <a:pt x="1768" y="1795"/>
                  </a:cubicBezTo>
                  <a:cubicBezTo>
                    <a:pt x="1739" y="1767"/>
                    <a:pt x="1739" y="1767"/>
                    <a:pt x="1739" y="1767"/>
                  </a:cubicBezTo>
                  <a:cubicBezTo>
                    <a:pt x="1728" y="1767"/>
                    <a:pt x="1728" y="1767"/>
                    <a:pt x="1728" y="1767"/>
                  </a:cubicBezTo>
                  <a:cubicBezTo>
                    <a:pt x="1707" y="1739"/>
                    <a:pt x="1707" y="1739"/>
                    <a:pt x="1707" y="1739"/>
                  </a:cubicBezTo>
                  <a:cubicBezTo>
                    <a:pt x="1707" y="1739"/>
                    <a:pt x="1684" y="1745"/>
                    <a:pt x="1658" y="1740"/>
                  </a:cubicBezTo>
                  <a:cubicBezTo>
                    <a:pt x="1636" y="1735"/>
                    <a:pt x="1652" y="1698"/>
                    <a:pt x="1652" y="1698"/>
                  </a:cubicBezTo>
                  <a:cubicBezTo>
                    <a:pt x="1652" y="1698"/>
                    <a:pt x="1668" y="1676"/>
                    <a:pt x="1672" y="1668"/>
                  </a:cubicBezTo>
                  <a:cubicBezTo>
                    <a:pt x="1680" y="1657"/>
                    <a:pt x="1670" y="1645"/>
                    <a:pt x="1670" y="1645"/>
                  </a:cubicBezTo>
                  <a:cubicBezTo>
                    <a:pt x="1686" y="1627"/>
                    <a:pt x="1686" y="1627"/>
                    <a:pt x="1686" y="1627"/>
                  </a:cubicBezTo>
                  <a:cubicBezTo>
                    <a:pt x="1698" y="1597"/>
                    <a:pt x="1698" y="1597"/>
                    <a:pt x="1698" y="1597"/>
                  </a:cubicBezTo>
                  <a:cubicBezTo>
                    <a:pt x="1698" y="1597"/>
                    <a:pt x="1719" y="1556"/>
                    <a:pt x="1730" y="1549"/>
                  </a:cubicBezTo>
                  <a:cubicBezTo>
                    <a:pt x="1738" y="1541"/>
                    <a:pt x="1765" y="1535"/>
                    <a:pt x="1765" y="1535"/>
                  </a:cubicBezTo>
                  <a:cubicBezTo>
                    <a:pt x="1772" y="1547"/>
                    <a:pt x="1772" y="1547"/>
                    <a:pt x="1772" y="1547"/>
                  </a:cubicBezTo>
                  <a:cubicBezTo>
                    <a:pt x="1786" y="1551"/>
                    <a:pt x="1786" y="1551"/>
                    <a:pt x="1786" y="1551"/>
                  </a:cubicBezTo>
                  <a:cubicBezTo>
                    <a:pt x="1786" y="1563"/>
                    <a:pt x="1786" y="1563"/>
                    <a:pt x="1786" y="1563"/>
                  </a:cubicBezTo>
                  <a:cubicBezTo>
                    <a:pt x="1786" y="1563"/>
                    <a:pt x="1822" y="1584"/>
                    <a:pt x="1837" y="1584"/>
                  </a:cubicBezTo>
                  <a:cubicBezTo>
                    <a:pt x="1852" y="1589"/>
                    <a:pt x="1864" y="1578"/>
                    <a:pt x="1864" y="1578"/>
                  </a:cubicBezTo>
                  <a:cubicBezTo>
                    <a:pt x="1864" y="1578"/>
                    <a:pt x="1882" y="1583"/>
                    <a:pt x="1900" y="1595"/>
                  </a:cubicBezTo>
                  <a:cubicBezTo>
                    <a:pt x="1922" y="1611"/>
                    <a:pt x="1920" y="1646"/>
                    <a:pt x="1920" y="1661"/>
                  </a:cubicBezTo>
                  <a:cubicBezTo>
                    <a:pt x="1923" y="1676"/>
                    <a:pt x="1964" y="1682"/>
                    <a:pt x="1964" y="1682"/>
                  </a:cubicBezTo>
                  <a:cubicBezTo>
                    <a:pt x="1964" y="1682"/>
                    <a:pt x="1982" y="1698"/>
                    <a:pt x="1993" y="1691"/>
                  </a:cubicBezTo>
                  <a:cubicBezTo>
                    <a:pt x="2005" y="1684"/>
                    <a:pt x="1991" y="1649"/>
                    <a:pt x="1991" y="1649"/>
                  </a:cubicBezTo>
                  <a:cubicBezTo>
                    <a:pt x="2016" y="1612"/>
                    <a:pt x="2016" y="1612"/>
                    <a:pt x="2016" y="1612"/>
                  </a:cubicBezTo>
                  <a:cubicBezTo>
                    <a:pt x="2005" y="1608"/>
                    <a:pt x="2005" y="1608"/>
                    <a:pt x="2005" y="1608"/>
                  </a:cubicBezTo>
                  <a:cubicBezTo>
                    <a:pt x="1991" y="1580"/>
                    <a:pt x="1991" y="1580"/>
                    <a:pt x="1991" y="1580"/>
                  </a:cubicBezTo>
                  <a:cubicBezTo>
                    <a:pt x="1963" y="1541"/>
                    <a:pt x="1963" y="1541"/>
                    <a:pt x="1963" y="1541"/>
                  </a:cubicBezTo>
                  <a:cubicBezTo>
                    <a:pt x="1944" y="1544"/>
                    <a:pt x="1944" y="1544"/>
                    <a:pt x="1944" y="1544"/>
                  </a:cubicBezTo>
                  <a:cubicBezTo>
                    <a:pt x="1919" y="1516"/>
                    <a:pt x="1919" y="1516"/>
                    <a:pt x="1919" y="1516"/>
                  </a:cubicBezTo>
                  <a:cubicBezTo>
                    <a:pt x="1919" y="1516"/>
                    <a:pt x="1927" y="1504"/>
                    <a:pt x="1912" y="1496"/>
                  </a:cubicBezTo>
                  <a:cubicBezTo>
                    <a:pt x="1894" y="1488"/>
                    <a:pt x="1883" y="1487"/>
                    <a:pt x="1883" y="1487"/>
                  </a:cubicBezTo>
                  <a:cubicBezTo>
                    <a:pt x="1861" y="1471"/>
                    <a:pt x="1861" y="1471"/>
                    <a:pt x="1861" y="1471"/>
                  </a:cubicBezTo>
                  <a:cubicBezTo>
                    <a:pt x="1850" y="1474"/>
                    <a:pt x="1850" y="1474"/>
                    <a:pt x="1850" y="1474"/>
                  </a:cubicBezTo>
                  <a:cubicBezTo>
                    <a:pt x="1810" y="1453"/>
                    <a:pt x="1810" y="1453"/>
                    <a:pt x="1810" y="1453"/>
                  </a:cubicBezTo>
                  <a:cubicBezTo>
                    <a:pt x="1799" y="1437"/>
                    <a:pt x="1799" y="1437"/>
                    <a:pt x="1799" y="1437"/>
                  </a:cubicBezTo>
                  <a:cubicBezTo>
                    <a:pt x="1770" y="1424"/>
                    <a:pt x="1770" y="1424"/>
                    <a:pt x="1770" y="1424"/>
                  </a:cubicBezTo>
                  <a:cubicBezTo>
                    <a:pt x="1759" y="1412"/>
                    <a:pt x="1759" y="1412"/>
                    <a:pt x="1759" y="1412"/>
                  </a:cubicBezTo>
                  <a:cubicBezTo>
                    <a:pt x="1685" y="1386"/>
                    <a:pt x="1685" y="1386"/>
                    <a:pt x="1685" y="1386"/>
                  </a:cubicBezTo>
                  <a:cubicBezTo>
                    <a:pt x="1674" y="1389"/>
                    <a:pt x="1674" y="1389"/>
                    <a:pt x="1674" y="1389"/>
                  </a:cubicBezTo>
                  <a:cubicBezTo>
                    <a:pt x="1616" y="1356"/>
                    <a:pt x="1616" y="1356"/>
                    <a:pt x="1616" y="1356"/>
                  </a:cubicBezTo>
                  <a:cubicBezTo>
                    <a:pt x="1601" y="1355"/>
                    <a:pt x="1601" y="1355"/>
                    <a:pt x="1601" y="1355"/>
                  </a:cubicBezTo>
                  <a:cubicBezTo>
                    <a:pt x="1601" y="1355"/>
                    <a:pt x="1542" y="1322"/>
                    <a:pt x="1536" y="1306"/>
                  </a:cubicBezTo>
                  <a:cubicBezTo>
                    <a:pt x="1533" y="1291"/>
                    <a:pt x="1548" y="1280"/>
                    <a:pt x="1560" y="1273"/>
                  </a:cubicBezTo>
                  <a:cubicBezTo>
                    <a:pt x="1571" y="1266"/>
                    <a:pt x="1587" y="1251"/>
                    <a:pt x="1587" y="1251"/>
                  </a:cubicBezTo>
                  <a:cubicBezTo>
                    <a:pt x="1584" y="1228"/>
                    <a:pt x="1584" y="1228"/>
                    <a:pt x="1584" y="1228"/>
                  </a:cubicBezTo>
                  <a:cubicBezTo>
                    <a:pt x="1584" y="1228"/>
                    <a:pt x="1570" y="1212"/>
                    <a:pt x="1555" y="1211"/>
                  </a:cubicBezTo>
                  <a:cubicBezTo>
                    <a:pt x="1540" y="1207"/>
                    <a:pt x="1502" y="1217"/>
                    <a:pt x="1483" y="1219"/>
                  </a:cubicBezTo>
                  <a:cubicBezTo>
                    <a:pt x="1394" y="1215"/>
                    <a:pt x="1394" y="1215"/>
                    <a:pt x="1394" y="1215"/>
                  </a:cubicBezTo>
                  <a:cubicBezTo>
                    <a:pt x="1391" y="1207"/>
                    <a:pt x="1391" y="1207"/>
                    <a:pt x="1391" y="1207"/>
                  </a:cubicBezTo>
                  <a:cubicBezTo>
                    <a:pt x="1336" y="1178"/>
                    <a:pt x="1336" y="1178"/>
                    <a:pt x="1336" y="1178"/>
                  </a:cubicBezTo>
                  <a:cubicBezTo>
                    <a:pt x="1333" y="1159"/>
                    <a:pt x="1333" y="1159"/>
                    <a:pt x="1333" y="1159"/>
                  </a:cubicBezTo>
                  <a:cubicBezTo>
                    <a:pt x="1303" y="1150"/>
                    <a:pt x="1303" y="1150"/>
                    <a:pt x="1303" y="1150"/>
                  </a:cubicBezTo>
                  <a:cubicBezTo>
                    <a:pt x="1275" y="1114"/>
                    <a:pt x="1275" y="1114"/>
                    <a:pt x="1275" y="1114"/>
                  </a:cubicBezTo>
                  <a:cubicBezTo>
                    <a:pt x="1257" y="1105"/>
                    <a:pt x="1257" y="1105"/>
                    <a:pt x="1257" y="1105"/>
                  </a:cubicBezTo>
                  <a:cubicBezTo>
                    <a:pt x="1246" y="1090"/>
                    <a:pt x="1246" y="1090"/>
                    <a:pt x="1246" y="1090"/>
                  </a:cubicBezTo>
                  <a:cubicBezTo>
                    <a:pt x="1224" y="1073"/>
                    <a:pt x="1224" y="1073"/>
                    <a:pt x="1224" y="1073"/>
                  </a:cubicBezTo>
                  <a:cubicBezTo>
                    <a:pt x="1204" y="1034"/>
                    <a:pt x="1204" y="1034"/>
                    <a:pt x="1204" y="1034"/>
                  </a:cubicBezTo>
                  <a:cubicBezTo>
                    <a:pt x="1205" y="1007"/>
                    <a:pt x="1205" y="1007"/>
                    <a:pt x="1205" y="1007"/>
                  </a:cubicBezTo>
                  <a:cubicBezTo>
                    <a:pt x="1191" y="991"/>
                    <a:pt x="1191" y="991"/>
                    <a:pt x="1191" y="991"/>
                  </a:cubicBezTo>
                  <a:cubicBezTo>
                    <a:pt x="1191" y="991"/>
                    <a:pt x="1193" y="949"/>
                    <a:pt x="1182" y="934"/>
                  </a:cubicBezTo>
                  <a:cubicBezTo>
                    <a:pt x="1176" y="914"/>
                    <a:pt x="1149" y="852"/>
                    <a:pt x="1149" y="852"/>
                  </a:cubicBezTo>
                  <a:cubicBezTo>
                    <a:pt x="1153" y="844"/>
                    <a:pt x="1153" y="844"/>
                    <a:pt x="1153" y="844"/>
                  </a:cubicBezTo>
                  <a:cubicBezTo>
                    <a:pt x="1131" y="832"/>
                    <a:pt x="1131" y="832"/>
                    <a:pt x="1131" y="832"/>
                  </a:cubicBezTo>
                  <a:cubicBezTo>
                    <a:pt x="1101" y="823"/>
                    <a:pt x="1101" y="823"/>
                    <a:pt x="1101" y="823"/>
                  </a:cubicBezTo>
                  <a:cubicBezTo>
                    <a:pt x="1030" y="754"/>
                    <a:pt x="1030" y="754"/>
                    <a:pt x="1030" y="754"/>
                  </a:cubicBezTo>
                  <a:cubicBezTo>
                    <a:pt x="996" y="741"/>
                    <a:pt x="996" y="741"/>
                    <a:pt x="996" y="741"/>
                  </a:cubicBezTo>
                  <a:cubicBezTo>
                    <a:pt x="943" y="677"/>
                    <a:pt x="943" y="677"/>
                    <a:pt x="943" y="677"/>
                  </a:cubicBezTo>
                  <a:cubicBezTo>
                    <a:pt x="936" y="589"/>
                    <a:pt x="936" y="589"/>
                    <a:pt x="936" y="589"/>
                  </a:cubicBezTo>
                  <a:cubicBezTo>
                    <a:pt x="926" y="573"/>
                    <a:pt x="926" y="573"/>
                    <a:pt x="926" y="573"/>
                  </a:cubicBezTo>
                  <a:cubicBezTo>
                    <a:pt x="946" y="532"/>
                    <a:pt x="946" y="532"/>
                    <a:pt x="946" y="532"/>
                  </a:cubicBezTo>
                  <a:cubicBezTo>
                    <a:pt x="946" y="532"/>
                    <a:pt x="969" y="526"/>
                    <a:pt x="974" y="507"/>
                  </a:cubicBezTo>
                  <a:cubicBezTo>
                    <a:pt x="978" y="488"/>
                    <a:pt x="945" y="482"/>
                    <a:pt x="945" y="482"/>
                  </a:cubicBezTo>
                  <a:cubicBezTo>
                    <a:pt x="945" y="482"/>
                    <a:pt x="946" y="463"/>
                    <a:pt x="938" y="455"/>
                  </a:cubicBezTo>
                  <a:cubicBezTo>
                    <a:pt x="935" y="444"/>
                    <a:pt x="917" y="431"/>
                    <a:pt x="917" y="431"/>
                  </a:cubicBezTo>
                  <a:cubicBezTo>
                    <a:pt x="917" y="431"/>
                    <a:pt x="932" y="424"/>
                    <a:pt x="936" y="421"/>
                  </a:cubicBezTo>
                  <a:cubicBezTo>
                    <a:pt x="944" y="417"/>
                    <a:pt x="941" y="398"/>
                    <a:pt x="941" y="398"/>
                  </a:cubicBezTo>
                  <a:cubicBezTo>
                    <a:pt x="956" y="391"/>
                    <a:pt x="956" y="391"/>
                    <a:pt x="956" y="391"/>
                  </a:cubicBezTo>
                  <a:cubicBezTo>
                    <a:pt x="956" y="399"/>
                    <a:pt x="956" y="399"/>
                    <a:pt x="956" y="399"/>
                  </a:cubicBezTo>
                  <a:cubicBezTo>
                    <a:pt x="956" y="399"/>
                    <a:pt x="990" y="393"/>
                    <a:pt x="1009" y="382"/>
                  </a:cubicBezTo>
                  <a:cubicBezTo>
                    <a:pt x="1032" y="372"/>
                    <a:pt x="1044" y="353"/>
                    <a:pt x="1044" y="353"/>
                  </a:cubicBezTo>
                  <a:cubicBezTo>
                    <a:pt x="1070" y="355"/>
                    <a:pt x="1070" y="355"/>
                    <a:pt x="1070" y="355"/>
                  </a:cubicBezTo>
                  <a:cubicBezTo>
                    <a:pt x="1082" y="344"/>
                    <a:pt x="1082" y="344"/>
                    <a:pt x="1082" y="344"/>
                  </a:cubicBezTo>
                  <a:cubicBezTo>
                    <a:pt x="1067" y="339"/>
                    <a:pt x="1067" y="339"/>
                    <a:pt x="1067" y="339"/>
                  </a:cubicBezTo>
                  <a:cubicBezTo>
                    <a:pt x="1079" y="324"/>
                    <a:pt x="1079" y="324"/>
                    <a:pt x="1079" y="324"/>
                  </a:cubicBezTo>
                  <a:cubicBezTo>
                    <a:pt x="1142" y="343"/>
                    <a:pt x="1142" y="343"/>
                    <a:pt x="1142" y="343"/>
                  </a:cubicBezTo>
                  <a:cubicBezTo>
                    <a:pt x="1139" y="331"/>
                    <a:pt x="1139" y="331"/>
                    <a:pt x="1139" y="331"/>
                  </a:cubicBezTo>
                  <a:cubicBezTo>
                    <a:pt x="1139" y="331"/>
                    <a:pt x="1150" y="332"/>
                    <a:pt x="1161" y="336"/>
                  </a:cubicBezTo>
                  <a:cubicBezTo>
                    <a:pt x="1172" y="336"/>
                    <a:pt x="1178" y="367"/>
                    <a:pt x="1178" y="367"/>
                  </a:cubicBezTo>
                  <a:cubicBezTo>
                    <a:pt x="1178" y="367"/>
                    <a:pt x="1197" y="357"/>
                    <a:pt x="1198" y="341"/>
                  </a:cubicBezTo>
                  <a:close/>
                  <a:moveTo>
                    <a:pt x="940" y="751"/>
                  </a:moveTo>
                  <a:cubicBezTo>
                    <a:pt x="952" y="749"/>
                    <a:pt x="952" y="749"/>
                    <a:pt x="952" y="749"/>
                  </a:cubicBezTo>
                  <a:cubicBezTo>
                    <a:pt x="952" y="749"/>
                    <a:pt x="954" y="742"/>
                    <a:pt x="965" y="739"/>
                  </a:cubicBezTo>
                  <a:cubicBezTo>
                    <a:pt x="975" y="735"/>
                    <a:pt x="971" y="740"/>
                    <a:pt x="970" y="744"/>
                  </a:cubicBezTo>
                  <a:cubicBezTo>
                    <a:pt x="968" y="747"/>
                    <a:pt x="963" y="764"/>
                    <a:pt x="963" y="764"/>
                  </a:cubicBezTo>
                  <a:cubicBezTo>
                    <a:pt x="963" y="764"/>
                    <a:pt x="949" y="773"/>
                    <a:pt x="945" y="773"/>
                  </a:cubicBezTo>
                  <a:cubicBezTo>
                    <a:pt x="938" y="766"/>
                    <a:pt x="938" y="766"/>
                    <a:pt x="938" y="766"/>
                  </a:cubicBezTo>
                  <a:lnTo>
                    <a:pt x="940" y="75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3" name="Freeform 608">
              <a:extLst>
                <a:ext uri="{FF2B5EF4-FFF2-40B4-BE49-F238E27FC236}">
                  <a16:creationId xmlns:a16="http://schemas.microsoft.com/office/drawing/2014/main" id="{01A9F96A-0697-DDD9-F11D-FC963F4FE710}"/>
                </a:ext>
              </a:extLst>
            </p:cNvPr>
            <p:cNvSpPr>
              <a:spLocks/>
            </p:cNvSpPr>
            <p:nvPr/>
          </p:nvSpPr>
          <p:spPr bwMode="gray">
            <a:xfrm>
              <a:off x="9856754" y="4475509"/>
              <a:ext cx="14383" cy="10788"/>
            </a:xfrm>
            <a:custGeom>
              <a:avLst/>
              <a:gdLst>
                <a:gd name="T0" fmla="*/ 15 w 26"/>
                <a:gd name="T1" fmla="*/ 3 h 18"/>
                <a:gd name="T2" fmla="*/ 11 w 26"/>
                <a:gd name="T3" fmla="*/ 18 h 18"/>
                <a:gd name="T4" fmla="*/ 15 w 26"/>
                <a:gd name="T5" fmla="*/ 3 h 18"/>
              </a:gdLst>
              <a:ahLst/>
              <a:cxnLst>
                <a:cxn ang="0">
                  <a:pos x="T0" y="T1"/>
                </a:cxn>
                <a:cxn ang="0">
                  <a:pos x="T2" y="T3"/>
                </a:cxn>
                <a:cxn ang="0">
                  <a:pos x="T4" y="T5"/>
                </a:cxn>
              </a:cxnLst>
              <a:rect l="0" t="0" r="r" b="b"/>
              <a:pathLst>
                <a:path w="26" h="18">
                  <a:moveTo>
                    <a:pt x="15" y="3"/>
                  </a:moveTo>
                  <a:cubicBezTo>
                    <a:pt x="0" y="3"/>
                    <a:pt x="11" y="18"/>
                    <a:pt x="11" y="18"/>
                  </a:cubicBezTo>
                  <a:cubicBezTo>
                    <a:pt x="26" y="15"/>
                    <a:pt x="26" y="0"/>
                    <a:pt x="1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4" name="Freeform 609">
              <a:extLst>
                <a:ext uri="{FF2B5EF4-FFF2-40B4-BE49-F238E27FC236}">
                  <a16:creationId xmlns:a16="http://schemas.microsoft.com/office/drawing/2014/main" id="{BB9A67F9-955F-070F-B6E2-F93FC61A257A}"/>
                </a:ext>
              </a:extLst>
            </p:cNvPr>
            <p:cNvSpPr>
              <a:spLocks/>
            </p:cNvSpPr>
            <p:nvPr/>
          </p:nvSpPr>
          <p:spPr bwMode="gray">
            <a:xfrm>
              <a:off x="9657177" y="4723629"/>
              <a:ext cx="185192" cy="323636"/>
            </a:xfrm>
            <a:custGeom>
              <a:avLst/>
              <a:gdLst>
                <a:gd name="T0" fmla="*/ 297 w 312"/>
                <a:gd name="T1" fmla="*/ 96 h 544"/>
                <a:gd name="T2" fmla="*/ 275 w 312"/>
                <a:gd name="T3" fmla="*/ 76 h 544"/>
                <a:gd name="T4" fmla="*/ 284 w 312"/>
                <a:gd name="T5" fmla="*/ 54 h 544"/>
                <a:gd name="T6" fmla="*/ 269 w 312"/>
                <a:gd name="T7" fmla="*/ 49 h 544"/>
                <a:gd name="T8" fmla="*/ 269 w 312"/>
                <a:gd name="T9" fmla="*/ 38 h 544"/>
                <a:gd name="T10" fmla="*/ 262 w 312"/>
                <a:gd name="T11" fmla="*/ 26 h 544"/>
                <a:gd name="T12" fmla="*/ 243 w 312"/>
                <a:gd name="T13" fmla="*/ 36 h 544"/>
                <a:gd name="T14" fmla="*/ 225 w 312"/>
                <a:gd name="T15" fmla="*/ 16 h 544"/>
                <a:gd name="T16" fmla="*/ 196 w 312"/>
                <a:gd name="T17" fmla="*/ 0 h 544"/>
                <a:gd name="T18" fmla="*/ 195 w 312"/>
                <a:gd name="T19" fmla="*/ 26 h 544"/>
                <a:gd name="T20" fmla="*/ 173 w 312"/>
                <a:gd name="T21" fmla="*/ 21 h 544"/>
                <a:gd name="T22" fmla="*/ 76 w 312"/>
                <a:gd name="T23" fmla="*/ 86 h 544"/>
                <a:gd name="T24" fmla="*/ 25 w 312"/>
                <a:gd name="T25" fmla="*/ 57 h 544"/>
                <a:gd name="T26" fmla="*/ 6 w 312"/>
                <a:gd name="T27" fmla="*/ 59 h 544"/>
                <a:gd name="T28" fmla="*/ 17 w 312"/>
                <a:gd name="T29" fmla="*/ 79 h 544"/>
                <a:gd name="T30" fmla="*/ 8 w 312"/>
                <a:gd name="T31" fmla="*/ 109 h 544"/>
                <a:gd name="T32" fmla="*/ 3 w 312"/>
                <a:gd name="T33" fmla="*/ 143 h 544"/>
                <a:gd name="T34" fmla="*/ 29 w 312"/>
                <a:gd name="T35" fmla="*/ 148 h 544"/>
                <a:gd name="T36" fmla="*/ 50 w 312"/>
                <a:gd name="T37" fmla="*/ 169 h 544"/>
                <a:gd name="T38" fmla="*/ 45 w 312"/>
                <a:gd name="T39" fmla="*/ 199 h 544"/>
                <a:gd name="T40" fmla="*/ 59 w 312"/>
                <a:gd name="T41" fmla="*/ 211 h 544"/>
                <a:gd name="T42" fmla="*/ 53 w 312"/>
                <a:gd name="T43" fmla="*/ 264 h 544"/>
                <a:gd name="T44" fmla="*/ 34 w 312"/>
                <a:gd name="T45" fmla="*/ 271 h 544"/>
                <a:gd name="T46" fmla="*/ 43 w 312"/>
                <a:gd name="T47" fmla="*/ 314 h 544"/>
                <a:gd name="T48" fmla="*/ 66 w 312"/>
                <a:gd name="T49" fmla="*/ 319 h 544"/>
                <a:gd name="T50" fmla="*/ 57 w 312"/>
                <a:gd name="T51" fmla="*/ 352 h 544"/>
                <a:gd name="T52" fmla="*/ 46 w 312"/>
                <a:gd name="T53" fmla="*/ 337 h 544"/>
                <a:gd name="T54" fmla="*/ 23 w 312"/>
                <a:gd name="T55" fmla="*/ 427 h 544"/>
                <a:gd name="T56" fmla="*/ 37 w 312"/>
                <a:gd name="T57" fmla="*/ 447 h 544"/>
                <a:gd name="T58" fmla="*/ 22 w 312"/>
                <a:gd name="T59" fmla="*/ 466 h 544"/>
                <a:gd name="T60" fmla="*/ 36 w 312"/>
                <a:gd name="T61" fmla="*/ 482 h 544"/>
                <a:gd name="T62" fmla="*/ 17 w 312"/>
                <a:gd name="T63" fmla="*/ 484 h 544"/>
                <a:gd name="T64" fmla="*/ 9 w 312"/>
                <a:gd name="T65" fmla="*/ 496 h 544"/>
                <a:gd name="T66" fmla="*/ 26 w 312"/>
                <a:gd name="T67" fmla="*/ 523 h 544"/>
                <a:gd name="T68" fmla="*/ 46 w 312"/>
                <a:gd name="T69" fmla="*/ 505 h 544"/>
                <a:gd name="T70" fmla="*/ 59 w 312"/>
                <a:gd name="T71" fmla="*/ 544 h 544"/>
                <a:gd name="T72" fmla="*/ 82 w 312"/>
                <a:gd name="T73" fmla="*/ 537 h 544"/>
                <a:gd name="T74" fmla="*/ 104 w 312"/>
                <a:gd name="T75" fmla="*/ 542 h 544"/>
                <a:gd name="T76" fmla="*/ 143 w 312"/>
                <a:gd name="T77" fmla="*/ 510 h 544"/>
                <a:gd name="T78" fmla="*/ 140 w 312"/>
                <a:gd name="T79" fmla="*/ 494 h 544"/>
                <a:gd name="T80" fmla="*/ 174 w 312"/>
                <a:gd name="T81" fmla="*/ 477 h 544"/>
                <a:gd name="T82" fmla="*/ 211 w 312"/>
                <a:gd name="T83" fmla="*/ 494 h 544"/>
                <a:gd name="T84" fmla="*/ 237 w 312"/>
                <a:gd name="T85" fmla="*/ 506 h 544"/>
                <a:gd name="T86" fmla="*/ 250 w 312"/>
                <a:gd name="T87" fmla="*/ 465 h 544"/>
                <a:gd name="T88" fmla="*/ 262 w 312"/>
                <a:gd name="T89" fmla="*/ 454 h 544"/>
                <a:gd name="T90" fmla="*/ 252 w 312"/>
                <a:gd name="T91" fmla="*/ 427 h 544"/>
                <a:gd name="T92" fmla="*/ 281 w 312"/>
                <a:gd name="T93" fmla="*/ 275 h 544"/>
                <a:gd name="T94" fmla="*/ 272 w 312"/>
                <a:gd name="T95" fmla="*/ 233 h 544"/>
                <a:gd name="T96" fmla="*/ 312 w 312"/>
                <a:gd name="T97" fmla="*/ 177 h 544"/>
                <a:gd name="T98" fmla="*/ 281 w 312"/>
                <a:gd name="T99" fmla="*/ 111 h 544"/>
                <a:gd name="T100" fmla="*/ 297 w 312"/>
                <a:gd name="T101" fmla="*/ 96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544">
                  <a:moveTo>
                    <a:pt x="297" y="96"/>
                  </a:moveTo>
                  <a:cubicBezTo>
                    <a:pt x="275" y="76"/>
                    <a:pt x="275" y="76"/>
                    <a:pt x="275" y="76"/>
                  </a:cubicBezTo>
                  <a:cubicBezTo>
                    <a:pt x="284" y="54"/>
                    <a:pt x="284" y="54"/>
                    <a:pt x="284" y="54"/>
                  </a:cubicBezTo>
                  <a:cubicBezTo>
                    <a:pt x="269" y="49"/>
                    <a:pt x="269" y="49"/>
                    <a:pt x="269" y="49"/>
                  </a:cubicBezTo>
                  <a:cubicBezTo>
                    <a:pt x="269" y="38"/>
                    <a:pt x="269" y="38"/>
                    <a:pt x="269" y="38"/>
                  </a:cubicBezTo>
                  <a:cubicBezTo>
                    <a:pt x="262" y="26"/>
                    <a:pt x="262" y="26"/>
                    <a:pt x="262" y="26"/>
                  </a:cubicBezTo>
                  <a:cubicBezTo>
                    <a:pt x="243" y="36"/>
                    <a:pt x="243" y="36"/>
                    <a:pt x="243" y="36"/>
                  </a:cubicBezTo>
                  <a:cubicBezTo>
                    <a:pt x="243" y="36"/>
                    <a:pt x="240" y="25"/>
                    <a:pt x="225" y="16"/>
                  </a:cubicBezTo>
                  <a:cubicBezTo>
                    <a:pt x="215" y="4"/>
                    <a:pt x="196" y="0"/>
                    <a:pt x="196" y="0"/>
                  </a:cubicBezTo>
                  <a:cubicBezTo>
                    <a:pt x="195" y="26"/>
                    <a:pt x="195" y="26"/>
                    <a:pt x="195" y="26"/>
                  </a:cubicBezTo>
                  <a:cubicBezTo>
                    <a:pt x="173" y="21"/>
                    <a:pt x="173" y="21"/>
                    <a:pt x="173" y="21"/>
                  </a:cubicBezTo>
                  <a:cubicBezTo>
                    <a:pt x="173" y="21"/>
                    <a:pt x="118" y="84"/>
                    <a:pt x="76" y="86"/>
                  </a:cubicBezTo>
                  <a:cubicBezTo>
                    <a:pt x="31" y="91"/>
                    <a:pt x="25" y="57"/>
                    <a:pt x="25" y="57"/>
                  </a:cubicBezTo>
                  <a:cubicBezTo>
                    <a:pt x="6" y="59"/>
                    <a:pt x="6" y="59"/>
                    <a:pt x="6" y="59"/>
                  </a:cubicBezTo>
                  <a:cubicBezTo>
                    <a:pt x="17" y="79"/>
                    <a:pt x="17" y="79"/>
                    <a:pt x="17" y="79"/>
                  </a:cubicBezTo>
                  <a:cubicBezTo>
                    <a:pt x="8" y="109"/>
                    <a:pt x="8" y="109"/>
                    <a:pt x="8" y="109"/>
                  </a:cubicBezTo>
                  <a:cubicBezTo>
                    <a:pt x="8" y="109"/>
                    <a:pt x="0" y="128"/>
                    <a:pt x="3" y="143"/>
                  </a:cubicBezTo>
                  <a:cubicBezTo>
                    <a:pt x="9" y="159"/>
                    <a:pt x="29" y="148"/>
                    <a:pt x="29" y="148"/>
                  </a:cubicBezTo>
                  <a:cubicBezTo>
                    <a:pt x="50" y="169"/>
                    <a:pt x="50" y="169"/>
                    <a:pt x="50" y="169"/>
                  </a:cubicBezTo>
                  <a:cubicBezTo>
                    <a:pt x="45" y="199"/>
                    <a:pt x="45" y="199"/>
                    <a:pt x="45" y="199"/>
                  </a:cubicBezTo>
                  <a:cubicBezTo>
                    <a:pt x="59" y="211"/>
                    <a:pt x="59" y="211"/>
                    <a:pt x="59" y="211"/>
                  </a:cubicBezTo>
                  <a:cubicBezTo>
                    <a:pt x="53" y="264"/>
                    <a:pt x="53" y="264"/>
                    <a:pt x="53" y="264"/>
                  </a:cubicBezTo>
                  <a:cubicBezTo>
                    <a:pt x="34" y="271"/>
                    <a:pt x="34" y="271"/>
                    <a:pt x="34" y="271"/>
                  </a:cubicBezTo>
                  <a:cubicBezTo>
                    <a:pt x="43" y="314"/>
                    <a:pt x="43" y="314"/>
                    <a:pt x="43" y="314"/>
                  </a:cubicBezTo>
                  <a:cubicBezTo>
                    <a:pt x="43" y="314"/>
                    <a:pt x="59" y="311"/>
                    <a:pt x="66" y="319"/>
                  </a:cubicBezTo>
                  <a:cubicBezTo>
                    <a:pt x="73" y="326"/>
                    <a:pt x="57" y="352"/>
                    <a:pt x="57" y="352"/>
                  </a:cubicBezTo>
                  <a:cubicBezTo>
                    <a:pt x="46" y="337"/>
                    <a:pt x="46" y="337"/>
                    <a:pt x="46" y="337"/>
                  </a:cubicBezTo>
                  <a:cubicBezTo>
                    <a:pt x="23" y="427"/>
                    <a:pt x="23" y="427"/>
                    <a:pt x="23" y="427"/>
                  </a:cubicBezTo>
                  <a:cubicBezTo>
                    <a:pt x="37" y="447"/>
                    <a:pt x="37" y="447"/>
                    <a:pt x="37" y="447"/>
                  </a:cubicBezTo>
                  <a:cubicBezTo>
                    <a:pt x="22" y="466"/>
                    <a:pt x="22" y="466"/>
                    <a:pt x="22" y="466"/>
                  </a:cubicBezTo>
                  <a:cubicBezTo>
                    <a:pt x="22" y="466"/>
                    <a:pt x="36" y="478"/>
                    <a:pt x="36" y="482"/>
                  </a:cubicBezTo>
                  <a:cubicBezTo>
                    <a:pt x="35" y="489"/>
                    <a:pt x="17" y="484"/>
                    <a:pt x="17" y="484"/>
                  </a:cubicBezTo>
                  <a:cubicBezTo>
                    <a:pt x="9" y="496"/>
                    <a:pt x="9" y="496"/>
                    <a:pt x="9" y="496"/>
                  </a:cubicBezTo>
                  <a:cubicBezTo>
                    <a:pt x="26" y="523"/>
                    <a:pt x="26" y="523"/>
                    <a:pt x="26" y="523"/>
                  </a:cubicBezTo>
                  <a:cubicBezTo>
                    <a:pt x="26" y="523"/>
                    <a:pt x="38" y="505"/>
                    <a:pt x="46" y="505"/>
                  </a:cubicBezTo>
                  <a:cubicBezTo>
                    <a:pt x="53" y="505"/>
                    <a:pt x="59" y="544"/>
                    <a:pt x="59" y="544"/>
                  </a:cubicBezTo>
                  <a:cubicBezTo>
                    <a:pt x="59" y="544"/>
                    <a:pt x="74" y="537"/>
                    <a:pt x="82" y="537"/>
                  </a:cubicBezTo>
                  <a:cubicBezTo>
                    <a:pt x="89" y="538"/>
                    <a:pt x="104" y="542"/>
                    <a:pt x="104" y="542"/>
                  </a:cubicBezTo>
                  <a:cubicBezTo>
                    <a:pt x="143" y="510"/>
                    <a:pt x="143" y="510"/>
                    <a:pt x="143" y="510"/>
                  </a:cubicBezTo>
                  <a:cubicBezTo>
                    <a:pt x="140" y="494"/>
                    <a:pt x="140" y="494"/>
                    <a:pt x="140" y="494"/>
                  </a:cubicBezTo>
                  <a:cubicBezTo>
                    <a:pt x="140" y="494"/>
                    <a:pt x="148" y="479"/>
                    <a:pt x="174" y="477"/>
                  </a:cubicBezTo>
                  <a:cubicBezTo>
                    <a:pt x="197" y="478"/>
                    <a:pt x="211" y="494"/>
                    <a:pt x="211" y="494"/>
                  </a:cubicBezTo>
                  <a:cubicBezTo>
                    <a:pt x="237" y="506"/>
                    <a:pt x="237" y="506"/>
                    <a:pt x="237" y="506"/>
                  </a:cubicBezTo>
                  <a:cubicBezTo>
                    <a:pt x="250" y="465"/>
                    <a:pt x="250" y="465"/>
                    <a:pt x="250" y="465"/>
                  </a:cubicBezTo>
                  <a:cubicBezTo>
                    <a:pt x="262" y="454"/>
                    <a:pt x="262" y="454"/>
                    <a:pt x="262" y="454"/>
                  </a:cubicBezTo>
                  <a:cubicBezTo>
                    <a:pt x="252" y="427"/>
                    <a:pt x="252" y="427"/>
                    <a:pt x="252" y="427"/>
                  </a:cubicBezTo>
                  <a:cubicBezTo>
                    <a:pt x="281" y="275"/>
                    <a:pt x="281" y="275"/>
                    <a:pt x="281" y="275"/>
                  </a:cubicBezTo>
                  <a:cubicBezTo>
                    <a:pt x="281" y="275"/>
                    <a:pt x="267" y="252"/>
                    <a:pt x="272" y="233"/>
                  </a:cubicBezTo>
                  <a:cubicBezTo>
                    <a:pt x="273" y="210"/>
                    <a:pt x="312" y="177"/>
                    <a:pt x="312" y="177"/>
                  </a:cubicBezTo>
                  <a:cubicBezTo>
                    <a:pt x="281" y="111"/>
                    <a:pt x="281" y="111"/>
                    <a:pt x="281" y="111"/>
                  </a:cubicBezTo>
                  <a:lnTo>
                    <a:pt x="297" y="9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5" name="Freeform 610">
              <a:extLst>
                <a:ext uri="{FF2B5EF4-FFF2-40B4-BE49-F238E27FC236}">
                  <a16:creationId xmlns:a16="http://schemas.microsoft.com/office/drawing/2014/main" id="{E5517AEC-190B-5AD1-9971-DFC92A8A154C}"/>
                </a:ext>
              </a:extLst>
            </p:cNvPr>
            <p:cNvSpPr>
              <a:spLocks/>
            </p:cNvSpPr>
            <p:nvPr/>
          </p:nvSpPr>
          <p:spPr bwMode="gray">
            <a:xfrm>
              <a:off x="10230733" y="4004438"/>
              <a:ext cx="30566" cy="8991"/>
            </a:xfrm>
            <a:custGeom>
              <a:avLst/>
              <a:gdLst>
                <a:gd name="T0" fmla="*/ 0 w 52"/>
                <a:gd name="T1" fmla="*/ 0 h 15"/>
                <a:gd name="T2" fmla="*/ 52 w 52"/>
                <a:gd name="T3" fmla="*/ 15 h 15"/>
                <a:gd name="T4" fmla="*/ 51 w 52"/>
                <a:gd name="T5" fmla="*/ 14 h 15"/>
                <a:gd name="T6" fmla="*/ 0 w 52"/>
                <a:gd name="T7" fmla="*/ 0 h 15"/>
              </a:gdLst>
              <a:ahLst/>
              <a:cxnLst>
                <a:cxn ang="0">
                  <a:pos x="T0" y="T1"/>
                </a:cxn>
                <a:cxn ang="0">
                  <a:pos x="T2" y="T3"/>
                </a:cxn>
                <a:cxn ang="0">
                  <a:pos x="T4" y="T5"/>
                </a:cxn>
                <a:cxn ang="0">
                  <a:pos x="T6" y="T7"/>
                </a:cxn>
              </a:cxnLst>
              <a:rect l="0" t="0" r="r" b="b"/>
              <a:pathLst>
                <a:path w="52" h="15">
                  <a:moveTo>
                    <a:pt x="0" y="0"/>
                  </a:moveTo>
                  <a:cubicBezTo>
                    <a:pt x="52" y="15"/>
                    <a:pt x="52" y="15"/>
                    <a:pt x="52" y="15"/>
                  </a:cubicBezTo>
                  <a:cubicBezTo>
                    <a:pt x="52" y="14"/>
                    <a:pt x="51" y="14"/>
                    <a:pt x="51" y="14"/>
                  </a:cubicBez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6" name="Freeform 611">
              <a:extLst>
                <a:ext uri="{FF2B5EF4-FFF2-40B4-BE49-F238E27FC236}">
                  <a16:creationId xmlns:a16="http://schemas.microsoft.com/office/drawing/2014/main" id="{5F89DDCB-6C51-142D-FEC2-B302C39A81D2}"/>
                </a:ext>
              </a:extLst>
            </p:cNvPr>
            <p:cNvSpPr>
              <a:spLocks/>
            </p:cNvSpPr>
            <p:nvPr/>
          </p:nvSpPr>
          <p:spPr bwMode="gray">
            <a:xfrm>
              <a:off x="9606834" y="4067368"/>
              <a:ext cx="3596" cy="1798"/>
            </a:xfrm>
            <a:custGeom>
              <a:avLst/>
              <a:gdLst>
                <a:gd name="T0" fmla="*/ 8 w 8"/>
                <a:gd name="T1" fmla="*/ 0 h 2"/>
                <a:gd name="T2" fmla="*/ 0 w 8"/>
                <a:gd name="T3" fmla="*/ 2 h 2"/>
                <a:gd name="T4" fmla="*/ 8 w 8"/>
                <a:gd name="T5" fmla="*/ 0 h 2"/>
              </a:gdLst>
              <a:ahLst/>
              <a:cxnLst>
                <a:cxn ang="0">
                  <a:pos x="T0" y="T1"/>
                </a:cxn>
                <a:cxn ang="0">
                  <a:pos x="T2" y="T3"/>
                </a:cxn>
                <a:cxn ang="0">
                  <a:pos x="T4" y="T5"/>
                </a:cxn>
              </a:cxnLst>
              <a:rect l="0" t="0" r="r" b="b"/>
              <a:pathLst>
                <a:path w="8" h="2">
                  <a:moveTo>
                    <a:pt x="8" y="0"/>
                  </a:moveTo>
                  <a:cubicBezTo>
                    <a:pt x="6" y="1"/>
                    <a:pt x="3" y="1"/>
                    <a:pt x="0" y="2"/>
                  </a:cubicBezTo>
                  <a:cubicBezTo>
                    <a:pt x="3" y="1"/>
                    <a:pt x="6" y="1"/>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7" name="Freeform 612">
              <a:extLst>
                <a:ext uri="{FF2B5EF4-FFF2-40B4-BE49-F238E27FC236}">
                  <a16:creationId xmlns:a16="http://schemas.microsoft.com/office/drawing/2014/main" id="{AEDC0E5F-2C1A-801C-8F15-CF9A236CBD01}"/>
                </a:ext>
              </a:extLst>
            </p:cNvPr>
            <p:cNvSpPr>
              <a:spLocks/>
            </p:cNvSpPr>
            <p:nvPr/>
          </p:nvSpPr>
          <p:spPr bwMode="gray">
            <a:xfrm>
              <a:off x="10121055" y="4362236"/>
              <a:ext cx="21576" cy="21576"/>
            </a:xfrm>
            <a:custGeom>
              <a:avLst/>
              <a:gdLst>
                <a:gd name="T0" fmla="*/ 25 w 37"/>
                <a:gd name="T1" fmla="*/ 29 h 38"/>
                <a:gd name="T2" fmla="*/ 32 w 37"/>
                <a:gd name="T3" fmla="*/ 9 h 38"/>
                <a:gd name="T4" fmla="*/ 27 w 37"/>
                <a:gd name="T5" fmla="*/ 4 h 38"/>
                <a:gd name="T6" fmla="*/ 14 w 37"/>
                <a:gd name="T7" fmla="*/ 14 h 38"/>
                <a:gd name="T8" fmla="*/ 2 w 37"/>
                <a:gd name="T9" fmla="*/ 16 h 38"/>
                <a:gd name="T10" fmla="*/ 0 w 37"/>
                <a:gd name="T11" fmla="*/ 31 h 38"/>
                <a:gd name="T12" fmla="*/ 7 w 37"/>
                <a:gd name="T13" fmla="*/ 38 h 38"/>
                <a:gd name="T14" fmla="*/ 25 w 37"/>
                <a:gd name="T15" fmla="*/ 2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8">
                  <a:moveTo>
                    <a:pt x="25" y="29"/>
                  </a:moveTo>
                  <a:cubicBezTo>
                    <a:pt x="25" y="29"/>
                    <a:pt x="30" y="12"/>
                    <a:pt x="32" y="9"/>
                  </a:cubicBezTo>
                  <a:cubicBezTo>
                    <a:pt x="33" y="5"/>
                    <a:pt x="37" y="0"/>
                    <a:pt x="27" y="4"/>
                  </a:cubicBezTo>
                  <a:cubicBezTo>
                    <a:pt x="16" y="7"/>
                    <a:pt x="14" y="14"/>
                    <a:pt x="14" y="14"/>
                  </a:cubicBezTo>
                  <a:cubicBezTo>
                    <a:pt x="2" y="16"/>
                    <a:pt x="2" y="16"/>
                    <a:pt x="2" y="16"/>
                  </a:cubicBezTo>
                  <a:cubicBezTo>
                    <a:pt x="0" y="31"/>
                    <a:pt x="0" y="31"/>
                    <a:pt x="0" y="31"/>
                  </a:cubicBezTo>
                  <a:cubicBezTo>
                    <a:pt x="7" y="38"/>
                    <a:pt x="7" y="38"/>
                    <a:pt x="7" y="38"/>
                  </a:cubicBezTo>
                  <a:cubicBezTo>
                    <a:pt x="11" y="38"/>
                    <a:pt x="25" y="29"/>
                    <a:pt x="25" y="2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8" name="Freeform 613">
              <a:extLst>
                <a:ext uri="{FF2B5EF4-FFF2-40B4-BE49-F238E27FC236}">
                  <a16:creationId xmlns:a16="http://schemas.microsoft.com/office/drawing/2014/main" id="{D2523F08-5FAC-ED54-0D52-BB657A41603B}"/>
                </a:ext>
              </a:extLst>
            </p:cNvPr>
            <p:cNvSpPr>
              <a:spLocks/>
            </p:cNvSpPr>
            <p:nvPr/>
          </p:nvSpPr>
          <p:spPr bwMode="gray">
            <a:xfrm>
              <a:off x="8991925" y="4435953"/>
              <a:ext cx="43151" cy="37758"/>
            </a:xfrm>
            <a:custGeom>
              <a:avLst/>
              <a:gdLst>
                <a:gd name="T0" fmla="*/ 0 w 70"/>
                <a:gd name="T1" fmla="*/ 35 h 62"/>
                <a:gd name="T2" fmla="*/ 11 w 70"/>
                <a:gd name="T3" fmla="*/ 45 h 62"/>
                <a:gd name="T4" fmla="*/ 19 w 70"/>
                <a:gd name="T5" fmla="*/ 62 h 62"/>
                <a:gd name="T6" fmla="*/ 34 w 70"/>
                <a:gd name="T7" fmla="*/ 50 h 62"/>
                <a:gd name="T8" fmla="*/ 43 w 70"/>
                <a:gd name="T9" fmla="*/ 54 h 62"/>
                <a:gd name="T10" fmla="*/ 58 w 70"/>
                <a:gd name="T11" fmla="*/ 43 h 62"/>
                <a:gd name="T12" fmla="*/ 70 w 70"/>
                <a:gd name="T13" fmla="*/ 21 h 62"/>
                <a:gd name="T14" fmla="*/ 56 w 70"/>
                <a:gd name="T15" fmla="*/ 9 h 62"/>
                <a:gd name="T16" fmla="*/ 48 w 70"/>
                <a:gd name="T17" fmla="*/ 12 h 62"/>
                <a:gd name="T18" fmla="*/ 34 w 70"/>
                <a:gd name="T19" fmla="*/ 0 h 62"/>
                <a:gd name="T20" fmla="*/ 19 w 70"/>
                <a:gd name="T21" fmla="*/ 7 h 62"/>
                <a:gd name="T22" fmla="*/ 11 w 70"/>
                <a:gd name="T23" fmla="*/ 22 h 62"/>
                <a:gd name="T24" fmla="*/ 0 w 70"/>
                <a:gd name="T25" fmla="*/ 3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62">
                  <a:moveTo>
                    <a:pt x="0" y="35"/>
                  </a:moveTo>
                  <a:cubicBezTo>
                    <a:pt x="11" y="45"/>
                    <a:pt x="11" y="45"/>
                    <a:pt x="11" y="45"/>
                  </a:cubicBezTo>
                  <a:cubicBezTo>
                    <a:pt x="19" y="62"/>
                    <a:pt x="19" y="62"/>
                    <a:pt x="19" y="62"/>
                  </a:cubicBezTo>
                  <a:cubicBezTo>
                    <a:pt x="34" y="50"/>
                    <a:pt x="34" y="50"/>
                    <a:pt x="34" y="50"/>
                  </a:cubicBezTo>
                  <a:cubicBezTo>
                    <a:pt x="34" y="50"/>
                    <a:pt x="38" y="55"/>
                    <a:pt x="43" y="54"/>
                  </a:cubicBezTo>
                  <a:cubicBezTo>
                    <a:pt x="47" y="54"/>
                    <a:pt x="58" y="43"/>
                    <a:pt x="58" y="43"/>
                  </a:cubicBezTo>
                  <a:cubicBezTo>
                    <a:pt x="70" y="21"/>
                    <a:pt x="70" y="21"/>
                    <a:pt x="70" y="21"/>
                  </a:cubicBezTo>
                  <a:cubicBezTo>
                    <a:pt x="56" y="9"/>
                    <a:pt x="56" y="9"/>
                    <a:pt x="56" y="9"/>
                  </a:cubicBezTo>
                  <a:cubicBezTo>
                    <a:pt x="48" y="12"/>
                    <a:pt x="48" y="12"/>
                    <a:pt x="48" y="12"/>
                  </a:cubicBezTo>
                  <a:cubicBezTo>
                    <a:pt x="34" y="0"/>
                    <a:pt x="34" y="0"/>
                    <a:pt x="34" y="0"/>
                  </a:cubicBezTo>
                  <a:cubicBezTo>
                    <a:pt x="19" y="7"/>
                    <a:pt x="19" y="7"/>
                    <a:pt x="19" y="7"/>
                  </a:cubicBezTo>
                  <a:cubicBezTo>
                    <a:pt x="11" y="22"/>
                    <a:pt x="11" y="22"/>
                    <a:pt x="11" y="22"/>
                  </a:cubicBezTo>
                  <a:lnTo>
                    <a:pt x="0" y="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9" name="Freeform 614">
              <a:extLst>
                <a:ext uri="{FF2B5EF4-FFF2-40B4-BE49-F238E27FC236}">
                  <a16:creationId xmlns:a16="http://schemas.microsoft.com/office/drawing/2014/main" id="{A57AD63C-3BF7-247F-52A1-D1F4E3F6F05A}"/>
                </a:ext>
              </a:extLst>
            </p:cNvPr>
            <p:cNvSpPr>
              <a:spLocks/>
            </p:cNvSpPr>
            <p:nvPr/>
          </p:nvSpPr>
          <p:spPr bwMode="gray">
            <a:xfrm>
              <a:off x="10743156" y="4405388"/>
              <a:ext cx="203172" cy="239132"/>
            </a:xfrm>
            <a:custGeom>
              <a:avLst/>
              <a:gdLst>
                <a:gd name="T0" fmla="*/ 194 w 341"/>
                <a:gd name="T1" fmla="*/ 254 h 400"/>
                <a:gd name="T2" fmla="*/ 226 w 341"/>
                <a:gd name="T3" fmla="*/ 238 h 400"/>
                <a:gd name="T4" fmla="*/ 286 w 341"/>
                <a:gd name="T5" fmla="*/ 230 h 400"/>
                <a:gd name="T6" fmla="*/ 294 w 341"/>
                <a:gd name="T7" fmla="*/ 236 h 400"/>
                <a:gd name="T8" fmla="*/ 297 w 341"/>
                <a:gd name="T9" fmla="*/ 238 h 400"/>
                <a:gd name="T10" fmla="*/ 297 w 341"/>
                <a:gd name="T11" fmla="*/ 215 h 400"/>
                <a:gd name="T12" fmla="*/ 304 w 341"/>
                <a:gd name="T13" fmla="*/ 201 h 400"/>
                <a:gd name="T14" fmla="*/ 293 w 341"/>
                <a:gd name="T15" fmla="*/ 186 h 400"/>
                <a:gd name="T16" fmla="*/ 292 w 341"/>
                <a:gd name="T17" fmla="*/ 173 h 400"/>
                <a:gd name="T18" fmla="*/ 314 w 341"/>
                <a:gd name="T19" fmla="*/ 172 h 400"/>
                <a:gd name="T20" fmla="*/ 325 w 341"/>
                <a:gd name="T21" fmla="*/ 171 h 400"/>
                <a:gd name="T22" fmla="*/ 334 w 341"/>
                <a:gd name="T23" fmla="*/ 162 h 400"/>
                <a:gd name="T24" fmla="*/ 341 w 341"/>
                <a:gd name="T25" fmla="*/ 146 h 400"/>
                <a:gd name="T26" fmla="*/ 326 w 341"/>
                <a:gd name="T27" fmla="*/ 130 h 400"/>
                <a:gd name="T28" fmla="*/ 307 w 341"/>
                <a:gd name="T29" fmla="*/ 123 h 400"/>
                <a:gd name="T30" fmla="*/ 296 w 341"/>
                <a:gd name="T31" fmla="*/ 122 h 400"/>
                <a:gd name="T32" fmla="*/ 287 w 341"/>
                <a:gd name="T33" fmla="*/ 121 h 400"/>
                <a:gd name="T34" fmla="*/ 282 w 341"/>
                <a:gd name="T35" fmla="*/ 106 h 400"/>
                <a:gd name="T36" fmla="*/ 274 w 341"/>
                <a:gd name="T37" fmla="*/ 96 h 400"/>
                <a:gd name="T38" fmla="*/ 260 w 341"/>
                <a:gd name="T39" fmla="*/ 93 h 400"/>
                <a:gd name="T40" fmla="*/ 252 w 341"/>
                <a:gd name="T41" fmla="*/ 89 h 400"/>
                <a:gd name="T42" fmla="*/ 241 w 341"/>
                <a:gd name="T43" fmla="*/ 85 h 400"/>
                <a:gd name="T44" fmla="*/ 232 w 341"/>
                <a:gd name="T45" fmla="*/ 78 h 400"/>
                <a:gd name="T46" fmla="*/ 220 w 341"/>
                <a:gd name="T47" fmla="*/ 73 h 400"/>
                <a:gd name="T48" fmla="*/ 216 w 341"/>
                <a:gd name="T49" fmla="*/ 62 h 400"/>
                <a:gd name="T50" fmla="*/ 203 w 341"/>
                <a:gd name="T51" fmla="*/ 52 h 400"/>
                <a:gd name="T52" fmla="*/ 188 w 341"/>
                <a:gd name="T53" fmla="*/ 44 h 400"/>
                <a:gd name="T54" fmla="*/ 176 w 341"/>
                <a:gd name="T55" fmla="*/ 35 h 400"/>
                <a:gd name="T56" fmla="*/ 167 w 341"/>
                <a:gd name="T57" fmla="*/ 26 h 400"/>
                <a:gd name="T58" fmla="*/ 155 w 341"/>
                <a:gd name="T59" fmla="*/ 19 h 400"/>
                <a:gd name="T60" fmla="*/ 148 w 341"/>
                <a:gd name="T61" fmla="*/ 8 h 400"/>
                <a:gd name="T62" fmla="*/ 140 w 341"/>
                <a:gd name="T63" fmla="*/ 7 h 400"/>
                <a:gd name="T64" fmla="*/ 133 w 341"/>
                <a:gd name="T65" fmla="*/ 5 h 400"/>
                <a:gd name="T66" fmla="*/ 120 w 341"/>
                <a:gd name="T67" fmla="*/ 19 h 400"/>
                <a:gd name="T68" fmla="*/ 76 w 341"/>
                <a:gd name="T69" fmla="*/ 6 h 400"/>
                <a:gd name="T70" fmla="*/ 72 w 341"/>
                <a:gd name="T71" fmla="*/ 25 h 400"/>
                <a:gd name="T72" fmla="*/ 72 w 341"/>
                <a:gd name="T73" fmla="*/ 26 h 400"/>
                <a:gd name="T74" fmla="*/ 74 w 341"/>
                <a:gd name="T75" fmla="*/ 27 h 400"/>
                <a:gd name="T76" fmla="*/ 76 w 341"/>
                <a:gd name="T77" fmla="*/ 29 h 400"/>
                <a:gd name="T78" fmla="*/ 78 w 341"/>
                <a:gd name="T79" fmla="*/ 31 h 400"/>
                <a:gd name="T80" fmla="*/ 84 w 341"/>
                <a:gd name="T81" fmla="*/ 37 h 400"/>
                <a:gd name="T82" fmla="*/ 87 w 341"/>
                <a:gd name="T83" fmla="*/ 40 h 400"/>
                <a:gd name="T84" fmla="*/ 89 w 341"/>
                <a:gd name="T85" fmla="*/ 43 h 400"/>
                <a:gd name="T86" fmla="*/ 92 w 341"/>
                <a:gd name="T87" fmla="*/ 46 h 400"/>
                <a:gd name="T88" fmla="*/ 95 w 341"/>
                <a:gd name="T89" fmla="*/ 50 h 400"/>
                <a:gd name="T90" fmla="*/ 98 w 341"/>
                <a:gd name="T91" fmla="*/ 53 h 400"/>
                <a:gd name="T92" fmla="*/ 104 w 341"/>
                <a:gd name="T93" fmla="*/ 64 h 400"/>
                <a:gd name="T94" fmla="*/ 104 w 341"/>
                <a:gd name="T95" fmla="*/ 67 h 400"/>
                <a:gd name="T96" fmla="*/ 100 w 341"/>
                <a:gd name="T97" fmla="*/ 70 h 400"/>
                <a:gd name="T98" fmla="*/ 97 w 341"/>
                <a:gd name="T99" fmla="*/ 71 h 400"/>
                <a:gd name="T100" fmla="*/ 93 w 341"/>
                <a:gd name="T101" fmla="*/ 72 h 400"/>
                <a:gd name="T102" fmla="*/ 89 w 341"/>
                <a:gd name="T103" fmla="*/ 71 h 400"/>
                <a:gd name="T104" fmla="*/ 86 w 341"/>
                <a:gd name="T105" fmla="*/ 70 h 400"/>
                <a:gd name="T106" fmla="*/ 71 w 341"/>
                <a:gd name="T107" fmla="*/ 63 h 400"/>
                <a:gd name="T108" fmla="*/ 68 w 341"/>
                <a:gd name="T109" fmla="*/ 63 h 400"/>
                <a:gd name="T110" fmla="*/ 36 w 341"/>
                <a:gd name="T111" fmla="*/ 130 h 400"/>
                <a:gd name="T112" fmla="*/ 22 w 341"/>
                <a:gd name="T113" fmla="*/ 202 h 400"/>
                <a:gd name="T114" fmla="*/ 0 w 341"/>
                <a:gd name="T115" fmla="*/ 270 h 400"/>
                <a:gd name="T116" fmla="*/ 53 w 341"/>
                <a:gd name="T117" fmla="*/ 261 h 400"/>
                <a:gd name="T118" fmla="*/ 88 w 341"/>
                <a:gd name="T119" fmla="*/ 308 h 400"/>
                <a:gd name="T120" fmla="*/ 130 w 341"/>
                <a:gd name="T121" fmla="*/ 379 h 400"/>
                <a:gd name="T122" fmla="*/ 164 w 341"/>
                <a:gd name="T123" fmla="*/ 36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1" h="400">
                  <a:moveTo>
                    <a:pt x="162" y="335"/>
                  </a:moveTo>
                  <a:cubicBezTo>
                    <a:pt x="151" y="330"/>
                    <a:pt x="151" y="330"/>
                    <a:pt x="151" y="330"/>
                  </a:cubicBezTo>
                  <a:cubicBezTo>
                    <a:pt x="194" y="254"/>
                    <a:pt x="194" y="254"/>
                    <a:pt x="194" y="254"/>
                  </a:cubicBezTo>
                  <a:cubicBezTo>
                    <a:pt x="220" y="207"/>
                    <a:pt x="220" y="207"/>
                    <a:pt x="220" y="207"/>
                  </a:cubicBezTo>
                  <a:cubicBezTo>
                    <a:pt x="227" y="212"/>
                    <a:pt x="227" y="212"/>
                    <a:pt x="227" y="212"/>
                  </a:cubicBezTo>
                  <a:cubicBezTo>
                    <a:pt x="226" y="238"/>
                    <a:pt x="226" y="238"/>
                    <a:pt x="226" y="238"/>
                  </a:cubicBezTo>
                  <a:cubicBezTo>
                    <a:pt x="252" y="251"/>
                    <a:pt x="252" y="251"/>
                    <a:pt x="252" y="251"/>
                  </a:cubicBezTo>
                  <a:cubicBezTo>
                    <a:pt x="286" y="230"/>
                    <a:pt x="286" y="230"/>
                    <a:pt x="286" y="230"/>
                  </a:cubicBezTo>
                  <a:cubicBezTo>
                    <a:pt x="286" y="230"/>
                    <a:pt x="286" y="230"/>
                    <a:pt x="286" y="230"/>
                  </a:cubicBezTo>
                  <a:cubicBezTo>
                    <a:pt x="287" y="230"/>
                    <a:pt x="287" y="230"/>
                    <a:pt x="287" y="230"/>
                  </a:cubicBezTo>
                  <a:cubicBezTo>
                    <a:pt x="287" y="230"/>
                    <a:pt x="287" y="230"/>
                    <a:pt x="287" y="230"/>
                  </a:cubicBezTo>
                  <a:cubicBezTo>
                    <a:pt x="288" y="231"/>
                    <a:pt x="291" y="233"/>
                    <a:pt x="294" y="236"/>
                  </a:cubicBezTo>
                  <a:cubicBezTo>
                    <a:pt x="294" y="236"/>
                    <a:pt x="294" y="236"/>
                    <a:pt x="294" y="236"/>
                  </a:cubicBezTo>
                  <a:cubicBezTo>
                    <a:pt x="295" y="237"/>
                    <a:pt x="295" y="237"/>
                    <a:pt x="295" y="237"/>
                  </a:cubicBezTo>
                  <a:cubicBezTo>
                    <a:pt x="296" y="238"/>
                    <a:pt x="296" y="238"/>
                    <a:pt x="297" y="238"/>
                  </a:cubicBezTo>
                  <a:cubicBezTo>
                    <a:pt x="297" y="238"/>
                    <a:pt x="297" y="239"/>
                    <a:pt x="297" y="239"/>
                  </a:cubicBezTo>
                  <a:cubicBezTo>
                    <a:pt x="297" y="223"/>
                    <a:pt x="297" y="223"/>
                    <a:pt x="297" y="223"/>
                  </a:cubicBezTo>
                  <a:cubicBezTo>
                    <a:pt x="297" y="215"/>
                    <a:pt x="297" y="215"/>
                    <a:pt x="297" y="215"/>
                  </a:cubicBezTo>
                  <a:cubicBezTo>
                    <a:pt x="296" y="207"/>
                    <a:pt x="296" y="207"/>
                    <a:pt x="296" y="207"/>
                  </a:cubicBezTo>
                  <a:cubicBezTo>
                    <a:pt x="301" y="204"/>
                    <a:pt x="301" y="204"/>
                    <a:pt x="301" y="204"/>
                  </a:cubicBezTo>
                  <a:cubicBezTo>
                    <a:pt x="304" y="201"/>
                    <a:pt x="304" y="201"/>
                    <a:pt x="304" y="201"/>
                  </a:cubicBezTo>
                  <a:cubicBezTo>
                    <a:pt x="304" y="193"/>
                    <a:pt x="304" y="193"/>
                    <a:pt x="304" y="193"/>
                  </a:cubicBezTo>
                  <a:cubicBezTo>
                    <a:pt x="299" y="189"/>
                    <a:pt x="299" y="189"/>
                    <a:pt x="299" y="189"/>
                  </a:cubicBezTo>
                  <a:cubicBezTo>
                    <a:pt x="293" y="186"/>
                    <a:pt x="293" y="186"/>
                    <a:pt x="293" y="186"/>
                  </a:cubicBezTo>
                  <a:cubicBezTo>
                    <a:pt x="291" y="183"/>
                    <a:pt x="291" y="183"/>
                    <a:pt x="291" y="183"/>
                  </a:cubicBezTo>
                  <a:cubicBezTo>
                    <a:pt x="289" y="178"/>
                    <a:pt x="289" y="178"/>
                    <a:pt x="289" y="178"/>
                  </a:cubicBezTo>
                  <a:cubicBezTo>
                    <a:pt x="292" y="173"/>
                    <a:pt x="292" y="173"/>
                    <a:pt x="292" y="173"/>
                  </a:cubicBezTo>
                  <a:cubicBezTo>
                    <a:pt x="299" y="169"/>
                    <a:pt x="299" y="169"/>
                    <a:pt x="299" y="169"/>
                  </a:cubicBezTo>
                  <a:cubicBezTo>
                    <a:pt x="308" y="172"/>
                    <a:pt x="308" y="172"/>
                    <a:pt x="308" y="172"/>
                  </a:cubicBezTo>
                  <a:cubicBezTo>
                    <a:pt x="314" y="172"/>
                    <a:pt x="314" y="172"/>
                    <a:pt x="314" y="172"/>
                  </a:cubicBezTo>
                  <a:cubicBezTo>
                    <a:pt x="317" y="173"/>
                    <a:pt x="317" y="173"/>
                    <a:pt x="317" y="173"/>
                  </a:cubicBezTo>
                  <a:cubicBezTo>
                    <a:pt x="318" y="173"/>
                    <a:pt x="318" y="173"/>
                    <a:pt x="318" y="173"/>
                  </a:cubicBezTo>
                  <a:cubicBezTo>
                    <a:pt x="325" y="171"/>
                    <a:pt x="325" y="171"/>
                    <a:pt x="325" y="171"/>
                  </a:cubicBezTo>
                  <a:cubicBezTo>
                    <a:pt x="327" y="170"/>
                    <a:pt x="327" y="170"/>
                    <a:pt x="327" y="170"/>
                  </a:cubicBezTo>
                  <a:cubicBezTo>
                    <a:pt x="331" y="164"/>
                    <a:pt x="331" y="164"/>
                    <a:pt x="331" y="164"/>
                  </a:cubicBezTo>
                  <a:cubicBezTo>
                    <a:pt x="334" y="162"/>
                    <a:pt x="334" y="162"/>
                    <a:pt x="334" y="162"/>
                  </a:cubicBezTo>
                  <a:cubicBezTo>
                    <a:pt x="334" y="162"/>
                    <a:pt x="334" y="162"/>
                    <a:pt x="334" y="162"/>
                  </a:cubicBezTo>
                  <a:cubicBezTo>
                    <a:pt x="339" y="156"/>
                    <a:pt x="339" y="156"/>
                    <a:pt x="339" y="156"/>
                  </a:cubicBezTo>
                  <a:cubicBezTo>
                    <a:pt x="341" y="146"/>
                    <a:pt x="341" y="146"/>
                    <a:pt x="341" y="146"/>
                  </a:cubicBezTo>
                  <a:cubicBezTo>
                    <a:pt x="339" y="134"/>
                    <a:pt x="339" y="134"/>
                    <a:pt x="339" y="134"/>
                  </a:cubicBezTo>
                  <a:cubicBezTo>
                    <a:pt x="334" y="131"/>
                    <a:pt x="334" y="131"/>
                    <a:pt x="334" y="131"/>
                  </a:cubicBezTo>
                  <a:cubicBezTo>
                    <a:pt x="326" y="130"/>
                    <a:pt x="326" y="130"/>
                    <a:pt x="326" y="130"/>
                  </a:cubicBezTo>
                  <a:cubicBezTo>
                    <a:pt x="317" y="127"/>
                    <a:pt x="317" y="127"/>
                    <a:pt x="317" y="127"/>
                  </a:cubicBezTo>
                  <a:cubicBezTo>
                    <a:pt x="312" y="124"/>
                    <a:pt x="312" y="124"/>
                    <a:pt x="312" y="124"/>
                  </a:cubicBezTo>
                  <a:cubicBezTo>
                    <a:pt x="307" y="123"/>
                    <a:pt x="307" y="123"/>
                    <a:pt x="307" y="123"/>
                  </a:cubicBezTo>
                  <a:cubicBezTo>
                    <a:pt x="303" y="124"/>
                    <a:pt x="303" y="124"/>
                    <a:pt x="303" y="124"/>
                  </a:cubicBezTo>
                  <a:cubicBezTo>
                    <a:pt x="298" y="124"/>
                    <a:pt x="298" y="124"/>
                    <a:pt x="298" y="124"/>
                  </a:cubicBezTo>
                  <a:cubicBezTo>
                    <a:pt x="296" y="122"/>
                    <a:pt x="296" y="122"/>
                    <a:pt x="296" y="122"/>
                  </a:cubicBezTo>
                  <a:cubicBezTo>
                    <a:pt x="292" y="122"/>
                    <a:pt x="292" y="122"/>
                    <a:pt x="292" y="122"/>
                  </a:cubicBezTo>
                  <a:cubicBezTo>
                    <a:pt x="288" y="123"/>
                    <a:pt x="288" y="123"/>
                    <a:pt x="288" y="123"/>
                  </a:cubicBezTo>
                  <a:cubicBezTo>
                    <a:pt x="287" y="121"/>
                    <a:pt x="287" y="121"/>
                    <a:pt x="287" y="121"/>
                  </a:cubicBezTo>
                  <a:cubicBezTo>
                    <a:pt x="289" y="115"/>
                    <a:pt x="289" y="115"/>
                    <a:pt x="289" y="115"/>
                  </a:cubicBezTo>
                  <a:cubicBezTo>
                    <a:pt x="286" y="111"/>
                    <a:pt x="286" y="111"/>
                    <a:pt x="286" y="111"/>
                  </a:cubicBezTo>
                  <a:cubicBezTo>
                    <a:pt x="282" y="106"/>
                    <a:pt x="282" y="106"/>
                    <a:pt x="282" y="106"/>
                  </a:cubicBezTo>
                  <a:cubicBezTo>
                    <a:pt x="279" y="103"/>
                    <a:pt x="279" y="103"/>
                    <a:pt x="279" y="103"/>
                  </a:cubicBezTo>
                  <a:cubicBezTo>
                    <a:pt x="277" y="99"/>
                    <a:pt x="277" y="99"/>
                    <a:pt x="277" y="99"/>
                  </a:cubicBezTo>
                  <a:cubicBezTo>
                    <a:pt x="274" y="96"/>
                    <a:pt x="274" y="96"/>
                    <a:pt x="274" y="96"/>
                  </a:cubicBezTo>
                  <a:cubicBezTo>
                    <a:pt x="271" y="96"/>
                    <a:pt x="271" y="96"/>
                    <a:pt x="271" y="96"/>
                  </a:cubicBezTo>
                  <a:cubicBezTo>
                    <a:pt x="264" y="97"/>
                    <a:pt x="264" y="97"/>
                    <a:pt x="264" y="97"/>
                  </a:cubicBezTo>
                  <a:cubicBezTo>
                    <a:pt x="260" y="93"/>
                    <a:pt x="260" y="93"/>
                    <a:pt x="260" y="93"/>
                  </a:cubicBezTo>
                  <a:cubicBezTo>
                    <a:pt x="256" y="94"/>
                    <a:pt x="256" y="94"/>
                    <a:pt x="256" y="94"/>
                  </a:cubicBezTo>
                  <a:cubicBezTo>
                    <a:pt x="252" y="92"/>
                    <a:pt x="252" y="92"/>
                    <a:pt x="252" y="92"/>
                  </a:cubicBezTo>
                  <a:cubicBezTo>
                    <a:pt x="252" y="89"/>
                    <a:pt x="252" y="89"/>
                    <a:pt x="252" y="89"/>
                  </a:cubicBezTo>
                  <a:cubicBezTo>
                    <a:pt x="248" y="88"/>
                    <a:pt x="248" y="88"/>
                    <a:pt x="248" y="88"/>
                  </a:cubicBezTo>
                  <a:cubicBezTo>
                    <a:pt x="243" y="88"/>
                    <a:pt x="243" y="88"/>
                    <a:pt x="243" y="88"/>
                  </a:cubicBezTo>
                  <a:cubicBezTo>
                    <a:pt x="241" y="85"/>
                    <a:pt x="241" y="85"/>
                    <a:pt x="241" y="85"/>
                  </a:cubicBezTo>
                  <a:cubicBezTo>
                    <a:pt x="239" y="83"/>
                    <a:pt x="239" y="83"/>
                    <a:pt x="239" y="83"/>
                  </a:cubicBezTo>
                  <a:cubicBezTo>
                    <a:pt x="237" y="77"/>
                    <a:pt x="237" y="77"/>
                    <a:pt x="237" y="77"/>
                  </a:cubicBezTo>
                  <a:cubicBezTo>
                    <a:pt x="232" y="78"/>
                    <a:pt x="232" y="78"/>
                    <a:pt x="232" y="78"/>
                  </a:cubicBezTo>
                  <a:cubicBezTo>
                    <a:pt x="228" y="77"/>
                    <a:pt x="228" y="77"/>
                    <a:pt x="228" y="77"/>
                  </a:cubicBezTo>
                  <a:cubicBezTo>
                    <a:pt x="224" y="75"/>
                    <a:pt x="224" y="75"/>
                    <a:pt x="224" y="75"/>
                  </a:cubicBezTo>
                  <a:cubicBezTo>
                    <a:pt x="220" y="73"/>
                    <a:pt x="220" y="73"/>
                    <a:pt x="220" y="73"/>
                  </a:cubicBezTo>
                  <a:cubicBezTo>
                    <a:pt x="219" y="69"/>
                    <a:pt x="219" y="69"/>
                    <a:pt x="219" y="69"/>
                  </a:cubicBezTo>
                  <a:cubicBezTo>
                    <a:pt x="220" y="68"/>
                    <a:pt x="220" y="68"/>
                    <a:pt x="220" y="68"/>
                  </a:cubicBezTo>
                  <a:cubicBezTo>
                    <a:pt x="216" y="62"/>
                    <a:pt x="216" y="62"/>
                    <a:pt x="216" y="62"/>
                  </a:cubicBezTo>
                  <a:cubicBezTo>
                    <a:pt x="214" y="60"/>
                    <a:pt x="214" y="60"/>
                    <a:pt x="214" y="60"/>
                  </a:cubicBezTo>
                  <a:cubicBezTo>
                    <a:pt x="207" y="58"/>
                    <a:pt x="207" y="58"/>
                    <a:pt x="207" y="58"/>
                  </a:cubicBezTo>
                  <a:cubicBezTo>
                    <a:pt x="203" y="52"/>
                    <a:pt x="203" y="52"/>
                    <a:pt x="203" y="52"/>
                  </a:cubicBezTo>
                  <a:cubicBezTo>
                    <a:pt x="200" y="50"/>
                    <a:pt x="200" y="50"/>
                    <a:pt x="200" y="50"/>
                  </a:cubicBezTo>
                  <a:cubicBezTo>
                    <a:pt x="196" y="47"/>
                    <a:pt x="196" y="47"/>
                    <a:pt x="196" y="47"/>
                  </a:cubicBezTo>
                  <a:cubicBezTo>
                    <a:pt x="188" y="44"/>
                    <a:pt x="188" y="44"/>
                    <a:pt x="188" y="44"/>
                  </a:cubicBezTo>
                  <a:cubicBezTo>
                    <a:pt x="186" y="40"/>
                    <a:pt x="186" y="40"/>
                    <a:pt x="186" y="40"/>
                  </a:cubicBezTo>
                  <a:cubicBezTo>
                    <a:pt x="181" y="37"/>
                    <a:pt x="181" y="37"/>
                    <a:pt x="181" y="37"/>
                  </a:cubicBezTo>
                  <a:cubicBezTo>
                    <a:pt x="176" y="35"/>
                    <a:pt x="176" y="35"/>
                    <a:pt x="176" y="35"/>
                  </a:cubicBezTo>
                  <a:cubicBezTo>
                    <a:pt x="174" y="32"/>
                    <a:pt x="174" y="32"/>
                    <a:pt x="174" y="32"/>
                  </a:cubicBezTo>
                  <a:cubicBezTo>
                    <a:pt x="171" y="28"/>
                    <a:pt x="171" y="28"/>
                    <a:pt x="171" y="28"/>
                  </a:cubicBezTo>
                  <a:cubicBezTo>
                    <a:pt x="167" y="26"/>
                    <a:pt x="167" y="26"/>
                    <a:pt x="167" y="26"/>
                  </a:cubicBezTo>
                  <a:cubicBezTo>
                    <a:pt x="164" y="23"/>
                    <a:pt x="164" y="23"/>
                    <a:pt x="164" y="23"/>
                  </a:cubicBezTo>
                  <a:cubicBezTo>
                    <a:pt x="161" y="20"/>
                    <a:pt x="161" y="20"/>
                    <a:pt x="161" y="20"/>
                  </a:cubicBezTo>
                  <a:cubicBezTo>
                    <a:pt x="155" y="19"/>
                    <a:pt x="155" y="19"/>
                    <a:pt x="155" y="19"/>
                  </a:cubicBezTo>
                  <a:cubicBezTo>
                    <a:pt x="149" y="18"/>
                    <a:pt x="149" y="18"/>
                    <a:pt x="149" y="18"/>
                  </a:cubicBezTo>
                  <a:cubicBezTo>
                    <a:pt x="149" y="11"/>
                    <a:pt x="149" y="11"/>
                    <a:pt x="149" y="11"/>
                  </a:cubicBezTo>
                  <a:cubicBezTo>
                    <a:pt x="148" y="8"/>
                    <a:pt x="148" y="8"/>
                    <a:pt x="148" y="8"/>
                  </a:cubicBezTo>
                  <a:cubicBezTo>
                    <a:pt x="146" y="8"/>
                    <a:pt x="145" y="8"/>
                    <a:pt x="144" y="8"/>
                  </a:cubicBezTo>
                  <a:cubicBezTo>
                    <a:pt x="144" y="8"/>
                    <a:pt x="143" y="8"/>
                    <a:pt x="143" y="8"/>
                  </a:cubicBezTo>
                  <a:cubicBezTo>
                    <a:pt x="142" y="8"/>
                    <a:pt x="141" y="8"/>
                    <a:pt x="140" y="7"/>
                  </a:cubicBezTo>
                  <a:cubicBezTo>
                    <a:pt x="140" y="7"/>
                    <a:pt x="139" y="7"/>
                    <a:pt x="139" y="7"/>
                  </a:cubicBezTo>
                  <a:cubicBezTo>
                    <a:pt x="137" y="7"/>
                    <a:pt x="135" y="6"/>
                    <a:pt x="133" y="5"/>
                  </a:cubicBezTo>
                  <a:cubicBezTo>
                    <a:pt x="133" y="5"/>
                    <a:pt x="133" y="5"/>
                    <a:pt x="133" y="5"/>
                  </a:cubicBezTo>
                  <a:cubicBezTo>
                    <a:pt x="133" y="5"/>
                    <a:pt x="133" y="5"/>
                    <a:pt x="132" y="5"/>
                  </a:cubicBezTo>
                  <a:cubicBezTo>
                    <a:pt x="128" y="3"/>
                    <a:pt x="125" y="0"/>
                    <a:pt x="125" y="0"/>
                  </a:cubicBezTo>
                  <a:cubicBezTo>
                    <a:pt x="120" y="19"/>
                    <a:pt x="120" y="19"/>
                    <a:pt x="120" y="19"/>
                  </a:cubicBezTo>
                  <a:cubicBezTo>
                    <a:pt x="105" y="18"/>
                    <a:pt x="105" y="18"/>
                    <a:pt x="105" y="18"/>
                  </a:cubicBezTo>
                  <a:cubicBezTo>
                    <a:pt x="94" y="18"/>
                    <a:pt x="94" y="18"/>
                    <a:pt x="94" y="18"/>
                  </a:cubicBezTo>
                  <a:cubicBezTo>
                    <a:pt x="76" y="6"/>
                    <a:pt x="76" y="6"/>
                    <a:pt x="76" y="6"/>
                  </a:cubicBezTo>
                  <a:cubicBezTo>
                    <a:pt x="71" y="24"/>
                    <a:pt x="71" y="24"/>
                    <a:pt x="71" y="24"/>
                  </a:cubicBezTo>
                  <a:cubicBezTo>
                    <a:pt x="71" y="24"/>
                    <a:pt x="71" y="25"/>
                    <a:pt x="71" y="25"/>
                  </a:cubicBezTo>
                  <a:cubicBezTo>
                    <a:pt x="72" y="25"/>
                    <a:pt x="72" y="25"/>
                    <a:pt x="72" y="25"/>
                  </a:cubicBezTo>
                  <a:cubicBezTo>
                    <a:pt x="72" y="25"/>
                    <a:pt x="72" y="25"/>
                    <a:pt x="72" y="25"/>
                  </a:cubicBezTo>
                  <a:cubicBezTo>
                    <a:pt x="72" y="25"/>
                    <a:pt x="72" y="25"/>
                    <a:pt x="72" y="25"/>
                  </a:cubicBezTo>
                  <a:cubicBezTo>
                    <a:pt x="72" y="25"/>
                    <a:pt x="72" y="26"/>
                    <a:pt x="72" y="26"/>
                  </a:cubicBezTo>
                  <a:cubicBezTo>
                    <a:pt x="73" y="26"/>
                    <a:pt x="73" y="26"/>
                    <a:pt x="73" y="26"/>
                  </a:cubicBezTo>
                  <a:cubicBezTo>
                    <a:pt x="73" y="26"/>
                    <a:pt x="73" y="26"/>
                    <a:pt x="73" y="26"/>
                  </a:cubicBezTo>
                  <a:cubicBezTo>
                    <a:pt x="74" y="27"/>
                    <a:pt x="74" y="27"/>
                    <a:pt x="74" y="27"/>
                  </a:cubicBezTo>
                  <a:cubicBezTo>
                    <a:pt x="74" y="27"/>
                    <a:pt x="74" y="27"/>
                    <a:pt x="74" y="27"/>
                  </a:cubicBezTo>
                  <a:cubicBezTo>
                    <a:pt x="75" y="28"/>
                    <a:pt x="75" y="28"/>
                    <a:pt x="75" y="28"/>
                  </a:cubicBezTo>
                  <a:cubicBezTo>
                    <a:pt x="75" y="28"/>
                    <a:pt x="76" y="28"/>
                    <a:pt x="76" y="29"/>
                  </a:cubicBezTo>
                  <a:cubicBezTo>
                    <a:pt x="76" y="29"/>
                    <a:pt x="76" y="29"/>
                    <a:pt x="77" y="30"/>
                  </a:cubicBezTo>
                  <a:cubicBezTo>
                    <a:pt x="77" y="30"/>
                    <a:pt x="77" y="30"/>
                    <a:pt x="77" y="30"/>
                  </a:cubicBezTo>
                  <a:cubicBezTo>
                    <a:pt x="77" y="30"/>
                    <a:pt x="78" y="31"/>
                    <a:pt x="78" y="31"/>
                  </a:cubicBezTo>
                  <a:cubicBezTo>
                    <a:pt x="78" y="31"/>
                    <a:pt x="78" y="31"/>
                    <a:pt x="78" y="31"/>
                  </a:cubicBezTo>
                  <a:cubicBezTo>
                    <a:pt x="80" y="33"/>
                    <a:pt x="82" y="35"/>
                    <a:pt x="83" y="36"/>
                  </a:cubicBezTo>
                  <a:cubicBezTo>
                    <a:pt x="84" y="37"/>
                    <a:pt x="84" y="37"/>
                    <a:pt x="84" y="37"/>
                  </a:cubicBezTo>
                  <a:cubicBezTo>
                    <a:pt x="84" y="37"/>
                    <a:pt x="85" y="38"/>
                    <a:pt x="85" y="38"/>
                  </a:cubicBezTo>
                  <a:cubicBezTo>
                    <a:pt x="85" y="38"/>
                    <a:pt x="86" y="39"/>
                    <a:pt x="86" y="39"/>
                  </a:cubicBezTo>
                  <a:cubicBezTo>
                    <a:pt x="86" y="39"/>
                    <a:pt x="87" y="40"/>
                    <a:pt x="87" y="40"/>
                  </a:cubicBezTo>
                  <a:cubicBezTo>
                    <a:pt x="87" y="40"/>
                    <a:pt x="87" y="41"/>
                    <a:pt x="88" y="41"/>
                  </a:cubicBezTo>
                  <a:cubicBezTo>
                    <a:pt x="88" y="41"/>
                    <a:pt x="88" y="42"/>
                    <a:pt x="89" y="42"/>
                  </a:cubicBezTo>
                  <a:cubicBezTo>
                    <a:pt x="89" y="42"/>
                    <a:pt x="89" y="43"/>
                    <a:pt x="89" y="43"/>
                  </a:cubicBezTo>
                  <a:cubicBezTo>
                    <a:pt x="90" y="43"/>
                    <a:pt x="90" y="44"/>
                    <a:pt x="90" y="44"/>
                  </a:cubicBezTo>
                  <a:cubicBezTo>
                    <a:pt x="91" y="44"/>
                    <a:pt x="91" y="45"/>
                    <a:pt x="91" y="45"/>
                  </a:cubicBezTo>
                  <a:cubicBezTo>
                    <a:pt x="92" y="45"/>
                    <a:pt x="92" y="46"/>
                    <a:pt x="92" y="46"/>
                  </a:cubicBezTo>
                  <a:cubicBezTo>
                    <a:pt x="92" y="46"/>
                    <a:pt x="92" y="46"/>
                    <a:pt x="93" y="47"/>
                  </a:cubicBezTo>
                  <a:cubicBezTo>
                    <a:pt x="93" y="47"/>
                    <a:pt x="93" y="47"/>
                    <a:pt x="93" y="47"/>
                  </a:cubicBezTo>
                  <a:cubicBezTo>
                    <a:pt x="94" y="48"/>
                    <a:pt x="95" y="49"/>
                    <a:pt x="95" y="50"/>
                  </a:cubicBezTo>
                  <a:cubicBezTo>
                    <a:pt x="95" y="50"/>
                    <a:pt x="96" y="50"/>
                    <a:pt x="96" y="50"/>
                  </a:cubicBezTo>
                  <a:cubicBezTo>
                    <a:pt x="96" y="51"/>
                    <a:pt x="97" y="52"/>
                    <a:pt x="98" y="53"/>
                  </a:cubicBezTo>
                  <a:cubicBezTo>
                    <a:pt x="98" y="53"/>
                    <a:pt x="98" y="53"/>
                    <a:pt x="98" y="53"/>
                  </a:cubicBezTo>
                  <a:cubicBezTo>
                    <a:pt x="100" y="57"/>
                    <a:pt x="102" y="60"/>
                    <a:pt x="103" y="62"/>
                  </a:cubicBezTo>
                  <a:cubicBezTo>
                    <a:pt x="103" y="62"/>
                    <a:pt x="103" y="62"/>
                    <a:pt x="103" y="62"/>
                  </a:cubicBezTo>
                  <a:cubicBezTo>
                    <a:pt x="104" y="63"/>
                    <a:pt x="104" y="64"/>
                    <a:pt x="104" y="64"/>
                  </a:cubicBezTo>
                  <a:cubicBezTo>
                    <a:pt x="104" y="65"/>
                    <a:pt x="104" y="65"/>
                    <a:pt x="104" y="65"/>
                  </a:cubicBezTo>
                  <a:cubicBezTo>
                    <a:pt x="104" y="65"/>
                    <a:pt x="104" y="66"/>
                    <a:pt x="104" y="66"/>
                  </a:cubicBezTo>
                  <a:cubicBezTo>
                    <a:pt x="104" y="67"/>
                    <a:pt x="104" y="67"/>
                    <a:pt x="104" y="67"/>
                  </a:cubicBezTo>
                  <a:cubicBezTo>
                    <a:pt x="104" y="67"/>
                    <a:pt x="103" y="68"/>
                    <a:pt x="103" y="68"/>
                  </a:cubicBezTo>
                  <a:cubicBezTo>
                    <a:pt x="102" y="69"/>
                    <a:pt x="102" y="69"/>
                    <a:pt x="101" y="70"/>
                  </a:cubicBezTo>
                  <a:cubicBezTo>
                    <a:pt x="101" y="70"/>
                    <a:pt x="100" y="70"/>
                    <a:pt x="100" y="70"/>
                  </a:cubicBezTo>
                  <a:cubicBezTo>
                    <a:pt x="100" y="70"/>
                    <a:pt x="99" y="71"/>
                    <a:pt x="99" y="71"/>
                  </a:cubicBezTo>
                  <a:cubicBezTo>
                    <a:pt x="98" y="71"/>
                    <a:pt x="98" y="71"/>
                    <a:pt x="98" y="71"/>
                  </a:cubicBezTo>
                  <a:cubicBezTo>
                    <a:pt x="97" y="71"/>
                    <a:pt x="97" y="71"/>
                    <a:pt x="97" y="71"/>
                  </a:cubicBezTo>
                  <a:cubicBezTo>
                    <a:pt x="96" y="72"/>
                    <a:pt x="96" y="72"/>
                    <a:pt x="96" y="72"/>
                  </a:cubicBezTo>
                  <a:cubicBezTo>
                    <a:pt x="95" y="72"/>
                    <a:pt x="95" y="72"/>
                    <a:pt x="94" y="72"/>
                  </a:cubicBezTo>
                  <a:cubicBezTo>
                    <a:pt x="94" y="72"/>
                    <a:pt x="94" y="72"/>
                    <a:pt x="93" y="72"/>
                  </a:cubicBezTo>
                  <a:cubicBezTo>
                    <a:pt x="93" y="72"/>
                    <a:pt x="92" y="72"/>
                    <a:pt x="92" y="72"/>
                  </a:cubicBezTo>
                  <a:cubicBezTo>
                    <a:pt x="92" y="72"/>
                    <a:pt x="91" y="72"/>
                    <a:pt x="91" y="72"/>
                  </a:cubicBezTo>
                  <a:cubicBezTo>
                    <a:pt x="90" y="72"/>
                    <a:pt x="90" y="71"/>
                    <a:pt x="89" y="71"/>
                  </a:cubicBezTo>
                  <a:cubicBezTo>
                    <a:pt x="89" y="71"/>
                    <a:pt x="89" y="71"/>
                    <a:pt x="89" y="71"/>
                  </a:cubicBezTo>
                  <a:cubicBezTo>
                    <a:pt x="88" y="71"/>
                    <a:pt x="87" y="71"/>
                    <a:pt x="87" y="70"/>
                  </a:cubicBezTo>
                  <a:cubicBezTo>
                    <a:pt x="87" y="70"/>
                    <a:pt x="86" y="70"/>
                    <a:pt x="86" y="70"/>
                  </a:cubicBezTo>
                  <a:cubicBezTo>
                    <a:pt x="86" y="70"/>
                    <a:pt x="85" y="70"/>
                    <a:pt x="84" y="70"/>
                  </a:cubicBezTo>
                  <a:cubicBezTo>
                    <a:pt x="84" y="69"/>
                    <a:pt x="84" y="69"/>
                    <a:pt x="84" y="69"/>
                  </a:cubicBezTo>
                  <a:cubicBezTo>
                    <a:pt x="79" y="68"/>
                    <a:pt x="75" y="65"/>
                    <a:pt x="71" y="63"/>
                  </a:cubicBezTo>
                  <a:cubicBezTo>
                    <a:pt x="71" y="63"/>
                    <a:pt x="71" y="63"/>
                    <a:pt x="70" y="63"/>
                  </a:cubicBezTo>
                  <a:cubicBezTo>
                    <a:pt x="70" y="63"/>
                    <a:pt x="69" y="63"/>
                    <a:pt x="68" y="63"/>
                  </a:cubicBezTo>
                  <a:cubicBezTo>
                    <a:pt x="68" y="63"/>
                    <a:pt x="68" y="63"/>
                    <a:pt x="68" y="63"/>
                  </a:cubicBezTo>
                  <a:cubicBezTo>
                    <a:pt x="67" y="63"/>
                    <a:pt x="67" y="62"/>
                    <a:pt x="66" y="62"/>
                  </a:cubicBezTo>
                  <a:cubicBezTo>
                    <a:pt x="51" y="62"/>
                    <a:pt x="39" y="73"/>
                    <a:pt x="35" y="80"/>
                  </a:cubicBezTo>
                  <a:cubicBezTo>
                    <a:pt x="27" y="91"/>
                    <a:pt x="44" y="123"/>
                    <a:pt x="36" y="130"/>
                  </a:cubicBezTo>
                  <a:cubicBezTo>
                    <a:pt x="29" y="133"/>
                    <a:pt x="18" y="133"/>
                    <a:pt x="10" y="144"/>
                  </a:cubicBezTo>
                  <a:cubicBezTo>
                    <a:pt x="5" y="155"/>
                    <a:pt x="11" y="201"/>
                    <a:pt x="11" y="201"/>
                  </a:cubicBezTo>
                  <a:cubicBezTo>
                    <a:pt x="22" y="202"/>
                    <a:pt x="22" y="202"/>
                    <a:pt x="22" y="202"/>
                  </a:cubicBezTo>
                  <a:cubicBezTo>
                    <a:pt x="20" y="236"/>
                    <a:pt x="20" y="236"/>
                    <a:pt x="20" y="236"/>
                  </a:cubicBezTo>
                  <a:cubicBezTo>
                    <a:pt x="3" y="246"/>
                    <a:pt x="3" y="246"/>
                    <a:pt x="3" y="246"/>
                  </a:cubicBezTo>
                  <a:cubicBezTo>
                    <a:pt x="4" y="256"/>
                    <a:pt x="0" y="270"/>
                    <a:pt x="0" y="270"/>
                  </a:cubicBezTo>
                  <a:cubicBezTo>
                    <a:pt x="15" y="278"/>
                    <a:pt x="15" y="278"/>
                    <a:pt x="15" y="278"/>
                  </a:cubicBezTo>
                  <a:cubicBezTo>
                    <a:pt x="38" y="256"/>
                    <a:pt x="38" y="256"/>
                    <a:pt x="38" y="256"/>
                  </a:cubicBezTo>
                  <a:cubicBezTo>
                    <a:pt x="53" y="261"/>
                    <a:pt x="53" y="261"/>
                    <a:pt x="53" y="261"/>
                  </a:cubicBezTo>
                  <a:cubicBezTo>
                    <a:pt x="47" y="299"/>
                    <a:pt x="47" y="299"/>
                    <a:pt x="47" y="299"/>
                  </a:cubicBezTo>
                  <a:cubicBezTo>
                    <a:pt x="62" y="311"/>
                    <a:pt x="62" y="311"/>
                    <a:pt x="62" y="311"/>
                  </a:cubicBezTo>
                  <a:cubicBezTo>
                    <a:pt x="88" y="308"/>
                    <a:pt x="88" y="308"/>
                    <a:pt x="88" y="308"/>
                  </a:cubicBezTo>
                  <a:cubicBezTo>
                    <a:pt x="91" y="324"/>
                    <a:pt x="91" y="324"/>
                    <a:pt x="91" y="324"/>
                  </a:cubicBezTo>
                  <a:cubicBezTo>
                    <a:pt x="131" y="360"/>
                    <a:pt x="131" y="360"/>
                    <a:pt x="131" y="360"/>
                  </a:cubicBezTo>
                  <a:cubicBezTo>
                    <a:pt x="130" y="379"/>
                    <a:pt x="130" y="379"/>
                    <a:pt x="130" y="379"/>
                  </a:cubicBezTo>
                  <a:cubicBezTo>
                    <a:pt x="148" y="391"/>
                    <a:pt x="148" y="391"/>
                    <a:pt x="148" y="391"/>
                  </a:cubicBezTo>
                  <a:cubicBezTo>
                    <a:pt x="166" y="400"/>
                    <a:pt x="166" y="400"/>
                    <a:pt x="166" y="400"/>
                  </a:cubicBezTo>
                  <a:cubicBezTo>
                    <a:pt x="164" y="369"/>
                    <a:pt x="164" y="369"/>
                    <a:pt x="164" y="369"/>
                  </a:cubicBezTo>
                  <a:lnTo>
                    <a:pt x="162" y="3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0" name="Freeform 615">
              <a:extLst>
                <a:ext uri="{FF2B5EF4-FFF2-40B4-BE49-F238E27FC236}">
                  <a16:creationId xmlns:a16="http://schemas.microsoft.com/office/drawing/2014/main" id="{78CD3D7D-FB5D-4C45-0197-408BEB1BC6EF}"/>
                </a:ext>
              </a:extLst>
            </p:cNvPr>
            <p:cNvSpPr>
              <a:spLocks/>
            </p:cNvSpPr>
            <p:nvPr/>
          </p:nvSpPr>
          <p:spPr bwMode="gray">
            <a:xfrm>
              <a:off x="10784510" y="4421569"/>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1" name="Freeform 616">
              <a:extLst>
                <a:ext uri="{FF2B5EF4-FFF2-40B4-BE49-F238E27FC236}">
                  <a16:creationId xmlns:a16="http://schemas.microsoft.com/office/drawing/2014/main" id="{9D629D99-5E2F-D8BF-8F83-6C5D22E1959C}"/>
                </a:ext>
              </a:extLst>
            </p:cNvPr>
            <p:cNvSpPr>
              <a:spLocks/>
            </p:cNvSpPr>
            <p:nvPr/>
          </p:nvSpPr>
          <p:spPr bwMode="gray">
            <a:xfrm>
              <a:off x="10816873" y="4405388"/>
              <a:ext cx="3596" cy="3596"/>
            </a:xfrm>
            <a:custGeom>
              <a:avLst/>
              <a:gdLst>
                <a:gd name="T0" fmla="*/ 7 w 7"/>
                <a:gd name="T1" fmla="*/ 5 h 5"/>
                <a:gd name="T2" fmla="*/ 0 w 7"/>
                <a:gd name="T3" fmla="*/ 0 h 5"/>
                <a:gd name="T4" fmla="*/ 7 w 7"/>
                <a:gd name="T5" fmla="*/ 5 h 5"/>
              </a:gdLst>
              <a:ahLst/>
              <a:cxnLst>
                <a:cxn ang="0">
                  <a:pos x="T0" y="T1"/>
                </a:cxn>
                <a:cxn ang="0">
                  <a:pos x="T2" y="T3"/>
                </a:cxn>
                <a:cxn ang="0">
                  <a:pos x="T4" y="T5"/>
                </a:cxn>
              </a:cxnLst>
              <a:rect l="0" t="0" r="r" b="b"/>
              <a:pathLst>
                <a:path w="7" h="5">
                  <a:moveTo>
                    <a:pt x="7" y="5"/>
                  </a:moveTo>
                  <a:cubicBezTo>
                    <a:pt x="3" y="3"/>
                    <a:pt x="0" y="0"/>
                    <a:pt x="0" y="0"/>
                  </a:cubicBezTo>
                  <a:cubicBezTo>
                    <a:pt x="0" y="0"/>
                    <a:pt x="3" y="3"/>
                    <a:pt x="7"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2" name="Freeform 617">
              <a:extLst>
                <a:ext uri="{FF2B5EF4-FFF2-40B4-BE49-F238E27FC236}">
                  <a16:creationId xmlns:a16="http://schemas.microsoft.com/office/drawing/2014/main" id="{23E734DA-EE45-F7B7-B4D0-070510F41E91}"/>
                </a:ext>
              </a:extLst>
            </p:cNvPr>
            <p:cNvSpPr>
              <a:spLocks/>
            </p:cNvSpPr>
            <p:nvPr/>
          </p:nvSpPr>
          <p:spPr bwMode="gray">
            <a:xfrm>
              <a:off x="10784510" y="442156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3" name="Freeform 618">
              <a:extLst>
                <a:ext uri="{FF2B5EF4-FFF2-40B4-BE49-F238E27FC236}">
                  <a16:creationId xmlns:a16="http://schemas.microsoft.com/office/drawing/2014/main" id="{A66526E8-A188-5FF0-1274-43E5A04B2994}"/>
                </a:ext>
              </a:extLst>
            </p:cNvPr>
            <p:cNvSpPr>
              <a:spLocks/>
            </p:cNvSpPr>
            <p:nvPr/>
          </p:nvSpPr>
          <p:spPr bwMode="gray">
            <a:xfrm>
              <a:off x="10784510" y="4421569"/>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4" name="Freeform 619">
              <a:extLst>
                <a:ext uri="{FF2B5EF4-FFF2-40B4-BE49-F238E27FC236}">
                  <a16:creationId xmlns:a16="http://schemas.microsoft.com/office/drawing/2014/main" id="{4BE66AF2-498B-DF7A-DDB0-147D741FD2F3}"/>
                </a:ext>
              </a:extLst>
            </p:cNvPr>
            <p:cNvSpPr>
              <a:spLocks/>
            </p:cNvSpPr>
            <p:nvPr/>
          </p:nvSpPr>
          <p:spPr bwMode="gray">
            <a:xfrm>
              <a:off x="10825862" y="4410782"/>
              <a:ext cx="1798" cy="0"/>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2" y="1"/>
                    <a:pt x="1" y="1"/>
                    <a:pt x="0" y="0"/>
                  </a:cubicBezTo>
                  <a:cubicBezTo>
                    <a:pt x="1" y="1"/>
                    <a:pt x="2" y="1"/>
                    <a:pt x="3"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5" name="Freeform 620">
              <a:extLst>
                <a:ext uri="{FF2B5EF4-FFF2-40B4-BE49-F238E27FC236}">
                  <a16:creationId xmlns:a16="http://schemas.microsoft.com/office/drawing/2014/main" id="{F88D9CF3-43AE-791B-14EB-14A9A6D936E4}"/>
                </a:ext>
              </a:extLst>
            </p:cNvPr>
            <p:cNvSpPr>
              <a:spLocks/>
            </p:cNvSpPr>
            <p:nvPr/>
          </p:nvSpPr>
          <p:spPr bwMode="gray">
            <a:xfrm>
              <a:off x="10804286" y="444494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6" name="Freeform 621">
              <a:extLst>
                <a:ext uri="{FF2B5EF4-FFF2-40B4-BE49-F238E27FC236}">
                  <a16:creationId xmlns:a16="http://schemas.microsoft.com/office/drawing/2014/main" id="{EE4A1716-7630-6D42-C158-47EB4982D8C4}"/>
                </a:ext>
              </a:extLst>
            </p:cNvPr>
            <p:cNvSpPr>
              <a:spLocks/>
            </p:cNvSpPr>
            <p:nvPr/>
          </p:nvSpPr>
          <p:spPr bwMode="gray">
            <a:xfrm>
              <a:off x="10800690"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7" name="Freeform 622">
              <a:extLst>
                <a:ext uri="{FF2B5EF4-FFF2-40B4-BE49-F238E27FC236}">
                  <a16:creationId xmlns:a16="http://schemas.microsoft.com/office/drawing/2014/main" id="{E5BAB426-E695-81A5-48DA-B740CD68E64D}"/>
                </a:ext>
              </a:extLst>
            </p:cNvPr>
            <p:cNvSpPr>
              <a:spLocks/>
            </p:cNvSpPr>
            <p:nvPr/>
          </p:nvSpPr>
          <p:spPr bwMode="gray">
            <a:xfrm>
              <a:off x="10802489" y="444674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8" name="Freeform 623">
              <a:extLst>
                <a:ext uri="{FF2B5EF4-FFF2-40B4-BE49-F238E27FC236}">
                  <a16:creationId xmlns:a16="http://schemas.microsoft.com/office/drawing/2014/main" id="{2182E76B-4171-3FFE-E1C8-17E83D3EDB0E}"/>
                </a:ext>
              </a:extLst>
            </p:cNvPr>
            <p:cNvSpPr>
              <a:spLocks/>
            </p:cNvSpPr>
            <p:nvPr/>
          </p:nvSpPr>
          <p:spPr bwMode="gray">
            <a:xfrm>
              <a:off x="10804286" y="4444943"/>
              <a:ext cx="0" cy="179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9" name="Freeform 624">
              <a:extLst>
                <a:ext uri="{FF2B5EF4-FFF2-40B4-BE49-F238E27FC236}">
                  <a16:creationId xmlns:a16="http://schemas.microsoft.com/office/drawing/2014/main" id="{347EDD15-E097-5D1A-78B8-A0F1A6F83FF1}"/>
                </a:ext>
              </a:extLst>
            </p:cNvPr>
            <p:cNvSpPr>
              <a:spLocks/>
            </p:cNvSpPr>
            <p:nvPr/>
          </p:nvSpPr>
          <p:spPr bwMode="gray">
            <a:xfrm>
              <a:off x="10822266" y="4408983"/>
              <a:ext cx="3596" cy="1798"/>
            </a:xfrm>
            <a:custGeom>
              <a:avLst/>
              <a:gdLst>
                <a:gd name="T0" fmla="*/ 6 w 6"/>
                <a:gd name="T1" fmla="*/ 2 h 2"/>
                <a:gd name="T2" fmla="*/ 0 w 6"/>
                <a:gd name="T3" fmla="*/ 0 h 2"/>
                <a:gd name="T4" fmla="*/ 6 w 6"/>
                <a:gd name="T5" fmla="*/ 2 h 2"/>
              </a:gdLst>
              <a:ahLst/>
              <a:cxnLst>
                <a:cxn ang="0">
                  <a:pos x="T0" y="T1"/>
                </a:cxn>
                <a:cxn ang="0">
                  <a:pos x="T2" y="T3"/>
                </a:cxn>
                <a:cxn ang="0">
                  <a:pos x="T4" y="T5"/>
                </a:cxn>
              </a:cxnLst>
              <a:rect l="0" t="0" r="r" b="b"/>
              <a:pathLst>
                <a:path w="6" h="2">
                  <a:moveTo>
                    <a:pt x="6" y="2"/>
                  </a:moveTo>
                  <a:cubicBezTo>
                    <a:pt x="4" y="2"/>
                    <a:pt x="2" y="1"/>
                    <a:pt x="0" y="0"/>
                  </a:cubicBezTo>
                  <a:cubicBezTo>
                    <a:pt x="2" y="1"/>
                    <a:pt x="4" y="2"/>
                    <a:pt x="6"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0" name="Freeform 625">
              <a:extLst>
                <a:ext uri="{FF2B5EF4-FFF2-40B4-BE49-F238E27FC236}">
                  <a16:creationId xmlns:a16="http://schemas.microsoft.com/office/drawing/2014/main" id="{BB4442C3-EEC9-7F15-2098-05B4F9811E90}"/>
                </a:ext>
              </a:extLst>
            </p:cNvPr>
            <p:cNvSpPr>
              <a:spLocks/>
            </p:cNvSpPr>
            <p:nvPr/>
          </p:nvSpPr>
          <p:spPr bwMode="gray">
            <a:xfrm>
              <a:off x="10793498" y="4428761"/>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1" name="Freeform 626">
              <a:extLst>
                <a:ext uri="{FF2B5EF4-FFF2-40B4-BE49-F238E27FC236}">
                  <a16:creationId xmlns:a16="http://schemas.microsoft.com/office/drawing/2014/main" id="{745F065D-5665-20E9-E15E-ABC13FA919A9}"/>
                </a:ext>
              </a:extLst>
            </p:cNvPr>
            <p:cNvSpPr>
              <a:spLocks/>
            </p:cNvSpPr>
            <p:nvPr/>
          </p:nvSpPr>
          <p:spPr bwMode="gray">
            <a:xfrm>
              <a:off x="10797095" y="4432357"/>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2" name="Freeform 627">
              <a:extLst>
                <a:ext uri="{FF2B5EF4-FFF2-40B4-BE49-F238E27FC236}">
                  <a16:creationId xmlns:a16="http://schemas.microsoft.com/office/drawing/2014/main" id="{B7596A27-4FAC-805D-B16F-E3FE12081623}"/>
                </a:ext>
              </a:extLst>
            </p:cNvPr>
            <p:cNvSpPr>
              <a:spLocks/>
            </p:cNvSpPr>
            <p:nvPr/>
          </p:nvSpPr>
          <p:spPr bwMode="gray">
            <a:xfrm>
              <a:off x="10798893" y="4435953"/>
              <a:ext cx="1798" cy="1798"/>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1" y="2"/>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3" name="Freeform 628">
              <a:extLst>
                <a:ext uri="{FF2B5EF4-FFF2-40B4-BE49-F238E27FC236}">
                  <a16:creationId xmlns:a16="http://schemas.microsoft.com/office/drawing/2014/main" id="{88AF6B0E-162E-0F9A-E27C-E1D4469EE65E}"/>
                </a:ext>
              </a:extLst>
            </p:cNvPr>
            <p:cNvSpPr>
              <a:spLocks/>
            </p:cNvSpPr>
            <p:nvPr/>
          </p:nvSpPr>
          <p:spPr bwMode="gray">
            <a:xfrm>
              <a:off x="10795298" y="4432357"/>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4" name="Freeform 629">
              <a:extLst>
                <a:ext uri="{FF2B5EF4-FFF2-40B4-BE49-F238E27FC236}">
                  <a16:creationId xmlns:a16="http://schemas.microsoft.com/office/drawing/2014/main" id="{EB483A36-7A27-9B49-BA29-54B127B70265}"/>
                </a:ext>
              </a:extLst>
            </p:cNvPr>
            <p:cNvSpPr>
              <a:spLocks/>
            </p:cNvSpPr>
            <p:nvPr/>
          </p:nvSpPr>
          <p:spPr bwMode="gray">
            <a:xfrm>
              <a:off x="10795298" y="4430560"/>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5" name="Freeform 630">
              <a:extLst>
                <a:ext uri="{FF2B5EF4-FFF2-40B4-BE49-F238E27FC236}">
                  <a16:creationId xmlns:a16="http://schemas.microsoft.com/office/drawing/2014/main" id="{5C84CDC6-E3AC-F0E4-D479-8B07CC5FFBE3}"/>
                </a:ext>
              </a:extLst>
            </p:cNvPr>
            <p:cNvSpPr>
              <a:spLocks/>
            </p:cNvSpPr>
            <p:nvPr/>
          </p:nvSpPr>
          <p:spPr bwMode="gray">
            <a:xfrm>
              <a:off x="10786307" y="4421569"/>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6" name="Freeform 631">
              <a:extLst>
                <a:ext uri="{FF2B5EF4-FFF2-40B4-BE49-F238E27FC236}">
                  <a16:creationId xmlns:a16="http://schemas.microsoft.com/office/drawing/2014/main" id="{23EB7251-A97E-0B25-E12F-CA4512ECE7AC}"/>
                </a:ext>
              </a:extLst>
            </p:cNvPr>
            <p:cNvSpPr>
              <a:spLocks/>
            </p:cNvSpPr>
            <p:nvPr/>
          </p:nvSpPr>
          <p:spPr bwMode="gray">
            <a:xfrm>
              <a:off x="10798893" y="4448539"/>
              <a:ext cx="1798" cy="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0" y="1"/>
                    <a:pt x="0" y="1"/>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7" name="Freeform 632">
              <a:extLst>
                <a:ext uri="{FF2B5EF4-FFF2-40B4-BE49-F238E27FC236}">
                  <a16:creationId xmlns:a16="http://schemas.microsoft.com/office/drawing/2014/main" id="{338906D5-FE74-B037-CEFC-77C0E6AB5301}"/>
                </a:ext>
              </a:extLst>
            </p:cNvPr>
            <p:cNvSpPr>
              <a:spLocks/>
            </p:cNvSpPr>
            <p:nvPr/>
          </p:nvSpPr>
          <p:spPr bwMode="gray">
            <a:xfrm>
              <a:off x="10800690" y="4437751"/>
              <a:ext cx="3596" cy="5395"/>
            </a:xfrm>
            <a:custGeom>
              <a:avLst/>
              <a:gdLst>
                <a:gd name="T0" fmla="*/ 0 w 5"/>
                <a:gd name="T1" fmla="*/ 0 h 9"/>
                <a:gd name="T2" fmla="*/ 5 w 5"/>
                <a:gd name="T3" fmla="*/ 9 h 9"/>
                <a:gd name="T4" fmla="*/ 0 w 5"/>
                <a:gd name="T5" fmla="*/ 0 h 9"/>
              </a:gdLst>
              <a:ahLst/>
              <a:cxnLst>
                <a:cxn ang="0">
                  <a:pos x="T0" y="T1"/>
                </a:cxn>
                <a:cxn ang="0">
                  <a:pos x="T2" y="T3"/>
                </a:cxn>
                <a:cxn ang="0">
                  <a:pos x="T4" y="T5"/>
                </a:cxn>
              </a:cxnLst>
              <a:rect l="0" t="0" r="r" b="b"/>
              <a:pathLst>
                <a:path w="5" h="9">
                  <a:moveTo>
                    <a:pt x="0" y="0"/>
                  </a:moveTo>
                  <a:cubicBezTo>
                    <a:pt x="2" y="4"/>
                    <a:pt x="4" y="7"/>
                    <a:pt x="5" y="9"/>
                  </a:cubicBezTo>
                  <a:cubicBezTo>
                    <a:pt x="4" y="7"/>
                    <a:pt x="2" y="4"/>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8" name="Freeform 633">
              <a:extLst>
                <a:ext uri="{FF2B5EF4-FFF2-40B4-BE49-F238E27FC236}">
                  <a16:creationId xmlns:a16="http://schemas.microsoft.com/office/drawing/2014/main" id="{98D8DD58-3B85-B0A0-CF39-573CAA87646B}"/>
                </a:ext>
              </a:extLst>
            </p:cNvPr>
            <p:cNvSpPr>
              <a:spLocks/>
            </p:cNvSpPr>
            <p:nvPr/>
          </p:nvSpPr>
          <p:spPr bwMode="gray">
            <a:xfrm>
              <a:off x="10788105" y="4423368"/>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0"/>
                    <a:pt x="1" y="1"/>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9" name="Freeform 634">
              <a:extLst>
                <a:ext uri="{FF2B5EF4-FFF2-40B4-BE49-F238E27FC236}">
                  <a16:creationId xmlns:a16="http://schemas.microsoft.com/office/drawing/2014/main" id="{CD116CF7-D357-D9E9-E51E-7C193AB1280A}"/>
                </a:ext>
              </a:extLst>
            </p:cNvPr>
            <p:cNvSpPr>
              <a:spLocks/>
            </p:cNvSpPr>
            <p:nvPr/>
          </p:nvSpPr>
          <p:spPr bwMode="gray">
            <a:xfrm>
              <a:off x="10791701" y="4428761"/>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0" name="Freeform 635">
              <a:extLst>
                <a:ext uri="{FF2B5EF4-FFF2-40B4-BE49-F238E27FC236}">
                  <a16:creationId xmlns:a16="http://schemas.microsoft.com/office/drawing/2014/main" id="{06A02E55-0F90-7D4E-A2CE-471B7E401E7C}"/>
                </a:ext>
              </a:extLst>
            </p:cNvPr>
            <p:cNvSpPr>
              <a:spLocks/>
            </p:cNvSpPr>
            <p:nvPr/>
          </p:nvSpPr>
          <p:spPr bwMode="gray">
            <a:xfrm>
              <a:off x="10786307" y="4421569"/>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1" name="Freeform 636">
              <a:extLst>
                <a:ext uri="{FF2B5EF4-FFF2-40B4-BE49-F238E27FC236}">
                  <a16:creationId xmlns:a16="http://schemas.microsoft.com/office/drawing/2014/main" id="{2D7C4C30-39DA-5FB2-2869-CB2578C77840}"/>
                </a:ext>
              </a:extLst>
            </p:cNvPr>
            <p:cNvSpPr>
              <a:spLocks/>
            </p:cNvSpPr>
            <p:nvPr/>
          </p:nvSpPr>
          <p:spPr bwMode="gray">
            <a:xfrm>
              <a:off x="10788105" y="4423368"/>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2" name="Freeform 637">
              <a:extLst>
                <a:ext uri="{FF2B5EF4-FFF2-40B4-BE49-F238E27FC236}">
                  <a16:creationId xmlns:a16="http://schemas.microsoft.com/office/drawing/2014/main" id="{4DE691D0-83AF-3B16-EC58-AF7A3DEDD4F5}"/>
                </a:ext>
              </a:extLst>
            </p:cNvPr>
            <p:cNvSpPr>
              <a:spLocks/>
            </p:cNvSpPr>
            <p:nvPr/>
          </p:nvSpPr>
          <p:spPr bwMode="gray">
            <a:xfrm>
              <a:off x="10804286" y="4443145"/>
              <a:ext cx="0" cy="0"/>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2"/>
                    <a:pt x="1" y="2"/>
                  </a:cubicBezTo>
                  <a:cubicBezTo>
                    <a:pt x="1" y="2"/>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3" name="Freeform 638">
              <a:extLst>
                <a:ext uri="{FF2B5EF4-FFF2-40B4-BE49-F238E27FC236}">
                  <a16:creationId xmlns:a16="http://schemas.microsoft.com/office/drawing/2014/main" id="{CA01C487-BA11-D43D-7269-575A82418B34}"/>
                </a:ext>
              </a:extLst>
            </p:cNvPr>
            <p:cNvSpPr>
              <a:spLocks/>
            </p:cNvSpPr>
            <p:nvPr/>
          </p:nvSpPr>
          <p:spPr bwMode="gray">
            <a:xfrm>
              <a:off x="10797095" y="4434156"/>
              <a:ext cx="1798" cy="1798"/>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2" y="2"/>
                    <a:pt x="2" y="3"/>
                  </a:cubicBezTo>
                  <a:cubicBezTo>
                    <a:pt x="2" y="2"/>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4" name="Freeform 639">
              <a:extLst>
                <a:ext uri="{FF2B5EF4-FFF2-40B4-BE49-F238E27FC236}">
                  <a16:creationId xmlns:a16="http://schemas.microsoft.com/office/drawing/2014/main" id="{DEA0DD53-8654-2CFC-A59E-D9066E417205}"/>
                </a:ext>
              </a:extLst>
            </p:cNvPr>
            <p:cNvSpPr>
              <a:spLocks/>
            </p:cNvSpPr>
            <p:nvPr/>
          </p:nvSpPr>
          <p:spPr bwMode="gray">
            <a:xfrm>
              <a:off x="10782710" y="444314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5" name="Freeform 640">
              <a:extLst>
                <a:ext uri="{FF2B5EF4-FFF2-40B4-BE49-F238E27FC236}">
                  <a16:creationId xmlns:a16="http://schemas.microsoft.com/office/drawing/2014/main" id="{ACA39A57-EB67-EB37-FCEB-92733104CCBB}"/>
                </a:ext>
              </a:extLst>
            </p:cNvPr>
            <p:cNvSpPr>
              <a:spLocks/>
            </p:cNvSpPr>
            <p:nvPr/>
          </p:nvSpPr>
          <p:spPr bwMode="gray">
            <a:xfrm>
              <a:off x="10784510" y="4443145"/>
              <a:ext cx="0"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6" name="Freeform 641">
              <a:extLst>
                <a:ext uri="{FF2B5EF4-FFF2-40B4-BE49-F238E27FC236}">
                  <a16:creationId xmlns:a16="http://schemas.microsoft.com/office/drawing/2014/main" id="{06C59C87-7C7B-ECB9-B38C-4991DBF89C7D}"/>
                </a:ext>
              </a:extLst>
            </p:cNvPr>
            <p:cNvSpPr>
              <a:spLocks/>
            </p:cNvSpPr>
            <p:nvPr/>
          </p:nvSpPr>
          <p:spPr bwMode="gray">
            <a:xfrm>
              <a:off x="10827661" y="4410782"/>
              <a:ext cx="3596" cy="0"/>
            </a:xfrm>
            <a:custGeom>
              <a:avLst/>
              <a:gdLst>
                <a:gd name="T0" fmla="*/ 0 w 4"/>
                <a:gd name="T1" fmla="*/ 4 w 4"/>
                <a:gd name="T2" fmla="*/ 4 w 4"/>
                <a:gd name="T3" fmla="*/ 0 w 4"/>
              </a:gdLst>
              <a:ahLst/>
              <a:cxnLst>
                <a:cxn ang="0">
                  <a:pos x="T0" y="0"/>
                </a:cxn>
                <a:cxn ang="0">
                  <a:pos x="T1" y="0"/>
                </a:cxn>
                <a:cxn ang="0">
                  <a:pos x="T2" y="0"/>
                </a:cxn>
                <a:cxn ang="0">
                  <a:pos x="T3" y="0"/>
                </a:cxn>
              </a:cxnLst>
              <a:rect l="0" t="0" r="r" b="b"/>
              <a:pathLst>
                <a:path w="4">
                  <a:moveTo>
                    <a:pt x="0" y="0"/>
                  </a:moveTo>
                  <a:cubicBezTo>
                    <a:pt x="1" y="0"/>
                    <a:pt x="2" y="0"/>
                    <a:pt x="4" y="0"/>
                  </a:cubicBezTo>
                  <a:cubicBezTo>
                    <a:pt x="4" y="0"/>
                    <a:pt x="4" y="0"/>
                    <a:pt x="4" y="0"/>
                  </a:cubicBezTo>
                  <a:cubicBezTo>
                    <a:pt x="2"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7" name="Freeform 642">
              <a:extLst>
                <a:ext uri="{FF2B5EF4-FFF2-40B4-BE49-F238E27FC236}">
                  <a16:creationId xmlns:a16="http://schemas.microsoft.com/office/drawing/2014/main" id="{870F7468-D2EA-2D0C-66CB-541A7B348E05}"/>
                </a:ext>
              </a:extLst>
            </p:cNvPr>
            <p:cNvSpPr>
              <a:spLocks/>
            </p:cNvSpPr>
            <p:nvPr/>
          </p:nvSpPr>
          <p:spPr bwMode="gray">
            <a:xfrm>
              <a:off x="10788105" y="4425165"/>
              <a:ext cx="3596" cy="1798"/>
            </a:xfrm>
            <a:custGeom>
              <a:avLst/>
              <a:gdLst>
                <a:gd name="T0" fmla="*/ 5 w 5"/>
                <a:gd name="T1" fmla="*/ 5 h 5"/>
                <a:gd name="T2" fmla="*/ 0 w 5"/>
                <a:gd name="T3" fmla="*/ 0 h 5"/>
                <a:gd name="T4" fmla="*/ 5 w 5"/>
                <a:gd name="T5" fmla="*/ 5 h 5"/>
              </a:gdLst>
              <a:ahLst/>
              <a:cxnLst>
                <a:cxn ang="0">
                  <a:pos x="T0" y="T1"/>
                </a:cxn>
                <a:cxn ang="0">
                  <a:pos x="T2" y="T3"/>
                </a:cxn>
                <a:cxn ang="0">
                  <a:pos x="T4" y="T5"/>
                </a:cxn>
              </a:cxnLst>
              <a:rect l="0" t="0" r="r" b="b"/>
              <a:pathLst>
                <a:path w="5" h="5">
                  <a:moveTo>
                    <a:pt x="5" y="5"/>
                  </a:moveTo>
                  <a:cubicBezTo>
                    <a:pt x="4" y="4"/>
                    <a:pt x="2" y="2"/>
                    <a:pt x="0" y="0"/>
                  </a:cubicBezTo>
                  <a:cubicBezTo>
                    <a:pt x="2" y="2"/>
                    <a:pt x="4" y="4"/>
                    <a:pt x="5"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8" name="Freeform 643">
              <a:extLst>
                <a:ext uri="{FF2B5EF4-FFF2-40B4-BE49-F238E27FC236}">
                  <a16:creationId xmlns:a16="http://schemas.microsoft.com/office/drawing/2014/main" id="{A880F5D5-98F9-2C43-4937-698897B37CAD}"/>
                </a:ext>
              </a:extLst>
            </p:cNvPr>
            <p:cNvSpPr>
              <a:spLocks/>
            </p:cNvSpPr>
            <p:nvPr/>
          </p:nvSpPr>
          <p:spPr bwMode="gray">
            <a:xfrm>
              <a:off x="10791701" y="4446741"/>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9" name="Freeform 644">
              <a:extLst>
                <a:ext uri="{FF2B5EF4-FFF2-40B4-BE49-F238E27FC236}">
                  <a16:creationId xmlns:a16="http://schemas.microsoft.com/office/drawing/2014/main" id="{09D70446-D299-F704-C16B-6C7E1CCB9F78}"/>
                </a:ext>
              </a:extLst>
            </p:cNvPr>
            <p:cNvSpPr>
              <a:spLocks/>
            </p:cNvSpPr>
            <p:nvPr/>
          </p:nvSpPr>
          <p:spPr bwMode="gray">
            <a:xfrm>
              <a:off x="10813277" y="4405388"/>
              <a:ext cx="3596" cy="12586"/>
            </a:xfrm>
            <a:custGeom>
              <a:avLst/>
              <a:gdLst>
                <a:gd name="T0" fmla="*/ 0 w 2"/>
                <a:gd name="T1" fmla="*/ 7 h 7"/>
                <a:gd name="T2" fmla="*/ 2 w 2"/>
                <a:gd name="T3" fmla="*/ 0 h 7"/>
                <a:gd name="T4" fmla="*/ 1 w 2"/>
                <a:gd name="T5" fmla="*/ 3 h 7"/>
                <a:gd name="T6" fmla="*/ 0 w 2"/>
                <a:gd name="T7" fmla="*/ 7 h 7"/>
              </a:gdLst>
              <a:ahLst/>
              <a:cxnLst>
                <a:cxn ang="0">
                  <a:pos x="T0" y="T1"/>
                </a:cxn>
                <a:cxn ang="0">
                  <a:pos x="T2" y="T3"/>
                </a:cxn>
                <a:cxn ang="0">
                  <a:pos x="T4" y="T5"/>
                </a:cxn>
                <a:cxn ang="0">
                  <a:pos x="T6" y="T7"/>
                </a:cxn>
              </a:cxnLst>
              <a:rect l="0" t="0" r="r" b="b"/>
              <a:pathLst>
                <a:path w="2" h="7">
                  <a:moveTo>
                    <a:pt x="0" y="7"/>
                  </a:moveTo>
                  <a:lnTo>
                    <a:pt x="2" y="0"/>
                  </a:lnTo>
                  <a:lnTo>
                    <a:pt x="1" y="3"/>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0" name="Freeform 645">
              <a:extLst>
                <a:ext uri="{FF2B5EF4-FFF2-40B4-BE49-F238E27FC236}">
                  <a16:creationId xmlns:a16="http://schemas.microsoft.com/office/drawing/2014/main" id="{83E8DC7C-93C4-21F7-E783-ACC77FED9B7C}"/>
                </a:ext>
              </a:extLst>
            </p:cNvPr>
            <p:cNvSpPr>
              <a:spLocks/>
            </p:cNvSpPr>
            <p:nvPr/>
          </p:nvSpPr>
          <p:spPr bwMode="gray">
            <a:xfrm>
              <a:off x="10795298" y="44485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1" name="Freeform 646">
              <a:extLst>
                <a:ext uri="{FF2B5EF4-FFF2-40B4-BE49-F238E27FC236}">
                  <a16:creationId xmlns:a16="http://schemas.microsoft.com/office/drawing/2014/main" id="{E0E5A9D5-164B-8C83-B44C-B9E9313E6D10}"/>
                </a:ext>
              </a:extLst>
            </p:cNvPr>
            <p:cNvSpPr>
              <a:spLocks/>
            </p:cNvSpPr>
            <p:nvPr/>
          </p:nvSpPr>
          <p:spPr bwMode="gray">
            <a:xfrm>
              <a:off x="10797095"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2" name="Freeform 647">
              <a:extLst>
                <a:ext uri="{FF2B5EF4-FFF2-40B4-BE49-F238E27FC236}">
                  <a16:creationId xmlns:a16="http://schemas.microsoft.com/office/drawing/2014/main" id="{E6FBCEB5-427F-F1A1-FDCA-CC0C9B4923A3}"/>
                </a:ext>
              </a:extLst>
            </p:cNvPr>
            <p:cNvSpPr>
              <a:spLocks/>
            </p:cNvSpPr>
            <p:nvPr/>
          </p:nvSpPr>
          <p:spPr bwMode="gray">
            <a:xfrm>
              <a:off x="10797095" y="4448539"/>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3" name="Freeform 648">
              <a:extLst>
                <a:ext uri="{FF2B5EF4-FFF2-40B4-BE49-F238E27FC236}">
                  <a16:creationId xmlns:a16="http://schemas.microsoft.com/office/drawing/2014/main" id="{29A4E3FE-5894-3494-33A6-3EAB8B022A31}"/>
                </a:ext>
              </a:extLst>
            </p:cNvPr>
            <p:cNvSpPr>
              <a:spLocks/>
            </p:cNvSpPr>
            <p:nvPr/>
          </p:nvSpPr>
          <p:spPr bwMode="gray">
            <a:xfrm>
              <a:off x="10793498" y="444674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4" name="Freeform 649">
              <a:extLst>
                <a:ext uri="{FF2B5EF4-FFF2-40B4-BE49-F238E27FC236}">
                  <a16:creationId xmlns:a16="http://schemas.microsoft.com/office/drawing/2014/main" id="{263BC2EC-EE40-06AA-F857-FAD192335647}"/>
                </a:ext>
              </a:extLst>
            </p:cNvPr>
            <p:cNvSpPr>
              <a:spLocks/>
            </p:cNvSpPr>
            <p:nvPr/>
          </p:nvSpPr>
          <p:spPr bwMode="gray">
            <a:xfrm>
              <a:off x="10743156" y="4552822"/>
              <a:ext cx="1798" cy="14383"/>
            </a:xfrm>
            <a:custGeom>
              <a:avLst/>
              <a:gdLst>
                <a:gd name="T0" fmla="*/ 3 w 4"/>
                <a:gd name="T1" fmla="*/ 0 h 24"/>
                <a:gd name="T2" fmla="*/ 1 w 4"/>
                <a:gd name="T3" fmla="*/ 1 h 24"/>
                <a:gd name="T4" fmla="*/ 0 w 4"/>
                <a:gd name="T5" fmla="*/ 24 h 24"/>
                <a:gd name="T6" fmla="*/ 3 w 4"/>
                <a:gd name="T7" fmla="*/ 0 h 24"/>
              </a:gdLst>
              <a:ahLst/>
              <a:cxnLst>
                <a:cxn ang="0">
                  <a:pos x="T0" y="T1"/>
                </a:cxn>
                <a:cxn ang="0">
                  <a:pos x="T2" y="T3"/>
                </a:cxn>
                <a:cxn ang="0">
                  <a:pos x="T4" y="T5"/>
                </a:cxn>
                <a:cxn ang="0">
                  <a:pos x="T6" y="T7"/>
                </a:cxn>
              </a:cxnLst>
              <a:rect l="0" t="0" r="r" b="b"/>
              <a:pathLst>
                <a:path w="4" h="24">
                  <a:moveTo>
                    <a:pt x="3" y="0"/>
                  </a:moveTo>
                  <a:cubicBezTo>
                    <a:pt x="1" y="1"/>
                    <a:pt x="1" y="1"/>
                    <a:pt x="1" y="1"/>
                  </a:cubicBezTo>
                  <a:cubicBezTo>
                    <a:pt x="0" y="24"/>
                    <a:pt x="0" y="24"/>
                    <a:pt x="0" y="24"/>
                  </a:cubicBezTo>
                  <a:cubicBezTo>
                    <a:pt x="0" y="24"/>
                    <a:pt x="4" y="10"/>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5" name="Freeform 650">
              <a:extLst>
                <a:ext uri="{FF2B5EF4-FFF2-40B4-BE49-F238E27FC236}">
                  <a16:creationId xmlns:a16="http://schemas.microsoft.com/office/drawing/2014/main" id="{C9547D01-D80C-D5E8-4C85-12CE51651415}"/>
                </a:ext>
              </a:extLst>
            </p:cNvPr>
            <p:cNvSpPr>
              <a:spLocks/>
            </p:cNvSpPr>
            <p:nvPr/>
          </p:nvSpPr>
          <p:spPr bwMode="gray">
            <a:xfrm>
              <a:off x="10917560" y="45474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6" name="Freeform 651">
              <a:extLst>
                <a:ext uri="{FF2B5EF4-FFF2-40B4-BE49-F238E27FC236}">
                  <a16:creationId xmlns:a16="http://schemas.microsoft.com/office/drawing/2014/main" id="{18273DA6-4F5E-0DFF-87D3-BE1AD1BFB395}"/>
                </a:ext>
              </a:extLst>
            </p:cNvPr>
            <p:cNvSpPr>
              <a:spLocks/>
            </p:cNvSpPr>
            <p:nvPr/>
          </p:nvSpPr>
          <p:spPr bwMode="gray">
            <a:xfrm>
              <a:off x="10912166" y="45438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7" name="Freeform 652">
              <a:extLst>
                <a:ext uri="{FF2B5EF4-FFF2-40B4-BE49-F238E27FC236}">
                  <a16:creationId xmlns:a16="http://schemas.microsoft.com/office/drawing/2014/main" id="{BD506342-38D4-F22E-9C16-1D177E6F1E06}"/>
                </a:ext>
              </a:extLst>
            </p:cNvPr>
            <p:cNvSpPr>
              <a:spLocks/>
            </p:cNvSpPr>
            <p:nvPr/>
          </p:nvSpPr>
          <p:spPr bwMode="gray">
            <a:xfrm>
              <a:off x="10913964" y="45438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8" name="Freeform 653">
              <a:extLst>
                <a:ext uri="{FF2B5EF4-FFF2-40B4-BE49-F238E27FC236}">
                  <a16:creationId xmlns:a16="http://schemas.microsoft.com/office/drawing/2014/main" id="{F0548C23-57D7-F4D7-D26C-E70E98D5C371}"/>
                </a:ext>
              </a:extLst>
            </p:cNvPr>
            <p:cNvSpPr>
              <a:spLocks/>
            </p:cNvSpPr>
            <p:nvPr/>
          </p:nvSpPr>
          <p:spPr bwMode="gray">
            <a:xfrm>
              <a:off x="10917560" y="4547427"/>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9" name="Freeform 654">
              <a:extLst>
                <a:ext uri="{FF2B5EF4-FFF2-40B4-BE49-F238E27FC236}">
                  <a16:creationId xmlns:a16="http://schemas.microsoft.com/office/drawing/2014/main" id="{EB04EECC-AA68-B356-8D73-6B3301CE64E3}"/>
                </a:ext>
              </a:extLst>
            </p:cNvPr>
            <p:cNvSpPr>
              <a:spLocks/>
            </p:cNvSpPr>
            <p:nvPr/>
          </p:nvSpPr>
          <p:spPr bwMode="gray">
            <a:xfrm>
              <a:off x="10761135" y="4040398"/>
              <a:ext cx="442303" cy="534000"/>
            </a:xfrm>
            <a:custGeom>
              <a:avLst/>
              <a:gdLst>
                <a:gd name="T0" fmla="*/ 34 w 744"/>
                <a:gd name="T1" fmla="*/ 66 h 894"/>
                <a:gd name="T2" fmla="*/ 27 w 744"/>
                <a:gd name="T3" fmla="*/ 204 h 894"/>
                <a:gd name="T4" fmla="*/ 53 w 744"/>
                <a:gd name="T5" fmla="*/ 300 h 894"/>
                <a:gd name="T6" fmla="*/ 57 w 744"/>
                <a:gd name="T7" fmla="*/ 446 h 894"/>
                <a:gd name="T8" fmla="*/ 132 w 744"/>
                <a:gd name="T9" fmla="*/ 614 h 894"/>
                <a:gd name="T10" fmla="*/ 134 w 744"/>
                <a:gd name="T11" fmla="*/ 635 h 894"/>
                <a:gd name="T12" fmla="*/ 156 w 744"/>
                <a:gd name="T13" fmla="*/ 652 h 894"/>
                <a:gd name="T14" fmla="*/ 184 w 744"/>
                <a:gd name="T15" fmla="*/ 672 h 894"/>
                <a:gd name="T16" fmla="*/ 198 w 744"/>
                <a:gd name="T17" fmla="*/ 689 h 894"/>
                <a:gd name="T18" fmla="*/ 218 w 744"/>
                <a:gd name="T19" fmla="*/ 700 h 894"/>
                <a:gd name="T20" fmla="*/ 241 w 744"/>
                <a:gd name="T21" fmla="*/ 708 h 894"/>
                <a:gd name="T22" fmla="*/ 259 w 744"/>
                <a:gd name="T23" fmla="*/ 727 h 894"/>
                <a:gd name="T24" fmla="*/ 273 w 744"/>
                <a:gd name="T25" fmla="*/ 736 h 894"/>
                <a:gd name="T26" fmla="*/ 309 w 744"/>
                <a:gd name="T27" fmla="*/ 746 h 894"/>
                <a:gd name="T28" fmla="*/ 331 w 744"/>
                <a:gd name="T29" fmla="*/ 759 h 894"/>
                <a:gd name="T30" fmla="*/ 347 w 744"/>
                <a:gd name="T31" fmla="*/ 731 h 894"/>
                <a:gd name="T32" fmla="*/ 361 w 744"/>
                <a:gd name="T33" fmla="*/ 722 h 894"/>
                <a:gd name="T34" fmla="*/ 370 w 744"/>
                <a:gd name="T35" fmla="*/ 717 h 894"/>
                <a:gd name="T36" fmla="*/ 369 w 744"/>
                <a:gd name="T37" fmla="*/ 705 h 894"/>
                <a:gd name="T38" fmla="*/ 366 w 744"/>
                <a:gd name="T39" fmla="*/ 694 h 894"/>
                <a:gd name="T40" fmla="*/ 352 w 744"/>
                <a:gd name="T41" fmla="*/ 688 h 894"/>
                <a:gd name="T42" fmla="*/ 351 w 744"/>
                <a:gd name="T43" fmla="*/ 680 h 894"/>
                <a:gd name="T44" fmla="*/ 361 w 744"/>
                <a:gd name="T45" fmla="*/ 680 h 894"/>
                <a:gd name="T46" fmla="*/ 372 w 744"/>
                <a:gd name="T47" fmla="*/ 671 h 894"/>
                <a:gd name="T48" fmla="*/ 383 w 744"/>
                <a:gd name="T49" fmla="*/ 657 h 894"/>
                <a:gd name="T50" fmla="*/ 398 w 744"/>
                <a:gd name="T51" fmla="*/ 670 h 894"/>
                <a:gd name="T52" fmla="*/ 394 w 744"/>
                <a:gd name="T53" fmla="*/ 685 h 894"/>
                <a:gd name="T54" fmla="*/ 407 w 744"/>
                <a:gd name="T55" fmla="*/ 690 h 894"/>
                <a:gd name="T56" fmla="*/ 421 w 744"/>
                <a:gd name="T57" fmla="*/ 689 h 894"/>
                <a:gd name="T58" fmla="*/ 428 w 744"/>
                <a:gd name="T59" fmla="*/ 693 h 894"/>
                <a:gd name="T60" fmla="*/ 438 w 744"/>
                <a:gd name="T61" fmla="*/ 703 h 894"/>
                <a:gd name="T62" fmla="*/ 447 w 744"/>
                <a:gd name="T63" fmla="*/ 719 h 894"/>
                <a:gd name="T64" fmla="*/ 456 w 744"/>
                <a:gd name="T65" fmla="*/ 720 h 894"/>
                <a:gd name="T66" fmla="*/ 462 w 744"/>
                <a:gd name="T67" fmla="*/ 738 h 894"/>
                <a:gd name="T68" fmla="*/ 479 w 744"/>
                <a:gd name="T69" fmla="*/ 741 h 894"/>
                <a:gd name="T70" fmla="*/ 486 w 744"/>
                <a:gd name="T71" fmla="*/ 758 h 894"/>
                <a:gd name="T72" fmla="*/ 484 w 744"/>
                <a:gd name="T73" fmla="*/ 772 h 894"/>
                <a:gd name="T74" fmla="*/ 496 w 744"/>
                <a:gd name="T75" fmla="*/ 774 h 894"/>
                <a:gd name="T76" fmla="*/ 508 w 744"/>
                <a:gd name="T77" fmla="*/ 772 h 894"/>
                <a:gd name="T78" fmla="*/ 520 w 744"/>
                <a:gd name="T79" fmla="*/ 777 h 894"/>
                <a:gd name="T80" fmla="*/ 530 w 744"/>
                <a:gd name="T81" fmla="*/ 785 h 894"/>
                <a:gd name="T82" fmla="*/ 541 w 744"/>
                <a:gd name="T83" fmla="*/ 778 h 894"/>
                <a:gd name="T84" fmla="*/ 541 w 744"/>
                <a:gd name="T85" fmla="*/ 790 h 894"/>
                <a:gd name="T86" fmla="*/ 540 w 744"/>
                <a:gd name="T87" fmla="*/ 803 h 894"/>
                <a:gd name="T88" fmla="*/ 533 w 744"/>
                <a:gd name="T89" fmla="*/ 819 h 894"/>
                <a:gd name="T90" fmla="*/ 526 w 744"/>
                <a:gd name="T91" fmla="*/ 833 h 894"/>
                <a:gd name="T92" fmla="*/ 523 w 744"/>
                <a:gd name="T93" fmla="*/ 850 h 894"/>
                <a:gd name="T94" fmla="*/ 522 w 744"/>
                <a:gd name="T95" fmla="*/ 871 h 894"/>
                <a:gd name="T96" fmla="*/ 527 w 744"/>
                <a:gd name="T97" fmla="*/ 894 h 894"/>
                <a:gd name="T98" fmla="*/ 676 w 744"/>
                <a:gd name="T99" fmla="*/ 827 h 894"/>
                <a:gd name="T100" fmla="*/ 711 w 744"/>
                <a:gd name="T101" fmla="*/ 710 h 894"/>
                <a:gd name="T102" fmla="*/ 625 w 744"/>
                <a:gd name="T103" fmla="*/ 473 h 894"/>
                <a:gd name="T104" fmla="*/ 636 w 744"/>
                <a:gd name="T105" fmla="*/ 405 h 894"/>
                <a:gd name="T106" fmla="*/ 614 w 744"/>
                <a:gd name="T107" fmla="*/ 308 h 894"/>
                <a:gd name="T108" fmla="*/ 458 w 744"/>
                <a:gd name="T109" fmla="*/ 289 h 894"/>
                <a:gd name="T110" fmla="*/ 372 w 744"/>
                <a:gd name="T111" fmla="*/ 193 h 894"/>
                <a:gd name="T112" fmla="*/ 281 w 744"/>
                <a:gd name="T113" fmla="*/ 55 h 894"/>
                <a:gd name="T114" fmla="*/ 156 w 744"/>
                <a:gd name="T115" fmla="*/ 1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4" h="894">
                  <a:moveTo>
                    <a:pt x="156" y="18"/>
                  </a:moveTo>
                  <a:cubicBezTo>
                    <a:pt x="156" y="18"/>
                    <a:pt x="141" y="6"/>
                    <a:pt x="130" y="6"/>
                  </a:cubicBezTo>
                  <a:cubicBezTo>
                    <a:pt x="123" y="5"/>
                    <a:pt x="107" y="24"/>
                    <a:pt x="99" y="35"/>
                  </a:cubicBezTo>
                  <a:cubicBezTo>
                    <a:pt x="87" y="46"/>
                    <a:pt x="56" y="60"/>
                    <a:pt x="56" y="60"/>
                  </a:cubicBezTo>
                  <a:cubicBezTo>
                    <a:pt x="38" y="55"/>
                    <a:pt x="38" y="55"/>
                    <a:pt x="38" y="55"/>
                  </a:cubicBezTo>
                  <a:cubicBezTo>
                    <a:pt x="34" y="66"/>
                    <a:pt x="34" y="66"/>
                    <a:pt x="34" y="66"/>
                  </a:cubicBezTo>
                  <a:cubicBezTo>
                    <a:pt x="3" y="84"/>
                    <a:pt x="3" y="84"/>
                    <a:pt x="3" y="84"/>
                  </a:cubicBezTo>
                  <a:cubicBezTo>
                    <a:pt x="14" y="96"/>
                    <a:pt x="21" y="108"/>
                    <a:pt x="20" y="111"/>
                  </a:cubicBezTo>
                  <a:cubicBezTo>
                    <a:pt x="20" y="127"/>
                    <a:pt x="0" y="145"/>
                    <a:pt x="11" y="157"/>
                  </a:cubicBezTo>
                  <a:cubicBezTo>
                    <a:pt x="21" y="173"/>
                    <a:pt x="22" y="157"/>
                    <a:pt x="37" y="154"/>
                  </a:cubicBezTo>
                  <a:cubicBezTo>
                    <a:pt x="56" y="155"/>
                    <a:pt x="51" y="174"/>
                    <a:pt x="28" y="181"/>
                  </a:cubicBezTo>
                  <a:cubicBezTo>
                    <a:pt x="9" y="187"/>
                    <a:pt x="27" y="204"/>
                    <a:pt x="27" y="204"/>
                  </a:cubicBezTo>
                  <a:cubicBezTo>
                    <a:pt x="64" y="228"/>
                    <a:pt x="64" y="228"/>
                    <a:pt x="64" y="228"/>
                  </a:cubicBezTo>
                  <a:cubicBezTo>
                    <a:pt x="105" y="230"/>
                    <a:pt x="105" y="230"/>
                    <a:pt x="105" y="230"/>
                  </a:cubicBezTo>
                  <a:cubicBezTo>
                    <a:pt x="104" y="242"/>
                    <a:pt x="104" y="242"/>
                    <a:pt x="104" y="242"/>
                  </a:cubicBezTo>
                  <a:cubicBezTo>
                    <a:pt x="63" y="240"/>
                    <a:pt x="63" y="240"/>
                    <a:pt x="63" y="240"/>
                  </a:cubicBezTo>
                  <a:cubicBezTo>
                    <a:pt x="47" y="258"/>
                    <a:pt x="47" y="258"/>
                    <a:pt x="47" y="258"/>
                  </a:cubicBezTo>
                  <a:cubicBezTo>
                    <a:pt x="53" y="300"/>
                    <a:pt x="53" y="300"/>
                    <a:pt x="53" y="300"/>
                  </a:cubicBezTo>
                  <a:cubicBezTo>
                    <a:pt x="105" y="311"/>
                    <a:pt x="105" y="311"/>
                    <a:pt x="105" y="311"/>
                  </a:cubicBezTo>
                  <a:cubicBezTo>
                    <a:pt x="97" y="322"/>
                    <a:pt x="97" y="322"/>
                    <a:pt x="97" y="322"/>
                  </a:cubicBezTo>
                  <a:cubicBezTo>
                    <a:pt x="97" y="322"/>
                    <a:pt x="92" y="352"/>
                    <a:pt x="84" y="367"/>
                  </a:cubicBezTo>
                  <a:cubicBezTo>
                    <a:pt x="75" y="382"/>
                    <a:pt x="60" y="400"/>
                    <a:pt x="60" y="400"/>
                  </a:cubicBezTo>
                  <a:cubicBezTo>
                    <a:pt x="63" y="416"/>
                    <a:pt x="63" y="416"/>
                    <a:pt x="63" y="416"/>
                  </a:cubicBezTo>
                  <a:cubicBezTo>
                    <a:pt x="63" y="416"/>
                    <a:pt x="46" y="442"/>
                    <a:pt x="57" y="446"/>
                  </a:cubicBezTo>
                  <a:cubicBezTo>
                    <a:pt x="72" y="450"/>
                    <a:pt x="98" y="452"/>
                    <a:pt x="98" y="452"/>
                  </a:cubicBezTo>
                  <a:cubicBezTo>
                    <a:pt x="152" y="496"/>
                    <a:pt x="152" y="496"/>
                    <a:pt x="152" y="496"/>
                  </a:cubicBezTo>
                  <a:cubicBezTo>
                    <a:pt x="152" y="496"/>
                    <a:pt x="151" y="523"/>
                    <a:pt x="133" y="522"/>
                  </a:cubicBezTo>
                  <a:cubicBezTo>
                    <a:pt x="114" y="521"/>
                    <a:pt x="88" y="516"/>
                    <a:pt x="88" y="516"/>
                  </a:cubicBezTo>
                  <a:cubicBezTo>
                    <a:pt x="112" y="559"/>
                    <a:pt x="112" y="559"/>
                    <a:pt x="112" y="559"/>
                  </a:cubicBezTo>
                  <a:cubicBezTo>
                    <a:pt x="112" y="559"/>
                    <a:pt x="155" y="604"/>
                    <a:pt x="132" y="614"/>
                  </a:cubicBezTo>
                  <a:cubicBezTo>
                    <a:pt x="127" y="618"/>
                    <a:pt x="122" y="619"/>
                    <a:pt x="118" y="620"/>
                  </a:cubicBezTo>
                  <a:cubicBezTo>
                    <a:pt x="119" y="623"/>
                    <a:pt x="119" y="623"/>
                    <a:pt x="119" y="623"/>
                  </a:cubicBezTo>
                  <a:cubicBezTo>
                    <a:pt x="119" y="630"/>
                    <a:pt x="119" y="630"/>
                    <a:pt x="119" y="630"/>
                  </a:cubicBezTo>
                  <a:cubicBezTo>
                    <a:pt x="125" y="631"/>
                    <a:pt x="125" y="631"/>
                    <a:pt x="125" y="631"/>
                  </a:cubicBezTo>
                  <a:cubicBezTo>
                    <a:pt x="131" y="632"/>
                    <a:pt x="131" y="632"/>
                    <a:pt x="131" y="632"/>
                  </a:cubicBezTo>
                  <a:cubicBezTo>
                    <a:pt x="134" y="635"/>
                    <a:pt x="134" y="635"/>
                    <a:pt x="134" y="635"/>
                  </a:cubicBezTo>
                  <a:cubicBezTo>
                    <a:pt x="137" y="638"/>
                    <a:pt x="137" y="638"/>
                    <a:pt x="137" y="638"/>
                  </a:cubicBezTo>
                  <a:cubicBezTo>
                    <a:pt x="141" y="640"/>
                    <a:pt x="141" y="640"/>
                    <a:pt x="141" y="640"/>
                  </a:cubicBezTo>
                  <a:cubicBezTo>
                    <a:pt x="144" y="644"/>
                    <a:pt x="144" y="644"/>
                    <a:pt x="144" y="644"/>
                  </a:cubicBezTo>
                  <a:cubicBezTo>
                    <a:pt x="146" y="647"/>
                    <a:pt x="146" y="647"/>
                    <a:pt x="146" y="647"/>
                  </a:cubicBezTo>
                  <a:cubicBezTo>
                    <a:pt x="151" y="649"/>
                    <a:pt x="151" y="649"/>
                    <a:pt x="151" y="649"/>
                  </a:cubicBezTo>
                  <a:cubicBezTo>
                    <a:pt x="156" y="652"/>
                    <a:pt x="156" y="652"/>
                    <a:pt x="156" y="652"/>
                  </a:cubicBezTo>
                  <a:cubicBezTo>
                    <a:pt x="158" y="656"/>
                    <a:pt x="158" y="656"/>
                    <a:pt x="158" y="656"/>
                  </a:cubicBezTo>
                  <a:cubicBezTo>
                    <a:pt x="166" y="659"/>
                    <a:pt x="166" y="659"/>
                    <a:pt x="166" y="659"/>
                  </a:cubicBezTo>
                  <a:cubicBezTo>
                    <a:pt x="170" y="662"/>
                    <a:pt x="170" y="662"/>
                    <a:pt x="170" y="662"/>
                  </a:cubicBezTo>
                  <a:cubicBezTo>
                    <a:pt x="173" y="664"/>
                    <a:pt x="173" y="664"/>
                    <a:pt x="173" y="664"/>
                  </a:cubicBezTo>
                  <a:cubicBezTo>
                    <a:pt x="177" y="670"/>
                    <a:pt x="177" y="670"/>
                    <a:pt x="177" y="670"/>
                  </a:cubicBezTo>
                  <a:cubicBezTo>
                    <a:pt x="184" y="672"/>
                    <a:pt x="184" y="672"/>
                    <a:pt x="184" y="672"/>
                  </a:cubicBezTo>
                  <a:cubicBezTo>
                    <a:pt x="186" y="674"/>
                    <a:pt x="186" y="674"/>
                    <a:pt x="186" y="674"/>
                  </a:cubicBezTo>
                  <a:cubicBezTo>
                    <a:pt x="190" y="680"/>
                    <a:pt x="190" y="680"/>
                    <a:pt x="190" y="680"/>
                  </a:cubicBezTo>
                  <a:cubicBezTo>
                    <a:pt x="189" y="681"/>
                    <a:pt x="189" y="681"/>
                    <a:pt x="189" y="681"/>
                  </a:cubicBezTo>
                  <a:cubicBezTo>
                    <a:pt x="190" y="685"/>
                    <a:pt x="190" y="685"/>
                    <a:pt x="190" y="685"/>
                  </a:cubicBezTo>
                  <a:cubicBezTo>
                    <a:pt x="194" y="687"/>
                    <a:pt x="194" y="687"/>
                    <a:pt x="194" y="687"/>
                  </a:cubicBezTo>
                  <a:cubicBezTo>
                    <a:pt x="198" y="689"/>
                    <a:pt x="198" y="689"/>
                    <a:pt x="198" y="689"/>
                  </a:cubicBezTo>
                  <a:cubicBezTo>
                    <a:pt x="202" y="690"/>
                    <a:pt x="202" y="690"/>
                    <a:pt x="202" y="690"/>
                  </a:cubicBezTo>
                  <a:cubicBezTo>
                    <a:pt x="207" y="689"/>
                    <a:pt x="207" y="689"/>
                    <a:pt x="207" y="689"/>
                  </a:cubicBezTo>
                  <a:cubicBezTo>
                    <a:pt x="209" y="695"/>
                    <a:pt x="209" y="695"/>
                    <a:pt x="209" y="695"/>
                  </a:cubicBezTo>
                  <a:cubicBezTo>
                    <a:pt x="211" y="697"/>
                    <a:pt x="211" y="697"/>
                    <a:pt x="211" y="697"/>
                  </a:cubicBezTo>
                  <a:cubicBezTo>
                    <a:pt x="213" y="700"/>
                    <a:pt x="213" y="700"/>
                    <a:pt x="213" y="700"/>
                  </a:cubicBezTo>
                  <a:cubicBezTo>
                    <a:pt x="218" y="700"/>
                    <a:pt x="218" y="700"/>
                    <a:pt x="218" y="700"/>
                  </a:cubicBezTo>
                  <a:cubicBezTo>
                    <a:pt x="222" y="701"/>
                    <a:pt x="222" y="701"/>
                    <a:pt x="222" y="701"/>
                  </a:cubicBezTo>
                  <a:cubicBezTo>
                    <a:pt x="222" y="704"/>
                    <a:pt x="222" y="704"/>
                    <a:pt x="222" y="704"/>
                  </a:cubicBezTo>
                  <a:cubicBezTo>
                    <a:pt x="226" y="706"/>
                    <a:pt x="226" y="706"/>
                    <a:pt x="226" y="706"/>
                  </a:cubicBezTo>
                  <a:cubicBezTo>
                    <a:pt x="230" y="705"/>
                    <a:pt x="230" y="705"/>
                    <a:pt x="230" y="705"/>
                  </a:cubicBezTo>
                  <a:cubicBezTo>
                    <a:pt x="234" y="709"/>
                    <a:pt x="234" y="709"/>
                    <a:pt x="234" y="709"/>
                  </a:cubicBezTo>
                  <a:cubicBezTo>
                    <a:pt x="241" y="708"/>
                    <a:pt x="241" y="708"/>
                    <a:pt x="241" y="708"/>
                  </a:cubicBezTo>
                  <a:cubicBezTo>
                    <a:pt x="244" y="708"/>
                    <a:pt x="244" y="708"/>
                    <a:pt x="244" y="708"/>
                  </a:cubicBezTo>
                  <a:cubicBezTo>
                    <a:pt x="247" y="711"/>
                    <a:pt x="247" y="711"/>
                    <a:pt x="247" y="711"/>
                  </a:cubicBezTo>
                  <a:cubicBezTo>
                    <a:pt x="249" y="715"/>
                    <a:pt x="249" y="715"/>
                    <a:pt x="249" y="715"/>
                  </a:cubicBezTo>
                  <a:cubicBezTo>
                    <a:pt x="252" y="718"/>
                    <a:pt x="252" y="718"/>
                    <a:pt x="252" y="718"/>
                  </a:cubicBezTo>
                  <a:cubicBezTo>
                    <a:pt x="256" y="723"/>
                    <a:pt x="256" y="723"/>
                    <a:pt x="256" y="723"/>
                  </a:cubicBezTo>
                  <a:cubicBezTo>
                    <a:pt x="259" y="727"/>
                    <a:pt x="259" y="727"/>
                    <a:pt x="259" y="727"/>
                  </a:cubicBezTo>
                  <a:cubicBezTo>
                    <a:pt x="257" y="733"/>
                    <a:pt x="257" y="733"/>
                    <a:pt x="257" y="733"/>
                  </a:cubicBezTo>
                  <a:cubicBezTo>
                    <a:pt x="258" y="735"/>
                    <a:pt x="258" y="735"/>
                    <a:pt x="258" y="735"/>
                  </a:cubicBezTo>
                  <a:cubicBezTo>
                    <a:pt x="262" y="734"/>
                    <a:pt x="262" y="734"/>
                    <a:pt x="262" y="734"/>
                  </a:cubicBezTo>
                  <a:cubicBezTo>
                    <a:pt x="266" y="734"/>
                    <a:pt x="266" y="734"/>
                    <a:pt x="266" y="734"/>
                  </a:cubicBezTo>
                  <a:cubicBezTo>
                    <a:pt x="268" y="736"/>
                    <a:pt x="268" y="736"/>
                    <a:pt x="268" y="736"/>
                  </a:cubicBezTo>
                  <a:cubicBezTo>
                    <a:pt x="273" y="736"/>
                    <a:pt x="273" y="736"/>
                    <a:pt x="273" y="736"/>
                  </a:cubicBezTo>
                  <a:cubicBezTo>
                    <a:pt x="277" y="735"/>
                    <a:pt x="277" y="735"/>
                    <a:pt x="277" y="735"/>
                  </a:cubicBezTo>
                  <a:cubicBezTo>
                    <a:pt x="282" y="736"/>
                    <a:pt x="282" y="736"/>
                    <a:pt x="282" y="736"/>
                  </a:cubicBezTo>
                  <a:cubicBezTo>
                    <a:pt x="287" y="739"/>
                    <a:pt x="287" y="739"/>
                    <a:pt x="287" y="739"/>
                  </a:cubicBezTo>
                  <a:cubicBezTo>
                    <a:pt x="296" y="742"/>
                    <a:pt x="296" y="742"/>
                    <a:pt x="296" y="742"/>
                  </a:cubicBezTo>
                  <a:cubicBezTo>
                    <a:pt x="304" y="743"/>
                    <a:pt x="304" y="743"/>
                    <a:pt x="304" y="743"/>
                  </a:cubicBezTo>
                  <a:cubicBezTo>
                    <a:pt x="309" y="746"/>
                    <a:pt x="309" y="746"/>
                    <a:pt x="309" y="746"/>
                  </a:cubicBezTo>
                  <a:cubicBezTo>
                    <a:pt x="311" y="758"/>
                    <a:pt x="311" y="758"/>
                    <a:pt x="311" y="758"/>
                  </a:cubicBezTo>
                  <a:cubicBezTo>
                    <a:pt x="309" y="768"/>
                    <a:pt x="309" y="768"/>
                    <a:pt x="309" y="768"/>
                  </a:cubicBezTo>
                  <a:cubicBezTo>
                    <a:pt x="311" y="766"/>
                    <a:pt x="311" y="766"/>
                    <a:pt x="311" y="766"/>
                  </a:cubicBezTo>
                  <a:cubicBezTo>
                    <a:pt x="313" y="764"/>
                    <a:pt x="313" y="764"/>
                    <a:pt x="313" y="764"/>
                  </a:cubicBezTo>
                  <a:cubicBezTo>
                    <a:pt x="323" y="761"/>
                    <a:pt x="323" y="761"/>
                    <a:pt x="323" y="761"/>
                  </a:cubicBezTo>
                  <a:cubicBezTo>
                    <a:pt x="331" y="759"/>
                    <a:pt x="331" y="759"/>
                    <a:pt x="331" y="759"/>
                  </a:cubicBezTo>
                  <a:cubicBezTo>
                    <a:pt x="342" y="754"/>
                    <a:pt x="342" y="754"/>
                    <a:pt x="342" y="754"/>
                  </a:cubicBezTo>
                  <a:cubicBezTo>
                    <a:pt x="344" y="749"/>
                    <a:pt x="344" y="749"/>
                    <a:pt x="344" y="749"/>
                  </a:cubicBezTo>
                  <a:cubicBezTo>
                    <a:pt x="341" y="745"/>
                    <a:pt x="341" y="745"/>
                    <a:pt x="341" y="745"/>
                  </a:cubicBezTo>
                  <a:cubicBezTo>
                    <a:pt x="338" y="741"/>
                    <a:pt x="338" y="741"/>
                    <a:pt x="338" y="741"/>
                  </a:cubicBezTo>
                  <a:cubicBezTo>
                    <a:pt x="340" y="735"/>
                    <a:pt x="340" y="735"/>
                    <a:pt x="340" y="735"/>
                  </a:cubicBezTo>
                  <a:cubicBezTo>
                    <a:pt x="347" y="731"/>
                    <a:pt x="347" y="731"/>
                    <a:pt x="347" y="731"/>
                  </a:cubicBezTo>
                  <a:cubicBezTo>
                    <a:pt x="351" y="725"/>
                    <a:pt x="351" y="725"/>
                    <a:pt x="351" y="725"/>
                  </a:cubicBezTo>
                  <a:cubicBezTo>
                    <a:pt x="356" y="719"/>
                    <a:pt x="356" y="719"/>
                    <a:pt x="356" y="719"/>
                  </a:cubicBezTo>
                  <a:cubicBezTo>
                    <a:pt x="358" y="716"/>
                    <a:pt x="358" y="716"/>
                    <a:pt x="358" y="716"/>
                  </a:cubicBezTo>
                  <a:cubicBezTo>
                    <a:pt x="360" y="717"/>
                    <a:pt x="360" y="717"/>
                    <a:pt x="360" y="717"/>
                  </a:cubicBezTo>
                  <a:cubicBezTo>
                    <a:pt x="361" y="720"/>
                    <a:pt x="361" y="720"/>
                    <a:pt x="361" y="720"/>
                  </a:cubicBezTo>
                  <a:cubicBezTo>
                    <a:pt x="361" y="722"/>
                    <a:pt x="361" y="722"/>
                    <a:pt x="361" y="722"/>
                  </a:cubicBezTo>
                  <a:cubicBezTo>
                    <a:pt x="362" y="723"/>
                    <a:pt x="362" y="723"/>
                    <a:pt x="362" y="723"/>
                  </a:cubicBezTo>
                  <a:cubicBezTo>
                    <a:pt x="364" y="720"/>
                    <a:pt x="364" y="720"/>
                    <a:pt x="364" y="720"/>
                  </a:cubicBezTo>
                  <a:cubicBezTo>
                    <a:pt x="365" y="720"/>
                    <a:pt x="365" y="720"/>
                    <a:pt x="365" y="720"/>
                  </a:cubicBezTo>
                  <a:cubicBezTo>
                    <a:pt x="367" y="720"/>
                    <a:pt x="367" y="720"/>
                    <a:pt x="367" y="720"/>
                  </a:cubicBezTo>
                  <a:cubicBezTo>
                    <a:pt x="369" y="719"/>
                    <a:pt x="369" y="719"/>
                    <a:pt x="369" y="719"/>
                  </a:cubicBezTo>
                  <a:cubicBezTo>
                    <a:pt x="370" y="717"/>
                    <a:pt x="370" y="717"/>
                    <a:pt x="370" y="717"/>
                  </a:cubicBezTo>
                  <a:cubicBezTo>
                    <a:pt x="369" y="715"/>
                    <a:pt x="369" y="715"/>
                    <a:pt x="369" y="715"/>
                  </a:cubicBezTo>
                  <a:cubicBezTo>
                    <a:pt x="366" y="713"/>
                    <a:pt x="366" y="713"/>
                    <a:pt x="366" y="713"/>
                  </a:cubicBezTo>
                  <a:cubicBezTo>
                    <a:pt x="366" y="712"/>
                    <a:pt x="366" y="712"/>
                    <a:pt x="366" y="712"/>
                  </a:cubicBezTo>
                  <a:cubicBezTo>
                    <a:pt x="367" y="711"/>
                    <a:pt x="367" y="711"/>
                    <a:pt x="367" y="711"/>
                  </a:cubicBezTo>
                  <a:cubicBezTo>
                    <a:pt x="369" y="709"/>
                    <a:pt x="369" y="709"/>
                    <a:pt x="369" y="709"/>
                  </a:cubicBezTo>
                  <a:cubicBezTo>
                    <a:pt x="369" y="705"/>
                    <a:pt x="369" y="705"/>
                    <a:pt x="369" y="705"/>
                  </a:cubicBezTo>
                  <a:cubicBezTo>
                    <a:pt x="368" y="703"/>
                    <a:pt x="368" y="703"/>
                    <a:pt x="368" y="703"/>
                  </a:cubicBezTo>
                  <a:cubicBezTo>
                    <a:pt x="365" y="701"/>
                    <a:pt x="365" y="701"/>
                    <a:pt x="365" y="701"/>
                  </a:cubicBezTo>
                  <a:cubicBezTo>
                    <a:pt x="363" y="700"/>
                    <a:pt x="363" y="700"/>
                    <a:pt x="363" y="700"/>
                  </a:cubicBezTo>
                  <a:cubicBezTo>
                    <a:pt x="363" y="697"/>
                    <a:pt x="363" y="697"/>
                    <a:pt x="363" y="697"/>
                  </a:cubicBezTo>
                  <a:cubicBezTo>
                    <a:pt x="365" y="695"/>
                    <a:pt x="365" y="695"/>
                    <a:pt x="365" y="695"/>
                  </a:cubicBezTo>
                  <a:cubicBezTo>
                    <a:pt x="366" y="694"/>
                    <a:pt x="366" y="694"/>
                    <a:pt x="366" y="694"/>
                  </a:cubicBezTo>
                  <a:cubicBezTo>
                    <a:pt x="366" y="691"/>
                    <a:pt x="366" y="691"/>
                    <a:pt x="366" y="691"/>
                  </a:cubicBezTo>
                  <a:cubicBezTo>
                    <a:pt x="364" y="690"/>
                    <a:pt x="364" y="690"/>
                    <a:pt x="364" y="690"/>
                  </a:cubicBezTo>
                  <a:cubicBezTo>
                    <a:pt x="361" y="691"/>
                    <a:pt x="361" y="691"/>
                    <a:pt x="361" y="691"/>
                  </a:cubicBezTo>
                  <a:cubicBezTo>
                    <a:pt x="358" y="691"/>
                    <a:pt x="358" y="691"/>
                    <a:pt x="358" y="691"/>
                  </a:cubicBezTo>
                  <a:cubicBezTo>
                    <a:pt x="355" y="689"/>
                    <a:pt x="355" y="689"/>
                    <a:pt x="355" y="689"/>
                  </a:cubicBezTo>
                  <a:cubicBezTo>
                    <a:pt x="352" y="688"/>
                    <a:pt x="352" y="688"/>
                    <a:pt x="352" y="688"/>
                  </a:cubicBezTo>
                  <a:cubicBezTo>
                    <a:pt x="352" y="686"/>
                    <a:pt x="352" y="686"/>
                    <a:pt x="352" y="686"/>
                  </a:cubicBezTo>
                  <a:cubicBezTo>
                    <a:pt x="352" y="685"/>
                    <a:pt x="352" y="685"/>
                    <a:pt x="352" y="685"/>
                  </a:cubicBezTo>
                  <a:cubicBezTo>
                    <a:pt x="350" y="684"/>
                    <a:pt x="350" y="684"/>
                    <a:pt x="350" y="684"/>
                  </a:cubicBezTo>
                  <a:cubicBezTo>
                    <a:pt x="348" y="683"/>
                    <a:pt x="348" y="683"/>
                    <a:pt x="348" y="683"/>
                  </a:cubicBezTo>
                  <a:cubicBezTo>
                    <a:pt x="348" y="681"/>
                    <a:pt x="348" y="681"/>
                    <a:pt x="348" y="681"/>
                  </a:cubicBezTo>
                  <a:cubicBezTo>
                    <a:pt x="351" y="680"/>
                    <a:pt x="351" y="680"/>
                    <a:pt x="351" y="680"/>
                  </a:cubicBezTo>
                  <a:cubicBezTo>
                    <a:pt x="353" y="681"/>
                    <a:pt x="353" y="681"/>
                    <a:pt x="353" y="681"/>
                  </a:cubicBezTo>
                  <a:cubicBezTo>
                    <a:pt x="354" y="683"/>
                    <a:pt x="354" y="683"/>
                    <a:pt x="354" y="683"/>
                  </a:cubicBezTo>
                  <a:cubicBezTo>
                    <a:pt x="355" y="683"/>
                    <a:pt x="355" y="683"/>
                    <a:pt x="355" y="683"/>
                  </a:cubicBezTo>
                  <a:cubicBezTo>
                    <a:pt x="357" y="681"/>
                    <a:pt x="357" y="681"/>
                    <a:pt x="357" y="681"/>
                  </a:cubicBezTo>
                  <a:cubicBezTo>
                    <a:pt x="358" y="679"/>
                    <a:pt x="358" y="679"/>
                    <a:pt x="358" y="679"/>
                  </a:cubicBezTo>
                  <a:cubicBezTo>
                    <a:pt x="361" y="680"/>
                    <a:pt x="361" y="680"/>
                    <a:pt x="361" y="680"/>
                  </a:cubicBezTo>
                  <a:cubicBezTo>
                    <a:pt x="364" y="681"/>
                    <a:pt x="364" y="681"/>
                    <a:pt x="364" y="681"/>
                  </a:cubicBezTo>
                  <a:cubicBezTo>
                    <a:pt x="365" y="681"/>
                    <a:pt x="365" y="681"/>
                    <a:pt x="365" y="681"/>
                  </a:cubicBezTo>
                  <a:cubicBezTo>
                    <a:pt x="365" y="678"/>
                    <a:pt x="365" y="678"/>
                    <a:pt x="365" y="678"/>
                  </a:cubicBezTo>
                  <a:cubicBezTo>
                    <a:pt x="367" y="675"/>
                    <a:pt x="367" y="675"/>
                    <a:pt x="367" y="675"/>
                  </a:cubicBezTo>
                  <a:cubicBezTo>
                    <a:pt x="369" y="673"/>
                    <a:pt x="369" y="673"/>
                    <a:pt x="369" y="673"/>
                  </a:cubicBezTo>
                  <a:cubicBezTo>
                    <a:pt x="372" y="671"/>
                    <a:pt x="372" y="671"/>
                    <a:pt x="372" y="671"/>
                  </a:cubicBezTo>
                  <a:cubicBezTo>
                    <a:pt x="375" y="670"/>
                    <a:pt x="375" y="670"/>
                    <a:pt x="375" y="670"/>
                  </a:cubicBezTo>
                  <a:cubicBezTo>
                    <a:pt x="377" y="667"/>
                    <a:pt x="377" y="667"/>
                    <a:pt x="377" y="667"/>
                  </a:cubicBezTo>
                  <a:cubicBezTo>
                    <a:pt x="378" y="666"/>
                    <a:pt x="378" y="666"/>
                    <a:pt x="378" y="666"/>
                  </a:cubicBezTo>
                  <a:cubicBezTo>
                    <a:pt x="378" y="662"/>
                    <a:pt x="378" y="662"/>
                    <a:pt x="378" y="662"/>
                  </a:cubicBezTo>
                  <a:cubicBezTo>
                    <a:pt x="380" y="659"/>
                    <a:pt x="380" y="659"/>
                    <a:pt x="380" y="659"/>
                  </a:cubicBezTo>
                  <a:cubicBezTo>
                    <a:pt x="383" y="657"/>
                    <a:pt x="383" y="657"/>
                    <a:pt x="383" y="657"/>
                  </a:cubicBezTo>
                  <a:cubicBezTo>
                    <a:pt x="387" y="657"/>
                    <a:pt x="387" y="657"/>
                    <a:pt x="387" y="657"/>
                  </a:cubicBezTo>
                  <a:cubicBezTo>
                    <a:pt x="389" y="659"/>
                    <a:pt x="389" y="659"/>
                    <a:pt x="389" y="659"/>
                  </a:cubicBezTo>
                  <a:cubicBezTo>
                    <a:pt x="391" y="662"/>
                    <a:pt x="391" y="662"/>
                    <a:pt x="391" y="662"/>
                  </a:cubicBezTo>
                  <a:cubicBezTo>
                    <a:pt x="394" y="665"/>
                    <a:pt x="394" y="665"/>
                    <a:pt x="394" y="665"/>
                  </a:cubicBezTo>
                  <a:cubicBezTo>
                    <a:pt x="396" y="667"/>
                    <a:pt x="396" y="667"/>
                    <a:pt x="396" y="667"/>
                  </a:cubicBezTo>
                  <a:cubicBezTo>
                    <a:pt x="398" y="670"/>
                    <a:pt x="398" y="670"/>
                    <a:pt x="398" y="670"/>
                  </a:cubicBezTo>
                  <a:cubicBezTo>
                    <a:pt x="400" y="673"/>
                    <a:pt x="400" y="673"/>
                    <a:pt x="400" y="673"/>
                  </a:cubicBezTo>
                  <a:cubicBezTo>
                    <a:pt x="401" y="675"/>
                    <a:pt x="401" y="675"/>
                    <a:pt x="401" y="675"/>
                  </a:cubicBezTo>
                  <a:cubicBezTo>
                    <a:pt x="400" y="678"/>
                    <a:pt x="400" y="678"/>
                    <a:pt x="400" y="678"/>
                  </a:cubicBezTo>
                  <a:cubicBezTo>
                    <a:pt x="397" y="680"/>
                    <a:pt x="397" y="680"/>
                    <a:pt x="397" y="680"/>
                  </a:cubicBezTo>
                  <a:cubicBezTo>
                    <a:pt x="394" y="682"/>
                    <a:pt x="394" y="682"/>
                    <a:pt x="394" y="682"/>
                  </a:cubicBezTo>
                  <a:cubicBezTo>
                    <a:pt x="394" y="685"/>
                    <a:pt x="394" y="685"/>
                    <a:pt x="394" y="685"/>
                  </a:cubicBezTo>
                  <a:cubicBezTo>
                    <a:pt x="396" y="688"/>
                    <a:pt x="396" y="688"/>
                    <a:pt x="396" y="688"/>
                  </a:cubicBezTo>
                  <a:cubicBezTo>
                    <a:pt x="397" y="689"/>
                    <a:pt x="397" y="689"/>
                    <a:pt x="397" y="689"/>
                  </a:cubicBezTo>
                  <a:cubicBezTo>
                    <a:pt x="400" y="688"/>
                    <a:pt x="400" y="688"/>
                    <a:pt x="400" y="688"/>
                  </a:cubicBezTo>
                  <a:cubicBezTo>
                    <a:pt x="404" y="688"/>
                    <a:pt x="404" y="688"/>
                    <a:pt x="404" y="688"/>
                  </a:cubicBezTo>
                  <a:cubicBezTo>
                    <a:pt x="405" y="688"/>
                    <a:pt x="405" y="688"/>
                    <a:pt x="405" y="688"/>
                  </a:cubicBezTo>
                  <a:cubicBezTo>
                    <a:pt x="407" y="690"/>
                    <a:pt x="407" y="690"/>
                    <a:pt x="407" y="690"/>
                  </a:cubicBezTo>
                  <a:cubicBezTo>
                    <a:pt x="409" y="691"/>
                    <a:pt x="409" y="691"/>
                    <a:pt x="409" y="691"/>
                  </a:cubicBezTo>
                  <a:cubicBezTo>
                    <a:pt x="412" y="691"/>
                    <a:pt x="412" y="691"/>
                    <a:pt x="412" y="691"/>
                  </a:cubicBezTo>
                  <a:cubicBezTo>
                    <a:pt x="413" y="689"/>
                    <a:pt x="413" y="689"/>
                    <a:pt x="413" y="689"/>
                  </a:cubicBezTo>
                  <a:cubicBezTo>
                    <a:pt x="416" y="687"/>
                    <a:pt x="416" y="687"/>
                    <a:pt x="416" y="687"/>
                  </a:cubicBezTo>
                  <a:cubicBezTo>
                    <a:pt x="419" y="688"/>
                    <a:pt x="419" y="688"/>
                    <a:pt x="419" y="688"/>
                  </a:cubicBezTo>
                  <a:cubicBezTo>
                    <a:pt x="421" y="689"/>
                    <a:pt x="421" y="689"/>
                    <a:pt x="421" y="689"/>
                  </a:cubicBezTo>
                  <a:cubicBezTo>
                    <a:pt x="424" y="688"/>
                    <a:pt x="424" y="688"/>
                    <a:pt x="424" y="688"/>
                  </a:cubicBezTo>
                  <a:cubicBezTo>
                    <a:pt x="426" y="686"/>
                    <a:pt x="426" y="686"/>
                    <a:pt x="426" y="686"/>
                  </a:cubicBezTo>
                  <a:cubicBezTo>
                    <a:pt x="428" y="685"/>
                    <a:pt x="428" y="685"/>
                    <a:pt x="428" y="685"/>
                  </a:cubicBezTo>
                  <a:cubicBezTo>
                    <a:pt x="430" y="685"/>
                    <a:pt x="430" y="685"/>
                    <a:pt x="430" y="685"/>
                  </a:cubicBezTo>
                  <a:cubicBezTo>
                    <a:pt x="428" y="691"/>
                    <a:pt x="428" y="691"/>
                    <a:pt x="428" y="691"/>
                  </a:cubicBezTo>
                  <a:cubicBezTo>
                    <a:pt x="428" y="693"/>
                    <a:pt x="428" y="693"/>
                    <a:pt x="428" y="693"/>
                  </a:cubicBezTo>
                  <a:cubicBezTo>
                    <a:pt x="431" y="693"/>
                    <a:pt x="431" y="693"/>
                    <a:pt x="431" y="693"/>
                  </a:cubicBezTo>
                  <a:cubicBezTo>
                    <a:pt x="434" y="691"/>
                    <a:pt x="434" y="691"/>
                    <a:pt x="434" y="691"/>
                  </a:cubicBezTo>
                  <a:cubicBezTo>
                    <a:pt x="437" y="690"/>
                    <a:pt x="437" y="690"/>
                    <a:pt x="437" y="690"/>
                  </a:cubicBezTo>
                  <a:cubicBezTo>
                    <a:pt x="438" y="693"/>
                    <a:pt x="438" y="693"/>
                    <a:pt x="438" y="693"/>
                  </a:cubicBezTo>
                  <a:cubicBezTo>
                    <a:pt x="438" y="697"/>
                    <a:pt x="438" y="697"/>
                    <a:pt x="438" y="697"/>
                  </a:cubicBezTo>
                  <a:cubicBezTo>
                    <a:pt x="438" y="703"/>
                    <a:pt x="438" y="703"/>
                    <a:pt x="438" y="703"/>
                  </a:cubicBezTo>
                  <a:cubicBezTo>
                    <a:pt x="439" y="709"/>
                    <a:pt x="439" y="709"/>
                    <a:pt x="439" y="709"/>
                  </a:cubicBezTo>
                  <a:cubicBezTo>
                    <a:pt x="440" y="715"/>
                    <a:pt x="440" y="715"/>
                    <a:pt x="440" y="715"/>
                  </a:cubicBezTo>
                  <a:cubicBezTo>
                    <a:pt x="442" y="720"/>
                    <a:pt x="442" y="720"/>
                    <a:pt x="442" y="720"/>
                  </a:cubicBezTo>
                  <a:cubicBezTo>
                    <a:pt x="444" y="721"/>
                    <a:pt x="444" y="721"/>
                    <a:pt x="444" y="721"/>
                  </a:cubicBezTo>
                  <a:cubicBezTo>
                    <a:pt x="446" y="722"/>
                    <a:pt x="446" y="722"/>
                    <a:pt x="446" y="722"/>
                  </a:cubicBezTo>
                  <a:cubicBezTo>
                    <a:pt x="447" y="719"/>
                    <a:pt x="447" y="719"/>
                    <a:pt x="447" y="719"/>
                  </a:cubicBezTo>
                  <a:cubicBezTo>
                    <a:pt x="447" y="716"/>
                    <a:pt x="447" y="716"/>
                    <a:pt x="447" y="716"/>
                  </a:cubicBezTo>
                  <a:cubicBezTo>
                    <a:pt x="448" y="714"/>
                    <a:pt x="448" y="714"/>
                    <a:pt x="448" y="714"/>
                  </a:cubicBezTo>
                  <a:cubicBezTo>
                    <a:pt x="451" y="713"/>
                    <a:pt x="451" y="713"/>
                    <a:pt x="451" y="713"/>
                  </a:cubicBezTo>
                  <a:cubicBezTo>
                    <a:pt x="453" y="714"/>
                    <a:pt x="453" y="714"/>
                    <a:pt x="453" y="714"/>
                  </a:cubicBezTo>
                  <a:cubicBezTo>
                    <a:pt x="455" y="716"/>
                    <a:pt x="455" y="716"/>
                    <a:pt x="455" y="716"/>
                  </a:cubicBezTo>
                  <a:cubicBezTo>
                    <a:pt x="456" y="720"/>
                    <a:pt x="456" y="720"/>
                    <a:pt x="456" y="720"/>
                  </a:cubicBezTo>
                  <a:cubicBezTo>
                    <a:pt x="457" y="724"/>
                    <a:pt x="457" y="724"/>
                    <a:pt x="457" y="724"/>
                  </a:cubicBezTo>
                  <a:cubicBezTo>
                    <a:pt x="457" y="729"/>
                    <a:pt x="457" y="729"/>
                    <a:pt x="457" y="729"/>
                  </a:cubicBezTo>
                  <a:cubicBezTo>
                    <a:pt x="458" y="734"/>
                    <a:pt x="458" y="734"/>
                    <a:pt x="458" y="734"/>
                  </a:cubicBezTo>
                  <a:cubicBezTo>
                    <a:pt x="458" y="737"/>
                    <a:pt x="458" y="737"/>
                    <a:pt x="458" y="737"/>
                  </a:cubicBezTo>
                  <a:cubicBezTo>
                    <a:pt x="460" y="737"/>
                    <a:pt x="460" y="737"/>
                    <a:pt x="460" y="737"/>
                  </a:cubicBezTo>
                  <a:cubicBezTo>
                    <a:pt x="462" y="738"/>
                    <a:pt x="462" y="738"/>
                    <a:pt x="462" y="738"/>
                  </a:cubicBezTo>
                  <a:cubicBezTo>
                    <a:pt x="466" y="736"/>
                    <a:pt x="466" y="736"/>
                    <a:pt x="466" y="736"/>
                  </a:cubicBezTo>
                  <a:cubicBezTo>
                    <a:pt x="468" y="735"/>
                    <a:pt x="468" y="735"/>
                    <a:pt x="468" y="735"/>
                  </a:cubicBezTo>
                  <a:cubicBezTo>
                    <a:pt x="471" y="735"/>
                    <a:pt x="471" y="735"/>
                    <a:pt x="471" y="735"/>
                  </a:cubicBezTo>
                  <a:cubicBezTo>
                    <a:pt x="473" y="737"/>
                    <a:pt x="473" y="737"/>
                    <a:pt x="473" y="737"/>
                  </a:cubicBezTo>
                  <a:cubicBezTo>
                    <a:pt x="476" y="738"/>
                    <a:pt x="476" y="738"/>
                    <a:pt x="476" y="738"/>
                  </a:cubicBezTo>
                  <a:cubicBezTo>
                    <a:pt x="479" y="741"/>
                    <a:pt x="479" y="741"/>
                    <a:pt x="479" y="741"/>
                  </a:cubicBezTo>
                  <a:cubicBezTo>
                    <a:pt x="483" y="742"/>
                    <a:pt x="483" y="742"/>
                    <a:pt x="483" y="742"/>
                  </a:cubicBezTo>
                  <a:cubicBezTo>
                    <a:pt x="484" y="742"/>
                    <a:pt x="484" y="742"/>
                    <a:pt x="484" y="742"/>
                  </a:cubicBezTo>
                  <a:cubicBezTo>
                    <a:pt x="486" y="743"/>
                    <a:pt x="486" y="743"/>
                    <a:pt x="486" y="743"/>
                  </a:cubicBezTo>
                  <a:cubicBezTo>
                    <a:pt x="487" y="745"/>
                    <a:pt x="487" y="745"/>
                    <a:pt x="487" y="745"/>
                  </a:cubicBezTo>
                  <a:cubicBezTo>
                    <a:pt x="487" y="754"/>
                    <a:pt x="487" y="754"/>
                    <a:pt x="487" y="754"/>
                  </a:cubicBezTo>
                  <a:cubicBezTo>
                    <a:pt x="486" y="758"/>
                    <a:pt x="486" y="758"/>
                    <a:pt x="486" y="758"/>
                  </a:cubicBezTo>
                  <a:cubicBezTo>
                    <a:pt x="485" y="761"/>
                    <a:pt x="485" y="761"/>
                    <a:pt x="485" y="761"/>
                  </a:cubicBezTo>
                  <a:cubicBezTo>
                    <a:pt x="483" y="763"/>
                    <a:pt x="483" y="763"/>
                    <a:pt x="483" y="763"/>
                  </a:cubicBezTo>
                  <a:cubicBezTo>
                    <a:pt x="485" y="766"/>
                    <a:pt x="485" y="766"/>
                    <a:pt x="485" y="766"/>
                  </a:cubicBezTo>
                  <a:cubicBezTo>
                    <a:pt x="486" y="767"/>
                    <a:pt x="486" y="767"/>
                    <a:pt x="486" y="767"/>
                  </a:cubicBezTo>
                  <a:cubicBezTo>
                    <a:pt x="485" y="769"/>
                    <a:pt x="485" y="769"/>
                    <a:pt x="485" y="769"/>
                  </a:cubicBezTo>
                  <a:cubicBezTo>
                    <a:pt x="484" y="772"/>
                    <a:pt x="484" y="772"/>
                    <a:pt x="484" y="772"/>
                  </a:cubicBezTo>
                  <a:cubicBezTo>
                    <a:pt x="484" y="774"/>
                    <a:pt x="484" y="774"/>
                    <a:pt x="484" y="774"/>
                  </a:cubicBezTo>
                  <a:cubicBezTo>
                    <a:pt x="486" y="775"/>
                    <a:pt x="486" y="775"/>
                    <a:pt x="486" y="775"/>
                  </a:cubicBezTo>
                  <a:cubicBezTo>
                    <a:pt x="488" y="774"/>
                    <a:pt x="488" y="774"/>
                    <a:pt x="488" y="774"/>
                  </a:cubicBezTo>
                  <a:cubicBezTo>
                    <a:pt x="491" y="772"/>
                    <a:pt x="491" y="772"/>
                    <a:pt x="491" y="772"/>
                  </a:cubicBezTo>
                  <a:cubicBezTo>
                    <a:pt x="493" y="773"/>
                    <a:pt x="493" y="773"/>
                    <a:pt x="493" y="773"/>
                  </a:cubicBezTo>
                  <a:cubicBezTo>
                    <a:pt x="496" y="774"/>
                    <a:pt x="496" y="774"/>
                    <a:pt x="496" y="774"/>
                  </a:cubicBezTo>
                  <a:cubicBezTo>
                    <a:pt x="498" y="773"/>
                    <a:pt x="498" y="773"/>
                    <a:pt x="498" y="773"/>
                  </a:cubicBezTo>
                  <a:cubicBezTo>
                    <a:pt x="500" y="772"/>
                    <a:pt x="500" y="772"/>
                    <a:pt x="500" y="772"/>
                  </a:cubicBezTo>
                  <a:cubicBezTo>
                    <a:pt x="502" y="772"/>
                    <a:pt x="502" y="772"/>
                    <a:pt x="502" y="772"/>
                  </a:cubicBezTo>
                  <a:cubicBezTo>
                    <a:pt x="504" y="773"/>
                    <a:pt x="504" y="773"/>
                    <a:pt x="504" y="773"/>
                  </a:cubicBezTo>
                  <a:cubicBezTo>
                    <a:pt x="506" y="773"/>
                    <a:pt x="506" y="773"/>
                    <a:pt x="506" y="773"/>
                  </a:cubicBezTo>
                  <a:cubicBezTo>
                    <a:pt x="508" y="772"/>
                    <a:pt x="508" y="772"/>
                    <a:pt x="508" y="772"/>
                  </a:cubicBezTo>
                  <a:cubicBezTo>
                    <a:pt x="510" y="771"/>
                    <a:pt x="510" y="771"/>
                    <a:pt x="510" y="771"/>
                  </a:cubicBezTo>
                  <a:cubicBezTo>
                    <a:pt x="512" y="772"/>
                    <a:pt x="512" y="772"/>
                    <a:pt x="512" y="772"/>
                  </a:cubicBezTo>
                  <a:cubicBezTo>
                    <a:pt x="513" y="774"/>
                    <a:pt x="513" y="774"/>
                    <a:pt x="513" y="774"/>
                  </a:cubicBezTo>
                  <a:cubicBezTo>
                    <a:pt x="515" y="776"/>
                    <a:pt x="515" y="776"/>
                    <a:pt x="515" y="776"/>
                  </a:cubicBezTo>
                  <a:cubicBezTo>
                    <a:pt x="518" y="777"/>
                    <a:pt x="518" y="777"/>
                    <a:pt x="518" y="777"/>
                  </a:cubicBezTo>
                  <a:cubicBezTo>
                    <a:pt x="520" y="777"/>
                    <a:pt x="520" y="777"/>
                    <a:pt x="520" y="777"/>
                  </a:cubicBezTo>
                  <a:cubicBezTo>
                    <a:pt x="522" y="779"/>
                    <a:pt x="522" y="779"/>
                    <a:pt x="522" y="779"/>
                  </a:cubicBezTo>
                  <a:cubicBezTo>
                    <a:pt x="525" y="780"/>
                    <a:pt x="525" y="780"/>
                    <a:pt x="525" y="780"/>
                  </a:cubicBezTo>
                  <a:cubicBezTo>
                    <a:pt x="526" y="782"/>
                    <a:pt x="526" y="782"/>
                    <a:pt x="526" y="782"/>
                  </a:cubicBezTo>
                  <a:cubicBezTo>
                    <a:pt x="527" y="787"/>
                    <a:pt x="527" y="787"/>
                    <a:pt x="527" y="787"/>
                  </a:cubicBezTo>
                  <a:cubicBezTo>
                    <a:pt x="528" y="787"/>
                    <a:pt x="528" y="787"/>
                    <a:pt x="528" y="787"/>
                  </a:cubicBezTo>
                  <a:cubicBezTo>
                    <a:pt x="530" y="785"/>
                    <a:pt x="530" y="785"/>
                    <a:pt x="530" y="785"/>
                  </a:cubicBezTo>
                  <a:cubicBezTo>
                    <a:pt x="531" y="783"/>
                    <a:pt x="531" y="783"/>
                    <a:pt x="531" y="783"/>
                  </a:cubicBezTo>
                  <a:cubicBezTo>
                    <a:pt x="532" y="780"/>
                    <a:pt x="532" y="780"/>
                    <a:pt x="532" y="780"/>
                  </a:cubicBezTo>
                  <a:cubicBezTo>
                    <a:pt x="534" y="778"/>
                    <a:pt x="534" y="778"/>
                    <a:pt x="534" y="778"/>
                  </a:cubicBezTo>
                  <a:cubicBezTo>
                    <a:pt x="537" y="777"/>
                    <a:pt x="537" y="777"/>
                    <a:pt x="537" y="777"/>
                  </a:cubicBezTo>
                  <a:cubicBezTo>
                    <a:pt x="539" y="777"/>
                    <a:pt x="539" y="777"/>
                    <a:pt x="539" y="777"/>
                  </a:cubicBezTo>
                  <a:cubicBezTo>
                    <a:pt x="541" y="778"/>
                    <a:pt x="541" y="778"/>
                    <a:pt x="541" y="778"/>
                  </a:cubicBezTo>
                  <a:cubicBezTo>
                    <a:pt x="543" y="780"/>
                    <a:pt x="543" y="780"/>
                    <a:pt x="543" y="780"/>
                  </a:cubicBezTo>
                  <a:cubicBezTo>
                    <a:pt x="544" y="781"/>
                    <a:pt x="544" y="781"/>
                    <a:pt x="544" y="781"/>
                  </a:cubicBezTo>
                  <a:cubicBezTo>
                    <a:pt x="545" y="784"/>
                    <a:pt x="545" y="784"/>
                    <a:pt x="545" y="784"/>
                  </a:cubicBezTo>
                  <a:cubicBezTo>
                    <a:pt x="545" y="787"/>
                    <a:pt x="545" y="787"/>
                    <a:pt x="545" y="787"/>
                  </a:cubicBezTo>
                  <a:cubicBezTo>
                    <a:pt x="543" y="789"/>
                    <a:pt x="543" y="789"/>
                    <a:pt x="543" y="789"/>
                  </a:cubicBezTo>
                  <a:cubicBezTo>
                    <a:pt x="541" y="790"/>
                    <a:pt x="541" y="790"/>
                    <a:pt x="541" y="790"/>
                  </a:cubicBezTo>
                  <a:cubicBezTo>
                    <a:pt x="542" y="793"/>
                    <a:pt x="542" y="793"/>
                    <a:pt x="542" y="793"/>
                  </a:cubicBezTo>
                  <a:cubicBezTo>
                    <a:pt x="542" y="796"/>
                    <a:pt x="542" y="796"/>
                    <a:pt x="542" y="796"/>
                  </a:cubicBezTo>
                  <a:cubicBezTo>
                    <a:pt x="540" y="797"/>
                    <a:pt x="540" y="797"/>
                    <a:pt x="540" y="797"/>
                  </a:cubicBezTo>
                  <a:cubicBezTo>
                    <a:pt x="539" y="799"/>
                    <a:pt x="539" y="799"/>
                    <a:pt x="539" y="799"/>
                  </a:cubicBezTo>
                  <a:cubicBezTo>
                    <a:pt x="539" y="801"/>
                    <a:pt x="539" y="801"/>
                    <a:pt x="539" y="801"/>
                  </a:cubicBezTo>
                  <a:cubicBezTo>
                    <a:pt x="540" y="803"/>
                    <a:pt x="540" y="803"/>
                    <a:pt x="540" y="803"/>
                  </a:cubicBezTo>
                  <a:cubicBezTo>
                    <a:pt x="540" y="804"/>
                    <a:pt x="540" y="804"/>
                    <a:pt x="540" y="804"/>
                  </a:cubicBezTo>
                  <a:cubicBezTo>
                    <a:pt x="539" y="806"/>
                    <a:pt x="539" y="806"/>
                    <a:pt x="539" y="806"/>
                  </a:cubicBezTo>
                  <a:cubicBezTo>
                    <a:pt x="536" y="807"/>
                    <a:pt x="536" y="807"/>
                    <a:pt x="536" y="807"/>
                  </a:cubicBezTo>
                  <a:cubicBezTo>
                    <a:pt x="534" y="810"/>
                    <a:pt x="534" y="810"/>
                    <a:pt x="534" y="810"/>
                  </a:cubicBezTo>
                  <a:cubicBezTo>
                    <a:pt x="534" y="816"/>
                    <a:pt x="534" y="816"/>
                    <a:pt x="534" y="816"/>
                  </a:cubicBezTo>
                  <a:cubicBezTo>
                    <a:pt x="533" y="819"/>
                    <a:pt x="533" y="819"/>
                    <a:pt x="533" y="819"/>
                  </a:cubicBezTo>
                  <a:cubicBezTo>
                    <a:pt x="532" y="821"/>
                    <a:pt x="532" y="821"/>
                    <a:pt x="532" y="821"/>
                  </a:cubicBezTo>
                  <a:cubicBezTo>
                    <a:pt x="530" y="823"/>
                    <a:pt x="530" y="823"/>
                    <a:pt x="530" y="823"/>
                  </a:cubicBezTo>
                  <a:cubicBezTo>
                    <a:pt x="530" y="823"/>
                    <a:pt x="529" y="824"/>
                    <a:pt x="528" y="825"/>
                  </a:cubicBezTo>
                  <a:cubicBezTo>
                    <a:pt x="527" y="827"/>
                    <a:pt x="527" y="829"/>
                    <a:pt x="527" y="829"/>
                  </a:cubicBezTo>
                  <a:cubicBezTo>
                    <a:pt x="526" y="832"/>
                    <a:pt x="526" y="832"/>
                    <a:pt x="526" y="832"/>
                  </a:cubicBezTo>
                  <a:cubicBezTo>
                    <a:pt x="526" y="833"/>
                    <a:pt x="526" y="833"/>
                    <a:pt x="526" y="833"/>
                  </a:cubicBezTo>
                  <a:cubicBezTo>
                    <a:pt x="527" y="835"/>
                    <a:pt x="527" y="835"/>
                    <a:pt x="527" y="835"/>
                  </a:cubicBezTo>
                  <a:cubicBezTo>
                    <a:pt x="527" y="839"/>
                    <a:pt x="527" y="839"/>
                    <a:pt x="527" y="839"/>
                  </a:cubicBezTo>
                  <a:cubicBezTo>
                    <a:pt x="527" y="842"/>
                    <a:pt x="527" y="842"/>
                    <a:pt x="527" y="842"/>
                  </a:cubicBezTo>
                  <a:cubicBezTo>
                    <a:pt x="526" y="844"/>
                    <a:pt x="526" y="844"/>
                    <a:pt x="526" y="844"/>
                  </a:cubicBezTo>
                  <a:cubicBezTo>
                    <a:pt x="525" y="848"/>
                    <a:pt x="525" y="848"/>
                    <a:pt x="525" y="848"/>
                  </a:cubicBezTo>
                  <a:cubicBezTo>
                    <a:pt x="523" y="850"/>
                    <a:pt x="523" y="850"/>
                    <a:pt x="523" y="850"/>
                  </a:cubicBezTo>
                  <a:cubicBezTo>
                    <a:pt x="522" y="853"/>
                    <a:pt x="522" y="853"/>
                    <a:pt x="522" y="853"/>
                  </a:cubicBezTo>
                  <a:cubicBezTo>
                    <a:pt x="521" y="855"/>
                    <a:pt x="521" y="855"/>
                    <a:pt x="521" y="855"/>
                  </a:cubicBezTo>
                  <a:cubicBezTo>
                    <a:pt x="520" y="860"/>
                    <a:pt x="520" y="860"/>
                    <a:pt x="520" y="860"/>
                  </a:cubicBezTo>
                  <a:cubicBezTo>
                    <a:pt x="520" y="866"/>
                    <a:pt x="520" y="866"/>
                    <a:pt x="520" y="866"/>
                  </a:cubicBezTo>
                  <a:cubicBezTo>
                    <a:pt x="521" y="869"/>
                    <a:pt x="521" y="869"/>
                    <a:pt x="521" y="869"/>
                  </a:cubicBezTo>
                  <a:cubicBezTo>
                    <a:pt x="522" y="871"/>
                    <a:pt x="522" y="871"/>
                    <a:pt x="522" y="871"/>
                  </a:cubicBezTo>
                  <a:cubicBezTo>
                    <a:pt x="523" y="877"/>
                    <a:pt x="523" y="877"/>
                    <a:pt x="523" y="877"/>
                  </a:cubicBezTo>
                  <a:cubicBezTo>
                    <a:pt x="523" y="882"/>
                    <a:pt x="523" y="882"/>
                    <a:pt x="523" y="882"/>
                  </a:cubicBezTo>
                  <a:cubicBezTo>
                    <a:pt x="523" y="894"/>
                    <a:pt x="523" y="894"/>
                    <a:pt x="523" y="894"/>
                  </a:cubicBezTo>
                  <a:cubicBezTo>
                    <a:pt x="523" y="894"/>
                    <a:pt x="523" y="894"/>
                    <a:pt x="523" y="894"/>
                  </a:cubicBezTo>
                  <a:cubicBezTo>
                    <a:pt x="524" y="894"/>
                    <a:pt x="525" y="894"/>
                    <a:pt x="526" y="894"/>
                  </a:cubicBezTo>
                  <a:cubicBezTo>
                    <a:pt x="527" y="894"/>
                    <a:pt x="527" y="894"/>
                    <a:pt x="527" y="894"/>
                  </a:cubicBezTo>
                  <a:cubicBezTo>
                    <a:pt x="529" y="893"/>
                    <a:pt x="530" y="893"/>
                    <a:pt x="531" y="893"/>
                  </a:cubicBezTo>
                  <a:cubicBezTo>
                    <a:pt x="546" y="894"/>
                    <a:pt x="573" y="872"/>
                    <a:pt x="573" y="872"/>
                  </a:cubicBezTo>
                  <a:cubicBezTo>
                    <a:pt x="606" y="878"/>
                    <a:pt x="606" y="878"/>
                    <a:pt x="606" y="878"/>
                  </a:cubicBezTo>
                  <a:cubicBezTo>
                    <a:pt x="634" y="856"/>
                    <a:pt x="634" y="856"/>
                    <a:pt x="634" y="856"/>
                  </a:cubicBezTo>
                  <a:cubicBezTo>
                    <a:pt x="648" y="868"/>
                    <a:pt x="648" y="868"/>
                    <a:pt x="648" y="868"/>
                  </a:cubicBezTo>
                  <a:cubicBezTo>
                    <a:pt x="676" y="827"/>
                    <a:pt x="676" y="827"/>
                    <a:pt x="676" y="827"/>
                  </a:cubicBezTo>
                  <a:cubicBezTo>
                    <a:pt x="651" y="799"/>
                    <a:pt x="651" y="799"/>
                    <a:pt x="651" y="799"/>
                  </a:cubicBezTo>
                  <a:cubicBezTo>
                    <a:pt x="664" y="766"/>
                    <a:pt x="664" y="766"/>
                    <a:pt x="664" y="766"/>
                  </a:cubicBezTo>
                  <a:cubicBezTo>
                    <a:pt x="645" y="761"/>
                    <a:pt x="645" y="761"/>
                    <a:pt x="645" y="761"/>
                  </a:cubicBezTo>
                  <a:cubicBezTo>
                    <a:pt x="645" y="761"/>
                    <a:pt x="646" y="746"/>
                    <a:pt x="662" y="735"/>
                  </a:cubicBezTo>
                  <a:cubicBezTo>
                    <a:pt x="673" y="724"/>
                    <a:pt x="688" y="732"/>
                    <a:pt x="699" y="729"/>
                  </a:cubicBezTo>
                  <a:cubicBezTo>
                    <a:pt x="707" y="725"/>
                    <a:pt x="711" y="710"/>
                    <a:pt x="711" y="710"/>
                  </a:cubicBezTo>
                  <a:cubicBezTo>
                    <a:pt x="744" y="658"/>
                    <a:pt x="744" y="658"/>
                    <a:pt x="744" y="658"/>
                  </a:cubicBezTo>
                  <a:cubicBezTo>
                    <a:pt x="744" y="658"/>
                    <a:pt x="726" y="627"/>
                    <a:pt x="708" y="615"/>
                  </a:cubicBezTo>
                  <a:cubicBezTo>
                    <a:pt x="694" y="602"/>
                    <a:pt x="653" y="593"/>
                    <a:pt x="653" y="593"/>
                  </a:cubicBezTo>
                  <a:cubicBezTo>
                    <a:pt x="643" y="558"/>
                    <a:pt x="643" y="558"/>
                    <a:pt x="643" y="558"/>
                  </a:cubicBezTo>
                  <a:cubicBezTo>
                    <a:pt x="615" y="526"/>
                    <a:pt x="615" y="526"/>
                    <a:pt x="615" y="526"/>
                  </a:cubicBezTo>
                  <a:cubicBezTo>
                    <a:pt x="625" y="473"/>
                    <a:pt x="625" y="473"/>
                    <a:pt x="625" y="473"/>
                  </a:cubicBezTo>
                  <a:cubicBezTo>
                    <a:pt x="625" y="473"/>
                    <a:pt x="636" y="470"/>
                    <a:pt x="644" y="462"/>
                  </a:cubicBezTo>
                  <a:cubicBezTo>
                    <a:pt x="652" y="451"/>
                    <a:pt x="649" y="432"/>
                    <a:pt x="649" y="432"/>
                  </a:cubicBezTo>
                  <a:cubicBezTo>
                    <a:pt x="649" y="432"/>
                    <a:pt x="653" y="428"/>
                    <a:pt x="657" y="421"/>
                  </a:cubicBezTo>
                  <a:cubicBezTo>
                    <a:pt x="658" y="420"/>
                    <a:pt x="659" y="419"/>
                    <a:pt x="660" y="418"/>
                  </a:cubicBezTo>
                  <a:cubicBezTo>
                    <a:pt x="662" y="414"/>
                    <a:pt x="663" y="410"/>
                    <a:pt x="662" y="406"/>
                  </a:cubicBezTo>
                  <a:cubicBezTo>
                    <a:pt x="659" y="390"/>
                    <a:pt x="636" y="405"/>
                    <a:pt x="636" y="405"/>
                  </a:cubicBezTo>
                  <a:cubicBezTo>
                    <a:pt x="626" y="362"/>
                    <a:pt x="626" y="362"/>
                    <a:pt x="626" y="362"/>
                  </a:cubicBezTo>
                  <a:cubicBezTo>
                    <a:pt x="638" y="363"/>
                    <a:pt x="638" y="363"/>
                    <a:pt x="638" y="363"/>
                  </a:cubicBezTo>
                  <a:cubicBezTo>
                    <a:pt x="646" y="340"/>
                    <a:pt x="646" y="340"/>
                    <a:pt x="646" y="340"/>
                  </a:cubicBezTo>
                  <a:cubicBezTo>
                    <a:pt x="661" y="348"/>
                    <a:pt x="661" y="348"/>
                    <a:pt x="661" y="348"/>
                  </a:cubicBezTo>
                  <a:cubicBezTo>
                    <a:pt x="665" y="333"/>
                    <a:pt x="665" y="333"/>
                    <a:pt x="665" y="333"/>
                  </a:cubicBezTo>
                  <a:cubicBezTo>
                    <a:pt x="665" y="333"/>
                    <a:pt x="644" y="313"/>
                    <a:pt x="614" y="308"/>
                  </a:cubicBezTo>
                  <a:cubicBezTo>
                    <a:pt x="588" y="307"/>
                    <a:pt x="581" y="368"/>
                    <a:pt x="566" y="367"/>
                  </a:cubicBezTo>
                  <a:cubicBezTo>
                    <a:pt x="555" y="370"/>
                    <a:pt x="556" y="340"/>
                    <a:pt x="542" y="331"/>
                  </a:cubicBezTo>
                  <a:cubicBezTo>
                    <a:pt x="531" y="319"/>
                    <a:pt x="515" y="345"/>
                    <a:pt x="500" y="337"/>
                  </a:cubicBezTo>
                  <a:cubicBezTo>
                    <a:pt x="485" y="333"/>
                    <a:pt x="479" y="313"/>
                    <a:pt x="472" y="309"/>
                  </a:cubicBezTo>
                  <a:cubicBezTo>
                    <a:pt x="461" y="305"/>
                    <a:pt x="431" y="299"/>
                    <a:pt x="431" y="299"/>
                  </a:cubicBezTo>
                  <a:cubicBezTo>
                    <a:pt x="458" y="289"/>
                    <a:pt x="458" y="289"/>
                    <a:pt x="458" y="289"/>
                  </a:cubicBezTo>
                  <a:cubicBezTo>
                    <a:pt x="462" y="274"/>
                    <a:pt x="462" y="274"/>
                    <a:pt x="462" y="274"/>
                  </a:cubicBezTo>
                  <a:cubicBezTo>
                    <a:pt x="432" y="265"/>
                    <a:pt x="432" y="265"/>
                    <a:pt x="432" y="265"/>
                  </a:cubicBezTo>
                  <a:cubicBezTo>
                    <a:pt x="432" y="265"/>
                    <a:pt x="452" y="243"/>
                    <a:pt x="454" y="212"/>
                  </a:cubicBezTo>
                  <a:cubicBezTo>
                    <a:pt x="451" y="185"/>
                    <a:pt x="405" y="202"/>
                    <a:pt x="405" y="202"/>
                  </a:cubicBezTo>
                  <a:cubicBezTo>
                    <a:pt x="391" y="186"/>
                    <a:pt x="391" y="186"/>
                    <a:pt x="391" y="186"/>
                  </a:cubicBezTo>
                  <a:cubicBezTo>
                    <a:pt x="372" y="193"/>
                    <a:pt x="372" y="193"/>
                    <a:pt x="372" y="193"/>
                  </a:cubicBezTo>
                  <a:cubicBezTo>
                    <a:pt x="322" y="153"/>
                    <a:pt x="322" y="153"/>
                    <a:pt x="322" y="153"/>
                  </a:cubicBezTo>
                  <a:cubicBezTo>
                    <a:pt x="334" y="134"/>
                    <a:pt x="334" y="134"/>
                    <a:pt x="334" y="134"/>
                  </a:cubicBezTo>
                  <a:cubicBezTo>
                    <a:pt x="315" y="125"/>
                    <a:pt x="315" y="125"/>
                    <a:pt x="315" y="125"/>
                  </a:cubicBezTo>
                  <a:cubicBezTo>
                    <a:pt x="328" y="84"/>
                    <a:pt x="328" y="84"/>
                    <a:pt x="328" y="84"/>
                  </a:cubicBezTo>
                  <a:cubicBezTo>
                    <a:pt x="328" y="84"/>
                    <a:pt x="306" y="94"/>
                    <a:pt x="294" y="94"/>
                  </a:cubicBezTo>
                  <a:cubicBezTo>
                    <a:pt x="283" y="93"/>
                    <a:pt x="281" y="55"/>
                    <a:pt x="281" y="55"/>
                  </a:cubicBezTo>
                  <a:cubicBezTo>
                    <a:pt x="274" y="55"/>
                    <a:pt x="274" y="55"/>
                    <a:pt x="274" y="55"/>
                  </a:cubicBezTo>
                  <a:cubicBezTo>
                    <a:pt x="263" y="43"/>
                    <a:pt x="263" y="43"/>
                    <a:pt x="263" y="43"/>
                  </a:cubicBezTo>
                  <a:cubicBezTo>
                    <a:pt x="244" y="46"/>
                    <a:pt x="244" y="46"/>
                    <a:pt x="244" y="46"/>
                  </a:cubicBezTo>
                  <a:cubicBezTo>
                    <a:pt x="224" y="6"/>
                    <a:pt x="224" y="6"/>
                    <a:pt x="224" y="6"/>
                  </a:cubicBezTo>
                  <a:cubicBezTo>
                    <a:pt x="194" y="5"/>
                    <a:pt x="194" y="5"/>
                    <a:pt x="194" y="5"/>
                  </a:cubicBezTo>
                  <a:cubicBezTo>
                    <a:pt x="164" y="0"/>
                    <a:pt x="156" y="18"/>
                    <a:pt x="156" y="1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0" name="Freeform 655">
              <a:extLst>
                <a:ext uri="{FF2B5EF4-FFF2-40B4-BE49-F238E27FC236}">
                  <a16:creationId xmlns:a16="http://schemas.microsoft.com/office/drawing/2014/main" id="{FEC0EF8E-AA6D-CB10-86F5-4CE94FEE7633}"/>
                </a:ext>
              </a:extLst>
            </p:cNvPr>
            <p:cNvSpPr>
              <a:spLocks/>
            </p:cNvSpPr>
            <p:nvPr/>
          </p:nvSpPr>
          <p:spPr bwMode="gray">
            <a:xfrm>
              <a:off x="10831257" y="4407185"/>
              <a:ext cx="7192" cy="3596"/>
            </a:xfrm>
            <a:custGeom>
              <a:avLst/>
              <a:gdLst>
                <a:gd name="T0" fmla="*/ 0 w 14"/>
                <a:gd name="T1" fmla="*/ 6 h 6"/>
                <a:gd name="T2" fmla="*/ 0 w 14"/>
                <a:gd name="T3" fmla="*/ 6 h 6"/>
                <a:gd name="T4" fmla="*/ 14 w 14"/>
                <a:gd name="T5" fmla="*/ 0 h 6"/>
                <a:gd name="T6" fmla="*/ 0 w 14"/>
                <a:gd name="T7" fmla="*/ 6 h 6"/>
              </a:gdLst>
              <a:ahLst/>
              <a:cxnLst>
                <a:cxn ang="0">
                  <a:pos x="T0" y="T1"/>
                </a:cxn>
                <a:cxn ang="0">
                  <a:pos x="T2" y="T3"/>
                </a:cxn>
                <a:cxn ang="0">
                  <a:pos x="T4" y="T5"/>
                </a:cxn>
                <a:cxn ang="0">
                  <a:pos x="T6" y="T7"/>
                </a:cxn>
              </a:cxnLst>
              <a:rect l="0" t="0" r="r" b="b"/>
              <a:pathLst>
                <a:path w="14" h="6">
                  <a:moveTo>
                    <a:pt x="0" y="6"/>
                  </a:moveTo>
                  <a:cubicBezTo>
                    <a:pt x="0" y="6"/>
                    <a:pt x="0" y="6"/>
                    <a:pt x="0" y="6"/>
                  </a:cubicBezTo>
                  <a:cubicBezTo>
                    <a:pt x="4" y="5"/>
                    <a:pt x="9" y="4"/>
                    <a:pt x="14" y="0"/>
                  </a:cubicBezTo>
                  <a:cubicBezTo>
                    <a:pt x="9" y="4"/>
                    <a:pt x="4" y="5"/>
                    <a:pt x="0"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1" name="Freeform 656">
              <a:extLst>
                <a:ext uri="{FF2B5EF4-FFF2-40B4-BE49-F238E27FC236}">
                  <a16:creationId xmlns:a16="http://schemas.microsoft.com/office/drawing/2014/main" id="{EB467F95-E866-85BE-3071-844F7F7DDE30}"/>
                </a:ext>
              </a:extLst>
            </p:cNvPr>
            <p:cNvSpPr>
              <a:spLocks/>
            </p:cNvSpPr>
            <p:nvPr/>
          </p:nvSpPr>
          <p:spPr bwMode="gray">
            <a:xfrm>
              <a:off x="11072186" y="4574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2" name="Freeform 657">
              <a:extLst>
                <a:ext uri="{FF2B5EF4-FFF2-40B4-BE49-F238E27FC236}">
                  <a16:creationId xmlns:a16="http://schemas.microsoft.com/office/drawing/2014/main" id="{BD421E6C-D418-EFA7-949C-91499AEF7DB5}"/>
                </a:ext>
              </a:extLst>
            </p:cNvPr>
            <p:cNvSpPr>
              <a:spLocks/>
            </p:cNvSpPr>
            <p:nvPr/>
          </p:nvSpPr>
          <p:spPr bwMode="gray">
            <a:xfrm>
              <a:off x="11073983" y="4574398"/>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3" name="Rectangle 658">
              <a:extLst>
                <a:ext uri="{FF2B5EF4-FFF2-40B4-BE49-F238E27FC236}">
                  <a16:creationId xmlns:a16="http://schemas.microsoft.com/office/drawing/2014/main" id="{61B4BF92-0790-2F06-56CC-CBBD898B0D0F}"/>
                </a:ext>
              </a:extLst>
            </p:cNvPr>
            <p:cNvSpPr>
              <a:spLocks noChangeArrowheads="1"/>
            </p:cNvSpPr>
            <p:nvPr/>
          </p:nvSpPr>
          <p:spPr bwMode="gray">
            <a:xfrm>
              <a:off x="10876205" y="4043994"/>
              <a:ext cx="17980"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4" name="Freeform 659">
              <a:extLst>
                <a:ext uri="{FF2B5EF4-FFF2-40B4-BE49-F238E27FC236}">
                  <a16:creationId xmlns:a16="http://schemas.microsoft.com/office/drawing/2014/main" id="{DCC0EC21-F8CE-9459-119D-9CD62CC83C22}"/>
                </a:ext>
              </a:extLst>
            </p:cNvPr>
            <p:cNvSpPr>
              <a:spLocks/>
            </p:cNvSpPr>
            <p:nvPr/>
          </p:nvSpPr>
          <p:spPr bwMode="gray">
            <a:xfrm>
              <a:off x="11151297" y="4290317"/>
              <a:ext cx="1798" cy="1798"/>
            </a:xfrm>
            <a:custGeom>
              <a:avLst/>
              <a:gdLst>
                <a:gd name="T0" fmla="*/ 1 w 3"/>
                <a:gd name="T1" fmla="*/ 3 h 3"/>
                <a:gd name="T2" fmla="*/ 3 w 3"/>
                <a:gd name="T3" fmla="*/ 0 h 3"/>
                <a:gd name="T4" fmla="*/ 0 w 3"/>
                <a:gd name="T5" fmla="*/ 3 h 3"/>
                <a:gd name="T6" fmla="*/ 1 w 3"/>
                <a:gd name="T7" fmla="*/ 3 h 3"/>
              </a:gdLst>
              <a:ahLst/>
              <a:cxnLst>
                <a:cxn ang="0">
                  <a:pos x="T0" y="T1"/>
                </a:cxn>
                <a:cxn ang="0">
                  <a:pos x="T2" y="T3"/>
                </a:cxn>
                <a:cxn ang="0">
                  <a:pos x="T4" y="T5"/>
                </a:cxn>
                <a:cxn ang="0">
                  <a:pos x="T6" y="T7"/>
                </a:cxn>
              </a:cxnLst>
              <a:rect l="0" t="0" r="r" b="b"/>
              <a:pathLst>
                <a:path w="3" h="3">
                  <a:moveTo>
                    <a:pt x="1" y="3"/>
                  </a:moveTo>
                  <a:cubicBezTo>
                    <a:pt x="2" y="2"/>
                    <a:pt x="2" y="1"/>
                    <a:pt x="3" y="0"/>
                  </a:cubicBezTo>
                  <a:cubicBezTo>
                    <a:pt x="2" y="1"/>
                    <a:pt x="1" y="2"/>
                    <a:pt x="0" y="3"/>
                  </a:cubicBezTo>
                  <a:cubicBezTo>
                    <a:pt x="1" y="3"/>
                    <a:pt x="1" y="3"/>
                    <a:pt x="1"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5" name="Freeform 660">
              <a:extLst>
                <a:ext uri="{FF2B5EF4-FFF2-40B4-BE49-F238E27FC236}">
                  <a16:creationId xmlns:a16="http://schemas.microsoft.com/office/drawing/2014/main" id="{CC009A80-AFD8-F7EB-1E80-D5E8B3B60EDE}"/>
                </a:ext>
              </a:extLst>
            </p:cNvPr>
            <p:cNvSpPr>
              <a:spLocks/>
            </p:cNvSpPr>
            <p:nvPr/>
          </p:nvSpPr>
          <p:spPr bwMode="gray">
            <a:xfrm>
              <a:off x="11147701" y="4292114"/>
              <a:ext cx="5395" cy="7192"/>
            </a:xfrm>
            <a:custGeom>
              <a:avLst/>
              <a:gdLst>
                <a:gd name="T0" fmla="*/ 0 w 9"/>
                <a:gd name="T1" fmla="*/ 11 h 11"/>
                <a:gd name="T2" fmla="*/ 9 w 9"/>
                <a:gd name="T3" fmla="*/ 0 h 11"/>
                <a:gd name="T4" fmla="*/ 8 w 9"/>
                <a:gd name="T5" fmla="*/ 0 h 11"/>
                <a:gd name="T6" fmla="*/ 0 w 9"/>
                <a:gd name="T7" fmla="*/ 11 h 11"/>
              </a:gdLst>
              <a:ahLst/>
              <a:cxnLst>
                <a:cxn ang="0">
                  <a:pos x="T0" y="T1"/>
                </a:cxn>
                <a:cxn ang="0">
                  <a:pos x="T2" y="T3"/>
                </a:cxn>
                <a:cxn ang="0">
                  <a:pos x="T4" y="T5"/>
                </a:cxn>
                <a:cxn ang="0">
                  <a:pos x="T6" y="T7"/>
                </a:cxn>
              </a:cxnLst>
              <a:rect l="0" t="0" r="r" b="b"/>
              <a:pathLst>
                <a:path w="9" h="11">
                  <a:moveTo>
                    <a:pt x="0" y="11"/>
                  </a:moveTo>
                  <a:cubicBezTo>
                    <a:pt x="0" y="11"/>
                    <a:pt x="5" y="6"/>
                    <a:pt x="9" y="0"/>
                  </a:cubicBezTo>
                  <a:cubicBezTo>
                    <a:pt x="9" y="0"/>
                    <a:pt x="9" y="0"/>
                    <a:pt x="8" y="0"/>
                  </a:cubicBezTo>
                  <a:cubicBezTo>
                    <a:pt x="4" y="7"/>
                    <a:pt x="0" y="11"/>
                    <a:pt x="0"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6" name="Freeform 661">
              <a:extLst>
                <a:ext uri="{FF2B5EF4-FFF2-40B4-BE49-F238E27FC236}">
                  <a16:creationId xmlns:a16="http://schemas.microsoft.com/office/drawing/2014/main" id="{4B9463AE-336D-EC16-2915-9BE35BC8165E}"/>
                </a:ext>
              </a:extLst>
            </p:cNvPr>
            <p:cNvSpPr>
              <a:spLocks/>
            </p:cNvSpPr>
            <p:nvPr/>
          </p:nvSpPr>
          <p:spPr bwMode="gray">
            <a:xfrm>
              <a:off x="10937337" y="4502478"/>
              <a:ext cx="3596" cy="5395"/>
            </a:xfrm>
            <a:custGeom>
              <a:avLst/>
              <a:gdLst>
                <a:gd name="T0" fmla="*/ 0 w 2"/>
                <a:gd name="T1" fmla="*/ 2 h 3"/>
                <a:gd name="T2" fmla="*/ 2 w 2"/>
                <a:gd name="T3" fmla="*/ 0 h 3"/>
                <a:gd name="T4" fmla="*/ 1 w 2"/>
                <a:gd name="T5" fmla="*/ 1 h 3"/>
                <a:gd name="T6" fmla="*/ 0 w 2"/>
                <a:gd name="T7" fmla="*/ 3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lnTo>
                    <a:pt x="2" y="0"/>
                  </a:lnTo>
                  <a:lnTo>
                    <a:pt x="1" y="1"/>
                  </a:lnTo>
                  <a:lnTo>
                    <a:pt x="0" y="3"/>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7" name="Freeform 662">
              <a:extLst>
                <a:ext uri="{FF2B5EF4-FFF2-40B4-BE49-F238E27FC236}">
                  <a16:creationId xmlns:a16="http://schemas.microsoft.com/office/drawing/2014/main" id="{5DCDCB49-FED6-6534-88D1-0A65ADAD7D5B}"/>
                </a:ext>
              </a:extLst>
            </p:cNvPr>
            <p:cNvSpPr>
              <a:spLocks/>
            </p:cNvSpPr>
            <p:nvPr/>
          </p:nvSpPr>
          <p:spPr bwMode="gray">
            <a:xfrm>
              <a:off x="10937337" y="4504276"/>
              <a:ext cx="1798" cy="3596"/>
            </a:xfrm>
            <a:custGeom>
              <a:avLst/>
              <a:gdLst>
                <a:gd name="T0" fmla="*/ 1 w 1"/>
                <a:gd name="T1" fmla="*/ 0 h 2"/>
                <a:gd name="T2" fmla="*/ 0 w 1"/>
                <a:gd name="T3" fmla="*/ 2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lnTo>
                    <a:pt x="0" y="2"/>
                  </a:lnTo>
                  <a:lnTo>
                    <a:pt x="0" y="2"/>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8" name="Freeform 663">
              <a:extLst>
                <a:ext uri="{FF2B5EF4-FFF2-40B4-BE49-F238E27FC236}">
                  <a16:creationId xmlns:a16="http://schemas.microsoft.com/office/drawing/2014/main" id="{CD3C55E0-E7EA-0F79-34BC-532AB9302BBC}"/>
                </a:ext>
              </a:extLst>
            </p:cNvPr>
            <p:cNvSpPr>
              <a:spLocks/>
            </p:cNvSpPr>
            <p:nvPr/>
          </p:nvSpPr>
          <p:spPr bwMode="gray">
            <a:xfrm>
              <a:off x="10931943" y="4507872"/>
              <a:ext cx="3596" cy="1798"/>
            </a:xfrm>
            <a:custGeom>
              <a:avLst/>
              <a:gdLst>
                <a:gd name="T0" fmla="*/ 2 w 2"/>
                <a:gd name="T1" fmla="*/ 1 h 1"/>
                <a:gd name="T2" fmla="*/ 2 w 2"/>
                <a:gd name="T3" fmla="*/ 0 h 1"/>
                <a:gd name="T4" fmla="*/ 0 w 2"/>
                <a:gd name="T5" fmla="*/ 1 h 1"/>
                <a:gd name="T6" fmla="*/ 0 w 2"/>
                <a:gd name="T7" fmla="*/ 1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2" y="0"/>
                  </a:lnTo>
                  <a:lnTo>
                    <a:pt x="0" y="1"/>
                  </a:lnTo>
                  <a:lnTo>
                    <a:pt x="0" y="1"/>
                  </a:lnTo>
                  <a:lnTo>
                    <a:pt x="2"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9" name="Freeform 664">
              <a:extLst>
                <a:ext uri="{FF2B5EF4-FFF2-40B4-BE49-F238E27FC236}">
                  <a16:creationId xmlns:a16="http://schemas.microsoft.com/office/drawing/2014/main" id="{00E60317-E2FB-CF84-3007-AD08D4138330}"/>
                </a:ext>
              </a:extLst>
            </p:cNvPr>
            <p:cNvSpPr>
              <a:spLocks/>
            </p:cNvSpPr>
            <p:nvPr/>
          </p:nvSpPr>
          <p:spPr bwMode="gray">
            <a:xfrm>
              <a:off x="10931943" y="4507872"/>
              <a:ext cx="3596" cy="1798"/>
            </a:xfrm>
            <a:custGeom>
              <a:avLst/>
              <a:gdLst>
                <a:gd name="T0" fmla="*/ 2 w 2"/>
                <a:gd name="T1" fmla="*/ 0 h 1"/>
                <a:gd name="T2" fmla="*/ 0 w 2"/>
                <a:gd name="T3" fmla="*/ 1 h 1"/>
                <a:gd name="T4" fmla="*/ 2 w 2"/>
                <a:gd name="T5" fmla="*/ 0 h 1"/>
                <a:gd name="T6" fmla="*/ 2 w 2"/>
                <a:gd name="T7" fmla="*/ 0 h 1"/>
              </a:gdLst>
              <a:ahLst/>
              <a:cxnLst>
                <a:cxn ang="0">
                  <a:pos x="T0" y="T1"/>
                </a:cxn>
                <a:cxn ang="0">
                  <a:pos x="T2" y="T3"/>
                </a:cxn>
                <a:cxn ang="0">
                  <a:pos x="T4" y="T5"/>
                </a:cxn>
                <a:cxn ang="0">
                  <a:pos x="T6" y="T7"/>
                </a:cxn>
              </a:cxnLst>
              <a:rect l="0" t="0" r="r" b="b"/>
              <a:pathLst>
                <a:path w="2" h="1">
                  <a:moveTo>
                    <a:pt x="2" y="0"/>
                  </a:moveTo>
                  <a:lnTo>
                    <a:pt x="0" y="1"/>
                  </a:lnTo>
                  <a:lnTo>
                    <a:pt x="2" y="0"/>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0" name="Freeform 665">
              <a:extLst>
                <a:ext uri="{FF2B5EF4-FFF2-40B4-BE49-F238E27FC236}">
                  <a16:creationId xmlns:a16="http://schemas.microsoft.com/office/drawing/2014/main" id="{47322DD4-C805-446F-E6F4-DDEEB6BB5A6C}"/>
                </a:ext>
              </a:extLst>
            </p:cNvPr>
            <p:cNvSpPr>
              <a:spLocks/>
            </p:cNvSpPr>
            <p:nvPr/>
          </p:nvSpPr>
          <p:spPr bwMode="gray">
            <a:xfrm>
              <a:off x="10921155" y="4506075"/>
              <a:ext cx="5395" cy="1798"/>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0" y="0"/>
                  </a:lnTo>
                  <a:lnTo>
                    <a:pt x="0" y="1"/>
                  </a:lnTo>
                  <a:lnTo>
                    <a:pt x="3"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1" name="Rectangle 666">
              <a:extLst>
                <a:ext uri="{FF2B5EF4-FFF2-40B4-BE49-F238E27FC236}">
                  <a16:creationId xmlns:a16="http://schemas.microsoft.com/office/drawing/2014/main" id="{40C8383D-F8E9-9E19-EC59-824C33CE8B1F}"/>
                </a:ext>
              </a:extLst>
            </p:cNvPr>
            <p:cNvSpPr>
              <a:spLocks noChangeArrowheads="1"/>
            </p:cNvSpPr>
            <p:nvPr/>
          </p:nvSpPr>
          <p:spPr bwMode="gray">
            <a:xfrm>
              <a:off x="10944529" y="4498883"/>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2" name="Freeform 667">
              <a:extLst>
                <a:ext uri="{FF2B5EF4-FFF2-40B4-BE49-F238E27FC236}">
                  <a16:creationId xmlns:a16="http://schemas.microsoft.com/office/drawing/2014/main" id="{B6CD8AEA-CA55-D4E0-6FAA-C3CECDF549C5}"/>
                </a:ext>
              </a:extLst>
            </p:cNvPr>
            <p:cNvSpPr>
              <a:spLocks/>
            </p:cNvSpPr>
            <p:nvPr/>
          </p:nvSpPr>
          <p:spPr bwMode="gray">
            <a:xfrm>
              <a:off x="10940933" y="4498883"/>
              <a:ext cx="3596" cy="3596"/>
            </a:xfrm>
            <a:custGeom>
              <a:avLst/>
              <a:gdLst>
                <a:gd name="T0" fmla="*/ 2 w 2"/>
                <a:gd name="T1" fmla="*/ 0 h 2"/>
                <a:gd name="T2" fmla="*/ 0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0" y="2"/>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3" name="Freeform 668">
              <a:extLst>
                <a:ext uri="{FF2B5EF4-FFF2-40B4-BE49-F238E27FC236}">
                  <a16:creationId xmlns:a16="http://schemas.microsoft.com/office/drawing/2014/main" id="{A4D36285-64CB-8136-059D-4CB42341264C}"/>
                </a:ext>
              </a:extLst>
            </p:cNvPr>
            <p:cNvSpPr>
              <a:spLocks/>
            </p:cNvSpPr>
            <p:nvPr/>
          </p:nvSpPr>
          <p:spPr bwMode="gray">
            <a:xfrm>
              <a:off x="10940933" y="4498883"/>
              <a:ext cx="3596" cy="3596"/>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4" name="Freeform 669">
              <a:extLst>
                <a:ext uri="{FF2B5EF4-FFF2-40B4-BE49-F238E27FC236}">
                  <a16:creationId xmlns:a16="http://schemas.microsoft.com/office/drawing/2014/main" id="{68B08058-6E9F-70F9-4E4C-8E1F9A1AF313}"/>
                </a:ext>
              </a:extLst>
            </p:cNvPr>
            <p:cNvSpPr>
              <a:spLocks/>
            </p:cNvSpPr>
            <p:nvPr/>
          </p:nvSpPr>
          <p:spPr bwMode="gray">
            <a:xfrm>
              <a:off x="10926549" y="4507872"/>
              <a:ext cx="5395" cy="1798"/>
            </a:xfrm>
            <a:custGeom>
              <a:avLst/>
              <a:gdLst>
                <a:gd name="T0" fmla="*/ 3 w 3"/>
                <a:gd name="T1" fmla="*/ 1 h 1"/>
                <a:gd name="T2" fmla="*/ 0 w 3"/>
                <a:gd name="T3" fmla="*/ 0 h 1"/>
                <a:gd name="T4" fmla="*/ 3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0" y="0"/>
                  </a:lnTo>
                  <a:lnTo>
                    <a:pt x="3" y="1"/>
                  </a:lnTo>
                  <a:lnTo>
                    <a:pt x="3"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5" name="Freeform 670">
              <a:extLst>
                <a:ext uri="{FF2B5EF4-FFF2-40B4-BE49-F238E27FC236}">
                  <a16:creationId xmlns:a16="http://schemas.microsoft.com/office/drawing/2014/main" id="{5585C751-9835-2AB5-12C4-490E081EFCC9}"/>
                </a:ext>
              </a:extLst>
            </p:cNvPr>
            <p:cNvSpPr>
              <a:spLocks/>
            </p:cNvSpPr>
            <p:nvPr/>
          </p:nvSpPr>
          <p:spPr bwMode="gray">
            <a:xfrm>
              <a:off x="10926549" y="4507872"/>
              <a:ext cx="5395" cy="1798"/>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lnTo>
                    <a:pt x="0" y="0"/>
                  </a:lnTo>
                  <a:lnTo>
                    <a:pt x="3"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6" name="Freeform 671">
              <a:extLst>
                <a:ext uri="{FF2B5EF4-FFF2-40B4-BE49-F238E27FC236}">
                  <a16:creationId xmlns:a16="http://schemas.microsoft.com/office/drawing/2014/main" id="{1F785C5F-4B45-1001-22E2-237528B53523}"/>
                </a:ext>
              </a:extLst>
            </p:cNvPr>
            <p:cNvSpPr>
              <a:spLocks/>
            </p:cNvSpPr>
            <p:nvPr/>
          </p:nvSpPr>
          <p:spPr bwMode="gray">
            <a:xfrm>
              <a:off x="10935540" y="4507872"/>
              <a:ext cx="179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7" name="Freeform 672">
              <a:extLst>
                <a:ext uri="{FF2B5EF4-FFF2-40B4-BE49-F238E27FC236}">
                  <a16:creationId xmlns:a16="http://schemas.microsoft.com/office/drawing/2014/main" id="{9E769FB1-D4DC-1DA8-3983-507D2AE25A62}"/>
                </a:ext>
              </a:extLst>
            </p:cNvPr>
            <p:cNvSpPr>
              <a:spLocks/>
            </p:cNvSpPr>
            <p:nvPr/>
          </p:nvSpPr>
          <p:spPr bwMode="gray">
            <a:xfrm>
              <a:off x="10913964" y="4432357"/>
              <a:ext cx="170808" cy="215757"/>
            </a:xfrm>
            <a:custGeom>
              <a:avLst/>
              <a:gdLst>
                <a:gd name="T0" fmla="*/ 235 w 286"/>
                <a:gd name="T1" fmla="*/ 234 h 361"/>
                <a:gd name="T2" fmla="*/ 236 w 286"/>
                <a:gd name="T3" fmla="*/ 235 h 361"/>
                <a:gd name="T4" fmla="*/ 244 w 286"/>
                <a:gd name="T5" fmla="*/ 236 h 361"/>
                <a:gd name="T6" fmla="*/ 249 w 286"/>
                <a:gd name="T7" fmla="*/ 236 h 361"/>
                <a:gd name="T8" fmla="*/ 264 w 286"/>
                <a:gd name="T9" fmla="*/ 237 h 361"/>
                <a:gd name="T10" fmla="*/ 262 w 286"/>
                <a:gd name="T11" fmla="*/ 212 h 361"/>
                <a:gd name="T12" fmla="*/ 264 w 286"/>
                <a:gd name="T13" fmla="*/ 193 h 361"/>
                <a:gd name="T14" fmla="*/ 268 w 286"/>
                <a:gd name="T15" fmla="*/ 178 h 361"/>
                <a:gd name="T16" fmla="*/ 271 w 286"/>
                <a:gd name="T17" fmla="*/ 166 h 361"/>
                <a:gd name="T18" fmla="*/ 277 w 286"/>
                <a:gd name="T19" fmla="*/ 150 h 361"/>
                <a:gd name="T20" fmla="*/ 280 w 286"/>
                <a:gd name="T21" fmla="*/ 142 h 361"/>
                <a:gd name="T22" fmla="*/ 284 w 286"/>
                <a:gd name="T23" fmla="*/ 132 h 361"/>
                <a:gd name="T24" fmla="*/ 282 w 286"/>
                <a:gd name="T25" fmla="*/ 121 h 361"/>
                <a:gd name="T26" fmla="*/ 272 w 286"/>
                <a:gd name="T27" fmla="*/ 126 h 361"/>
                <a:gd name="T28" fmla="*/ 266 w 286"/>
                <a:gd name="T29" fmla="*/ 123 h 361"/>
                <a:gd name="T30" fmla="*/ 254 w 286"/>
                <a:gd name="T31" fmla="*/ 117 h 361"/>
                <a:gd name="T32" fmla="*/ 245 w 286"/>
                <a:gd name="T33" fmla="*/ 116 h 361"/>
                <a:gd name="T34" fmla="*/ 234 w 286"/>
                <a:gd name="T35" fmla="*/ 116 h 361"/>
                <a:gd name="T36" fmla="*/ 225 w 286"/>
                <a:gd name="T37" fmla="*/ 115 h 361"/>
                <a:gd name="T38" fmla="*/ 226 w 286"/>
                <a:gd name="T39" fmla="*/ 104 h 361"/>
                <a:gd name="T40" fmla="*/ 225 w 286"/>
                <a:gd name="T41" fmla="*/ 85 h 361"/>
                <a:gd name="T42" fmla="*/ 212 w 286"/>
                <a:gd name="T43" fmla="*/ 78 h 361"/>
                <a:gd name="T44" fmla="*/ 199 w 286"/>
                <a:gd name="T45" fmla="*/ 80 h 361"/>
                <a:gd name="T46" fmla="*/ 196 w 286"/>
                <a:gd name="T47" fmla="*/ 59 h 361"/>
                <a:gd name="T48" fmla="*/ 188 w 286"/>
                <a:gd name="T49" fmla="*/ 62 h 361"/>
                <a:gd name="T50" fmla="*/ 180 w 286"/>
                <a:gd name="T51" fmla="*/ 52 h 361"/>
                <a:gd name="T52" fmla="*/ 175 w 286"/>
                <a:gd name="T53" fmla="*/ 34 h 361"/>
                <a:gd name="T54" fmla="*/ 169 w 286"/>
                <a:gd name="T55" fmla="*/ 28 h 361"/>
                <a:gd name="T56" fmla="*/ 157 w 286"/>
                <a:gd name="T57" fmla="*/ 30 h 361"/>
                <a:gd name="T58" fmla="*/ 146 w 286"/>
                <a:gd name="T59" fmla="*/ 31 h 361"/>
                <a:gd name="T60" fmla="*/ 135 w 286"/>
                <a:gd name="T61" fmla="*/ 28 h 361"/>
                <a:gd name="T62" fmla="*/ 141 w 286"/>
                <a:gd name="T63" fmla="*/ 16 h 361"/>
                <a:gd name="T64" fmla="*/ 130 w 286"/>
                <a:gd name="T65" fmla="*/ 2 h 361"/>
                <a:gd name="T66" fmla="*/ 119 w 286"/>
                <a:gd name="T67" fmla="*/ 9 h 361"/>
                <a:gd name="T68" fmla="*/ 108 w 286"/>
                <a:gd name="T69" fmla="*/ 18 h 361"/>
                <a:gd name="T70" fmla="*/ 99 w 286"/>
                <a:gd name="T71" fmla="*/ 22 h 361"/>
                <a:gd name="T72" fmla="*/ 92 w 286"/>
                <a:gd name="T73" fmla="*/ 23 h 361"/>
                <a:gd name="T74" fmla="*/ 93 w 286"/>
                <a:gd name="T75" fmla="*/ 29 h 361"/>
                <a:gd name="T76" fmla="*/ 105 w 286"/>
                <a:gd name="T77" fmla="*/ 33 h 361"/>
                <a:gd name="T78" fmla="*/ 104 w 286"/>
                <a:gd name="T79" fmla="*/ 43 h 361"/>
                <a:gd name="T80" fmla="*/ 108 w 286"/>
                <a:gd name="T81" fmla="*/ 54 h 361"/>
                <a:gd name="T82" fmla="*/ 110 w 286"/>
                <a:gd name="T83" fmla="*/ 62 h 361"/>
                <a:gd name="T84" fmla="*/ 102 w 286"/>
                <a:gd name="T85" fmla="*/ 65 h 361"/>
                <a:gd name="T86" fmla="*/ 92 w 286"/>
                <a:gd name="T87" fmla="*/ 68 h 361"/>
                <a:gd name="T88" fmla="*/ 85 w 286"/>
                <a:gd name="T89" fmla="*/ 92 h 361"/>
                <a:gd name="T90" fmla="*/ 52 w 286"/>
                <a:gd name="T91" fmla="*/ 109 h 361"/>
                <a:gd name="T92" fmla="*/ 38 w 286"/>
                <a:gd name="T93" fmla="*/ 125 h 361"/>
                <a:gd name="T94" fmla="*/ 19 w 286"/>
                <a:gd name="T95" fmla="*/ 127 h 361"/>
                <a:gd name="T96" fmla="*/ 4 w 286"/>
                <a:gd name="T97" fmla="*/ 141 h 361"/>
                <a:gd name="T98" fmla="*/ 7 w 286"/>
                <a:gd name="T99" fmla="*/ 162 h 361"/>
                <a:gd name="T100" fmla="*/ 12 w 286"/>
                <a:gd name="T101" fmla="*/ 197 h 361"/>
                <a:gd name="T102" fmla="*/ 100 w 286"/>
                <a:gd name="T103" fmla="*/ 31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361">
                  <a:moveTo>
                    <a:pt x="120" y="290"/>
                  </a:moveTo>
                  <a:cubicBezTo>
                    <a:pt x="132" y="271"/>
                    <a:pt x="158" y="273"/>
                    <a:pt x="158" y="273"/>
                  </a:cubicBezTo>
                  <a:cubicBezTo>
                    <a:pt x="174" y="254"/>
                    <a:pt x="174" y="254"/>
                    <a:pt x="174" y="254"/>
                  </a:cubicBezTo>
                  <a:cubicBezTo>
                    <a:pt x="206" y="286"/>
                    <a:pt x="206" y="286"/>
                    <a:pt x="206" y="286"/>
                  </a:cubicBezTo>
                  <a:cubicBezTo>
                    <a:pt x="235" y="234"/>
                    <a:pt x="235" y="234"/>
                    <a:pt x="235" y="234"/>
                  </a:cubicBezTo>
                  <a:cubicBezTo>
                    <a:pt x="235" y="234"/>
                    <a:pt x="235" y="234"/>
                    <a:pt x="235" y="234"/>
                  </a:cubicBezTo>
                  <a:cubicBezTo>
                    <a:pt x="235" y="234"/>
                    <a:pt x="235" y="234"/>
                    <a:pt x="235" y="234"/>
                  </a:cubicBezTo>
                  <a:cubicBezTo>
                    <a:pt x="235" y="234"/>
                    <a:pt x="235" y="234"/>
                    <a:pt x="235" y="234"/>
                  </a:cubicBezTo>
                  <a:cubicBezTo>
                    <a:pt x="235" y="234"/>
                    <a:pt x="236" y="234"/>
                    <a:pt x="236" y="235"/>
                  </a:cubicBezTo>
                  <a:cubicBezTo>
                    <a:pt x="236" y="235"/>
                    <a:pt x="236" y="235"/>
                    <a:pt x="236" y="235"/>
                  </a:cubicBezTo>
                  <a:cubicBezTo>
                    <a:pt x="237" y="235"/>
                    <a:pt x="237" y="235"/>
                    <a:pt x="237" y="235"/>
                  </a:cubicBezTo>
                  <a:cubicBezTo>
                    <a:pt x="237" y="235"/>
                    <a:pt x="237" y="235"/>
                    <a:pt x="238" y="235"/>
                  </a:cubicBezTo>
                  <a:cubicBezTo>
                    <a:pt x="238" y="235"/>
                    <a:pt x="238" y="235"/>
                    <a:pt x="239" y="235"/>
                  </a:cubicBezTo>
                  <a:cubicBezTo>
                    <a:pt x="239" y="235"/>
                    <a:pt x="239" y="235"/>
                    <a:pt x="239" y="235"/>
                  </a:cubicBezTo>
                  <a:cubicBezTo>
                    <a:pt x="240" y="235"/>
                    <a:pt x="242" y="236"/>
                    <a:pt x="244" y="236"/>
                  </a:cubicBezTo>
                  <a:cubicBezTo>
                    <a:pt x="244" y="236"/>
                    <a:pt x="244" y="236"/>
                    <a:pt x="244" y="236"/>
                  </a:cubicBezTo>
                  <a:cubicBezTo>
                    <a:pt x="245" y="236"/>
                    <a:pt x="245" y="236"/>
                    <a:pt x="246" y="236"/>
                  </a:cubicBezTo>
                  <a:cubicBezTo>
                    <a:pt x="246" y="236"/>
                    <a:pt x="246" y="236"/>
                    <a:pt x="246" y="236"/>
                  </a:cubicBezTo>
                  <a:cubicBezTo>
                    <a:pt x="247" y="236"/>
                    <a:pt x="248" y="236"/>
                    <a:pt x="248" y="236"/>
                  </a:cubicBezTo>
                  <a:cubicBezTo>
                    <a:pt x="248" y="236"/>
                    <a:pt x="249" y="236"/>
                    <a:pt x="249" y="236"/>
                  </a:cubicBezTo>
                  <a:cubicBezTo>
                    <a:pt x="252" y="237"/>
                    <a:pt x="255" y="237"/>
                    <a:pt x="258" y="237"/>
                  </a:cubicBezTo>
                  <a:cubicBezTo>
                    <a:pt x="258" y="237"/>
                    <a:pt x="259" y="237"/>
                    <a:pt x="259" y="237"/>
                  </a:cubicBezTo>
                  <a:cubicBezTo>
                    <a:pt x="259" y="237"/>
                    <a:pt x="260" y="237"/>
                    <a:pt x="261" y="237"/>
                  </a:cubicBezTo>
                  <a:cubicBezTo>
                    <a:pt x="261" y="237"/>
                    <a:pt x="261" y="237"/>
                    <a:pt x="262" y="237"/>
                  </a:cubicBezTo>
                  <a:cubicBezTo>
                    <a:pt x="262" y="237"/>
                    <a:pt x="263" y="237"/>
                    <a:pt x="264" y="237"/>
                  </a:cubicBezTo>
                  <a:cubicBezTo>
                    <a:pt x="264" y="237"/>
                    <a:pt x="264" y="237"/>
                    <a:pt x="264" y="237"/>
                  </a:cubicBezTo>
                  <a:cubicBezTo>
                    <a:pt x="264" y="225"/>
                    <a:pt x="264" y="225"/>
                    <a:pt x="264" y="225"/>
                  </a:cubicBezTo>
                  <a:cubicBezTo>
                    <a:pt x="264" y="220"/>
                    <a:pt x="264" y="220"/>
                    <a:pt x="264" y="220"/>
                  </a:cubicBezTo>
                  <a:cubicBezTo>
                    <a:pt x="263" y="214"/>
                    <a:pt x="263" y="214"/>
                    <a:pt x="263" y="214"/>
                  </a:cubicBezTo>
                  <a:cubicBezTo>
                    <a:pt x="262" y="212"/>
                    <a:pt x="262" y="212"/>
                    <a:pt x="262" y="212"/>
                  </a:cubicBezTo>
                  <a:cubicBezTo>
                    <a:pt x="261" y="209"/>
                    <a:pt x="261" y="209"/>
                    <a:pt x="261" y="209"/>
                  </a:cubicBezTo>
                  <a:cubicBezTo>
                    <a:pt x="261" y="203"/>
                    <a:pt x="261" y="203"/>
                    <a:pt x="261" y="203"/>
                  </a:cubicBezTo>
                  <a:cubicBezTo>
                    <a:pt x="262" y="198"/>
                    <a:pt x="262" y="198"/>
                    <a:pt x="262" y="198"/>
                  </a:cubicBezTo>
                  <a:cubicBezTo>
                    <a:pt x="263" y="196"/>
                    <a:pt x="263" y="196"/>
                    <a:pt x="263" y="196"/>
                  </a:cubicBezTo>
                  <a:cubicBezTo>
                    <a:pt x="264" y="193"/>
                    <a:pt x="264" y="193"/>
                    <a:pt x="264" y="193"/>
                  </a:cubicBezTo>
                  <a:cubicBezTo>
                    <a:pt x="266" y="191"/>
                    <a:pt x="266" y="191"/>
                    <a:pt x="266" y="191"/>
                  </a:cubicBezTo>
                  <a:cubicBezTo>
                    <a:pt x="267" y="187"/>
                    <a:pt x="267" y="187"/>
                    <a:pt x="267" y="187"/>
                  </a:cubicBezTo>
                  <a:cubicBezTo>
                    <a:pt x="268" y="185"/>
                    <a:pt x="268" y="185"/>
                    <a:pt x="268" y="185"/>
                  </a:cubicBezTo>
                  <a:cubicBezTo>
                    <a:pt x="268" y="182"/>
                    <a:pt x="268" y="182"/>
                    <a:pt x="268" y="182"/>
                  </a:cubicBezTo>
                  <a:cubicBezTo>
                    <a:pt x="268" y="178"/>
                    <a:pt x="268" y="178"/>
                    <a:pt x="268" y="178"/>
                  </a:cubicBezTo>
                  <a:cubicBezTo>
                    <a:pt x="267" y="176"/>
                    <a:pt x="267" y="176"/>
                    <a:pt x="267" y="176"/>
                  </a:cubicBezTo>
                  <a:cubicBezTo>
                    <a:pt x="267" y="175"/>
                    <a:pt x="267" y="175"/>
                    <a:pt x="267" y="175"/>
                  </a:cubicBezTo>
                  <a:cubicBezTo>
                    <a:pt x="268" y="172"/>
                    <a:pt x="268" y="172"/>
                    <a:pt x="268" y="172"/>
                  </a:cubicBezTo>
                  <a:cubicBezTo>
                    <a:pt x="268" y="172"/>
                    <a:pt x="268" y="170"/>
                    <a:pt x="269" y="168"/>
                  </a:cubicBezTo>
                  <a:cubicBezTo>
                    <a:pt x="270" y="167"/>
                    <a:pt x="271" y="166"/>
                    <a:pt x="271" y="166"/>
                  </a:cubicBezTo>
                  <a:cubicBezTo>
                    <a:pt x="273" y="164"/>
                    <a:pt x="273" y="164"/>
                    <a:pt x="273" y="164"/>
                  </a:cubicBezTo>
                  <a:cubicBezTo>
                    <a:pt x="274" y="162"/>
                    <a:pt x="274" y="162"/>
                    <a:pt x="274" y="162"/>
                  </a:cubicBezTo>
                  <a:cubicBezTo>
                    <a:pt x="275" y="159"/>
                    <a:pt x="275" y="159"/>
                    <a:pt x="275" y="159"/>
                  </a:cubicBezTo>
                  <a:cubicBezTo>
                    <a:pt x="275" y="153"/>
                    <a:pt x="275" y="153"/>
                    <a:pt x="275" y="153"/>
                  </a:cubicBezTo>
                  <a:cubicBezTo>
                    <a:pt x="277" y="150"/>
                    <a:pt x="277" y="150"/>
                    <a:pt x="277" y="150"/>
                  </a:cubicBezTo>
                  <a:cubicBezTo>
                    <a:pt x="280" y="149"/>
                    <a:pt x="280" y="149"/>
                    <a:pt x="280" y="149"/>
                  </a:cubicBezTo>
                  <a:cubicBezTo>
                    <a:pt x="281" y="147"/>
                    <a:pt x="281" y="147"/>
                    <a:pt x="281" y="147"/>
                  </a:cubicBezTo>
                  <a:cubicBezTo>
                    <a:pt x="281" y="146"/>
                    <a:pt x="281" y="146"/>
                    <a:pt x="281" y="146"/>
                  </a:cubicBezTo>
                  <a:cubicBezTo>
                    <a:pt x="280" y="144"/>
                    <a:pt x="280" y="144"/>
                    <a:pt x="280" y="144"/>
                  </a:cubicBezTo>
                  <a:cubicBezTo>
                    <a:pt x="280" y="142"/>
                    <a:pt x="280" y="142"/>
                    <a:pt x="280" y="142"/>
                  </a:cubicBezTo>
                  <a:cubicBezTo>
                    <a:pt x="281" y="140"/>
                    <a:pt x="281" y="140"/>
                    <a:pt x="281" y="140"/>
                  </a:cubicBezTo>
                  <a:cubicBezTo>
                    <a:pt x="283" y="139"/>
                    <a:pt x="283" y="139"/>
                    <a:pt x="283" y="139"/>
                  </a:cubicBezTo>
                  <a:cubicBezTo>
                    <a:pt x="283" y="136"/>
                    <a:pt x="283" y="136"/>
                    <a:pt x="283" y="136"/>
                  </a:cubicBezTo>
                  <a:cubicBezTo>
                    <a:pt x="282" y="133"/>
                    <a:pt x="282" y="133"/>
                    <a:pt x="282" y="133"/>
                  </a:cubicBezTo>
                  <a:cubicBezTo>
                    <a:pt x="284" y="132"/>
                    <a:pt x="284" y="132"/>
                    <a:pt x="284" y="132"/>
                  </a:cubicBezTo>
                  <a:cubicBezTo>
                    <a:pt x="286" y="130"/>
                    <a:pt x="286" y="130"/>
                    <a:pt x="286" y="130"/>
                  </a:cubicBezTo>
                  <a:cubicBezTo>
                    <a:pt x="286" y="127"/>
                    <a:pt x="286" y="127"/>
                    <a:pt x="286" y="127"/>
                  </a:cubicBezTo>
                  <a:cubicBezTo>
                    <a:pt x="285" y="124"/>
                    <a:pt x="285" y="124"/>
                    <a:pt x="285" y="124"/>
                  </a:cubicBezTo>
                  <a:cubicBezTo>
                    <a:pt x="284" y="123"/>
                    <a:pt x="284" y="123"/>
                    <a:pt x="284" y="123"/>
                  </a:cubicBezTo>
                  <a:cubicBezTo>
                    <a:pt x="282" y="121"/>
                    <a:pt x="282" y="121"/>
                    <a:pt x="282" y="121"/>
                  </a:cubicBezTo>
                  <a:cubicBezTo>
                    <a:pt x="280" y="120"/>
                    <a:pt x="280" y="120"/>
                    <a:pt x="280" y="120"/>
                  </a:cubicBezTo>
                  <a:cubicBezTo>
                    <a:pt x="278" y="120"/>
                    <a:pt x="278" y="120"/>
                    <a:pt x="278" y="120"/>
                  </a:cubicBezTo>
                  <a:cubicBezTo>
                    <a:pt x="275" y="121"/>
                    <a:pt x="275" y="121"/>
                    <a:pt x="275" y="121"/>
                  </a:cubicBezTo>
                  <a:cubicBezTo>
                    <a:pt x="273" y="123"/>
                    <a:pt x="273" y="123"/>
                    <a:pt x="273" y="123"/>
                  </a:cubicBezTo>
                  <a:cubicBezTo>
                    <a:pt x="272" y="126"/>
                    <a:pt x="272" y="126"/>
                    <a:pt x="272" y="126"/>
                  </a:cubicBezTo>
                  <a:cubicBezTo>
                    <a:pt x="271" y="128"/>
                    <a:pt x="271" y="128"/>
                    <a:pt x="271" y="128"/>
                  </a:cubicBezTo>
                  <a:cubicBezTo>
                    <a:pt x="269" y="130"/>
                    <a:pt x="269" y="130"/>
                    <a:pt x="269" y="130"/>
                  </a:cubicBezTo>
                  <a:cubicBezTo>
                    <a:pt x="268" y="130"/>
                    <a:pt x="268" y="130"/>
                    <a:pt x="268" y="130"/>
                  </a:cubicBezTo>
                  <a:cubicBezTo>
                    <a:pt x="267" y="125"/>
                    <a:pt x="267" y="125"/>
                    <a:pt x="267" y="125"/>
                  </a:cubicBezTo>
                  <a:cubicBezTo>
                    <a:pt x="266" y="123"/>
                    <a:pt x="266" y="123"/>
                    <a:pt x="266" y="123"/>
                  </a:cubicBezTo>
                  <a:cubicBezTo>
                    <a:pt x="263" y="122"/>
                    <a:pt x="263" y="122"/>
                    <a:pt x="263" y="122"/>
                  </a:cubicBezTo>
                  <a:cubicBezTo>
                    <a:pt x="261" y="120"/>
                    <a:pt x="261" y="120"/>
                    <a:pt x="261" y="120"/>
                  </a:cubicBezTo>
                  <a:cubicBezTo>
                    <a:pt x="259" y="120"/>
                    <a:pt x="259" y="120"/>
                    <a:pt x="259" y="120"/>
                  </a:cubicBezTo>
                  <a:cubicBezTo>
                    <a:pt x="256" y="119"/>
                    <a:pt x="256" y="119"/>
                    <a:pt x="256" y="119"/>
                  </a:cubicBezTo>
                  <a:cubicBezTo>
                    <a:pt x="254" y="117"/>
                    <a:pt x="254" y="117"/>
                    <a:pt x="254" y="117"/>
                  </a:cubicBezTo>
                  <a:cubicBezTo>
                    <a:pt x="253" y="115"/>
                    <a:pt x="253" y="115"/>
                    <a:pt x="253" y="115"/>
                  </a:cubicBezTo>
                  <a:cubicBezTo>
                    <a:pt x="251" y="114"/>
                    <a:pt x="251" y="114"/>
                    <a:pt x="251" y="114"/>
                  </a:cubicBezTo>
                  <a:cubicBezTo>
                    <a:pt x="249" y="115"/>
                    <a:pt x="249" y="115"/>
                    <a:pt x="249" y="115"/>
                  </a:cubicBezTo>
                  <a:cubicBezTo>
                    <a:pt x="247" y="116"/>
                    <a:pt x="247" y="116"/>
                    <a:pt x="247" y="116"/>
                  </a:cubicBezTo>
                  <a:cubicBezTo>
                    <a:pt x="245" y="116"/>
                    <a:pt x="245" y="116"/>
                    <a:pt x="245" y="116"/>
                  </a:cubicBezTo>
                  <a:cubicBezTo>
                    <a:pt x="243" y="115"/>
                    <a:pt x="243" y="115"/>
                    <a:pt x="243" y="115"/>
                  </a:cubicBezTo>
                  <a:cubicBezTo>
                    <a:pt x="241" y="115"/>
                    <a:pt x="241" y="115"/>
                    <a:pt x="241" y="115"/>
                  </a:cubicBezTo>
                  <a:cubicBezTo>
                    <a:pt x="239" y="116"/>
                    <a:pt x="239" y="116"/>
                    <a:pt x="239" y="116"/>
                  </a:cubicBezTo>
                  <a:cubicBezTo>
                    <a:pt x="237" y="117"/>
                    <a:pt x="237" y="117"/>
                    <a:pt x="237" y="117"/>
                  </a:cubicBezTo>
                  <a:cubicBezTo>
                    <a:pt x="234" y="116"/>
                    <a:pt x="234" y="116"/>
                    <a:pt x="234" y="116"/>
                  </a:cubicBezTo>
                  <a:cubicBezTo>
                    <a:pt x="232" y="115"/>
                    <a:pt x="232" y="115"/>
                    <a:pt x="232" y="115"/>
                  </a:cubicBezTo>
                  <a:cubicBezTo>
                    <a:pt x="229" y="117"/>
                    <a:pt x="229" y="117"/>
                    <a:pt x="229" y="117"/>
                  </a:cubicBezTo>
                  <a:cubicBezTo>
                    <a:pt x="227" y="118"/>
                    <a:pt x="227" y="118"/>
                    <a:pt x="227" y="118"/>
                  </a:cubicBezTo>
                  <a:cubicBezTo>
                    <a:pt x="225" y="117"/>
                    <a:pt x="225" y="117"/>
                    <a:pt x="225" y="117"/>
                  </a:cubicBezTo>
                  <a:cubicBezTo>
                    <a:pt x="225" y="115"/>
                    <a:pt x="225" y="115"/>
                    <a:pt x="225" y="115"/>
                  </a:cubicBezTo>
                  <a:cubicBezTo>
                    <a:pt x="226" y="112"/>
                    <a:pt x="226" y="112"/>
                    <a:pt x="226" y="112"/>
                  </a:cubicBezTo>
                  <a:cubicBezTo>
                    <a:pt x="227" y="110"/>
                    <a:pt x="227" y="110"/>
                    <a:pt x="227" y="110"/>
                  </a:cubicBezTo>
                  <a:cubicBezTo>
                    <a:pt x="226" y="109"/>
                    <a:pt x="226" y="109"/>
                    <a:pt x="226" y="109"/>
                  </a:cubicBezTo>
                  <a:cubicBezTo>
                    <a:pt x="224" y="106"/>
                    <a:pt x="224" y="106"/>
                    <a:pt x="224" y="106"/>
                  </a:cubicBezTo>
                  <a:cubicBezTo>
                    <a:pt x="226" y="104"/>
                    <a:pt x="226" y="104"/>
                    <a:pt x="226" y="104"/>
                  </a:cubicBezTo>
                  <a:cubicBezTo>
                    <a:pt x="227" y="101"/>
                    <a:pt x="227" y="101"/>
                    <a:pt x="227" y="101"/>
                  </a:cubicBezTo>
                  <a:cubicBezTo>
                    <a:pt x="228" y="97"/>
                    <a:pt x="228" y="97"/>
                    <a:pt x="228" y="97"/>
                  </a:cubicBezTo>
                  <a:cubicBezTo>
                    <a:pt x="228" y="88"/>
                    <a:pt x="228" y="88"/>
                    <a:pt x="228" y="88"/>
                  </a:cubicBezTo>
                  <a:cubicBezTo>
                    <a:pt x="227" y="86"/>
                    <a:pt x="227" y="86"/>
                    <a:pt x="227" y="86"/>
                  </a:cubicBezTo>
                  <a:cubicBezTo>
                    <a:pt x="225" y="85"/>
                    <a:pt x="225" y="85"/>
                    <a:pt x="225" y="85"/>
                  </a:cubicBezTo>
                  <a:cubicBezTo>
                    <a:pt x="224" y="85"/>
                    <a:pt x="224" y="85"/>
                    <a:pt x="224" y="85"/>
                  </a:cubicBezTo>
                  <a:cubicBezTo>
                    <a:pt x="220" y="84"/>
                    <a:pt x="220" y="84"/>
                    <a:pt x="220" y="84"/>
                  </a:cubicBezTo>
                  <a:cubicBezTo>
                    <a:pt x="217" y="81"/>
                    <a:pt x="217" y="81"/>
                    <a:pt x="217" y="81"/>
                  </a:cubicBezTo>
                  <a:cubicBezTo>
                    <a:pt x="214" y="80"/>
                    <a:pt x="214" y="80"/>
                    <a:pt x="214" y="80"/>
                  </a:cubicBezTo>
                  <a:cubicBezTo>
                    <a:pt x="212" y="78"/>
                    <a:pt x="212" y="78"/>
                    <a:pt x="212" y="78"/>
                  </a:cubicBezTo>
                  <a:cubicBezTo>
                    <a:pt x="209" y="78"/>
                    <a:pt x="209" y="78"/>
                    <a:pt x="209" y="78"/>
                  </a:cubicBezTo>
                  <a:cubicBezTo>
                    <a:pt x="207" y="79"/>
                    <a:pt x="207" y="79"/>
                    <a:pt x="207" y="79"/>
                  </a:cubicBezTo>
                  <a:cubicBezTo>
                    <a:pt x="203" y="81"/>
                    <a:pt x="203" y="81"/>
                    <a:pt x="203" y="81"/>
                  </a:cubicBezTo>
                  <a:cubicBezTo>
                    <a:pt x="201" y="80"/>
                    <a:pt x="201" y="80"/>
                    <a:pt x="201" y="80"/>
                  </a:cubicBezTo>
                  <a:cubicBezTo>
                    <a:pt x="199" y="80"/>
                    <a:pt x="199" y="80"/>
                    <a:pt x="199" y="80"/>
                  </a:cubicBezTo>
                  <a:cubicBezTo>
                    <a:pt x="199" y="77"/>
                    <a:pt x="199" y="77"/>
                    <a:pt x="199" y="77"/>
                  </a:cubicBezTo>
                  <a:cubicBezTo>
                    <a:pt x="198" y="72"/>
                    <a:pt x="198" y="72"/>
                    <a:pt x="198" y="72"/>
                  </a:cubicBezTo>
                  <a:cubicBezTo>
                    <a:pt x="198" y="67"/>
                    <a:pt x="198" y="67"/>
                    <a:pt x="198" y="67"/>
                  </a:cubicBezTo>
                  <a:cubicBezTo>
                    <a:pt x="197" y="63"/>
                    <a:pt x="197" y="63"/>
                    <a:pt x="197" y="63"/>
                  </a:cubicBezTo>
                  <a:cubicBezTo>
                    <a:pt x="196" y="59"/>
                    <a:pt x="196" y="59"/>
                    <a:pt x="196" y="59"/>
                  </a:cubicBezTo>
                  <a:cubicBezTo>
                    <a:pt x="194" y="57"/>
                    <a:pt x="194" y="57"/>
                    <a:pt x="194" y="57"/>
                  </a:cubicBezTo>
                  <a:cubicBezTo>
                    <a:pt x="192" y="56"/>
                    <a:pt x="192" y="56"/>
                    <a:pt x="192" y="56"/>
                  </a:cubicBezTo>
                  <a:cubicBezTo>
                    <a:pt x="189" y="57"/>
                    <a:pt x="189" y="57"/>
                    <a:pt x="189" y="57"/>
                  </a:cubicBezTo>
                  <a:cubicBezTo>
                    <a:pt x="188" y="59"/>
                    <a:pt x="188" y="59"/>
                    <a:pt x="188" y="59"/>
                  </a:cubicBezTo>
                  <a:cubicBezTo>
                    <a:pt x="188" y="62"/>
                    <a:pt x="188" y="62"/>
                    <a:pt x="188" y="62"/>
                  </a:cubicBezTo>
                  <a:cubicBezTo>
                    <a:pt x="187" y="65"/>
                    <a:pt x="187" y="65"/>
                    <a:pt x="187" y="65"/>
                  </a:cubicBezTo>
                  <a:cubicBezTo>
                    <a:pt x="185" y="64"/>
                    <a:pt x="185" y="64"/>
                    <a:pt x="185" y="64"/>
                  </a:cubicBezTo>
                  <a:cubicBezTo>
                    <a:pt x="183" y="63"/>
                    <a:pt x="183" y="63"/>
                    <a:pt x="183" y="63"/>
                  </a:cubicBezTo>
                  <a:cubicBezTo>
                    <a:pt x="181" y="58"/>
                    <a:pt x="181" y="58"/>
                    <a:pt x="181" y="58"/>
                  </a:cubicBezTo>
                  <a:cubicBezTo>
                    <a:pt x="180" y="52"/>
                    <a:pt x="180" y="52"/>
                    <a:pt x="180" y="52"/>
                  </a:cubicBezTo>
                  <a:cubicBezTo>
                    <a:pt x="179" y="46"/>
                    <a:pt x="179" y="46"/>
                    <a:pt x="179" y="46"/>
                  </a:cubicBezTo>
                  <a:cubicBezTo>
                    <a:pt x="179" y="40"/>
                    <a:pt x="179" y="40"/>
                    <a:pt x="179" y="40"/>
                  </a:cubicBezTo>
                  <a:cubicBezTo>
                    <a:pt x="179" y="36"/>
                    <a:pt x="179" y="36"/>
                    <a:pt x="179" y="36"/>
                  </a:cubicBezTo>
                  <a:cubicBezTo>
                    <a:pt x="178" y="33"/>
                    <a:pt x="178" y="33"/>
                    <a:pt x="178" y="33"/>
                  </a:cubicBezTo>
                  <a:cubicBezTo>
                    <a:pt x="175" y="34"/>
                    <a:pt x="175" y="34"/>
                    <a:pt x="175" y="34"/>
                  </a:cubicBezTo>
                  <a:cubicBezTo>
                    <a:pt x="172" y="36"/>
                    <a:pt x="172" y="36"/>
                    <a:pt x="172" y="36"/>
                  </a:cubicBezTo>
                  <a:cubicBezTo>
                    <a:pt x="169" y="36"/>
                    <a:pt x="169" y="36"/>
                    <a:pt x="169" y="36"/>
                  </a:cubicBezTo>
                  <a:cubicBezTo>
                    <a:pt x="169" y="34"/>
                    <a:pt x="169" y="34"/>
                    <a:pt x="169" y="34"/>
                  </a:cubicBezTo>
                  <a:cubicBezTo>
                    <a:pt x="171" y="28"/>
                    <a:pt x="171" y="28"/>
                    <a:pt x="171" y="28"/>
                  </a:cubicBezTo>
                  <a:cubicBezTo>
                    <a:pt x="169" y="28"/>
                    <a:pt x="169" y="28"/>
                    <a:pt x="169" y="28"/>
                  </a:cubicBezTo>
                  <a:cubicBezTo>
                    <a:pt x="167" y="29"/>
                    <a:pt x="167" y="29"/>
                    <a:pt x="167" y="29"/>
                  </a:cubicBezTo>
                  <a:cubicBezTo>
                    <a:pt x="165" y="31"/>
                    <a:pt x="165" y="31"/>
                    <a:pt x="165" y="31"/>
                  </a:cubicBezTo>
                  <a:cubicBezTo>
                    <a:pt x="162" y="32"/>
                    <a:pt x="162" y="32"/>
                    <a:pt x="162" y="32"/>
                  </a:cubicBezTo>
                  <a:cubicBezTo>
                    <a:pt x="160" y="31"/>
                    <a:pt x="160" y="31"/>
                    <a:pt x="160" y="31"/>
                  </a:cubicBezTo>
                  <a:cubicBezTo>
                    <a:pt x="157" y="30"/>
                    <a:pt x="157" y="30"/>
                    <a:pt x="157" y="30"/>
                  </a:cubicBezTo>
                  <a:cubicBezTo>
                    <a:pt x="154" y="32"/>
                    <a:pt x="154" y="32"/>
                    <a:pt x="154" y="32"/>
                  </a:cubicBezTo>
                  <a:cubicBezTo>
                    <a:pt x="153" y="34"/>
                    <a:pt x="153" y="34"/>
                    <a:pt x="153" y="34"/>
                  </a:cubicBezTo>
                  <a:cubicBezTo>
                    <a:pt x="150" y="34"/>
                    <a:pt x="150" y="34"/>
                    <a:pt x="150" y="34"/>
                  </a:cubicBezTo>
                  <a:cubicBezTo>
                    <a:pt x="148" y="33"/>
                    <a:pt x="148" y="33"/>
                    <a:pt x="148" y="33"/>
                  </a:cubicBezTo>
                  <a:cubicBezTo>
                    <a:pt x="146" y="31"/>
                    <a:pt x="146" y="31"/>
                    <a:pt x="146" y="31"/>
                  </a:cubicBezTo>
                  <a:cubicBezTo>
                    <a:pt x="145" y="31"/>
                    <a:pt x="145" y="31"/>
                    <a:pt x="145" y="31"/>
                  </a:cubicBezTo>
                  <a:cubicBezTo>
                    <a:pt x="141" y="31"/>
                    <a:pt x="141" y="31"/>
                    <a:pt x="141" y="31"/>
                  </a:cubicBezTo>
                  <a:cubicBezTo>
                    <a:pt x="138" y="32"/>
                    <a:pt x="138" y="32"/>
                    <a:pt x="138" y="32"/>
                  </a:cubicBezTo>
                  <a:cubicBezTo>
                    <a:pt x="137" y="31"/>
                    <a:pt x="137" y="31"/>
                    <a:pt x="137" y="31"/>
                  </a:cubicBezTo>
                  <a:cubicBezTo>
                    <a:pt x="135" y="28"/>
                    <a:pt x="135" y="28"/>
                    <a:pt x="135" y="28"/>
                  </a:cubicBezTo>
                  <a:cubicBezTo>
                    <a:pt x="135" y="25"/>
                    <a:pt x="135" y="25"/>
                    <a:pt x="135" y="25"/>
                  </a:cubicBezTo>
                  <a:cubicBezTo>
                    <a:pt x="138" y="23"/>
                    <a:pt x="138" y="23"/>
                    <a:pt x="138" y="23"/>
                  </a:cubicBezTo>
                  <a:cubicBezTo>
                    <a:pt x="141" y="21"/>
                    <a:pt x="141" y="21"/>
                    <a:pt x="141" y="21"/>
                  </a:cubicBezTo>
                  <a:cubicBezTo>
                    <a:pt x="142" y="18"/>
                    <a:pt x="142" y="18"/>
                    <a:pt x="142" y="18"/>
                  </a:cubicBezTo>
                  <a:cubicBezTo>
                    <a:pt x="141" y="16"/>
                    <a:pt x="141" y="16"/>
                    <a:pt x="141" y="16"/>
                  </a:cubicBezTo>
                  <a:cubicBezTo>
                    <a:pt x="139" y="13"/>
                    <a:pt x="139" y="13"/>
                    <a:pt x="139" y="13"/>
                  </a:cubicBezTo>
                  <a:cubicBezTo>
                    <a:pt x="137" y="10"/>
                    <a:pt x="137" y="10"/>
                    <a:pt x="137" y="10"/>
                  </a:cubicBezTo>
                  <a:cubicBezTo>
                    <a:pt x="135" y="8"/>
                    <a:pt x="135" y="8"/>
                    <a:pt x="135" y="8"/>
                  </a:cubicBezTo>
                  <a:cubicBezTo>
                    <a:pt x="132" y="5"/>
                    <a:pt x="132" y="5"/>
                    <a:pt x="132" y="5"/>
                  </a:cubicBezTo>
                  <a:cubicBezTo>
                    <a:pt x="130" y="2"/>
                    <a:pt x="130" y="2"/>
                    <a:pt x="130" y="2"/>
                  </a:cubicBezTo>
                  <a:cubicBezTo>
                    <a:pt x="128" y="0"/>
                    <a:pt x="128" y="0"/>
                    <a:pt x="128" y="0"/>
                  </a:cubicBezTo>
                  <a:cubicBezTo>
                    <a:pt x="124" y="0"/>
                    <a:pt x="124" y="0"/>
                    <a:pt x="124" y="0"/>
                  </a:cubicBezTo>
                  <a:cubicBezTo>
                    <a:pt x="121" y="2"/>
                    <a:pt x="121" y="2"/>
                    <a:pt x="121" y="2"/>
                  </a:cubicBezTo>
                  <a:cubicBezTo>
                    <a:pt x="119" y="5"/>
                    <a:pt x="119" y="5"/>
                    <a:pt x="119" y="5"/>
                  </a:cubicBezTo>
                  <a:cubicBezTo>
                    <a:pt x="119" y="9"/>
                    <a:pt x="119" y="9"/>
                    <a:pt x="119" y="9"/>
                  </a:cubicBezTo>
                  <a:cubicBezTo>
                    <a:pt x="118" y="10"/>
                    <a:pt x="118" y="10"/>
                    <a:pt x="118" y="10"/>
                  </a:cubicBezTo>
                  <a:cubicBezTo>
                    <a:pt x="116" y="13"/>
                    <a:pt x="116" y="13"/>
                    <a:pt x="116" y="13"/>
                  </a:cubicBezTo>
                  <a:cubicBezTo>
                    <a:pt x="113" y="14"/>
                    <a:pt x="113" y="14"/>
                    <a:pt x="113" y="14"/>
                  </a:cubicBezTo>
                  <a:cubicBezTo>
                    <a:pt x="110" y="16"/>
                    <a:pt x="110" y="16"/>
                    <a:pt x="110" y="16"/>
                  </a:cubicBezTo>
                  <a:cubicBezTo>
                    <a:pt x="108" y="18"/>
                    <a:pt x="108" y="18"/>
                    <a:pt x="108" y="18"/>
                  </a:cubicBezTo>
                  <a:cubicBezTo>
                    <a:pt x="106" y="21"/>
                    <a:pt x="106" y="21"/>
                    <a:pt x="106" y="21"/>
                  </a:cubicBezTo>
                  <a:cubicBezTo>
                    <a:pt x="106" y="24"/>
                    <a:pt x="106" y="24"/>
                    <a:pt x="106" y="24"/>
                  </a:cubicBezTo>
                  <a:cubicBezTo>
                    <a:pt x="105" y="24"/>
                    <a:pt x="105" y="24"/>
                    <a:pt x="105" y="24"/>
                  </a:cubicBezTo>
                  <a:cubicBezTo>
                    <a:pt x="102" y="23"/>
                    <a:pt x="102" y="23"/>
                    <a:pt x="102" y="23"/>
                  </a:cubicBezTo>
                  <a:cubicBezTo>
                    <a:pt x="99" y="22"/>
                    <a:pt x="99" y="22"/>
                    <a:pt x="99" y="22"/>
                  </a:cubicBezTo>
                  <a:cubicBezTo>
                    <a:pt x="98" y="24"/>
                    <a:pt x="98" y="24"/>
                    <a:pt x="98" y="24"/>
                  </a:cubicBezTo>
                  <a:cubicBezTo>
                    <a:pt x="96" y="26"/>
                    <a:pt x="96" y="26"/>
                    <a:pt x="96" y="26"/>
                  </a:cubicBezTo>
                  <a:cubicBezTo>
                    <a:pt x="95" y="26"/>
                    <a:pt x="95" y="26"/>
                    <a:pt x="95" y="26"/>
                  </a:cubicBezTo>
                  <a:cubicBezTo>
                    <a:pt x="94" y="24"/>
                    <a:pt x="94" y="24"/>
                    <a:pt x="94" y="24"/>
                  </a:cubicBezTo>
                  <a:cubicBezTo>
                    <a:pt x="92" y="23"/>
                    <a:pt x="92" y="23"/>
                    <a:pt x="92" y="23"/>
                  </a:cubicBezTo>
                  <a:cubicBezTo>
                    <a:pt x="89" y="24"/>
                    <a:pt x="89" y="24"/>
                    <a:pt x="89" y="24"/>
                  </a:cubicBezTo>
                  <a:cubicBezTo>
                    <a:pt x="89" y="26"/>
                    <a:pt x="89" y="26"/>
                    <a:pt x="89" y="26"/>
                  </a:cubicBezTo>
                  <a:cubicBezTo>
                    <a:pt x="91" y="27"/>
                    <a:pt x="91" y="27"/>
                    <a:pt x="91" y="27"/>
                  </a:cubicBezTo>
                  <a:cubicBezTo>
                    <a:pt x="93" y="28"/>
                    <a:pt x="93" y="28"/>
                    <a:pt x="93" y="28"/>
                  </a:cubicBezTo>
                  <a:cubicBezTo>
                    <a:pt x="93" y="29"/>
                    <a:pt x="93" y="29"/>
                    <a:pt x="93" y="29"/>
                  </a:cubicBezTo>
                  <a:cubicBezTo>
                    <a:pt x="93" y="31"/>
                    <a:pt x="93" y="31"/>
                    <a:pt x="93" y="31"/>
                  </a:cubicBezTo>
                  <a:cubicBezTo>
                    <a:pt x="96" y="32"/>
                    <a:pt x="96" y="32"/>
                    <a:pt x="96" y="32"/>
                  </a:cubicBezTo>
                  <a:cubicBezTo>
                    <a:pt x="99" y="34"/>
                    <a:pt x="99" y="34"/>
                    <a:pt x="99" y="34"/>
                  </a:cubicBezTo>
                  <a:cubicBezTo>
                    <a:pt x="102" y="34"/>
                    <a:pt x="102" y="34"/>
                    <a:pt x="102" y="34"/>
                  </a:cubicBezTo>
                  <a:cubicBezTo>
                    <a:pt x="105" y="33"/>
                    <a:pt x="105" y="33"/>
                    <a:pt x="105" y="33"/>
                  </a:cubicBezTo>
                  <a:cubicBezTo>
                    <a:pt x="107" y="34"/>
                    <a:pt x="107" y="34"/>
                    <a:pt x="107" y="34"/>
                  </a:cubicBezTo>
                  <a:cubicBezTo>
                    <a:pt x="107" y="37"/>
                    <a:pt x="107" y="37"/>
                    <a:pt x="107" y="37"/>
                  </a:cubicBezTo>
                  <a:cubicBezTo>
                    <a:pt x="106" y="38"/>
                    <a:pt x="106" y="38"/>
                    <a:pt x="106" y="38"/>
                  </a:cubicBezTo>
                  <a:cubicBezTo>
                    <a:pt x="104" y="40"/>
                    <a:pt x="104" y="40"/>
                    <a:pt x="104" y="40"/>
                  </a:cubicBezTo>
                  <a:cubicBezTo>
                    <a:pt x="104" y="43"/>
                    <a:pt x="104" y="43"/>
                    <a:pt x="104" y="43"/>
                  </a:cubicBezTo>
                  <a:cubicBezTo>
                    <a:pt x="106" y="44"/>
                    <a:pt x="106" y="44"/>
                    <a:pt x="106" y="44"/>
                  </a:cubicBezTo>
                  <a:cubicBezTo>
                    <a:pt x="109" y="46"/>
                    <a:pt x="109" y="46"/>
                    <a:pt x="109" y="46"/>
                  </a:cubicBezTo>
                  <a:cubicBezTo>
                    <a:pt x="110" y="48"/>
                    <a:pt x="110" y="48"/>
                    <a:pt x="110" y="48"/>
                  </a:cubicBezTo>
                  <a:cubicBezTo>
                    <a:pt x="110" y="52"/>
                    <a:pt x="110" y="52"/>
                    <a:pt x="110" y="52"/>
                  </a:cubicBezTo>
                  <a:cubicBezTo>
                    <a:pt x="108" y="54"/>
                    <a:pt x="108" y="54"/>
                    <a:pt x="108" y="54"/>
                  </a:cubicBezTo>
                  <a:cubicBezTo>
                    <a:pt x="107" y="55"/>
                    <a:pt x="107" y="55"/>
                    <a:pt x="107" y="55"/>
                  </a:cubicBezTo>
                  <a:cubicBezTo>
                    <a:pt x="107" y="56"/>
                    <a:pt x="107" y="56"/>
                    <a:pt x="107" y="56"/>
                  </a:cubicBezTo>
                  <a:cubicBezTo>
                    <a:pt x="110" y="58"/>
                    <a:pt x="110" y="58"/>
                    <a:pt x="110" y="58"/>
                  </a:cubicBezTo>
                  <a:cubicBezTo>
                    <a:pt x="111" y="60"/>
                    <a:pt x="111" y="60"/>
                    <a:pt x="111" y="60"/>
                  </a:cubicBezTo>
                  <a:cubicBezTo>
                    <a:pt x="110" y="62"/>
                    <a:pt x="110" y="62"/>
                    <a:pt x="110" y="62"/>
                  </a:cubicBezTo>
                  <a:cubicBezTo>
                    <a:pt x="108" y="63"/>
                    <a:pt x="108" y="63"/>
                    <a:pt x="108" y="63"/>
                  </a:cubicBezTo>
                  <a:cubicBezTo>
                    <a:pt x="106" y="63"/>
                    <a:pt x="106" y="63"/>
                    <a:pt x="106" y="63"/>
                  </a:cubicBezTo>
                  <a:cubicBezTo>
                    <a:pt x="105" y="63"/>
                    <a:pt x="105" y="63"/>
                    <a:pt x="105" y="63"/>
                  </a:cubicBezTo>
                  <a:cubicBezTo>
                    <a:pt x="103" y="66"/>
                    <a:pt x="103" y="66"/>
                    <a:pt x="103" y="66"/>
                  </a:cubicBezTo>
                  <a:cubicBezTo>
                    <a:pt x="102" y="65"/>
                    <a:pt x="102" y="65"/>
                    <a:pt x="102" y="65"/>
                  </a:cubicBezTo>
                  <a:cubicBezTo>
                    <a:pt x="102" y="63"/>
                    <a:pt x="102" y="63"/>
                    <a:pt x="102" y="63"/>
                  </a:cubicBezTo>
                  <a:cubicBezTo>
                    <a:pt x="101" y="60"/>
                    <a:pt x="101" y="60"/>
                    <a:pt x="101" y="60"/>
                  </a:cubicBezTo>
                  <a:cubicBezTo>
                    <a:pt x="99" y="59"/>
                    <a:pt x="99" y="59"/>
                    <a:pt x="99" y="59"/>
                  </a:cubicBezTo>
                  <a:cubicBezTo>
                    <a:pt x="97" y="62"/>
                    <a:pt x="97" y="62"/>
                    <a:pt x="97" y="62"/>
                  </a:cubicBezTo>
                  <a:cubicBezTo>
                    <a:pt x="92" y="68"/>
                    <a:pt x="92" y="68"/>
                    <a:pt x="92" y="68"/>
                  </a:cubicBezTo>
                  <a:cubicBezTo>
                    <a:pt x="88" y="74"/>
                    <a:pt x="88" y="74"/>
                    <a:pt x="88" y="74"/>
                  </a:cubicBezTo>
                  <a:cubicBezTo>
                    <a:pt x="81" y="78"/>
                    <a:pt x="81" y="78"/>
                    <a:pt x="81" y="78"/>
                  </a:cubicBezTo>
                  <a:cubicBezTo>
                    <a:pt x="79" y="84"/>
                    <a:pt x="79" y="84"/>
                    <a:pt x="79" y="84"/>
                  </a:cubicBezTo>
                  <a:cubicBezTo>
                    <a:pt x="82" y="88"/>
                    <a:pt x="82" y="88"/>
                    <a:pt x="82" y="88"/>
                  </a:cubicBezTo>
                  <a:cubicBezTo>
                    <a:pt x="85" y="92"/>
                    <a:pt x="85" y="92"/>
                    <a:pt x="85" y="92"/>
                  </a:cubicBezTo>
                  <a:cubicBezTo>
                    <a:pt x="83" y="97"/>
                    <a:pt x="83" y="97"/>
                    <a:pt x="83" y="97"/>
                  </a:cubicBezTo>
                  <a:cubicBezTo>
                    <a:pt x="72" y="102"/>
                    <a:pt x="72" y="102"/>
                    <a:pt x="72" y="102"/>
                  </a:cubicBezTo>
                  <a:cubicBezTo>
                    <a:pt x="64" y="104"/>
                    <a:pt x="64" y="104"/>
                    <a:pt x="64" y="104"/>
                  </a:cubicBezTo>
                  <a:cubicBezTo>
                    <a:pt x="54" y="107"/>
                    <a:pt x="54" y="107"/>
                    <a:pt x="54" y="107"/>
                  </a:cubicBezTo>
                  <a:cubicBezTo>
                    <a:pt x="52" y="109"/>
                    <a:pt x="52" y="109"/>
                    <a:pt x="52" y="109"/>
                  </a:cubicBezTo>
                  <a:cubicBezTo>
                    <a:pt x="50" y="111"/>
                    <a:pt x="50" y="111"/>
                    <a:pt x="50" y="111"/>
                  </a:cubicBezTo>
                  <a:cubicBezTo>
                    <a:pt x="50" y="112"/>
                    <a:pt x="50" y="112"/>
                    <a:pt x="50" y="112"/>
                  </a:cubicBezTo>
                  <a:cubicBezTo>
                    <a:pt x="45" y="117"/>
                    <a:pt x="45" y="117"/>
                    <a:pt x="45" y="117"/>
                  </a:cubicBezTo>
                  <a:cubicBezTo>
                    <a:pt x="39" y="123"/>
                    <a:pt x="39" y="123"/>
                    <a:pt x="39" y="123"/>
                  </a:cubicBezTo>
                  <a:cubicBezTo>
                    <a:pt x="38" y="125"/>
                    <a:pt x="38" y="125"/>
                    <a:pt x="38" y="125"/>
                  </a:cubicBezTo>
                  <a:cubicBezTo>
                    <a:pt x="37" y="126"/>
                    <a:pt x="37" y="126"/>
                    <a:pt x="37" y="126"/>
                  </a:cubicBezTo>
                  <a:cubicBezTo>
                    <a:pt x="36" y="126"/>
                    <a:pt x="36" y="126"/>
                    <a:pt x="36" y="126"/>
                  </a:cubicBezTo>
                  <a:cubicBezTo>
                    <a:pt x="34" y="129"/>
                    <a:pt x="34" y="129"/>
                    <a:pt x="34" y="129"/>
                  </a:cubicBezTo>
                  <a:cubicBezTo>
                    <a:pt x="28" y="128"/>
                    <a:pt x="28" y="128"/>
                    <a:pt x="28" y="128"/>
                  </a:cubicBezTo>
                  <a:cubicBezTo>
                    <a:pt x="19" y="127"/>
                    <a:pt x="19" y="127"/>
                    <a:pt x="19" y="127"/>
                  </a:cubicBezTo>
                  <a:cubicBezTo>
                    <a:pt x="10" y="125"/>
                    <a:pt x="10" y="125"/>
                    <a:pt x="10" y="125"/>
                  </a:cubicBezTo>
                  <a:cubicBezTo>
                    <a:pt x="3" y="128"/>
                    <a:pt x="3" y="128"/>
                    <a:pt x="3" y="128"/>
                  </a:cubicBezTo>
                  <a:cubicBezTo>
                    <a:pt x="0" y="133"/>
                    <a:pt x="0" y="133"/>
                    <a:pt x="0" y="133"/>
                  </a:cubicBezTo>
                  <a:cubicBezTo>
                    <a:pt x="2" y="138"/>
                    <a:pt x="2" y="138"/>
                    <a:pt x="2" y="138"/>
                  </a:cubicBezTo>
                  <a:cubicBezTo>
                    <a:pt x="4" y="141"/>
                    <a:pt x="4" y="141"/>
                    <a:pt x="4" y="141"/>
                  </a:cubicBezTo>
                  <a:cubicBezTo>
                    <a:pt x="10" y="144"/>
                    <a:pt x="10" y="144"/>
                    <a:pt x="10" y="144"/>
                  </a:cubicBezTo>
                  <a:cubicBezTo>
                    <a:pt x="15" y="148"/>
                    <a:pt x="15" y="148"/>
                    <a:pt x="15" y="148"/>
                  </a:cubicBezTo>
                  <a:cubicBezTo>
                    <a:pt x="15" y="156"/>
                    <a:pt x="15" y="156"/>
                    <a:pt x="15" y="156"/>
                  </a:cubicBezTo>
                  <a:cubicBezTo>
                    <a:pt x="12" y="159"/>
                    <a:pt x="12" y="159"/>
                    <a:pt x="12" y="159"/>
                  </a:cubicBezTo>
                  <a:cubicBezTo>
                    <a:pt x="7" y="162"/>
                    <a:pt x="7" y="162"/>
                    <a:pt x="7" y="162"/>
                  </a:cubicBezTo>
                  <a:cubicBezTo>
                    <a:pt x="8" y="170"/>
                    <a:pt x="8" y="170"/>
                    <a:pt x="8" y="170"/>
                  </a:cubicBezTo>
                  <a:cubicBezTo>
                    <a:pt x="8" y="178"/>
                    <a:pt x="8" y="178"/>
                    <a:pt x="8" y="178"/>
                  </a:cubicBezTo>
                  <a:cubicBezTo>
                    <a:pt x="8" y="194"/>
                    <a:pt x="8" y="194"/>
                    <a:pt x="8" y="194"/>
                  </a:cubicBezTo>
                  <a:cubicBezTo>
                    <a:pt x="8" y="194"/>
                    <a:pt x="8" y="194"/>
                    <a:pt x="8" y="194"/>
                  </a:cubicBezTo>
                  <a:cubicBezTo>
                    <a:pt x="9" y="195"/>
                    <a:pt x="11" y="196"/>
                    <a:pt x="12" y="197"/>
                  </a:cubicBezTo>
                  <a:cubicBezTo>
                    <a:pt x="12" y="197"/>
                    <a:pt x="12" y="197"/>
                    <a:pt x="12" y="197"/>
                  </a:cubicBezTo>
                  <a:cubicBezTo>
                    <a:pt x="13" y="199"/>
                    <a:pt x="14" y="200"/>
                    <a:pt x="15" y="201"/>
                  </a:cubicBezTo>
                  <a:cubicBezTo>
                    <a:pt x="22" y="209"/>
                    <a:pt x="25" y="236"/>
                    <a:pt x="25" y="236"/>
                  </a:cubicBezTo>
                  <a:cubicBezTo>
                    <a:pt x="25" y="236"/>
                    <a:pt x="62" y="241"/>
                    <a:pt x="76" y="257"/>
                  </a:cubicBezTo>
                  <a:cubicBezTo>
                    <a:pt x="91" y="273"/>
                    <a:pt x="100" y="312"/>
                    <a:pt x="100" y="312"/>
                  </a:cubicBezTo>
                  <a:cubicBezTo>
                    <a:pt x="90" y="361"/>
                    <a:pt x="90" y="361"/>
                    <a:pt x="90" y="361"/>
                  </a:cubicBezTo>
                  <a:cubicBezTo>
                    <a:pt x="125" y="340"/>
                    <a:pt x="125" y="340"/>
                    <a:pt x="125" y="340"/>
                  </a:cubicBezTo>
                  <a:cubicBezTo>
                    <a:pt x="125" y="340"/>
                    <a:pt x="112" y="305"/>
                    <a:pt x="120" y="29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8" name="Freeform 673">
              <a:extLst>
                <a:ext uri="{FF2B5EF4-FFF2-40B4-BE49-F238E27FC236}">
                  <a16:creationId xmlns:a16="http://schemas.microsoft.com/office/drawing/2014/main" id="{5879B424-95AC-BAE3-FBC6-55E358C70B13}"/>
                </a:ext>
              </a:extLst>
            </p:cNvPr>
            <p:cNvSpPr>
              <a:spLocks/>
            </p:cNvSpPr>
            <p:nvPr/>
          </p:nvSpPr>
          <p:spPr bwMode="gray">
            <a:xfrm>
              <a:off x="10919357" y="4549226"/>
              <a:ext cx="1798" cy="1798"/>
            </a:xfrm>
            <a:custGeom>
              <a:avLst/>
              <a:gdLst>
                <a:gd name="T0" fmla="*/ 4 w 4"/>
                <a:gd name="T1" fmla="*/ 3 h 3"/>
                <a:gd name="T2" fmla="*/ 0 w 4"/>
                <a:gd name="T3" fmla="*/ 0 h 3"/>
                <a:gd name="T4" fmla="*/ 4 w 4"/>
                <a:gd name="T5" fmla="*/ 3 h 3"/>
              </a:gdLst>
              <a:ahLst/>
              <a:cxnLst>
                <a:cxn ang="0">
                  <a:pos x="T0" y="T1"/>
                </a:cxn>
                <a:cxn ang="0">
                  <a:pos x="T2" y="T3"/>
                </a:cxn>
                <a:cxn ang="0">
                  <a:pos x="T4" y="T5"/>
                </a:cxn>
              </a:cxnLst>
              <a:rect l="0" t="0" r="r" b="b"/>
              <a:pathLst>
                <a:path w="4" h="3">
                  <a:moveTo>
                    <a:pt x="4" y="3"/>
                  </a:moveTo>
                  <a:cubicBezTo>
                    <a:pt x="3" y="2"/>
                    <a:pt x="1" y="1"/>
                    <a:pt x="0" y="0"/>
                  </a:cubicBezTo>
                  <a:cubicBezTo>
                    <a:pt x="1" y="1"/>
                    <a:pt x="3" y="2"/>
                    <a:pt x="4"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9" name="Freeform 674">
              <a:extLst>
                <a:ext uri="{FF2B5EF4-FFF2-40B4-BE49-F238E27FC236}">
                  <a16:creationId xmlns:a16="http://schemas.microsoft.com/office/drawing/2014/main" id="{BFA4E006-8A51-3C8C-E4BE-C367E521A5F0}"/>
                </a:ext>
              </a:extLst>
            </p:cNvPr>
            <p:cNvSpPr>
              <a:spLocks/>
            </p:cNvSpPr>
            <p:nvPr/>
          </p:nvSpPr>
          <p:spPr bwMode="gray">
            <a:xfrm>
              <a:off x="10921155" y="4551024"/>
              <a:ext cx="1798" cy="1798"/>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2"/>
                    <a:pt x="2" y="3"/>
                    <a:pt x="3" y="4"/>
                  </a:cubicBezTo>
                  <a:cubicBezTo>
                    <a:pt x="2" y="3"/>
                    <a:pt x="1" y="2"/>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0" name="Freeform 675">
              <a:extLst>
                <a:ext uri="{FF2B5EF4-FFF2-40B4-BE49-F238E27FC236}">
                  <a16:creationId xmlns:a16="http://schemas.microsoft.com/office/drawing/2014/main" id="{F79BE806-603A-0CF2-A734-8C47EF74DF6B}"/>
                </a:ext>
              </a:extLst>
            </p:cNvPr>
            <p:cNvSpPr>
              <a:spLocks/>
            </p:cNvSpPr>
            <p:nvPr/>
          </p:nvSpPr>
          <p:spPr bwMode="gray">
            <a:xfrm>
              <a:off x="11054206"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1" name="Freeform 676">
              <a:extLst>
                <a:ext uri="{FF2B5EF4-FFF2-40B4-BE49-F238E27FC236}">
                  <a16:creationId xmlns:a16="http://schemas.microsoft.com/office/drawing/2014/main" id="{D2DEA0F9-2AA7-FFC8-3B99-22ECFA31D861}"/>
                </a:ext>
              </a:extLst>
            </p:cNvPr>
            <p:cNvSpPr>
              <a:spLocks/>
            </p:cNvSpPr>
            <p:nvPr/>
          </p:nvSpPr>
          <p:spPr bwMode="gray">
            <a:xfrm>
              <a:off x="11056003"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2" name="Freeform 677">
              <a:extLst>
                <a:ext uri="{FF2B5EF4-FFF2-40B4-BE49-F238E27FC236}">
                  <a16:creationId xmlns:a16="http://schemas.microsoft.com/office/drawing/2014/main" id="{2068E0D2-95E9-9682-237B-E379779A8F9D}"/>
                </a:ext>
              </a:extLst>
            </p:cNvPr>
            <p:cNvSpPr>
              <a:spLocks/>
            </p:cNvSpPr>
            <p:nvPr/>
          </p:nvSpPr>
          <p:spPr bwMode="gray">
            <a:xfrm>
              <a:off x="11054206"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3" name="Freeform 678">
              <a:extLst>
                <a:ext uri="{FF2B5EF4-FFF2-40B4-BE49-F238E27FC236}">
                  <a16:creationId xmlns:a16="http://schemas.microsoft.com/office/drawing/2014/main" id="{2A8F58D1-71D8-7247-84C8-6F14ADE7C4FD}"/>
                </a:ext>
              </a:extLst>
            </p:cNvPr>
            <p:cNvSpPr>
              <a:spLocks/>
            </p:cNvSpPr>
            <p:nvPr/>
          </p:nvSpPr>
          <p:spPr bwMode="gray">
            <a:xfrm>
              <a:off x="11068589" y="457439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4" name="Freeform 679">
              <a:extLst>
                <a:ext uri="{FF2B5EF4-FFF2-40B4-BE49-F238E27FC236}">
                  <a16:creationId xmlns:a16="http://schemas.microsoft.com/office/drawing/2014/main" id="{50C76327-58DA-56D4-D519-2B9321EFED56}"/>
                </a:ext>
              </a:extLst>
            </p:cNvPr>
            <p:cNvSpPr>
              <a:spLocks/>
            </p:cNvSpPr>
            <p:nvPr/>
          </p:nvSpPr>
          <p:spPr bwMode="gray">
            <a:xfrm>
              <a:off x="11056003" y="457259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5" name="Freeform 680">
              <a:extLst>
                <a:ext uri="{FF2B5EF4-FFF2-40B4-BE49-F238E27FC236}">
                  <a16:creationId xmlns:a16="http://schemas.microsoft.com/office/drawing/2014/main" id="{16FFF8CB-D8F3-9BBE-1255-7EFD8E665971}"/>
                </a:ext>
              </a:extLst>
            </p:cNvPr>
            <p:cNvSpPr>
              <a:spLocks/>
            </p:cNvSpPr>
            <p:nvPr/>
          </p:nvSpPr>
          <p:spPr bwMode="gray">
            <a:xfrm>
              <a:off x="11070387" y="457439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6" name="Freeform 681">
              <a:extLst>
                <a:ext uri="{FF2B5EF4-FFF2-40B4-BE49-F238E27FC236}">
                  <a16:creationId xmlns:a16="http://schemas.microsoft.com/office/drawing/2014/main" id="{ECE2D824-BB2C-19BD-C085-C9F0ECD0E462}"/>
                </a:ext>
              </a:extLst>
            </p:cNvPr>
            <p:cNvSpPr>
              <a:spLocks/>
            </p:cNvSpPr>
            <p:nvPr/>
          </p:nvSpPr>
          <p:spPr bwMode="gray">
            <a:xfrm>
              <a:off x="11072186" y="4574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7" name="Freeform 682">
              <a:extLst>
                <a:ext uri="{FF2B5EF4-FFF2-40B4-BE49-F238E27FC236}">
                  <a16:creationId xmlns:a16="http://schemas.microsoft.com/office/drawing/2014/main" id="{CAD5E167-DF9D-F08F-6496-A7B24A959454}"/>
                </a:ext>
              </a:extLst>
            </p:cNvPr>
            <p:cNvSpPr>
              <a:spLocks/>
            </p:cNvSpPr>
            <p:nvPr/>
          </p:nvSpPr>
          <p:spPr bwMode="gray">
            <a:xfrm>
              <a:off x="11063195" y="457259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8" name="Freeform 683">
              <a:extLst>
                <a:ext uri="{FF2B5EF4-FFF2-40B4-BE49-F238E27FC236}">
                  <a16:creationId xmlns:a16="http://schemas.microsoft.com/office/drawing/2014/main" id="{ED93965C-DBB1-2E18-A2D0-A36797C97BD0}"/>
                </a:ext>
              </a:extLst>
            </p:cNvPr>
            <p:cNvSpPr>
              <a:spLocks/>
            </p:cNvSpPr>
            <p:nvPr/>
          </p:nvSpPr>
          <p:spPr bwMode="gray">
            <a:xfrm>
              <a:off x="11057802"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9" name="Freeform 684">
              <a:extLst>
                <a:ext uri="{FF2B5EF4-FFF2-40B4-BE49-F238E27FC236}">
                  <a16:creationId xmlns:a16="http://schemas.microsoft.com/office/drawing/2014/main" id="{401EEDB4-BC30-4A6D-04F5-2EA1D76E0F52}"/>
                </a:ext>
              </a:extLst>
            </p:cNvPr>
            <p:cNvSpPr>
              <a:spLocks/>
            </p:cNvSpPr>
            <p:nvPr/>
          </p:nvSpPr>
          <p:spPr bwMode="gray">
            <a:xfrm>
              <a:off x="11061398"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0" name="Freeform 685">
              <a:extLst>
                <a:ext uri="{FF2B5EF4-FFF2-40B4-BE49-F238E27FC236}">
                  <a16:creationId xmlns:a16="http://schemas.microsoft.com/office/drawing/2014/main" id="{DB76D85F-BCE6-35E2-9F27-6A8F94AC5DD2}"/>
                </a:ext>
              </a:extLst>
            </p:cNvPr>
            <p:cNvSpPr>
              <a:spLocks/>
            </p:cNvSpPr>
            <p:nvPr/>
          </p:nvSpPr>
          <p:spPr bwMode="gray">
            <a:xfrm>
              <a:off x="11059599"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1" name="Rectangle 686">
              <a:extLst>
                <a:ext uri="{FF2B5EF4-FFF2-40B4-BE49-F238E27FC236}">
                  <a16:creationId xmlns:a16="http://schemas.microsoft.com/office/drawing/2014/main" id="{BFBCFF3F-4E50-479F-4310-0BA10D60D91C}"/>
                </a:ext>
              </a:extLst>
            </p:cNvPr>
            <p:cNvSpPr>
              <a:spLocks noChangeArrowheads="1"/>
            </p:cNvSpPr>
            <p:nvPr/>
          </p:nvSpPr>
          <p:spPr bwMode="gray">
            <a:xfrm>
              <a:off x="10937337" y="4507872"/>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2" name="Rectangle 687">
              <a:extLst>
                <a:ext uri="{FF2B5EF4-FFF2-40B4-BE49-F238E27FC236}">
                  <a16:creationId xmlns:a16="http://schemas.microsoft.com/office/drawing/2014/main" id="{6CBE89C5-0F31-43F5-8991-0A5CF28E3AD5}"/>
                </a:ext>
              </a:extLst>
            </p:cNvPr>
            <p:cNvSpPr>
              <a:spLocks noChangeArrowheads="1"/>
            </p:cNvSpPr>
            <p:nvPr/>
          </p:nvSpPr>
          <p:spPr bwMode="gray">
            <a:xfrm>
              <a:off x="10935540" y="4507872"/>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7" name="Freeform 692">
              <a:extLst>
                <a:ext uri="{FF2B5EF4-FFF2-40B4-BE49-F238E27FC236}">
                  <a16:creationId xmlns:a16="http://schemas.microsoft.com/office/drawing/2014/main" id="{2447620C-9521-09E6-70C3-5AB561022885}"/>
                </a:ext>
              </a:extLst>
            </p:cNvPr>
            <p:cNvSpPr>
              <a:spLocks/>
            </p:cNvSpPr>
            <p:nvPr/>
          </p:nvSpPr>
          <p:spPr bwMode="gray">
            <a:xfrm>
              <a:off x="11379639" y="1796522"/>
              <a:ext cx="231940" cy="237333"/>
            </a:xfrm>
            <a:custGeom>
              <a:avLst/>
              <a:gdLst>
                <a:gd name="T0" fmla="*/ 383 w 388"/>
                <a:gd name="T1" fmla="*/ 217 h 397"/>
                <a:gd name="T2" fmla="*/ 362 w 388"/>
                <a:gd name="T3" fmla="*/ 185 h 397"/>
                <a:gd name="T4" fmla="*/ 352 w 388"/>
                <a:gd name="T5" fmla="*/ 150 h 397"/>
                <a:gd name="T6" fmla="*/ 320 w 388"/>
                <a:gd name="T7" fmla="*/ 130 h 397"/>
                <a:gd name="T8" fmla="*/ 295 w 388"/>
                <a:gd name="T9" fmla="*/ 90 h 397"/>
                <a:gd name="T10" fmla="*/ 199 w 388"/>
                <a:gd name="T11" fmla="*/ 74 h 397"/>
                <a:gd name="T12" fmla="*/ 180 w 388"/>
                <a:gd name="T13" fmla="*/ 81 h 397"/>
                <a:gd name="T14" fmla="*/ 177 w 388"/>
                <a:gd name="T15" fmla="*/ 66 h 397"/>
                <a:gd name="T16" fmla="*/ 214 w 388"/>
                <a:gd name="T17" fmla="*/ 67 h 397"/>
                <a:gd name="T18" fmla="*/ 193 w 388"/>
                <a:gd name="T19" fmla="*/ 40 h 397"/>
                <a:gd name="T20" fmla="*/ 181 w 388"/>
                <a:gd name="T21" fmla="*/ 51 h 397"/>
                <a:gd name="T22" fmla="*/ 164 w 388"/>
                <a:gd name="T23" fmla="*/ 19 h 397"/>
                <a:gd name="T24" fmla="*/ 134 w 388"/>
                <a:gd name="T25" fmla="*/ 18 h 397"/>
                <a:gd name="T26" fmla="*/ 130 w 388"/>
                <a:gd name="T27" fmla="*/ 29 h 397"/>
                <a:gd name="T28" fmla="*/ 116 w 388"/>
                <a:gd name="T29" fmla="*/ 9 h 397"/>
                <a:gd name="T30" fmla="*/ 79 w 388"/>
                <a:gd name="T31" fmla="*/ 0 h 397"/>
                <a:gd name="T32" fmla="*/ 73 w 388"/>
                <a:gd name="T33" fmla="*/ 49 h 397"/>
                <a:gd name="T34" fmla="*/ 38 w 388"/>
                <a:gd name="T35" fmla="*/ 78 h 397"/>
                <a:gd name="T36" fmla="*/ 43 w 388"/>
                <a:gd name="T37" fmla="*/ 113 h 397"/>
                <a:gd name="T38" fmla="*/ 1 w 388"/>
                <a:gd name="T39" fmla="*/ 145 h 397"/>
                <a:gd name="T40" fmla="*/ 103 w 388"/>
                <a:gd name="T41" fmla="*/ 211 h 397"/>
                <a:gd name="T42" fmla="*/ 112 w 388"/>
                <a:gd name="T43" fmla="*/ 254 h 397"/>
                <a:gd name="T44" fmla="*/ 159 w 388"/>
                <a:gd name="T45" fmla="*/ 294 h 397"/>
                <a:gd name="T46" fmla="*/ 168 w 388"/>
                <a:gd name="T47" fmla="*/ 333 h 397"/>
                <a:gd name="T48" fmla="*/ 197 w 388"/>
                <a:gd name="T49" fmla="*/ 350 h 397"/>
                <a:gd name="T50" fmla="*/ 195 w 388"/>
                <a:gd name="T51" fmla="*/ 392 h 397"/>
                <a:gd name="T52" fmla="*/ 255 w 388"/>
                <a:gd name="T53" fmla="*/ 394 h 397"/>
                <a:gd name="T54" fmla="*/ 254 w 388"/>
                <a:gd name="T55" fmla="*/ 345 h 397"/>
                <a:gd name="T56" fmla="*/ 274 w 388"/>
                <a:gd name="T57" fmla="*/ 315 h 397"/>
                <a:gd name="T58" fmla="*/ 315 w 388"/>
                <a:gd name="T59" fmla="*/ 313 h 397"/>
                <a:gd name="T60" fmla="*/ 367 w 388"/>
                <a:gd name="T61" fmla="*/ 316 h 397"/>
                <a:gd name="T62" fmla="*/ 352 w 388"/>
                <a:gd name="T63" fmla="*/ 238 h 397"/>
                <a:gd name="T64" fmla="*/ 383 w 388"/>
                <a:gd name="T65" fmla="*/ 21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8" h="397">
                  <a:moveTo>
                    <a:pt x="383" y="217"/>
                  </a:moveTo>
                  <a:cubicBezTo>
                    <a:pt x="388" y="190"/>
                    <a:pt x="362" y="185"/>
                    <a:pt x="362" y="185"/>
                  </a:cubicBezTo>
                  <a:cubicBezTo>
                    <a:pt x="352" y="150"/>
                    <a:pt x="352" y="150"/>
                    <a:pt x="352" y="150"/>
                  </a:cubicBezTo>
                  <a:cubicBezTo>
                    <a:pt x="320" y="130"/>
                    <a:pt x="320" y="130"/>
                    <a:pt x="320" y="130"/>
                  </a:cubicBezTo>
                  <a:cubicBezTo>
                    <a:pt x="320" y="130"/>
                    <a:pt x="316" y="114"/>
                    <a:pt x="295" y="90"/>
                  </a:cubicBezTo>
                  <a:cubicBezTo>
                    <a:pt x="270" y="70"/>
                    <a:pt x="199" y="74"/>
                    <a:pt x="199" y="74"/>
                  </a:cubicBezTo>
                  <a:cubicBezTo>
                    <a:pt x="199" y="74"/>
                    <a:pt x="191" y="85"/>
                    <a:pt x="180" y="81"/>
                  </a:cubicBezTo>
                  <a:cubicBezTo>
                    <a:pt x="169" y="77"/>
                    <a:pt x="177" y="66"/>
                    <a:pt x="177" y="66"/>
                  </a:cubicBezTo>
                  <a:cubicBezTo>
                    <a:pt x="214" y="67"/>
                    <a:pt x="214" y="67"/>
                    <a:pt x="214" y="67"/>
                  </a:cubicBezTo>
                  <a:cubicBezTo>
                    <a:pt x="193" y="40"/>
                    <a:pt x="193" y="40"/>
                    <a:pt x="193" y="40"/>
                  </a:cubicBezTo>
                  <a:cubicBezTo>
                    <a:pt x="181" y="51"/>
                    <a:pt x="181" y="51"/>
                    <a:pt x="181" y="51"/>
                  </a:cubicBezTo>
                  <a:cubicBezTo>
                    <a:pt x="164" y="19"/>
                    <a:pt x="164" y="19"/>
                    <a:pt x="164" y="19"/>
                  </a:cubicBezTo>
                  <a:cubicBezTo>
                    <a:pt x="134" y="18"/>
                    <a:pt x="134" y="18"/>
                    <a:pt x="134" y="18"/>
                  </a:cubicBezTo>
                  <a:cubicBezTo>
                    <a:pt x="130" y="29"/>
                    <a:pt x="130" y="29"/>
                    <a:pt x="130" y="29"/>
                  </a:cubicBezTo>
                  <a:cubicBezTo>
                    <a:pt x="116" y="9"/>
                    <a:pt x="116" y="9"/>
                    <a:pt x="116" y="9"/>
                  </a:cubicBezTo>
                  <a:cubicBezTo>
                    <a:pt x="116" y="9"/>
                    <a:pt x="97" y="4"/>
                    <a:pt x="79" y="0"/>
                  </a:cubicBezTo>
                  <a:cubicBezTo>
                    <a:pt x="79" y="0"/>
                    <a:pt x="73" y="30"/>
                    <a:pt x="73" y="49"/>
                  </a:cubicBezTo>
                  <a:cubicBezTo>
                    <a:pt x="72" y="64"/>
                    <a:pt x="38" y="78"/>
                    <a:pt x="38" y="78"/>
                  </a:cubicBezTo>
                  <a:cubicBezTo>
                    <a:pt x="43" y="113"/>
                    <a:pt x="43" y="113"/>
                    <a:pt x="43" y="113"/>
                  </a:cubicBezTo>
                  <a:cubicBezTo>
                    <a:pt x="43" y="113"/>
                    <a:pt x="5" y="126"/>
                    <a:pt x="1" y="145"/>
                  </a:cubicBezTo>
                  <a:cubicBezTo>
                    <a:pt x="0" y="164"/>
                    <a:pt x="88" y="191"/>
                    <a:pt x="103" y="211"/>
                  </a:cubicBezTo>
                  <a:cubicBezTo>
                    <a:pt x="113" y="231"/>
                    <a:pt x="112" y="254"/>
                    <a:pt x="112" y="254"/>
                  </a:cubicBezTo>
                  <a:cubicBezTo>
                    <a:pt x="112" y="254"/>
                    <a:pt x="141" y="274"/>
                    <a:pt x="159" y="294"/>
                  </a:cubicBezTo>
                  <a:cubicBezTo>
                    <a:pt x="180" y="314"/>
                    <a:pt x="168" y="333"/>
                    <a:pt x="168" y="333"/>
                  </a:cubicBezTo>
                  <a:cubicBezTo>
                    <a:pt x="197" y="350"/>
                    <a:pt x="197" y="350"/>
                    <a:pt x="197" y="350"/>
                  </a:cubicBezTo>
                  <a:cubicBezTo>
                    <a:pt x="195" y="392"/>
                    <a:pt x="195" y="392"/>
                    <a:pt x="195" y="392"/>
                  </a:cubicBezTo>
                  <a:cubicBezTo>
                    <a:pt x="195" y="392"/>
                    <a:pt x="229" y="397"/>
                    <a:pt x="255" y="394"/>
                  </a:cubicBezTo>
                  <a:cubicBezTo>
                    <a:pt x="285" y="396"/>
                    <a:pt x="254" y="345"/>
                    <a:pt x="254" y="345"/>
                  </a:cubicBezTo>
                  <a:cubicBezTo>
                    <a:pt x="274" y="315"/>
                    <a:pt x="274" y="315"/>
                    <a:pt x="274" y="315"/>
                  </a:cubicBezTo>
                  <a:cubicBezTo>
                    <a:pt x="315" y="313"/>
                    <a:pt x="315" y="313"/>
                    <a:pt x="315" y="313"/>
                  </a:cubicBezTo>
                  <a:cubicBezTo>
                    <a:pt x="315" y="313"/>
                    <a:pt x="344" y="326"/>
                    <a:pt x="367" y="316"/>
                  </a:cubicBezTo>
                  <a:cubicBezTo>
                    <a:pt x="386" y="305"/>
                    <a:pt x="352" y="238"/>
                    <a:pt x="352" y="238"/>
                  </a:cubicBezTo>
                  <a:cubicBezTo>
                    <a:pt x="352" y="238"/>
                    <a:pt x="374" y="243"/>
                    <a:pt x="383" y="21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8" name="Freeform 693">
              <a:extLst>
                <a:ext uri="{FF2B5EF4-FFF2-40B4-BE49-F238E27FC236}">
                  <a16:creationId xmlns:a16="http://schemas.microsoft.com/office/drawing/2014/main" id="{0741D1E5-3613-EE00-D7EF-99E5B5340C2A}"/>
                </a:ext>
              </a:extLst>
            </p:cNvPr>
            <p:cNvSpPr>
              <a:spLocks/>
            </p:cNvSpPr>
            <p:nvPr/>
          </p:nvSpPr>
          <p:spPr bwMode="gray">
            <a:xfrm>
              <a:off x="11616972" y="1578967"/>
              <a:ext cx="197778" cy="242728"/>
            </a:xfrm>
            <a:custGeom>
              <a:avLst/>
              <a:gdLst>
                <a:gd name="T0" fmla="*/ 257 w 332"/>
                <a:gd name="T1" fmla="*/ 233 h 408"/>
                <a:gd name="T2" fmla="*/ 255 w 332"/>
                <a:gd name="T3" fmla="*/ 206 h 408"/>
                <a:gd name="T4" fmla="*/ 233 w 332"/>
                <a:gd name="T5" fmla="*/ 205 h 408"/>
                <a:gd name="T6" fmla="*/ 194 w 332"/>
                <a:gd name="T7" fmla="*/ 157 h 408"/>
                <a:gd name="T8" fmla="*/ 190 w 332"/>
                <a:gd name="T9" fmla="*/ 69 h 408"/>
                <a:gd name="T10" fmla="*/ 124 w 332"/>
                <a:gd name="T11" fmla="*/ 39 h 408"/>
                <a:gd name="T12" fmla="*/ 76 w 332"/>
                <a:gd name="T13" fmla="*/ 17 h 408"/>
                <a:gd name="T14" fmla="*/ 46 w 332"/>
                <a:gd name="T15" fmla="*/ 20 h 408"/>
                <a:gd name="T16" fmla="*/ 17 w 332"/>
                <a:gd name="T17" fmla="*/ 11 h 408"/>
                <a:gd name="T18" fmla="*/ 110 w 332"/>
                <a:gd name="T19" fmla="*/ 103 h 408"/>
                <a:gd name="T20" fmla="*/ 75 w 332"/>
                <a:gd name="T21" fmla="*/ 52 h 408"/>
                <a:gd name="T22" fmla="*/ 86 w 332"/>
                <a:gd name="T23" fmla="*/ 52 h 408"/>
                <a:gd name="T24" fmla="*/ 115 w 332"/>
                <a:gd name="T25" fmla="*/ 65 h 408"/>
                <a:gd name="T26" fmla="*/ 134 w 332"/>
                <a:gd name="T27" fmla="*/ 66 h 408"/>
                <a:gd name="T28" fmla="*/ 172 w 332"/>
                <a:gd name="T29" fmla="*/ 133 h 408"/>
                <a:gd name="T30" fmla="*/ 123 w 332"/>
                <a:gd name="T31" fmla="*/ 142 h 408"/>
                <a:gd name="T32" fmla="*/ 141 w 332"/>
                <a:gd name="T33" fmla="*/ 166 h 408"/>
                <a:gd name="T34" fmla="*/ 136 w 332"/>
                <a:gd name="T35" fmla="*/ 177 h 408"/>
                <a:gd name="T36" fmla="*/ 101 w 332"/>
                <a:gd name="T37" fmla="*/ 137 h 408"/>
                <a:gd name="T38" fmla="*/ 44 w 332"/>
                <a:gd name="T39" fmla="*/ 81 h 408"/>
                <a:gd name="T40" fmla="*/ 86 w 332"/>
                <a:gd name="T41" fmla="*/ 136 h 408"/>
                <a:gd name="T42" fmla="*/ 42 w 332"/>
                <a:gd name="T43" fmla="*/ 111 h 408"/>
                <a:gd name="T44" fmla="*/ 89 w 332"/>
                <a:gd name="T45" fmla="*/ 156 h 408"/>
                <a:gd name="T46" fmla="*/ 74 w 332"/>
                <a:gd name="T47" fmla="*/ 155 h 408"/>
                <a:gd name="T48" fmla="*/ 95 w 332"/>
                <a:gd name="T49" fmla="*/ 186 h 408"/>
                <a:gd name="T50" fmla="*/ 95 w 332"/>
                <a:gd name="T51" fmla="*/ 194 h 408"/>
                <a:gd name="T52" fmla="*/ 43 w 332"/>
                <a:gd name="T53" fmla="*/ 165 h 408"/>
                <a:gd name="T54" fmla="*/ 37 w 332"/>
                <a:gd name="T55" fmla="*/ 146 h 408"/>
                <a:gd name="T56" fmla="*/ 8 w 332"/>
                <a:gd name="T57" fmla="*/ 125 h 408"/>
                <a:gd name="T58" fmla="*/ 0 w 332"/>
                <a:gd name="T59" fmla="*/ 125 h 408"/>
                <a:gd name="T60" fmla="*/ 25 w 332"/>
                <a:gd name="T61" fmla="*/ 153 h 408"/>
                <a:gd name="T62" fmla="*/ 54 w 332"/>
                <a:gd name="T63" fmla="*/ 188 h 408"/>
                <a:gd name="T64" fmla="*/ 65 w 332"/>
                <a:gd name="T65" fmla="*/ 193 h 408"/>
                <a:gd name="T66" fmla="*/ 94 w 332"/>
                <a:gd name="T67" fmla="*/ 213 h 408"/>
                <a:gd name="T68" fmla="*/ 92 w 332"/>
                <a:gd name="T69" fmla="*/ 248 h 408"/>
                <a:gd name="T70" fmla="*/ 81 w 332"/>
                <a:gd name="T71" fmla="*/ 247 h 408"/>
                <a:gd name="T72" fmla="*/ 48 w 332"/>
                <a:gd name="T73" fmla="*/ 223 h 408"/>
                <a:gd name="T74" fmla="*/ 116 w 332"/>
                <a:gd name="T75" fmla="*/ 287 h 408"/>
                <a:gd name="T76" fmla="*/ 176 w 332"/>
                <a:gd name="T77" fmla="*/ 301 h 408"/>
                <a:gd name="T78" fmla="*/ 245 w 332"/>
                <a:gd name="T79" fmla="*/ 343 h 408"/>
                <a:gd name="T80" fmla="*/ 253 w 332"/>
                <a:gd name="T81" fmla="*/ 408 h 408"/>
                <a:gd name="T82" fmla="*/ 298 w 332"/>
                <a:gd name="T83" fmla="*/ 403 h 408"/>
                <a:gd name="T84" fmla="*/ 308 w 332"/>
                <a:gd name="T85" fmla="*/ 361 h 408"/>
                <a:gd name="T86" fmla="*/ 326 w 332"/>
                <a:gd name="T87" fmla="*/ 289 h 408"/>
                <a:gd name="T88" fmla="*/ 257 w 332"/>
                <a:gd name="T89" fmla="*/ 23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408">
                  <a:moveTo>
                    <a:pt x="257" y="233"/>
                  </a:moveTo>
                  <a:cubicBezTo>
                    <a:pt x="255" y="206"/>
                    <a:pt x="255" y="206"/>
                    <a:pt x="255" y="206"/>
                  </a:cubicBezTo>
                  <a:cubicBezTo>
                    <a:pt x="233" y="205"/>
                    <a:pt x="233" y="205"/>
                    <a:pt x="233" y="205"/>
                  </a:cubicBezTo>
                  <a:cubicBezTo>
                    <a:pt x="233" y="205"/>
                    <a:pt x="208" y="169"/>
                    <a:pt x="194" y="157"/>
                  </a:cubicBezTo>
                  <a:cubicBezTo>
                    <a:pt x="179" y="145"/>
                    <a:pt x="211" y="104"/>
                    <a:pt x="190" y="69"/>
                  </a:cubicBezTo>
                  <a:cubicBezTo>
                    <a:pt x="173" y="30"/>
                    <a:pt x="124" y="39"/>
                    <a:pt x="124" y="39"/>
                  </a:cubicBezTo>
                  <a:cubicBezTo>
                    <a:pt x="124" y="39"/>
                    <a:pt x="88" y="18"/>
                    <a:pt x="76" y="17"/>
                  </a:cubicBezTo>
                  <a:cubicBezTo>
                    <a:pt x="65" y="13"/>
                    <a:pt x="46" y="20"/>
                    <a:pt x="46" y="20"/>
                  </a:cubicBezTo>
                  <a:cubicBezTo>
                    <a:pt x="46" y="20"/>
                    <a:pt x="25" y="0"/>
                    <a:pt x="17" y="11"/>
                  </a:cubicBezTo>
                  <a:cubicBezTo>
                    <a:pt x="9" y="18"/>
                    <a:pt x="110" y="103"/>
                    <a:pt x="110" y="103"/>
                  </a:cubicBezTo>
                  <a:cubicBezTo>
                    <a:pt x="75" y="52"/>
                    <a:pt x="75" y="52"/>
                    <a:pt x="75" y="52"/>
                  </a:cubicBezTo>
                  <a:cubicBezTo>
                    <a:pt x="86" y="52"/>
                    <a:pt x="86" y="52"/>
                    <a:pt x="86" y="52"/>
                  </a:cubicBezTo>
                  <a:cubicBezTo>
                    <a:pt x="115" y="65"/>
                    <a:pt x="115" y="65"/>
                    <a:pt x="115" y="65"/>
                  </a:cubicBezTo>
                  <a:cubicBezTo>
                    <a:pt x="134" y="66"/>
                    <a:pt x="134" y="66"/>
                    <a:pt x="134" y="66"/>
                  </a:cubicBezTo>
                  <a:cubicBezTo>
                    <a:pt x="134" y="66"/>
                    <a:pt x="177" y="99"/>
                    <a:pt x="172" y="133"/>
                  </a:cubicBezTo>
                  <a:cubicBezTo>
                    <a:pt x="171" y="167"/>
                    <a:pt x="127" y="134"/>
                    <a:pt x="123" y="142"/>
                  </a:cubicBezTo>
                  <a:cubicBezTo>
                    <a:pt x="119" y="149"/>
                    <a:pt x="141" y="166"/>
                    <a:pt x="141" y="166"/>
                  </a:cubicBezTo>
                  <a:cubicBezTo>
                    <a:pt x="141" y="166"/>
                    <a:pt x="140" y="177"/>
                    <a:pt x="136" y="177"/>
                  </a:cubicBezTo>
                  <a:cubicBezTo>
                    <a:pt x="129" y="173"/>
                    <a:pt x="108" y="149"/>
                    <a:pt x="101" y="137"/>
                  </a:cubicBezTo>
                  <a:cubicBezTo>
                    <a:pt x="98" y="125"/>
                    <a:pt x="44" y="81"/>
                    <a:pt x="44" y="81"/>
                  </a:cubicBezTo>
                  <a:cubicBezTo>
                    <a:pt x="86" y="136"/>
                    <a:pt x="86" y="136"/>
                    <a:pt x="86" y="136"/>
                  </a:cubicBezTo>
                  <a:cubicBezTo>
                    <a:pt x="42" y="111"/>
                    <a:pt x="42" y="111"/>
                    <a:pt x="42" y="111"/>
                  </a:cubicBezTo>
                  <a:cubicBezTo>
                    <a:pt x="89" y="156"/>
                    <a:pt x="89" y="156"/>
                    <a:pt x="89" y="156"/>
                  </a:cubicBezTo>
                  <a:cubicBezTo>
                    <a:pt x="74" y="155"/>
                    <a:pt x="74" y="155"/>
                    <a:pt x="74" y="155"/>
                  </a:cubicBezTo>
                  <a:cubicBezTo>
                    <a:pt x="95" y="186"/>
                    <a:pt x="95" y="186"/>
                    <a:pt x="95" y="186"/>
                  </a:cubicBezTo>
                  <a:cubicBezTo>
                    <a:pt x="95" y="194"/>
                    <a:pt x="95" y="194"/>
                    <a:pt x="95" y="194"/>
                  </a:cubicBezTo>
                  <a:cubicBezTo>
                    <a:pt x="43" y="165"/>
                    <a:pt x="43" y="165"/>
                    <a:pt x="43" y="165"/>
                  </a:cubicBezTo>
                  <a:cubicBezTo>
                    <a:pt x="37" y="146"/>
                    <a:pt x="37" y="146"/>
                    <a:pt x="37" y="146"/>
                  </a:cubicBezTo>
                  <a:cubicBezTo>
                    <a:pt x="8" y="125"/>
                    <a:pt x="8" y="125"/>
                    <a:pt x="8" y="125"/>
                  </a:cubicBezTo>
                  <a:cubicBezTo>
                    <a:pt x="0" y="125"/>
                    <a:pt x="0" y="125"/>
                    <a:pt x="0" y="125"/>
                  </a:cubicBezTo>
                  <a:cubicBezTo>
                    <a:pt x="25" y="153"/>
                    <a:pt x="25" y="153"/>
                    <a:pt x="25" y="153"/>
                  </a:cubicBezTo>
                  <a:cubicBezTo>
                    <a:pt x="54" y="188"/>
                    <a:pt x="54" y="188"/>
                    <a:pt x="54" y="188"/>
                  </a:cubicBezTo>
                  <a:cubicBezTo>
                    <a:pt x="65" y="193"/>
                    <a:pt x="65" y="193"/>
                    <a:pt x="65" y="193"/>
                  </a:cubicBezTo>
                  <a:cubicBezTo>
                    <a:pt x="94" y="213"/>
                    <a:pt x="94" y="213"/>
                    <a:pt x="94" y="213"/>
                  </a:cubicBezTo>
                  <a:cubicBezTo>
                    <a:pt x="92" y="248"/>
                    <a:pt x="92" y="248"/>
                    <a:pt x="92" y="248"/>
                  </a:cubicBezTo>
                  <a:cubicBezTo>
                    <a:pt x="81" y="247"/>
                    <a:pt x="81" y="247"/>
                    <a:pt x="81" y="247"/>
                  </a:cubicBezTo>
                  <a:cubicBezTo>
                    <a:pt x="48" y="223"/>
                    <a:pt x="48" y="223"/>
                    <a:pt x="48" y="223"/>
                  </a:cubicBezTo>
                  <a:cubicBezTo>
                    <a:pt x="116" y="287"/>
                    <a:pt x="116" y="287"/>
                    <a:pt x="116" y="287"/>
                  </a:cubicBezTo>
                  <a:cubicBezTo>
                    <a:pt x="176" y="301"/>
                    <a:pt x="176" y="301"/>
                    <a:pt x="176" y="301"/>
                  </a:cubicBezTo>
                  <a:cubicBezTo>
                    <a:pt x="176" y="301"/>
                    <a:pt x="217" y="307"/>
                    <a:pt x="245" y="343"/>
                  </a:cubicBezTo>
                  <a:cubicBezTo>
                    <a:pt x="273" y="375"/>
                    <a:pt x="253" y="408"/>
                    <a:pt x="253" y="408"/>
                  </a:cubicBezTo>
                  <a:cubicBezTo>
                    <a:pt x="298" y="403"/>
                    <a:pt x="298" y="403"/>
                    <a:pt x="298" y="403"/>
                  </a:cubicBezTo>
                  <a:cubicBezTo>
                    <a:pt x="298" y="403"/>
                    <a:pt x="299" y="376"/>
                    <a:pt x="308" y="361"/>
                  </a:cubicBezTo>
                  <a:cubicBezTo>
                    <a:pt x="320" y="343"/>
                    <a:pt x="332" y="324"/>
                    <a:pt x="326" y="289"/>
                  </a:cubicBezTo>
                  <a:cubicBezTo>
                    <a:pt x="320" y="255"/>
                    <a:pt x="257" y="233"/>
                    <a:pt x="257" y="23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9" name="Freeform 694">
              <a:extLst>
                <a:ext uri="{FF2B5EF4-FFF2-40B4-BE49-F238E27FC236}">
                  <a16:creationId xmlns:a16="http://schemas.microsoft.com/office/drawing/2014/main" id="{2CAF344A-EF74-4F26-3017-11EB0326A444}"/>
                </a:ext>
              </a:extLst>
            </p:cNvPr>
            <p:cNvSpPr>
              <a:spLocks/>
            </p:cNvSpPr>
            <p:nvPr/>
          </p:nvSpPr>
          <p:spPr bwMode="gray">
            <a:xfrm>
              <a:off x="10779115" y="2771026"/>
              <a:ext cx="246323" cy="136646"/>
            </a:xfrm>
            <a:custGeom>
              <a:avLst/>
              <a:gdLst>
                <a:gd name="T0" fmla="*/ 199 w 411"/>
                <a:gd name="T1" fmla="*/ 228 h 229"/>
                <a:gd name="T2" fmla="*/ 205 w 411"/>
                <a:gd name="T3" fmla="*/ 228 h 229"/>
                <a:gd name="T4" fmla="*/ 207 w 411"/>
                <a:gd name="T5" fmla="*/ 228 h 229"/>
                <a:gd name="T6" fmla="*/ 211 w 411"/>
                <a:gd name="T7" fmla="*/ 228 h 229"/>
                <a:gd name="T8" fmla="*/ 213 w 411"/>
                <a:gd name="T9" fmla="*/ 228 h 229"/>
                <a:gd name="T10" fmla="*/ 217 w 411"/>
                <a:gd name="T11" fmla="*/ 228 h 229"/>
                <a:gd name="T12" fmla="*/ 219 w 411"/>
                <a:gd name="T13" fmla="*/ 228 h 229"/>
                <a:gd name="T14" fmla="*/ 224 w 411"/>
                <a:gd name="T15" fmla="*/ 228 h 229"/>
                <a:gd name="T16" fmla="*/ 226 w 411"/>
                <a:gd name="T17" fmla="*/ 228 h 229"/>
                <a:gd name="T18" fmla="*/ 231 w 411"/>
                <a:gd name="T19" fmla="*/ 228 h 229"/>
                <a:gd name="T20" fmla="*/ 233 w 411"/>
                <a:gd name="T21" fmla="*/ 227 h 229"/>
                <a:gd name="T22" fmla="*/ 238 w 411"/>
                <a:gd name="T23" fmla="*/ 227 h 229"/>
                <a:gd name="T24" fmla="*/ 240 w 411"/>
                <a:gd name="T25" fmla="*/ 227 h 229"/>
                <a:gd name="T26" fmla="*/ 246 w 411"/>
                <a:gd name="T27" fmla="*/ 226 h 229"/>
                <a:gd name="T28" fmla="*/ 247 w 411"/>
                <a:gd name="T29" fmla="*/ 226 h 229"/>
                <a:gd name="T30" fmla="*/ 254 w 411"/>
                <a:gd name="T31" fmla="*/ 225 h 229"/>
                <a:gd name="T32" fmla="*/ 254 w 411"/>
                <a:gd name="T33" fmla="*/ 225 h 229"/>
                <a:gd name="T34" fmla="*/ 262 w 411"/>
                <a:gd name="T35" fmla="*/ 225 h 229"/>
                <a:gd name="T36" fmla="*/ 262 w 411"/>
                <a:gd name="T37" fmla="*/ 225 h 229"/>
                <a:gd name="T38" fmla="*/ 395 w 411"/>
                <a:gd name="T39" fmla="*/ 203 h 229"/>
                <a:gd name="T40" fmla="*/ 375 w 411"/>
                <a:gd name="T41" fmla="*/ 149 h 229"/>
                <a:gd name="T42" fmla="*/ 384 w 411"/>
                <a:gd name="T43" fmla="*/ 111 h 229"/>
                <a:gd name="T44" fmla="*/ 401 w 411"/>
                <a:gd name="T45" fmla="*/ 81 h 229"/>
                <a:gd name="T46" fmla="*/ 357 w 411"/>
                <a:gd name="T47" fmla="*/ 48 h 229"/>
                <a:gd name="T48" fmla="*/ 320 w 411"/>
                <a:gd name="T49" fmla="*/ 47 h 229"/>
                <a:gd name="T50" fmla="*/ 286 w 411"/>
                <a:gd name="T51" fmla="*/ 56 h 229"/>
                <a:gd name="T52" fmla="*/ 283 w 411"/>
                <a:gd name="T53" fmla="*/ 45 h 229"/>
                <a:gd name="T54" fmla="*/ 245 w 411"/>
                <a:gd name="T55" fmla="*/ 39 h 229"/>
                <a:gd name="T56" fmla="*/ 224 w 411"/>
                <a:gd name="T57" fmla="*/ 27 h 229"/>
                <a:gd name="T58" fmla="*/ 201 w 411"/>
                <a:gd name="T59" fmla="*/ 29 h 229"/>
                <a:gd name="T60" fmla="*/ 183 w 411"/>
                <a:gd name="T61" fmla="*/ 13 h 229"/>
                <a:gd name="T62" fmla="*/ 178 w 411"/>
                <a:gd name="T63" fmla="*/ 32 h 229"/>
                <a:gd name="T64" fmla="*/ 167 w 411"/>
                <a:gd name="T65" fmla="*/ 32 h 229"/>
                <a:gd name="T66" fmla="*/ 180 w 411"/>
                <a:gd name="T67" fmla="*/ 90 h 229"/>
                <a:gd name="T68" fmla="*/ 156 w 411"/>
                <a:gd name="T69" fmla="*/ 104 h 229"/>
                <a:gd name="T70" fmla="*/ 130 w 411"/>
                <a:gd name="T71" fmla="*/ 103 h 229"/>
                <a:gd name="T72" fmla="*/ 116 w 411"/>
                <a:gd name="T73" fmla="*/ 98 h 229"/>
                <a:gd name="T74" fmla="*/ 85 w 411"/>
                <a:gd name="T75" fmla="*/ 100 h 229"/>
                <a:gd name="T76" fmla="*/ 129 w 411"/>
                <a:gd name="T77" fmla="*/ 41 h 229"/>
                <a:gd name="T78" fmla="*/ 130 w 411"/>
                <a:gd name="T79" fmla="*/ 26 h 229"/>
                <a:gd name="T80" fmla="*/ 150 w 411"/>
                <a:gd name="T81" fmla="*/ 8 h 229"/>
                <a:gd name="T82" fmla="*/ 143 w 411"/>
                <a:gd name="T83" fmla="*/ 0 h 229"/>
                <a:gd name="T84" fmla="*/ 135 w 411"/>
                <a:gd name="T85" fmla="*/ 3 h 229"/>
                <a:gd name="T86" fmla="*/ 118 w 411"/>
                <a:gd name="T87" fmla="*/ 41 h 229"/>
                <a:gd name="T88" fmla="*/ 82 w 411"/>
                <a:gd name="T89" fmla="*/ 85 h 229"/>
                <a:gd name="T90" fmla="*/ 71 w 411"/>
                <a:gd name="T91" fmla="*/ 96 h 229"/>
                <a:gd name="T92" fmla="*/ 7 w 411"/>
                <a:gd name="T93" fmla="*/ 101 h 229"/>
                <a:gd name="T94" fmla="*/ 2 w 411"/>
                <a:gd name="T95" fmla="*/ 119 h 229"/>
                <a:gd name="T96" fmla="*/ 9 w 411"/>
                <a:gd name="T97" fmla="*/ 135 h 229"/>
                <a:gd name="T98" fmla="*/ 0 w 411"/>
                <a:gd name="T99" fmla="*/ 173 h 229"/>
                <a:gd name="T100" fmla="*/ 7 w 411"/>
                <a:gd name="T101" fmla="*/ 177 h 229"/>
                <a:gd name="T102" fmla="*/ 11 w 411"/>
                <a:gd name="T103" fmla="*/ 166 h 229"/>
                <a:gd name="T104" fmla="*/ 19 w 411"/>
                <a:gd name="T105" fmla="*/ 158 h 229"/>
                <a:gd name="T106" fmla="*/ 26 w 411"/>
                <a:gd name="T107" fmla="*/ 170 h 229"/>
                <a:gd name="T108" fmla="*/ 46 w 411"/>
                <a:gd name="T109" fmla="*/ 156 h 229"/>
                <a:gd name="T110" fmla="*/ 72 w 411"/>
                <a:gd name="T111" fmla="*/ 161 h 229"/>
                <a:gd name="T112" fmla="*/ 56 w 411"/>
                <a:gd name="T113" fmla="*/ 168 h 229"/>
                <a:gd name="T114" fmla="*/ 56 w 411"/>
                <a:gd name="T115" fmla="*/ 176 h 229"/>
                <a:gd name="T116" fmla="*/ 25 w 411"/>
                <a:gd name="T117" fmla="*/ 193 h 229"/>
                <a:gd name="T118" fmla="*/ 18 w 411"/>
                <a:gd name="T119" fmla="*/ 189 h 229"/>
                <a:gd name="T120" fmla="*/ 5 w 411"/>
                <a:gd name="T121" fmla="*/ 215 h 229"/>
                <a:gd name="T122" fmla="*/ 162 w 411"/>
                <a:gd name="T123" fmla="*/ 228 h 229"/>
                <a:gd name="T124" fmla="*/ 199 w 411"/>
                <a:gd name="T125" fmla="*/ 2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229">
                  <a:moveTo>
                    <a:pt x="199" y="228"/>
                  </a:moveTo>
                  <a:cubicBezTo>
                    <a:pt x="201" y="228"/>
                    <a:pt x="203" y="228"/>
                    <a:pt x="205" y="228"/>
                  </a:cubicBezTo>
                  <a:cubicBezTo>
                    <a:pt x="205" y="228"/>
                    <a:pt x="206" y="228"/>
                    <a:pt x="207" y="228"/>
                  </a:cubicBezTo>
                  <a:cubicBezTo>
                    <a:pt x="208" y="228"/>
                    <a:pt x="209" y="228"/>
                    <a:pt x="211" y="228"/>
                  </a:cubicBezTo>
                  <a:cubicBezTo>
                    <a:pt x="211" y="228"/>
                    <a:pt x="212" y="228"/>
                    <a:pt x="213" y="228"/>
                  </a:cubicBezTo>
                  <a:cubicBezTo>
                    <a:pt x="214" y="228"/>
                    <a:pt x="216" y="228"/>
                    <a:pt x="217" y="228"/>
                  </a:cubicBezTo>
                  <a:cubicBezTo>
                    <a:pt x="218" y="228"/>
                    <a:pt x="218" y="228"/>
                    <a:pt x="219" y="228"/>
                  </a:cubicBezTo>
                  <a:cubicBezTo>
                    <a:pt x="221" y="228"/>
                    <a:pt x="222" y="228"/>
                    <a:pt x="224" y="228"/>
                  </a:cubicBezTo>
                  <a:cubicBezTo>
                    <a:pt x="224" y="228"/>
                    <a:pt x="225" y="228"/>
                    <a:pt x="226" y="228"/>
                  </a:cubicBezTo>
                  <a:cubicBezTo>
                    <a:pt x="227" y="228"/>
                    <a:pt x="229" y="228"/>
                    <a:pt x="231" y="228"/>
                  </a:cubicBezTo>
                  <a:cubicBezTo>
                    <a:pt x="231" y="227"/>
                    <a:pt x="232" y="227"/>
                    <a:pt x="233" y="227"/>
                  </a:cubicBezTo>
                  <a:cubicBezTo>
                    <a:pt x="234" y="227"/>
                    <a:pt x="236" y="227"/>
                    <a:pt x="238" y="227"/>
                  </a:cubicBezTo>
                  <a:cubicBezTo>
                    <a:pt x="239" y="227"/>
                    <a:pt x="239" y="227"/>
                    <a:pt x="240" y="227"/>
                  </a:cubicBezTo>
                  <a:cubicBezTo>
                    <a:pt x="242" y="227"/>
                    <a:pt x="244" y="226"/>
                    <a:pt x="246" y="226"/>
                  </a:cubicBezTo>
                  <a:cubicBezTo>
                    <a:pt x="246" y="226"/>
                    <a:pt x="246" y="226"/>
                    <a:pt x="247" y="226"/>
                  </a:cubicBezTo>
                  <a:cubicBezTo>
                    <a:pt x="249" y="226"/>
                    <a:pt x="251" y="226"/>
                    <a:pt x="254" y="225"/>
                  </a:cubicBezTo>
                  <a:cubicBezTo>
                    <a:pt x="254" y="225"/>
                    <a:pt x="254" y="225"/>
                    <a:pt x="254" y="225"/>
                  </a:cubicBezTo>
                  <a:cubicBezTo>
                    <a:pt x="257" y="225"/>
                    <a:pt x="259" y="225"/>
                    <a:pt x="262" y="225"/>
                  </a:cubicBezTo>
                  <a:cubicBezTo>
                    <a:pt x="262" y="225"/>
                    <a:pt x="262" y="225"/>
                    <a:pt x="262" y="225"/>
                  </a:cubicBezTo>
                  <a:cubicBezTo>
                    <a:pt x="323" y="217"/>
                    <a:pt x="395" y="203"/>
                    <a:pt x="395" y="203"/>
                  </a:cubicBezTo>
                  <a:cubicBezTo>
                    <a:pt x="395" y="203"/>
                    <a:pt x="370" y="175"/>
                    <a:pt x="375" y="149"/>
                  </a:cubicBezTo>
                  <a:cubicBezTo>
                    <a:pt x="376" y="126"/>
                    <a:pt x="384" y="111"/>
                    <a:pt x="384" y="111"/>
                  </a:cubicBezTo>
                  <a:cubicBezTo>
                    <a:pt x="384" y="111"/>
                    <a:pt x="411" y="93"/>
                    <a:pt x="401" y="81"/>
                  </a:cubicBezTo>
                  <a:cubicBezTo>
                    <a:pt x="390" y="73"/>
                    <a:pt x="357" y="48"/>
                    <a:pt x="357" y="48"/>
                  </a:cubicBezTo>
                  <a:cubicBezTo>
                    <a:pt x="320" y="47"/>
                    <a:pt x="320" y="47"/>
                    <a:pt x="320" y="47"/>
                  </a:cubicBezTo>
                  <a:cubicBezTo>
                    <a:pt x="286" y="56"/>
                    <a:pt x="286" y="56"/>
                    <a:pt x="286" y="56"/>
                  </a:cubicBezTo>
                  <a:cubicBezTo>
                    <a:pt x="283" y="45"/>
                    <a:pt x="283" y="45"/>
                    <a:pt x="283" y="45"/>
                  </a:cubicBezTo>
                  <a:cubicBezTo>
                    <a:pt x="283" y="45"/>
                    <a:pt x="260" y="51"/>
                    <a:pt x="245" y="39"/>
                  </a:cubicBezTo>
                  <a:cubicBezTo>
                    <a:pt x="231" y="31"/>
                    <a:pt x="224" y="27"/>
                    <a:pt x="224" y="27"/>
                  </a:cubicBezTo>
                  <a:cubicBezTo>
                    <a:pt x="201" y="29"/>
                    <a:pt x="201" y="29"/>
                    <a:pt x="201" y="29"/>
                  </a:cubicBezTo>
                  <a:cubicBezTo>
                    <a:pt x="183" y="13"/>
                    <a:pt x="183" y="13"/>
                    <a:pt x="183" y="13"/>
                  </a:cubicBezTo>
                  <a:cubicBezTo>
                    <a:pt x="178" y="32"/>
                    <a:pt x="178" y="32"/>
                    <a:pt x="178" y="32"/>
                  </a:cubicBezTo>
                  <a:cubicBezTo>
                    <a:pt x="167" y="32"/>
                    <a:pt x="167" y="32"/>
                    <a:pt x="167" y="32"/>
                  </a:cubicBezTo>
                  <a:cubicBezTo>
                    <a:pt x="180" y="90"/>
                    <a:pt x="180" y="90"/>
                    <a:pt x="180" y="90"/>
                  </a:cubicBezTo>
                  <a:cubicBezTo>
                    <a:pt x="156" y="104"/>
                    <a:pt x="156" y="104"/>
                    <a:pt x="156" y="104"/>
                  </a:cubicBezTo>
                  <a:cubicBezTo>
                    <a:pt x="130" y="103"/>
                    <a:pt x="130" y="103"/>
                    <a:pt x="130" y="103"/>
                  </a:cubicBezTo>
                  <a:cubicBezTo>
                    <a:pt x="130" y="103"/>
                    <a:pt x="119" y="98"/>
                    <a:pt x="116" y="98"/>
                  </a:cubicBezTo>
                  <a:cubicBezTo>
                    <a:pt x="112" y="98"/>
                    <a:pt x="85" y="100"/>
                    <a:pt x="85" y="100"/>
                  </a:cubicBezTo>
                  <a:cubicBezTo>
                    <a:pt x="129" y="41"/>
                    <a:pt x="129" y="41"/>
                    <a:pt x="129" y="41"/>
                  </a:cubicBezTo>
                  <a:cubicBezTo>
                    <a:pt x="130" y="26"/>
                    <a:pt x="130" y="26"/>
                    <a:pt x="130" y="26"/>
                  </a:cubicBezTo>
                  <a:cubicBezTo>
                    <a:pt x="150" y="8"/>
                    <a:pt x="150" y="8"/>
                    <a:pt x="150" y="8"/>
                  </a:cubicBezTo>
                  <a:cubicBezTo>
                    <a:pt x="143" y="0"/>
                    <a:pt x="143" y="0"/>
                    <a:pt x="143" y="0"/>
                  </a:cubicBezTo>
                  <a:cubicBezTo>
                    <a:pt x="135" y="3"/>
                    <a:pt x="135" y="3"/>
                    <a:pt x="135" y="3"/>
                  </a:cubicBezTo>
                  <a:cubicBezTo>
                    <a:pt x="118" y="41"/>
                    <a:pt x="118" y="41"/>
                    <a:pt x="118" y="41"/>
                  </a:cubicBezTo>
                  <a:cubicBezTo>
                    <a:pt x="82" y="85"/>
                    <a:pt x="82" y="85"/>
                    <a:pt x="82" y="85"/>
                  </a:cubicBezTo>
                  <a:cubicBezTo>
                    <a:pt x="71" y="96"/>
                    <a:pt x="71" y="96"/>
                    <a:pt x="71" y="96"/>
                  </a:cubicBezTo>
                  <a:cubicBezTo>
                    <a:pt x="7" y="101"/>
                    <a:pt x="7" y="101"/>
                    <a:pt x="7" y="101"/>
                  </a:cubicBezTo>
                  <a:cubicBezTo>
                    <a:pt x="2" y="119"/>
                    <a:pt x="2" y="119"/>
                    <a:pt x="2" y="119"/>
                  </a:cubicBezTo>
                  <a:cubicBezTo>
                    <a:pt x="9" y="135"/>
                    <a:pt x="9" y="135"/>
                    <a:pt x="9" y="135"/>
                  </a:cubicBezTo>
                  <a:cubicBezTo>
                    <a:pt x="0" y="173"/>
                    <a:pt x="0" y="173"/>
                    <a:pt x="0" y="173"/>
                  </a:cubicBezTo>
                  <a:cubicBezTo>
                    <a:pt x="7" y="177"/>
                    <a:pt x="7" y="177"/>
                    <a:pt x="7" y="177"/>
                  </a:cubicBezTo>
                  <a:cubicBezTo>
                    <a:pt x="11" y="166"/>
                    <a:pt x="11" y="166"/>
                    <a:pt x="11" y="166"/>
                  </a:cubicBezTo>
                  <a:cubicBezTo>
                    <a:pt x="19" y="158"/>
                    <a:pt x="19" y="158"/>
                    <a:pt x="19" y="158"/>
                  </a:cubicBezTo>
                  <a:cubicBezTo>
                    <a:pt x="26" y="170"/>
                    <a:pt x="26" y="170"/>
                    <a:pt x="26" y="170"/>
                  </a:cubicBezTo>
                  <a:cubicBezTo>
                    <a:pt x="46" y="156"/>
                    <a:pt x="46" y="156"/>
                    <a:pt x="46" y="156"/>
                  </a:cubicBezTo>
                  <a:cubicBezTo>
                    <a:pt x="72" y="161"/>
                    <a:pt x="72" y="161"/>
                    <a:pt x="72" y="161"/>
                  </a:cubicBezTo>
                  <a:cubicBezTo>
                    <a:pt x="56" y="168"/>
                    <a:pt x="56" y="168"/>
                    <a:pt x="56" y="168"/>
                  </a:cubicBezTo>
                  <a:cubicBezTo>
                    <a:pt x="56" y="176"/>
                    <a:pt x="56" y="176"/>
                    <a:pt x="56" y="176"/>
                  </a:cubicBezTo>
                  <a:cubicBezTo>
                    <a:pt x="25" y="193"/>
                    <a:pt x="25" y="193"/>
                    <a:pt x="25" y="193"/>
                  </a:cubicBezTo>
                  <a:cubicBezTo>
                    <a:pt x="18" y="189"/>
                    <a:pt x="18" y="189"/>
                    <a:pt x="18" y="189"/>
                  </a:cubicBezTo>
                  <a:cubicBezTo>
                    <a:pt x="5" y="215"/>
                    <a:pt x="5" y="215"/>
                    <a:pt x="5" y="215"/>
                  </a:cubicBezTo>
                  <a:cubicBezTo>
                    <a:pt x="29" y="216"/>
                    <a:pt x="108" y="225"/>
                    <a:pt x="162" y="228"/>
                  </a:cubicBezTo>
                  <a:cubicBezTo>
                    <a:pt x="177" y="228"/>
                    <a:pt x="190" y="229"/>
                    <a:pt x="199" y="22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0" name="Freeform 695">
              <a:extLst>
                <a:ext uri="{FF2B5EF4-FFF2-40B4-BE49-F238E27FC236}">
                  <a16:creationId xmlns:a16="http://schemas.microsoft.com/office/drawing/2014/main" id="{A9D7F7A1-D103-B2F5-7D9B-F69DCAC1571C}"/>
                </a:ext>
              </a:extLst>
            </p:cNvPr>
            <p:cNvSpPr>
              <a:spLocks/>
            </p:cNvSpPr>
            <p:nvPr/>
          </p:nvSpPr>
          <p:spPr bwMode="gray">
            <a:xfrm>
              <a:off x="10901378"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1" name="Freeform 696">
              <a:extLst>
                <a:ext uri="{FF2B5EF4-FFF2-40B4-BE49-F238E27FC236}">
                  <a16:creationId xmlns:a16="http://schemas.microsoft.com/office/drawing/2014/main" id="{2D2864E6-CFA4-3D4C-A51E-D9406F1A119C}"/>
                </a:ext>
              </a:extLst>
            </p:cNvPr>
            <p:cNvSpPr>
              <a:spLocks/>
            </p:cNvSpPr>
            <p:nvPr/>
          </p:nvSpPr>
          <p:spPr bwMode="gray">
            <a:xfrm>
              <a:off x="10935540" y="2905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2" name="Freeform 697">
              <a:extLst>
                <a:ext uri="{FF2B5EF4-FFF2-40B4-BE49-F238E27FC236}">
                  <a16:creationId xmlns:a16="http://schemas.microsoft.com/office/drawing/2014/main" id="{7F9CC01E-7193-3A9B-2019-337B88734704}"/>
                </a:ext>
              </a:extLst>
            </p:cNvPr>
            <p:cNvSpPr>
              <a:spLocks/>
            </p:cNvSpPr>
            <p:nvPr/>
          </p:nvSpPr>
          <p:spPr bwMode="gray">
            <a:xfrm>
              <a:off x="10904973"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3" name="Freeform 698">
              <a:extLst>
                <a:ext uri="{FF2B5EF4-FFF2-40B4-BE49-F238E27FC236}">
                  <a16:creationId xmlns:a16="http://schemas.microsoft.com/office/drawing/2014/main" id="{418C344B-1E6D-83F6-002D-70CB7E08F9D3}"/>
                </a:ext>
              </a:extLst>
            </p:cNvPr>
            <p:cNvSpPr>
              <a:spLocks/>
            </p:cNvSpPr>
            <p:nvPr/>
          </p:nvSpPr>
          <p:spPr bwMode="gray">
            <a:xfrm>
              <a:off x="10876205" y="2907672"/>
              <a:ext cx="21576" cy="0"/>
            </a:xfrm>
            <a:custGeom>
              <a:avLst/>
              <a:gdLst>
                <a:gd name="T0" fmla="*/ 37 w 37"/>
                <a:gd name="T1" fmla="*/ 0 h 1"/>
                <a:gd name="T2" fmla="*/ 0 w 37"/>
                <a:gd name="T3" fmla="*/ 0 h 1"/>
                <a:gd name="T4" fmla="*/ 37 w 37"/>
                <a:gd name="T5" fmla="*/ 0 h 1"/>
              </a:gdLst>
              <a:ahLst/>
              <a:cxnLst>
                <a:cxn ang="0">
                  <a:pos x="T0" y="T1"/>
                </a:cxn>
                <a:cxn ang="0">
                  <a:pos x="T2" y="T3"/>
                </a:cxn>
                <a:cxn ang="0">
                  <a:pos x="T4" y="T5"/>
                </a:cxn>
              </a:cxnLst>
              <a:rect l="0" t="0" r="r" b="b"/>
              <a:pathLst>
                <a:path w="37" h="1">
                  <a:moveTo>
                    <a:pt x="37" y="0"/>
                  </a:moveTo>
                  <a:cubicBezTo>
                    <a:pt x="28" y="1"/>
                    <a:pt x="15" y="0"/>
                    <a:pt x="0" y="0"/>
                  </a:cubicBezTo>
                  <a:cubicBezTo>
                    <a:pt x="15" y="0"/>
                    <a:pt x="28" y="1"/>
                    <a:pt x="3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4" name="Freeform 699">
              <a:extLst>
                <a:ext uri="{FF2B5EF4-FFF2-40B4-BE49-F238E27FC236}">
                  <a16:creationId xmlns:a16="http://schemas.microsoft.com/office/drawing/2014/main" id="{48C75F6A-4004-8480-7D45-90DBF635F22F}"/>
                </a:ext>
              </a:extLst>
            </p:cNvPr>
            <p:cNvSpPr>
              <a:spLocks/>
            </p:cNvSpPr>
            <p:nvPr/>
          </p:nvSpPr>
          <p:spPr bwMode="gray">
            <a:xfrm>
              <a:off x="10931943" y="2905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5" name="Freeform 700">
              <a:extLst>
                <a:ext uri="{FF2B5EF4-FFF2-40B4-BE49-F238E27FC236}">
                  <a16:creationId xmlns:a16="http://schemas.microsoft.com/office/drawing/2014/main" id="{1C76B655-5AD3-6B10-AE28-70529C60E4B3}"/>
                </a:ext>
              </a:extLst>
            </p:cNvPr>
            <p:cNvSpPr>
              <a:spLocks/>
            </p:cNvSpPr>
            <p:nvPr/>
          </p:nvSpPr>
          <p:spPr bwMode="gray">
            <a:xfrm>
              <a:off x="10917560" y="2905874"/>
              <a:ext cx="1798" cy="1798"/>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0"/>
                    <a:pt x="0" y="1"/>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6" name="Freeform 701">
              <a:extLst>
                <a:ext uri="{FF2B5EF4-FFF2-40B4-BE49-F238E27FC236}">
                  <a16:creationId xmlns:a16="http://schemas.microsoft.com/office/drawing/2014/main" id="{AB834738-A1C6-F5EE-F3DF-68D3C6176990}"/>
                </a:ext>
              </a:extLst>
            </p:cNvPr>
            <p:cNvSpPr>
              <a:spLocks/>
            </p:cNvSpPr>
            <p:nvPr/>
          </p:nvSpPr>
          <p:spPr bwMode="gray">
            <a:xfrm>
              <a:off x="10926549" y="2905874"/>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7" name="Freeform 702">
              <a:extLst>
                <a:ext uri="{FF2B5EF4-FFF2-40B4-BE49-F238E27FC236}">
                  <a16:creationId xmlns:a16="http://schemas.microsoft.com/office/drawing/2014/main" id="{C8537EF0-3CB2-B3D5-23C4-0112A2A7D127}"/>
                </a:ext>
              </a:extLst>
            </p:cNvPr>
            <p:cNvSpPr>
              <a:spLocks/>
            </p:cNvSpPr>
            <p:nvPr/>
          </p:nvSpPr>
          <p:spPr bwMode="gray">
            <a:xfrm>
              <a:off x="10913964" y="2907672"/>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8" name="Freeform 703">
              <a:extLst>
                <a:ext uri="{FF2B5EF4-FFF2-40B4-BE49-F238E27FC236}">
                  <a16:creationId xmlns:a16="http://schemas.microsoft.com/office/drawing/2014/main" id="{8FD3C65D-8BA9-4C44-979F-F056A9431C68}"/>
                </a:ext>
              </a:extLst>
            </p:cNvPr>
            <p:cNvSpPr>
              <a:spLocks/>
            </p:cNvSpPr>
            <p:nvPr/>
          </p:nvSpPr>
          <p:spPr bwMode="gray">
            <a:xfrm>
              <a:off x="10921155" y="2905874"/>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9" name="Freeform 704">
              <a:extLst>
                <a:ext uri="{FF2B5EF4-FFF2-40B4-BE49-F238E27FC236}">
                  <a16:creationId xmlns:a16="http://schemas.microsoft.com/office/drawing/2014/main" id="{27103CD5-B5DF-F816-8439-32D876FF8D4A}"/>
                </a:ext>
              </a:extLst>
            </p:cNvPr>
            <p:cNvSpPr>
              <a:spLocks/>
            </p:cNvSpPr>
            <p:nvPr/>
          </p:nvSpPr>
          <p:spPr bwMode="gray">
            <a:xfrm>
              <a:off x="10908569"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0" name="Freeform 705">
              <a:extLst>
                <a:ext uri="{FF2B5EF4-FFF2-40B4-BE49-F238E27FC236}">
                  <a16:creationId xmlns:a16="http://schemas.microsoft.com/office/drawing/2014/main" id="{028FAFBE-8C81-CC3C-A112-7430C5840607}"/>
                </a:ext>
              </a:extLst>
            </p:cNvPr>
            <p:cNvSpPr>
              <a:spLocks/>
            </p:cNvSpPr>
            <p:nvPr/>
          </p:nvSpPr>
          <p:spPr bwMode="gray">
            <a:xfrm>
              <a:off x="11334690" y="737514"/>
              <a:ext cx="23374" cy="8991"/>
            </a:xfrm>
            <a:custGeom>
              <a:avLst/>
              <a:gdLst>
                <a:gd name="T0" fmla="*/ 13 w 13"/>
                <a:gd name="T1" fmla="*/ 0 h 5"/>
                <a:gd name="T2" fmla="*/ 4 w 13"/>
                <a:gd name="T3" fmla="*/ 0 h 5"/>
                <a:gd name="T4" fmla="*/ 0 w 13"/>
                <a:gd name="T5" fmla="*/ 5 h 5"/>
                <a:gd name="T6" fmla="*/ 12 w 13"/>
                <a:gd name="T7" fmla="*/ 3 h 5"/>
                <a:gd name="T8" fmla="*/ 13 w 13"/>
                <a:gd name="T9" fmla="*/ 0 h 5"/>
              </a:gdLst>
              <a:ahLst/>
              <a:cxnLst>
                <a:cxn ang="0">
                  <a:pos x="T0" y="T1"/>
                </a:cxn>
                <a:cxn ang="0">
                  <a:pos x="T2" y="T3"/>
                </a:cxn>
                <a:cxn ang="0">
                  <a:pos x="T4" y="T5"/>
                </a:cxn>
                <a:cxn ang="0">
                  <a:pos x="T6" y="T7"/>
                </a:cxn>
                <a:cxn ang="0">
                  <a:pos x="T8" y="T9"/>
                </a:cxn>
              </a:cxnLst>
              <a:rect l="0" t="0" r="r" b="b"/>
              <a:pathLst>
                <a:path w="13" h="5">
                  <a:moveTo>
                    <a:pt x="13" y="0"/>
                  </a:moveTo>
                  <a:lnTo>
                    <a:pt x="4" y="0"/>
                  </a:lnTo>
                  <a:lnTo>
                    <a:pt x="0" y="5"/>
                  </a:lnTo>
                  <a:lnTo>
                    <a:pt x="12" y="3"/>
                  </a:lnTo>
                  <a:lnTo>
                    <a:pt x="1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 name="Freeform 706">
              <a:extLst>
                <a:ext uri="{FF2B5EF4-FFF2-40B4-BE49-F238E27FC236}">
                  <a16:creationId xmlns:a16="http://schemas.microsoft.com/office/drawing/2014/main" id="{E325B3F5-A436-B8DF-BA3F-FACA16D3A2DA}"/>
                </a:ext>
              </a:extLst>
            </p:cNvPr>
            <p:cNvSpPr>
              <a:spLocks/>
            </p:cNvSpPr>
            <p:nvPr/>
          </p:nvSpPr>
          <p:spPr bwMode="gray">
            <a:xfrm>
              <a:off x="11611579" y="1251735"/>
              <a:ext cx="21576" cy="16183"/>
            </a:xfrm>
            <a:custGeom>
              <a:avLst/>
              <a:gdLst>
                <a:gd name="T0" fmla="*/ 3 w 12"/>
                <a:gd name="T1" fmla="*/ 9 h 9"/>
                <a:gd name="T2" fmla="*/ 12 w 12"/>
                <a:gd name="T3" fmla="*/ 0 h 9"/>
                <a:gd name="T4" fmla="*/ 0 w 12"/>
                <a:gd name="T5" fmla="*/ 4 h 9"/>
                <a:gd name="T6" fmla="*/ 3 w 12"/>
                <a:gd name="T7" fmla="*/ 9 h 9"/>
              </a:gdLst>
              <a:ahLst/>
              <a:cxnLst>
                <a:cxn ang="0">
                  <a:pos x="T0" y="T1"/>
                </a:cxn>
                <a:cxn ang="0">
                  <a:pos x="T2" y="T3"/>
                </a:cxn>
                <a:cxn ang="0">
                  <a:pos x="T4" y="T5"/>
                </a:cxn>
                <a:cxn ang="0">
                  <a:pos x="T6" y="T7"/>
                </a:cxn>
              </a:cxnLst>
              <a:rect l="0" t="0" r="r" b="b"/>
              <a:pathLst>
                <a:path w="12" h="9">
                  <a:moveTo>
                    <a:pt x="3" y="9"/>
                  </a:moveTo>
                  <a:lnTo>
                    <a:pt x="12" y="0"/>
                  </a:lnTo>
                  <a:lnTo>
                    <a:pt x="0" y="4"/>
                  </a:lnTo>
                  <a:lnTo>
                    <a:pt x="3"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2" name="Freeform 707">
              <a:extLst>
                <a:ext uri="{FF2B5EF4-FFF2-40B4-BE49-F238E27FC236}">
                  <a16:creationId xmlns:a16="http://schemas.microsoft.com/office/drawing/2014/main" id="{AD742334-98D7-C798-9891-447D6511C5CE}"/>
                </a:ext>
              </a:extLst>
            </p:cNvPr>
            <p:cNvSpPr>
              <a:spLocks/>
            </p:cNvSpPr>
            <p:nvPr/>
          </p:nvSpPr>
          <p:spPr bwMode="gray">
            <a:xfrm>
              <a:off x="11606185" y="1278704"/>
              <a:ext cx="17980" cy="19778"/>
            </a:xfrm>
            <a:custGeom>
              <a:avLst/>
              <a:gdLst>
                <a:gd name="T0" fmla="*/ 0 w 30"/>
                <a:gd name="T1" fmla="*/ 14 h 33"/>
                <a:gd name="T2" fmla="*/ 14 w 30"/>
                <a:gd name="T3" fmla="*/ 22 h 33"/>
                <a:gd name="T4" fmla="*/ 0 w 30"/>
                <a:gd name="T5" fmla="*/ 14 h 33"/>
              </a:gdLst>
              <a:ahLst/>
              <a:cxnLst>
                <a:cxn ang="0">
                  <a:pos x="T0" y="T1"/>
                </a:cxn>
                <a:cxn ang="0">
                  <a:pos x="T2" y="T3"/>
                </a:cxn>
                <a:cxn ang="0">
                  <a:pos x="T4" y="T5"/>
                </a:cxn>
              </a:cxnLst>
              <a:rect l="0" t="0" r="r" b="b"/>
              <a:pathLst>
                <a:path w="30" h="33">
                  <a:moveTo>
                    <a:pt x="0" y="14"/>
                  </a:moveTo>
                  <a:cubicBezTo>
                    <a:pt x="0" y="14"/>
                    <a:pt x="2" y="33"/>
                    <a:pt x="14" y="22"/>
                  </a:cubicBezTo>
                  <a:cubicBezTo>
                    <a:pt x="30" y="11"/>
                    <a:pt x="23" y="0"/>
                    <a:pt x="0"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3" name="Freeform 708">
              <a:extLst>
                <a:ext uri="{FF2B5EF4-FFF2-40B4-BE49-F238E27FC236}">
                  <a16:creationId xmlns:a16="http://schemas.microsoft.com/office/drawing/2014/main" id="{06A7AD2E-EFE5-F152-D9CA-0E9FF3C1A6B9}"/>
                </a:ext>
              </a:extLst>
            </p:cNvPr>
            <p:cNvSpPr>
              <a:spLocks/>
            </p:cNvSpPr>
            <p:nvPr/>
          </p:nvSpPr>
          <p:spPr bwMode="gray">
            <a:xfrm>
              <a:off x="11586407" y="1262523"/>
              <a:ext cx="25171" cy="21576"/>
            </a:xfrm>
            <a:custGeom>
              <a:avLst/>
              <a:gdLst>
                <a:gd name="T0" fmla="*/ 8 w 14"/>
                <a:gd name="T1" fmla="*/ 0 h 12"/>
                <a:gd name="T2" fmla="*/ 2 w 14"/>
                <a:gd name="T3" fmla="*/ 5 h 12"/>
                <a:gd name="T4" fmla="*/ 0 w 14"/>
                <a:gd name="T5" fmla="*/ 10 h 12"/>
                <a:gd name="T6" fmla="*/ 6 w 14"/>
                <a:gd name="T7" fmla="*/ 12 h 12"/>
                <a:gd name="T8" fmla="*/ 14 w 14"/>
                <a:gd name="T9" fmla="*/ 6 h 12"/>
                <a:gd name="T10" fmla="*/ 8 w 14"/>
                <a:gd name="T11" fmla="*/ 0 h 12"/>
              </a:gdLst>
              <a:ahLst/>
              <a:cxnLst>
                <a:cxn ang="0">
                  <a:pos x="T0" y="T1"/>
                </a:cxn>
                <a:cxn ang="0">
                  <a:pos x="T2" y="T3"/>
                </a:cxn>
                <a:cxn ang="0">
                  <a:pos x="T4" y="T5"/>
                </a:cxn>
                <a:cxn ang="0">
                  <a:pos x="T6" y="T7"/>
                </a:cxn>
                <a:cxn ang="0">
                  <a:pos x="T8" y="T9"/>
                </a:cxn>
                <a:cxn ang="0">
                  <a:pos x="T10" y="T11"/>
                </a:cxn>
              </a:cxnLst>
              <a:rect l="0" t="0" r="r" b="b"/>
              <a:pathLst>
                <a:path w="14" h="12">
                  <a:moveTo>
                    <a:pt x="8" y="0"/>
                  </a:moveTo>
                  <a:lnTo>
                    <a:pt x="2" y="5"/>
                  </a:lnTo>
                  <a:lnTo>
                    <a:pt x="0" y="10"/>
                  </a:lnTo>
                  <a:lnTo>
                    <a:pt x="6" y="12"/>
                  </a:lnTo>
                  <a:lnTo>
                    <a:pt x="14" y="6"/>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4" name="Freeform 709">
              <a:extLst>
                <a:ext uri="{FF2B5EF4-FFF2-40B4-BE49-F238E27FC236}">
                  <a16:creationId xmlns:a16="http://schemas.microsoft.com/office/drawing/2014/main" id="{FF50ACD4-12EB-4FE0-A5BE-0FEC48BBB2D6}"/>
                </a:ext>
              </a:extLst>
            </p:cNvPr>
            <p:cNvSpPr>
              <a:spLocks/>
            </p:cNvSpPr>
            <p:nvPr/>
          </p:nvSpPr>
          <p:spPr bwMode="gray">
            <a:xfrm>
              <a:off x="11316711" y="2012279"/>
              <a:ext cx="17980" cy="14383"/>
            </a:xfrm>
            <a:custGeom>
              <a:avLst/>
              <a:gdLst>
                <a:gd name="T0" fmla="*/ 7 w 10"/>
                <a:gd name="T1" fmla="*/ 8 h 8"/>
                <a:gd name="T2" fmla="*/ 10 w 10"/>
                <a:gd name="T3" fmla="*/ 5 h 8"/>
                <a:gd name="T4" fmla="*/ 0 w 10"/>
                <a:gd name="T5" fmla="*/ 0 h 8"/>
                <a:gd name="T6" fmla="*/ 1 w 10"/>
                <a:gd name="T7" fmla="*/ 5 h 8"/>
                <a:gd name="T8" fmla="*/ 7 w 10"/>
                <a:gd name="T9" fmla="*/ 8 h 8"/>
              </a:gdLst>
              <a:ahLst/>
              <a:cxnLst>
                <a:cxn ang="0">
                  <a:pos x="T0" y="T1"/>
                </a:cxn>
                <a:cxn ang="0">
                  <a:pos x="T2" y="T3"/>
                </a:cxn>
                <a:cxn ang="0">
                  <a:pos x="T4" y="T5"/>
                </a:cxn>
                <a:cxn ang="0">
                  <a:pos x="T6" y="T7"/>
                </a:cxn>
                <a:cxn ang="0">
                  <a:pos x="T8" y="T9"/>
                </a:cxn>
              </a:cxnLst>
              <a:rect l="0" t="0" r="r" b="b"/>
              <a:pathLst>
                <a:path w="10" h="8">
                  <a:moveTo>
                    <a:pt x="7" y="8"/>
                  </a:moveTo>
                  <a:lnTo>
                    <a:pt x="10" y="5"/>
                  </a:lnTo>
                  <a:lnTo>
                    <a:pt x="0" y="0"/>
                  </a:lnTo>
                  <a:lnTo>
                    <a:pt x="1" y="5"/>
                  </a:lnTo>
                  <a:lnTo>
                    <a:pt x="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5" name="Freeform 710">
              <a:extLst>
                <a:ext uri="{FF2B5EF4-FFF2-40B4-BE49-F238E27FC236}">
                  <a16:creationId xmlns:a16="http://schemas.microsoft.com/office/drawing/2014/main" id="{5863FCF1-8CC8-B604-54E6-C6ED2EB0ECEF}"/>
                </a:ext>
              </a:extLst>
            </p:cNvPr>
            <p:cNvSpPr>
              <a:spLocks/>
            </p:cNvSpPr>
            <p:nvPr/>
          </p:nvSpPr>
          <p:spPr bwMode="gray">
            <a:xfrm>
              <a:off x="11527073" y="4800943"/>
              <a:ext cx="37758" cy="28768"/>
            </a:xfrm>
            <a:custGeom>
              <a:avLst/>
              <a:gdLst>
                <a:gd name="T0" fmla="*/ 30 w 65"/>
                <a:gd name="T1" fmla="*/ 37 h 47"/>
                <a:gd name="T2" fmla="*/ 65 w 65"/>
                <a:gd name="T3" fmla="*/ 19 h 47"/>
                <a:gd name="T4" fmla="*/ 54 w 65"/>
                <a:gd name="T5" fmla="*/ 11 h 47"/>
                <a:gd name="T6" fmla="*/ 47 w 65"/>
                <a:gd name="T7" fmla="*/ 0 h 47"/>
                <a:gd name="T8" fmla="*/ 0 w 65"/>
                <a:gd name="T9" fmla="*/ 36 h 47"/>
                <a:gd name="T10" fmla="*/ 30 w 65"/>
                <a:gd name="T11" fmla="*/ 37 h 47"/>
              </a:gdLst>
              <a:ahLst/>
              <a:cxnLst>
                <a:cxn ang="0">
                  <a:pos x="T0" y="T1"/>
                </a:cxn>
                <a:cxn ang="0">
                  <a:pos x="T2" y="T3"/>
                </a:cxn>
                <a:cxn ang="0">
                  <a:pos x="T4" y="T5"/>
                </a:cxn>
                <a:cxn ang="0">
                  <a:pos x="T6" y="T7"/>
                </a:cxn>
                <a:cxn ang="0">
                  <a:pos x="T8" y="T9"/>
                </a:cxn>
                <a:cxn ang="0">
                  <a:pos x="T10" y="T11"/>
                </a:cxn>
              </a:cxnLst>
              <a:rect l="0" t="0" r="r" b="b"/>
              <a:pathLst>
                <a:path w="65" h="47">
                  <a:moveTo>
                    <a:pt x="30" y="37"/>
                  </a:moveTo>
                  <a:cubicBezTo>
                    <a:pt x="53" y="27"/>
                    <a:pt x="65" y="19"/>
                    <a:pt x="65" y="19"/>
                  </a:cubicBezTo>
                  <a:cubicBezTo>
                    <a:pt x="54" y="11"/>
                    <a:pt x="54" y="11"/>
                    <a:pt x="54" y="11"/>
                  </a:cubicBezTo>
                  <a:cubicBezTo>
                    <a:pt x="47" y="0"/>
                    <a:pt x="47" y="0"/>
                    <a:pt x="47" y="0"/>
                  </a:cubicBezTo>
                  <a:cubicBezTo>
                    <a:pt x="47" y="0"/>
                    <a:pt x="1" y="13"/>
                    <a:pt x="0" y="36"/>
                  </a:cubicBezTo>
                  <a:cubicBezTo>
                    <a:pt x="0" y="36"/>
                    <a:pt x="7" y="47"/>
                    <a:pt x="30" y="3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6" name="Freeform 711">
              <a:extLst>
                <a:ext uri="{FF2B5EF4-FFF2-40B4-BE49-F238E27FC236}">
                  <a16:creationId xmlns:a16="http://schemas.microsoft.com/office/drawing/2014/main" id="{A0E1C92D-9C36-E125-4C8E-ABED00D513B4}"/>
                </a:ext>
              </a:extLst>
            </p:cNvPr>
            <p:cNvSpPr>
              <a:spLocks/>
            </p:cNvSpPr>
            <p:nvPr/>
          </p:nvSpPr>
          <p:spPr bwMode="gray">
            <a:xfrm>
              <a:off x="11703275" y="4712841"/>
              <a:ext cx="41354" cy="14383"/>
            </a:xfrm>
            <a:custGeom>
              <a:avLst/>
              <a:gdLst>
                <a:gd name="T0" fmla="*/ 33 w 67"/>
                <a:gd name="T1" fmla="*/ 21 h 24"/>
                <a:gd name="T2" fmla="*/ 33 w 67"/>
                <a:gd name="T3" fmla="*/ 2 h 24"/>
                <a:gd name="T4" fmla="*/ 33 w 67"/>
                <a:gd name="T5" fmla="*/ 21 h 24"/>
              </a:gdLst>
              <a:ahLst/>
              <a:cxnLst>
                <a:cxn ang="0">
                  <a:pos x="T0" y="T1"/>
                </a:cxn>
                <a:cxn ang="0">
                  <a:pos x="T2" y="T3"/>
                </a:cxn>
                <a:cxn ang="0">
                  <a:pos x="T4" y="T5"/>
                </a:cxn>
              </a:cxnLst>
              <a:rect l="0" t="0" r="r" b="b"/>
              <a:pathLst>
                <a:path w="67" h="24">
                  <a:moveTo>
                    <a:pt x="33" y="21"/>
                  </a:moveTo>
                  <a:cubicBezTo>
                    <a:pt x="63" y="15"/>
                    <a:pt x="67" y="0"/>
                    <a:pt x="33" y="2"/>
                  </a:cubicBezTo>
                  <a:cubicBezTo>
                    <a:pt x="0" y="5"/>
                    <a:pt x="10" y="24"/>
                    <a:pt x="33"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7" name="Freeform 712">
              <a:extLst>
                <a:ext uri="{FF2B5EF4-FFF2-40B4-BE49-F238E27FC236}">
                  <a16:creationId xmlns:a16="http://schemas.microsoft.com/office/drawing/2014/main" id="{B3C4C11A-9562-E126-D6ED-22D0E69B064B}"/>
                </a:ext>
              </a:extLst>
            </p:cNvPr>
            <p:cNvSpPr>
              <a:spLocks/>
            </p:cNvSpPr>
            <p:nvPr/>
          </p:nvSpPr>
          <p:spPr bwMode="gray">
            <a:xfrm>
              <a:off x="11557639" y="4518660"/>
              <a:ext cx="307455" cy="303859"/>
            </a:xfrm>
            <a:custGeom>
              <a:avLst/>
              <a:gdLst>
                <a:gd name="T0" fmla="*/ 267 w 516"/>
                <a:gd name="T1" fmla="*/ 13 h 511"/>
                <a:gd name="T2" fmla="*/ 266 w 516"/>
                <a:gd name="T3" fmla="*/ 32 h 511"/>
                <a:gd name="T4" fmla="*/ 240 w 516"/>
                <a:gd name="T5" fmla="*/ 20 h 511"/>
                <a:gd name="T6" fmla="*/ 206 w 516"/>
                <a:gd name="T7" fmla="*/ 33 h 511"/>
                <a:gd name="T8" fmla="*/ 166 w 516"/>
                <a:gd name="T9" fmla="*/ 1 h 511"/>
                <a:gd name="T10" fmla="*/ 143 w 516"/>
                <a:gd name="T11" fmla="*/ 19 h 511"/>
                <a:gd name="T12" fmla="*/ 132 w 516"/>
                <a:gd name="T13" fmla="*/ 11 h 511"/>
                <a:gd name="T14" fmla="*/ 104 w 516"/>
                <a:gd name="T15" fmla="*/ 44 h 511"/>
                <a:gd name="T16" fmla="*/ 52 w 516"/>
                <a:gd name="T17" fmla="*/ 49 h 511"/>
                <a:gd name="T18" fmla="*/ 54 w 516"/>
                <a:gd name="T19" fmla="*/ 87 h 511"/>
                <a:gd name="T20" fmla="*/ 20 w 516"/>
                <a:gd name="T21" fmla="*/ 93 h 511"/>
                <a:gd name="T22" fmla="*/ 15 w 516"/>
                <a:gd name="T23" fmla="*/ 116 h 511"/>
                <a:gd name="T24" fmla="*/ 41 w 516"/>
                <a:gd name="T25" fmla="*/ 125 h 511"/>
                <a:gd name="T26" fmla="*/ 63 w 516"/>
                <a:gd name="T27" fmla="*/ 137 h 511"/>
                <a:gd name="T28" fmla="*/ 65 w 516"/>
                <a:gd name="T29" fmla="*/ 168 h 511"/>
                <a:gd name="T30" fmla="*/ 82 w 516"/>
                <a:gd name="T31" fmla="*/ 203 h 511"/>
                <a:gd name="T32" fmla="*/ 56 w 516"/>
                <a:gd name="T33" fmla="*/ 206 h 511"/>
                <a:gd name="T34" fmla="*/ 29 w 516"/>
                <a:gd name="T35" fmla="*/ 228 h 511"/>
                <a:gd name="T36" fmla="*/ 31 w 516"/>
                <a:gd name="T37" fmla="*/ 262 h 511"/>
                <a:gd name="T38" fmla="*/ 48 w 516"/>
                <a:gd name="T39" fmla="*/ 297 h 511"/>
                <a:gd name="T40" fmla="*/ 0 w 516"/>
                <a:gd name="T41" fmla="*/ 352 h 511"/>
                <a:gd name="T42" fmla="*/ 18 w 516"/>
                <a:gd name="T43" fmla="*/ 384 h 511"/>
                <a:gd name="T44" fmla="*/ 93 w 516"/>
                <a:gd name="T45" fmla="*/ 372 h 511"/>
                <a:gd name="T46" fmla="*/ 138 w 516"/>
                <a:gd name="T47" fmla="*/ 367 h 511"/>
                <a:gd name="T48" fmla="*/ 99 w 516"/>
                <a:gd name="T49" fmla="*/ 395 h 511"/>
                <a:gd name="T50" fmla="*/ 37 w 516"/>
                <a:gd name="T51" fmla="*/ 442 h 511"/>
                <a:gd name="T52" fmla="*/ 55 w 516"/>
                <a:gd name="T53" fmla="*/ 466 h 511"/>
                <a:gd name="T54" fmla="*/ 42 w 516"/>
                <a:gd name="T55" fmla="*/ 511 h 511"/>
                <a:gd name="T56" fmla="*/ 65 w 516"/>
                <a:gd name="T57" fmla="*/ 497 h 511"/>
                <a:gd name="T58" fmla="*/ 74 w 516"/>
                <a:gd name="T59" fmla="*/ 467 h 511"/>
                <a:gd name="T60" fmla="*/ 125 w 516"/>
                <a:gd name="T61" fmla="*/ 400 h 511"/>
                <a:gd name="T62" fmla="*/ 179 w 516"/>
                <a:gd name="T63" fmla="*/ 369 h 511"/>
                <a:gd name="T64" fmla="*/ 227 w 516"/>
                <a:gd name="T65" fmla="*/ 313 h 511"/>
                <a:gd name="T66" fmla="*/ 240 w 516"/>
                <a:gd name="T67" fmla="*/ 272 h 511"/>
                <a:gd name="T68" fmla="*/ 286 w 516"/>
                <a:gd name="T69" fmla="*/ 247 h 511"/>
                <a:gd name="T70" fmla="*/ 319 w 516"/>
                <a:gd name="T71" fmla="*/ 249 h 511"/>
                <a:gd name="T72" fmla="*/ 358 w 516"/>
                <a:gd name="T73" fmla="*/ 220 h 511"/>
                <a:gd name="T74" fmla="*/ 425 w 516"/>
                <a:gd name="T75" fmla="*/ 223 h 511"/>
                <a:gd name="T76" fmla="*/ 426 w 516"/>
                <a:gd name="T77" fmla="*/ 208 h 511"/>
                <a:gd name="T78" fmla="*/ 437 w 516"/>
                <a:gd name="T79" fmla="*/ 209 h 511"/>
                <a:gd name="T80" fmla="*/ 436 w 516"/>
                <a:gd name="T81" fmla="*/ 228 h 511"/>
                <a:gd name="T82" fmla="*/ 486 w 516"/>
                <a:gd name="T83" fmla="*/ 219 h 511"/>
                <a:gd name="T84" fmla="*/ 503 w 516"/>
                <a:gd name="T85" fmla="*/ 170 h 511"/>
                <a:gd name="T86" fmla="*/ 511 w 516"/>
                <a:gd name="T87" fmla="*/ 151 h 511"/>
                <a:gd name="T88" fmla="*/ 433 w 516"/>
                <a:gd name="T89" fmla="*/ 140 h 511"/>
                <a:gd name="T90" fmla="*/ 330 w 516"/>
                <a:gd name="T91" fmla="*/ 100 h 511"/>
                <a:gd name="T92" fmla="*/ 321 w 516"/>
                <a:gd name="T93" fmla="*/ 58 h 511"/>
                <a:gd name="T94" fmla="*/ 296 w 516"/>
                <a:gd name="T95" fmla="*/ 34 h 511"/>
                <a:gd name="T96" fmla="*/ 307 w 516"/>
                <a:gd name="T97" fmla="*/ 27 h 511"/>
                <a:gd name="T98" fmla="*/ 297 w 516"/>
                <a:gd name="T99" fmla="*/ 7 h 511"/>
                <a:gd name="T100" fmla="*/ 278 w 516"/>
                <a:gd name="T101" fmla="*/ 14 h 511"/>
                <a:gd name="T102" fmla="*/ 267 w 516"/>
                <a:gd name="T103" fmla="*/ 13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6" h="511">
                  <a:moveTo>
                    <a:pt x="267" y="13"/>
                  </a:moveTo>
                  <a:cubicBezTo>
                    <a:pt x="266" y="32"/>
                    <a:pt x="266" y="32"/>
                    <a:pt x="266" y="32"/>
                  </a:cubicBezTo>
                  <a:cubicBezTo>
                    <a:pt x="240" y="20"/>
                    <a:pt x="240" y="20"/>
                    <a:pt x="240" y="20"/>
                  </a:cubicBezTo>
                  <a:cubicBezTo>
                    <a:pt x="240" y="20"/>
                    <a:pt x="225" y="34"/>
                    <a:pt x="206" y="33"/>
                  </a:cubicBezTo>
                  <a:cubicBezTo>
                    <a:pt x="191" y="29"/>
                    <a:pt x="177" y="5"/>
                    <a:pt x="166" y="1"/>
                  </a:cubicBezTo>
                  <a:cubicBezTo>
                    <a:pt x="151" y="0"/>
                    <a:pt x="143" y="19"/>
                    <a:pt x="143" y="19"/>
                  </a:cubicBezTo>
                  <a:cubicBezTo>
                    <a:pt x="143" y="19"/>
                    <a:pt x="140" y="7"/>
                    <a:pt x="132" y="11"/>
                  </a:cubicBezTo>
                  <a:cubicBezTo>
                    <a:pt x="124" y="18"/>
                    <a:pt x="124" y="29"/>
                    <a:pt x="104" y="44"/>
                  </a:cubicBezTo>
                  <a:cubicBezTo>
                    <a:pt x="89" y="58"/>
                    <a:pt x="67" y="46"/>
                    <a:pt x="52" y="49"/>
                  </a:cubicBezTo>
                  <a:cubicBezTo>
                    <a:pt x="40" y="56"/>
                    <a:pt x="58" y="72"/>
                    <a:pt x="54" y="87"/>
                  </a:cubicBezTo>
                  <a:cubicBezTo>
                    <a:pt x="46" y="98"/>
                    <a:pt x="28" y="86"/>
                    <a:pt x="20" y="93"/>
                  </a:cubicBezTo>
                  <a:cubicBezTo>
                    <a:pt x="8" y="100"/>
                    <a:pt x="15" y="116"/>
                    <a:pt x="15" y="116"/>
                  </a:cubicBezTo>
                  <a:cubicBezTo>
                    <a:pt x="41" y="125"/>
                    <a:pt x="41" y="125"/>
                    <a:pt x="41" y="125"/>
                  </a:cubicBezTo>
                  <a:cubicBezTo>
                    <a:pt x="63" y="137"/>
                    <a:pt x="63" y="137"/>
                    <a:pt x="63" y="137"/>
                  </a:cubicBezTo>
                  <a:cubicBezTo>
                    <a:pt x="63" y="137"/>
                    <a:pt x="62" y="160"/>
                    <a:pt x="65" y="168"/>
                  </a:cubicBezTo>
                  <a:cubicBezTo>
                    <a:pt x="68" y="176"/>
                    <a:pt x="90" y="196"/>
                    <a:pt x="82" y="203"/>
                  </a:cubicBezTo>
                  <a:cubicBezTo>
                    <a:pt x="74" y="211"/>
                    <a:pt x="56" y="206"/>
                    <a:pt x="56" y="206"/>
                  </a:cubicBezTo>
                  <a:cubicBezTo>
                    <a:pt x="29" y="228"/>
                    <a:pt x="29" y="228"/>
                    <a:pt x="29" y="228"/>
                  </a:cubicBezTo>
                  <a:cubicBezTo>
                    <a:pt x="31" y="262"/>
                    <a:pt x="31" y="262"/>
                    <a:pt x="31" y="262"/>
                  </a:cubicBezTo>
                  <a:cubicBezTo>
                    <a:pt x="31" y="262"/>
                    <a:pt x="56" y="282"/>
                    <a:pt x="48" y="297"/>
                  </a:cubicBezTo>
                  <a:cubicBezTo>
                    <a:pt x="40" y="316"/>
                    <a:pt x="0" y="352"/>
                    <a:pt x="0" y="352"/>
                  </a:cubicBezTo>
                  <a:cubicBezTo>
                    <a:pt x="0" y="352"/>
                    <a:pt x="3" y="375"/>
                    <a:pt x="18" y="384"/>
                  </a:cubicBezTo>
                  <a:cubicBezTo>
                    <a:pt x="32" y="396"/>
                    <a:pt x="93" y="372"/>
                    <a:pt x="93" y="372"/>
                  </a:cubicBezTo>
                  <a:cubicBezTo>
                    <a:pt x="93" y="372"/>
                    <a:pt x="131" y="351"/>
                    <a:pt x="138" y="367"/>
                  </a:cubicBezTo>
                  <a:cubicBezTo>
                    <a:pt x="141" y="378"/>
                    <a:pt x="99" y="395"/>
                    <a:pt x="99" y="395"/>
                  </a:cubicBezTo>
                  <a:cubicBezTo>
                    <a:pt x="37" y="442"/>
                    <a:pt x="37" y="442"/>
                    <a:pt x="37" y="442"/>
                  </a:cubicBezTo>
                  <a:cubicBezTo>
                    <a:pt x="55" y="466"/>
                    <a:pt x="55" y="466"/>
                    <a:pt x="55" y="466"/>
                  </a:cubicBezTo>
                  <a:cubicBezTo>
                    <a:pt x="42" y="511"/>
                    <a:pt x="42" y="511"/>
                    <a:pt x="42" y="511"/>
                  </a:cubicBezTo>
                  <a:cubicBezTo>
                    <a:pt x="65" y="497"/>
                    <a:pt x="65" y="497"/>
                    <a:pt x="65" y="497"/>
                  </a:cubicBezTo>
                  <a:cubicBezTo>
                    <a:pt x="74" y="467"/>
                    <a:pt x="74" y="467"/>
                    <a:pt x="74" y="467"/>
                  </a:cubicBezTo>
                  <a:cubicBezTo>
                    <a:pt x="125" y="400"/>
                    <a:pt x="125" y="400"/>
                    <a:pt x="125" y="400"/>
                  </a:cubicBezTo>
                  <a:cubicBezTo>
                    <a:pt x="179" y="369"/>
                    <a:pt x="179" y="369"/>
                    <a:pt x="179" y="369"/>
                  </a:cubicBezTo>
                  <a:cubicBezTo>
                    <a:pt x="227" y="313"/>
                    <a:pt x="227" y="313"/>
                    <a:pt x="227" y="313"/>
                  </a:cubicBezTo>
                  <a:cubicBezTo>
                    <a:pt x="227" y="313"/>
                    <a:pt x="235" y="287"/>
                    <a:pt x="240" y="272"/>
                  </a:cubicBezTo>
                  <a:cubicBezTo>
                    <a:pt x="244" y="261"/>
                    <a:pt x="286" y="247"/>
                    <a:pt x="286" y="247"/>
                  </a:cubicBezTo>
                  <a:cubicBezTo>
                    <a:pt x="286" y="247"/>
                    <a:pt x="312" y="252"/>
                    <a:pt x="319" y="249"/>
                  </a:cubicBezTo>
                  <a:cubicBezTo>
                    <a:pt x="331" y="250"/>
                    <a:pt x="336" y="223"/>
                    <a:pt x="358" y="220"/>
                  </a:cubicBezTo>
                  <a:cubicBezTo>
                    <a:pt x="385" y="218"/>
                    <a:pt x="425" y="223"/>
                    <a:pt x="425" y="223"/>
                  </a:cubicBezTo>
                  <a:cubicBezTo>
                    <a:pt x="426" y="208"/>
                    <a:pt x="426" y="208"/>
                    <a:pt x="426" y="208"/>
                  </a:cubicBezTo>
                  <a:cubicBezTo>
                    <a:pt x="437" y="209"/>
                    <a:pt x="437" y="209"/>
                    <a:pt x="437" y="209"/>
                  </a:cubicBezTo>
                  <a:cubicBezTo>
                    <a:pt x="436" y="228"/>
                    <a:pt x="436" y="228"/>
                    <a:pt x="436" y="228"/>
                  </a:cubicBezTo>
                  <a:cubicBezTo>
                    <a:pt x="436" y="228"/>
                    <a:pt x="455" y="229"/>
                    <a:pt x="486" y="219"/>
                  </a:cubicBezTo>
                  <a:cubicBezTo>
                    <a:pt x="516" y="205"/>
                    <a:pt x="503" y="170"/>
                    <a:pt x="503" y="170"/>
                  </a:cubicBezTo>
                  <a:cubicBezTo>
                    <a:pt x="511" y="151"/>
                    <a:pt x="511" y="151"/>
                    <a:pt x="511" y="151"/>
                  </a:cubicBezTo>
                  <a:cubicBezTo>
                    <a:pt x="511" y="151"/>
                    <a:pt x="466" y="149"/>
                    <a:pt x="433" y="140"/>
                  </a:cubicBezTo>
                  <a:cubicBezTo>
                    <a:pt x="400" y="134"/>
                    <a:pt x="359" y="121"/>
                    <a:pt x="330" y="100"/>
                  </a:cubicBezTo>
                  <a:cubicBezTo>
                    <a:pt x="301" y="84"/>
                    <a:pt x="324" y="69"/>
                    <a:pt x="321" y="58"/>
                  </a:cubicBezTo>
                  <a:cubicBezTo>
                    <a:pt x="318" y="46"/>
                    <a:pt x="296" y="34"/>
                    <a:pt x="296" y="34"/>
                  </a:cubicBezTo>
                  <a:cubicBezTo>
                    <a:pt x="307" y="27"/>
                    <a:pt x="307" y="27"/>
                    <a:pt x="307" y="27"/>
                  </a:cubicBezTo>
                  <a:cubicBezTo>
                    <a:pt x="297" y="7"/>
                    <a:pt x="297" y="7"/>
                    <a:pt x="297" y="7"/>
                  </a:cubicBezTo>
                  <a:cubicBezTo>
                    <a:pt x="278" y="14"/>
                    <a:pt x="278" y="14"/>
                    <a:pt x="278" y="14"/>
                  </a:cubicBezTo>
                  <a:lnTo>
                    <a:pt x="267"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0" name="Freeform 715">
              <a:extLst>
                <a:ext uri="{FF2B5EF4-FFF2-40B4-BE49-F238E27FC236}">
                  <a16:creationId xmlns:a16="http://schemas.microsoft.com/office/drawing/2014/main" id="{9D06FCC0-C91C-D5F6-C9D9-AD1E035D4960}"/>
                </a:ext>
              </a:extLst>
            </p:cNvPr>
            <p:cNvSpPr>
              <a:spLocks/>
            </p:cNvSpPr>
            <p:nvPr/>
          </p:nvSpPr>
          <p:spPr bwMode="gray">
            <a:xfrm>
              <a:off x="11721254" y="836402"/>
              <a:ext cx="21576" cy="8991"/>
            </a:xfrm>
            <a:custGeom>
              <a:avLst/>
              <a:gdLst>
                <a:gd name="T0" fmla="*/ 15 w 37"/>
                <a:gd name="T1" fmla="*/ 12 h 13"/>
                <a:gd name="T2" fmla="*/ 31 w 37"/>
                <a:gd name="T3" fmla="*/ 11 h 13"/>
                <a:gd name="T4" fmla="*/ 33 w 37"/>
                <a:gd name="T5" fmla="*/ 9 h 13"/>
                <a:gd name="T6" fmla="*/ 35 w 37"/>
                <a:gd name="T7" fmla="*/ 11 h 13"/>
                <a:gd name="T8" fmla="*/ 36 w 37"/>
                <a:gd name="T9" fmla="*/ 11 h 13"/>
                <a:gd name="T10" fmla="*/ 37 w 37"/>
                <a:gd name="T11" fmla="*/ 4 h 13"/>
                <a:gd name="T12" fmla="*/ 12 w 37"/>
                <a:gd name="T13" fmla="*/ 0 h 13"/>
                <a:gd name="T14" fmla="*/ 0 w 37"/>
                <a:gd name="T15" fmla="*/ 13 h 13"/>
                <a:gd name="T16" fmla="*/ 6 w 37"/>
                <a:gd name="T17" fmla="*/ 13 h 13"/>
                <a:gd name="T18" fmla="*/ 7 w 37"/>
                <a:gd name="T19" fmla="*/ 8 h 13"/>
                <a:gd name="T20" fmla="*/ 15 w 37"/>
                <a:gd name="T2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13">
                  <a:moveTo>
                    <a:pt x="15" y="12"/>
                  </a:moveTo>
                  <a:cubicBezTo>
                    <a:pt x="31" y="11"/>
                    <a:pt x="31" y="11"/>
                    <a:pt x="31" y="11"/>
                  </a:cubicBezTo>
                  <a:cubicBezTo>
                    <a:pt x="33" y="9"/>
                    <a:pt x="33" y="9"/>
                    <a:pt x="33" y="9"/>
                  </a:cubicBezTo>
                  <a:cubicBezTo>
                    <a:pt x="35" y="11"/>
                    <a:pt x="35" y="11"/>
                    <a:pt x="35" y="11"/>
                  </a:cubicBezTo>
                  <a:cubicBezTo>
                    <a:pt x="36" y="11"/>
                    <a:pt x="36" y="11"/>
                    <a:pt x="36" y="11"/>
                  </a:cubicBezTo>
                  <a:cubicBezTo>
                    <a:pt x="37" y="4"/>
                    <a:pt x="37" y="4"/>
                    <a:pt x="37" y="4"/>
                  </a:cubicBezTo>
                  <a:cubicBezTo>
                    <a:pt x="12" y="0"/>
                    <a:pt x="12" y="0"/>
                    <a:pt x="12" y="0"/>
                  </a:cubicBezTo>
                  <a:cubicBezTo>
                    <a:pt x="0" y="13"/>
                    <a:pt x="0" y="13"/>
                    <a:pt x="0" y="13"/>
                  </a:cubicBezTo>
                  <a:cubicBezTo>
                    <a:pt x="6" y="13"/>
                    <a:pt x="6" y="13"/>
                    <a:pt x="6" y="13"/>
                  </a:cubicBezTo>
                  <a:cubicBezTo>
                    <a:pt x="6" y="10"/>
                    <a:pt x="7" y="8"/>
                    <a:pt x="7" y="8"/>
                  </a:cubicBezTo>
                  <a:lnTo>
                    <a:pt x="15"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1" name="Freeform 716">
              <a:extLst>
                <a:ext uri="{FF2B5EF4-FFF2-40B4-BE49-F238E27FC236}">
                  <a16:creationId xmlns:a16="http://schemas.microsoft.com/office/drawing/2014/main" id="{2F779C05-2A89-7AF5-AB88-7869DED729E9}"/>
                </a:ext>
              </a:extLst>
            </p:cNvPr>
            <p:cNvSpPr>
              <a:spLocks/>
            </p:cNvSpPr>
            <p:nvPr/>
          </p:nvSpPr>
          <p:spPr bwMode="gray">
            <a:xfrm>
              <a:off x="11023640" y="2706299"/>
              <a:ext cx="237333" cy="134849"/>
            </a:xfrm>
            <a:custGeom>
              <a:avLst/>
              <a:gdLst>
                <a:gd name="T0" fmla="*/ 7 w 400"/>
                <a:gd name="T1" fmla="*/ 155 h 226"/>
                <a:gd name="T2" fmla="*/ 12 w 400"/>
                <a:gd name="T3" fmla="*/ 145 h 226"/>
                <a:gd name="T4" fmla="*/ 20 w 400"/>
                <a:gd name="T5" fmla="*/ 139 h 226"/>
                <a:gd name="T6" fmla="*/ 26 w 400"/>
                <a:gd name="T7" fmla="*/ 151 h 226"/>
                <a:gd name="T8" fmla="*/ 45 w 400"/>
                <a:gd name="T9" fmla="*/ 139 h 226"/>
                <a:gd name="T10" fmla="*/ 70 w 400"/>
                <a:gd name="T11" fmla="*/ 145 h 226"/>
                <a:gd name="T12" fmla="*/ 54 w 400"/>
                <a:gd name="T13" fmla="*/ 151 h 226"/>
                <a:gd name="T14" fmla="*/ 54 w 400"/>
                <a:gd name="T15" fmla="*/ 158 h 226"/>
                <a:gd name="T16" fmla="*/ 23 w 400"/>
                <a:gd name="T17" fmla="*/ 172 h 226"/>
                <a:gd name="T18" fmla="*/ 16 w 400"/>
                <a:gd name="T19" fmla="*/ 167 h 226"/>
                <a:gd name="T20" fmla="*/ 2 w 400"/>
                <a:gd name="T21" fmla="*/ 191 h 226"/>
                <a:gd name="T22" fmla="*/ 187 w 400"/>
                <a:gd name="T23" fmla="*/ 219 h 226"/>
                <a:gd name="T24" fmla="*/ 376 w 400"/>
                <a:gd name="T25" fmla="*/ 211 h 226"/>
                <a:gd name="T26" fmla="*/ 361 w 400"/>
                <a:gd name="T27" fmla="*/ 158 h 226"/>
                <a:gd name="T28" fmla="*/ 373 w 400"/>
                <a:gd name="T29" fmla="*/ 124 h 226"/>
                <a:gd name="T30" fmla="*/ 390 w 400"/>
                <a:gd name="T31" fmla="*/ 97 h 226"/>
                <a:gd name="T32" fmla="*/ 352 w 400"/>
                <a:gd name="T33" fmla="*/ 63 h 226"/>
                <a:gd name="T34" fmla="*/ 316 w 400"/>
                <a:gd name="T35" fmla="*/ 58 h 226"/>
                <a:gd name="T36" fmla="*/ 283 w 400"/>
                <a:gd name="T37" fmla="*/ 65 h 226"/>
                <a:gd name="T38" fmla="*/ 280 w 400"/>
                <a:gd name="T39" fmla="*/ 54 h 226"/>
                <a:gd name="T40" fmla="*/ 245 w 400"/>
                <a:gd name="T41" fmla="*/ 45 h 226"/>
                <a:gd name="T42" fmla="*/ 225 w 400"/>
                <a:gd name="T43" fmla="*/ 32 h 226"/>
                <a:gd name="T44" fmla="*/ 204 w 400"/>
                <a:gd name="T45" fmla="*/ 33 h 226"/>
                <a:gd name="T46" fmla="*/ 188 w 400"/>
                <a:gd name="T47" fmla="*/ 16 h 226"/>
                <a:gd name="T48" fmla="*/ 182 w 400"/>
                <a:gd name="T49" fmla="*/ 33 h 226"/>
                <a:gd name="T50" fmla="*/ 171 w 400"/>
                <a:gd name="T51" fmla="*/ 32 h 226"/>
                <a:gd name="T52" fmla="*/ 178 w 400"/>
                <a:gd name="T53" fmla="*/ 87 h 226"/>
                <a:gd name="T54" fmla="*/ 155 w 400"/>
                <a:gd name="T55" fmla="*/ 99 h 226"/>
                <a:gd name="T56" fmla="*/ 130 w 400"/>
                <a:gd name="T57" fmla="*/ 95 h 226"/>
                <a:gd name="T58" fmla="*/ 117 w 400"/>
                <a:gd name="T59" fmla="*/ 90 h 226"/>
                <a:gd name="T60" fmla="*/ 88 w 400"/>
                <a:gd name="T61" fmla="*/ 90 h 226"/>
                <a:gd name="T62" fmla="*/ 134 w 400"/>
                <a:gd name="T63" fmla="*/ 38 h 226"/>
                <a:gd name="T64" fmla="*/ 136 w 400"/>
                <a:gd name="T65" fmla="*/ 24 h 226"/>
                <a:gd name="T66" fmla="*/ 156 w 400"/>
                <a:gd name="T67" fmla="*/ 8 h 226"/>
                <a:gd name="T68" fmla="*/ 150 w 400"/>
                <a:gd name="T69" fmla="*/ 0 h 226"/>
                <a:gd name="T70" fmla="*/ 143 w 400"/>
                <a:gd name="T71" fmla="*/ 3 h 226"/>
                <a:gd name="T72" fmla="*/ 124 w 400"/>
                <a:gd name="T73" fmla="*/ 37 h 226"/>
                <a:gd name="T74" fmla="*/ 86 w 400"/>
                <a:gd name="T75" fmla="*/ 75 h 226"/>
                <a:gd name="T76" fmla="*/ 74 w 400"/>
                <a:gd name="T77" fmla="*/ 84 h 226"/>
                <a:gd name="T78" fmla="*/ 13 w 400"/>
                <a:gd name="T79" fmla="*/ 84 h 226"/>
                <a:gd name="T80" fmla="*/ 7 w 400"/>
                <a:gd name="T81" fmla="*/ 101 h 226"/>
                <a:gd name="T82" fmla="*/ 12 w 400"/>
                <a:gd name="T83" fmla="*/ 116 h 226"/>
                <a:gd name="T84" fmla="*/ 0 w 400"/>
                <a:gd name="T85" fmla="*/ 151 h 226"/>
                <a:gd name="T86" fmla="*/ 7 w 400"/>
                <a:gd name="T87" fmla="*/ 15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0" h="226">
                  <a:moveTo>
                    <a:pt x="7" y="155"/>
                  </a:moveTo>
                  <a:cubicBezTo>
                    <a:pt x="12" y="145"/>
                    <a:pt x="12" y="145"/>
                    <a:pt x="12" y="145"/>
                  </a:cubicBezTo>
                  <a:cubicBezTo>
                    <a:pt x="20" y="139"/>
                    <a:pt x="20" y="139"/>
                    <a:pt x="20" y="139"/>
                  </a:cubicBezTo>
                  <a:cubicBezTo>
                    <a:pt x="26" y="151"/>
                    <a:pt x="26" y="151"/>
                    <a:pt x="26" y="151"/>
                  </a:cubicBezTo>
                  <a:cubicBezTo>
                    <a:pt x="45" y="139"/>
                    <a:pt x="45" y="139"/>
                    <a:pt x="45" y="139"/>
                  </a:cubicBezTo>
                  <a:cubicBezTo>
                    <a:pt x="70" y="145"/>
                    <a:pt x="70" y="145"/>
                    <a:pt x="70" y="145"/>
                  </a:cubicBezTo>
                  <a:cubicBezTo>
                    <a:pt x="54" y="151"/>
                    <a:pt x="54" y="151"/>
                    <a:pt x="54" y="151"/>
                  </a:cubicBezTo>
                  <a:cubicBezTo>
                    <a:pt x="54" y="158"/>
                    <a:pt x="54" y="158"/>
                    <a:pt x="54" y="158"/>
                  </a:cubicBezTo>
                  <a:cubicBezTo>
                    <a:pt x="23" y="172"/>
                    <a:pt x="23" y="172"/>
                    <a:pt x="23" y="172"/>
                  </a:cubicBezTo>
                  <a:cubicBezTo>
                    <a:pt x="16" y="167"/>
                    <a:pt x="16" y="167"/>
                    <a:pt x="16" y="167"/>
                  </a:cubicBezTo>
                  <a:cubicBezTo>
                    <a:pt x="2" y="191"/>
                    <a:pt x="2" y="191"/>
                    <a:pt x="2" y="191"/>
                  </a:cubicBezTo>
                  <a:cubicBezTo>
                    <a:pt x="31" y="195"/>
                    <a:pt x="143" y="217"/>
                    <a:pt x="187" y="219"/>
                  </a:cubicBezTo>
                  <a:cubicBezTo>
                    <a:pt x="240" y="226"/>
                    <a:pt x="376" y="211"/>
                    <a:pt x="376" y="211"/>
                  </a:cubicBezTo>
                  <a:cubicBezTo>
                    <a:pt x="376" y="211"/>
                    <a:pt x="354" y="183"/>
                    <a:pt x="361" y="158"/>
                  </a:cubicBezTo>
                  <a:cubicBezTo>
                    <a:pt x="364" y="137"/>
                    <a:pt x="373" y="124"/>
                    <a:pt x="373" y="124"/>
                  </a:cubicBezTo>
                  <a:cubicBezTo>
                    <a:pt x="373" y="124"/>
                    <a:pt x="400" y="109"/>
                    <a:pt x="390" y="97"/>
                  </a:cubicBezTo>
                  <a:cubicBezTo>
                    <a:pt x="381" y="88"/>
                    <a:pt x="352" y="63"/>
                    <a:pt x="352" y="63"/>
                  </a:cubicBezTo>
                  <a:cubicBezTo>
                    <a:pt x="316" y="58"/>
                    <a:pt x="316" y="58"/>
                    <a:pt x="316" y="58"/>
                  </a:cubicBezTo>
                  <a:cubicBezTo>
                    <a:pt x="283" y="65"/>
                    <a:pt x="283" y="65"/>
                    <a:pt x="283" y="65"/>
                  </a:cubicBezTo>
                  <a:cubicBezTo>
                    <a:pt x="280" y="54"/>
                    <a:pt x="280" y="54"/>
                    <a:pt x="280" y="54"/>
                  </a:cubicBezTo>
                  <a:cubicBezTo>
                    <a:pt x="280" y="54"/>
                    <a:pt x="258" y="58"/>
                    <a:pt x="245" y="45"/>
                  </a:cubicBezTo>
                  <a:cubicBezTo>
                    <a:pt x="232" y="36"/>
                    <a:pt x="225" y="32"/>
                    <a:pt x="225" y="32"/>
                  </a:cubicBezTo>
                  <a:cubicBezTo>
                    <a:pt x="204" y="33"/>
                    <a:pt x="204" y="33"/>
                    <a:pt x="204" y="33"/>
                  </a:cubicBezTo>
                  <a:cubicBezTo>
                    <a:pt x="188" y="16"/>
                    <a:pt x="188" y="16"/>
                    <a:pt x="188" y="16"/>
                  </a:cubicBezTo>
                  <a:cubicBezTo>
                    <a:pt x="182" y="33"/>
                    <a:pt x="182" y="33"/>
                    <a:pt x="182" y="33"/>
                  </a:cubicBezTo>
                  <a:cubicBezTo>
                    <a:pt x="171" y="32"/>
                    <a:pt x="171" y="32"/>
                    <a:pt x="171" y="32"/>
                  </a:cubicBezTo>
                  <a:cubicBezTo>
                    <a:pt x="178" y="87"/>
                    <a:pt x="178" y="87"/>
                    <a:pt x="178" y="87"/>
                  </a:cubicBezTo>
                  <a:cubicBezTo>
                    <a:pt x="155" y="99"/>
                    <a:pt x="155" y="99"/>
                    <a:pt x="155" y="99"/>
                  </a:cubicBezTo>
                  <a:cubicBezTo>
                    <a:pt x="130" y="95"/>
                    <a:pt x="130" y="95"/>
                    <a:pt x="130" y="95"/>
                  </a:cubicBezTo>
                  <a:cubicBezTo>
                    <a:pt x="130" y="95"/>
                    <a:pt x="120" y="91"/>
                    <a:pt x="117" y="90"/>
                  </a:cubicBezTo>
                  <a:cubicBezTo>
                    <a:pt x="113" y="90"/>
                    <a:pt x="88" y="90"/>
                    <a:pt x="88" y="90"/>
                  </a:cubicBezTo>
                  <a:cubicBezTo>
                    <a:pt x="134" y="38"/>
                    <a:pt x="134" y="38"/>
                    <a:pt x="134" y="38"/>
                  </a:cubicBezTo>
                  <a:cubicBezTo>
                    <a:pt x="136" y="24"/>
                    <a:pt x="136" y="24"/>
                    <a:pt x="136" y="24"/>
                  </a:cubicBezTo>
                  <a:cubicBezTo>
                    <a:pt x="156" y="8"/>
                    <a:pt x="156" y="8"/>
                    <a:pt x="156" y="8"/>
                  </a:cubicBezTo>
                  <a:cubicBezTo>
                    <a:pt x="150" y="0"/>
                    <a:pt x="150" y="0"/>
                    <a:pt x="150" y="0"/>
                  </a:cubicBezTo>
                  <a:cubicBezTo>
                    <a:pt x="143" y="3"/>
                    <a:pt x="143" y="3"/>
                    <a:pt x="143" y="3"/>
                  </a:cubicBezTo>
                  <a:cubicBezTo>
                    <a:pt x="124" y="37"/>
                    <a:pt x="124" y="37"/>
                    <a:pt x="124" y="37"/>
                  </a:cubicBezTo>
                  <a:cubicBezTo>
                    <a:pt x="86" y="75"/>
                    <a:pt x="86" y="75"/>
                    <a:pt x="86" y="75"/>
                  </a:cubicBezTo>
                  <a:cubicBezTo>
                    <a:pt x="74" y="84"/>
                    <a:pt x="74" y="84"/>
                    <a:pt x="74" y="84"/>
                  </a:cubicBezTo>
                  <a:cubicBezTo>
                    <a:pt x="13" y="84"/>
                    <a:pt x="13" y="84"/>
                    <a:pt x="13" y="84"/>
                  </a:cubicBezTo>
                  <a:cubicBezTo>
                    <a:pt x="7" y="101"/>
                    <a:pt x="7" y="101"/>
                    <a:pt x="7" y="101"/>
                  </a:cubicBezTo>
                  <a:cubicBezTo>
                    <a:pt x="12" y="116"/>
                    <a:pt x="12" y="116"/>
                    <a:pt x="12" y="116"/>
                  </a:cubicBezTo>
                  <a:cubicBezTo>
                    <a:pt x="0" y="151"/>
                    <a:pt x="0" y="151"/>
                    <a:pt x="0" y="151"/>
                  </a:cubicBezTo>
                  <a:lnTo>
                    <a:pt x="7" y="15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6" name="Freeform 721">
              <a:extLst>
                <a:ext uri="{FF2B5EF4-FFF2-40B4-BE49-F238E27FC236}">
                  <a16:creationId xmlns:a16="http://schemas.microsoft.com/office/drawing/2014/main" id="{B8B2A910-8749-C670-5586-C6762F04B3EB}"/>
                </a:ext>
              </a:extLst>
            </p:cNvPr>
            <p:cNvSpPr>
              <a:spLocks/>
            </p:cNvSpPr>
            <p:nvPr/>
          </p:nvSpPr>
          <p:spPr bwMode="gray">
            <a:xfrm>
              <a:off x="11401214" y="2587632"/>
              <a:ext cx="3596" cy="1798"/>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1" y="0"/>
                    <a:pt x="0" y="0"/>
                    <a:pt x="0"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7" name="Freeform 722">
              <a:extLst>
                <a:ext uri="{FF2B5EF4-FFF2-40B4-BE49-F238E27FC236}">
                  <a16:creationId xmlns:a16="http://schemas.microsoft.com/office/drawing/2014/main" id="{BF293F8D-3196-CA9E-7548-22ABC6E40E48}"/>
                </a:ext>
              </a:extLst>
            </p:cNvPr>
            <p:cNvSpPr>
              <a:spLocks/>
            </p:cNvSpPr>
            <p:nvPr/>
          </p:nvSpPr>
          <p:spPr bwMode="gray">
            <a:xfrm>
              <a:off x="11426387" y="1692239"/>
              <a:ext cx="7192" cy="17980"/>
            </a:xfrm>
            <a:custGeom>
              <a:avLst/>
              <a:gdLst>
                <a:gd name="T0" fmla="*/ 12 w 12"/>
                <a:gd name="T1" fmla="*/ 0 h 30"/>
                <a:gd name="T2" fmla="*/ 0 w 12"/>
                <a:gd name="T3" fmla="*/ 30 h 30"/>
                <a:gd name="T4" fmla="*/ 12 w 12"/>
                <a:gd name="T5" fmla="*/ 0 h 30"/>
              </a:gdLst>
              <a:ahLst/>
              <a:cxnLst>
                <a:cxn ang="0">
                  <a:pos x="T0" y="T1"/>
                </a:cxn>
                <a:cxn ang="0">
                  <a:pos x="T2" y="T3"/>
                </a:cxn>
                <a:cxn ang="0">
                  <a:pos x="T4" y="T5"/>
                </a:cxn>
              </a:cxnLst>
              <a:rect l="0" t="0" r="r" b="b"/>
              <a:pathLst>
                <a:path w="12" h="30">
                  <a:moveTo>
                    <a:pt x="12" y="0"/>
                  </a:moveTo>
                  <a:cubicBezTo>
                    <a:pt x="0" y="30"/>
                    <a:pt x="0" y="30"/>
                    <a:pt x="0" y="30"/>
                  </a:cubicBezTo>
                  <a:cubicBezTo>
                    <a:pt x="0" y="30"/>
                    <a:pt x="8" y="15"/>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9" name="Freeform 724">
              <a:extLst>
                <a:ext uri="{FF2B5EF4-FFF2-40B4-BE49-F238E27FC236}">
                  <a16:creationId xmlns:a16="http://schemas.microsoft.com/office/drawing/2014/main" id="{CE4AC36A-CBB4-4920-2405-DF27453AF289}"/>
                </a:ext>
              </a:extLst>
            </p:cNvPr>
            <p:cNvSpPr>
              <a:spLocks/>
            </p:cNvSpPr>
            <p:nvPr/>
          </p:nvSpPr>
          <p:spPr bwMode="gray">
            <a:xfrm>
              <a:off x="11739234" y="841796"/>
              <a:ext cx="3596" cy="1798"/>
            </a:xfrm>
            <a:custGeom>
              <a:avLst/>
              <a:gdLst>
                <a:gd name="T0" fmla="*/ 0 w 2"/>
                <a:gd name="T1" fmla="*/ 1 h 1"/>
                <a:gd name="T2" fmla="*/ 2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2" y="1"/>
                  </a:lnTo>
                  <a:lnTo>
                    <a:pt x="1"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0" name="Freeform 725">
              <a:extLst>
                <a:ext uri="{FF2B5EF4-FFF2-40B4-BE49-F238E27FC236}">
                  <a16:creationId xmlns:a16="http://schemas.microsoft.com/office/drawing/2014/main" id="{A81CA720-02BC-9BC0-5B80-3191A3C85A09}"/>
                </a:ext>
              </a:extLst>
            </p:cNvPr>
            <p:cNvSpPr>
              <a:spLocks/>
            </p:cNvSpPr>
            <p:nvPr/>
          </p:nvSpPr>
          <p:spPr bwMode="gray">
            <a:xfrm>
              <a:off x="11724851" y="841796"/>
              <a:ext cx="5395" cy="3596"/>
            </a:xfrm>
            <a:custGeom>
              <a:avLst/>
              <a:gdLst>
                <a:gd name="T0" fmla="*/ 1 w 9"/>
                <a:gd name="T1" fmla="*/ 0 h 5"/>
                <a:gd name="T2" fmla="*/ 0 w 9"/>
                <a:gd name="T3" fmla="*/ 5 h 5"/>
                <a:gd name="T4" fmla="*/ 9 w 9"/>
                <a:gd name="T5" fmla="*/ 4 h 5"/>
                <a:gd name="T6" fmla="*/ 1 w 9"/>
                <a:gd name="T7" fmla="*/ 0 h 5"/>
              </a:gdLst>
              <a:ahLst/>
              <a:cxnLst>
                <a:cxn ang="0">
                  <a:pos x="T0" y="T1"/>
                </a:cxn>
                <a:cxn ang="0">
                  <a:pos x="T2" y="T3"/>
                </a:cxn>
                <a:cxn ang="0">
                  <a:pos x="T4" y="T5"/>
                </a:cxn>
                <a:cxn ang="0">
                  <a:pos x="T6" y="T7"/>
                </a:cxn>
              </a:cxnLst>
              <a:rect l="0" t="0" r="r" b="b"/>
              <a:pathLst>
                <a:path w="9" h="5">
                  <a:moveTo>
                    <a:pt x="1" y="0"/>
                  </a:moveTo>
                  <a:cubicBezTo>
                    <a:pt x="1" y="0"/>
                    <a:pt x="0" y="2"/>
                    <a:pt x="0" y="5"/>
                  </a:cubicBezTo>
                  <a:cubicBezTo>
                    <a:pt x="9" y="4"/>
                    <a:pt x="9" y="4"/>
                    <a:pt x="9" y="4"/>
                  </a:cubicBez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1" name="Freeform 726">
              <a:extLst>
                <a:ext uri="{FF2B5EF4-FFF2-40B4-BE49-F238E27FC236}">
                  <a16:creationId xmlns:a16="http://schemas.microsoft.com/office/drawing/2014/main" id="{40FC8638-0F53-1B6E-D9B9-CF0A1FC549FF}"/>
                </a:ext>
              </a:extLst>
            </p:cNvPr>
            <p:cNvSpPr>
              <a:spLocks/>
            </p:cNvSpPr>
            <p:nvPr/>
          </p:nvSpPr>
          <p:spPr bwMode="gray">
            <a:xfrm>
              <a:off x="11919032" y="1350623"/>
              <a:ext cx="25171" cy="19778"/>
            </a:xfrm>
            <a:custGeom>
              <a:avLst/>
              <a:gdLst>
                <a:gd name="T0" fmla="*/ 9 w 14"/>
                <a:gd name="T1" fmla="*/ 0 h 11"/>
                <a:gd name="T2" fmla="*/ 2 w 14"/>
                <a:gd name="T3" fmla="*/ 4 h 11"/>
                <a:gd name="T4" fmla="*/ 0 w 14"/>
                <a:gd name="T5" fmla="*/ 8 h 11"/>
                <a:gd name="T6" fmla="*/ 6 w 14"/>
                <a:gd name="T7" fmla="*/ 11 h 11"/>
                <a:gd name="T8" fmla="*/ 14 w 14"/>
                <a:gd name="T9" fmla="*/ 7 h 11"/>
                <a:gd name="T10" fmla="*/ 9 w 14"/>
                <a:gd name="T11" fmla="*/ 0 h 11"/>
              </a:gdLst>
              <a:ahLst/>
              <a:cxnLst>
                <a:cxn ang="0">
                  <a:pos x="T0" y="T1"/>
                </a:cxn>
                <a:cxn ang="0">
                  <a:pos x="T2" y="T3"/>
                </a:cxn>
                <a:cxn ang="0">
                  <a:pos x="T4" y="T5"/>
                </a:cxn>
                <a:cxn ang="0">
                  <a:pos x="T6" y="T7"/>
                </a:cxn>
                <a:cxn ang="0">
                  <a:pos x="T8" y="T9"/>
                </a:cxn>
                <a:cxn ang="0">
                  <a:pos x="T10" y="T11"/>
                </a:cxn>
              </a:cxnLst>
              <a:rect l="0" t="0" r="r" b="b"/>
              <a:pathLst>
                <a:path w="14" h="11">
                  <a:moveTo>
                    <a:pt x="9" y="0"/>
                  </a:moveTo>
                  <a:lnTo>
                    <a:pt x="2" y="4"/>
                  </a:lnTo>
                  <a:lnTo>
                    <a:pt x="0" y="8"/>
                  </a:lnTo>
                  <a:lnTo>
                    <a:pt x="6" y="11"/>
                  </a:lnTo>
                  <a:lnTo>
                    <a:pt x="14" y="7"/>
                  </a:lnTo>
                  <a:lnTo>
                    <a:pt x="9"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2" name="Freeform 727">
              <a:extLst>
                <a:ext uri="{FF2B5EF4-FFF2-40B4-BE49-F238E27FC236}">
                  <a16:creationId xmlns:a16="http://schemas.microsoft.com/office/drawing/2014/main" id="{94B2D0BC-7D03-9B20-ADE3-D5199240B840}"/>
                </a:ext>
              </a:extLst>
            </p:cNvPr>
            <p:cNvSpPr>
              <a:spLocks/>
            </p:cNvSpPr>
            <p:nvPr/>
          </p:nvSpPr>
          <p:spPr bwMode="gray">
            <a:xfrm>
              <a:off x="11604387" y="2032057"/>
              <a:ext cx="16183" cy="14383"/>
            </a:xfrm>
            <a:custGeom>
              <a:avLst/>
              <a:gdLst>
                <a:gd name="T0" fmla="*/ 0 w 9"/>
                <a:gd name="T1" fmla="*/ 5 h 8"/>
                <a:gd name="T2" fmla="*/ 6 w 9"/>
                <a:gd name="T3" fmla="*/ 8 h 8"/>
                <a:gd name="T4" fmla="*/ 9 w 9"/>
                <a:gd name="T5" fmla="*/ 4 h 8"/>
                <a:gd name="T6" fmla="*/ 0 w 9"/>
                <a:gd name="T7" fmla="*/ 0 h 8"/>
                <a:gd name="T8" fmla="*/ 0 w 9"/>
                <a:gd name="T9" fmla="*/ 5 h 8"/>
              </a:gdLst>
              <a:ahLst/>
              <a:cxnLst>
                <a:cxn ang="0">
                  <a:pos x="T0" y="T1"/>
                </a:cxn>
                <a:cxn ang="0">
                  <a:pos x="T2" y="T3"/>
                </a:cxn>
                <a:cxn ang="0">
                  <a:pos x="T4" y="T5"/>
                </a:cxn>
                <a:cxn ang="0">
                  <a:pos x="T6" y="T7"/>
                </a:cxn>
                <a:cxn ang="0">
                  <a:pos x="T8" y="T9"/>
                </a:cxn>
              </a:cxnLst>
              <a:rect l="0" t="0" r="r" b="b"/>
              <a:pathLst>
                <a:path w="9" h="8">
                  <a:moveTo>
                    <a:pt x="0" y="5"/>
                  </a:moveTo>
                  <a:lnTo>
                    <a:pt x="6" y="8"/>
                  </a:lnTo>
                  <a:lnTo>
                    <a:pt x="9" y="4"/>
                  </a:lnTo>
                  <a:lnTo>
                    <a:pt x="0"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3" name="Freeform 728">
              <a:extLst>
                <a:ext uri="{FF2B5EF4-FFF2-40B4-BE49-F238E27FC236}">
                  <a16:creationId xmlns:a16="http://schemas.microsoft.com/office/drawing/2014/main" id="{403E8C77-4D17-9384-A6AE-8180DF217EDD}"/>
                </a:ext>
              </a:extLst>
            </p:cNvPr>
            <p:cNvSpPr>
              <a:spLocks/>
            </p:cNvSpPr>
            <p:nvPr/>
          </p:nvSpPr>
          <p:spPr bwMode="gray">
            <a:xfrm>
              <a:off x="11938811" y="1366806"/>
              <a:ext cx="16183" cy="17980"/>
            </a:xfrm>
            <a:custGeom>
              <a:avLst/>
              <a:gdLst>
                <a:gd name="T0" fmla="*/ 0 w 29"/>
                <a:gd name="T1" fmla="*/ 12 h 30"/>
                <a:gd name="T2" fmla="*/ 13 w 29"/>
                <a:gd name="T3" fmla="*/ 21 h 30"/>
                <a:gd name="T4" fmla="*/ 0 w 29"/>
                <a:gd name="T5" fmla="*/ 12 h 30"/>
              </a:gdLst>
              <a:ahLst/>
              <a:cxnLst>
                <a:cxn ang="0">
                  <a:pos x="T0" y="T1"/>
                </a:cxn>
                <a:cxn ang="0">
                  <a:pos x="T2" y="T3"/>
                </a:cxn>
                <a:cxn ang="0">
                  <a:pos x="T4" y="T5"/>
                </a:cxn>
              </a:cxnLst>
              <a:rect l="0" t="0" r="r" b="b"/>
              <a:pathLst>
                <a:path w="29" h="30">
                  <a:moveTo>
                    <a:pt x="0" y="12"/>
                  </a:moveTo>
                  <a:cubicBezTo>
                    <a:pt x="0" y="12"/>
                    <a:pt x="1" y="30"/>
                    <a:pt x="13" y="21"/>
                  </a:cubicBezTo>
                  <a:cubicBezTo>
                    <a:pt x="29" y="12"/>
                    <a:pt x="23" y="0"/>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4" name="Freeform 729">
              <a:extLst>
                <a:ext uri="{FF2B5EF4-FFF2-40B4-BE49-F238E27FC236}">
                  <a16:creationId xmlns:a16="http://schemas.microsoft.com/office/drawing/2014/main" id="{A3BECD2C-9048-53A7-E9A1-3B940E6B7A41}"/>
                </a:ext>
              </a:extLst>
            </p:cNvPr>
            <p:cNvSpPr>
              <a:spLocks/>
            </p:cNvSpPr>
            <p:nvPr/>
          </p:nvSpPr>
          <p:spPr bwMode="gray">
            <a:xfrm>
              <a:off x="11946003" y="1343431"/>
              <a:ext cx="19778" cy="14383"/>
            </a:xfrm>
            <a:custGeom>
              <a:avLst/>
              <a:gdLst>
                <a:gd name="T0" fmla="*/ 2 w 11"/>
                <a:gd name="T1" fmla="*/ 8 h 8"/>
                <a:gd name="T2" fmla="*/ 11 w 11"/>
                <a:gd name="T3" fmla="*/ 0 h 8"/>
                <a:gd name="T4" fmla="*/ 0 w 11"/>
                <a:gd name="T5" fmla="*/ 3 h 8"/>
                <a:gd name="T6" fmla="*/ 2 w 11"/>
                <a:gd name="T7" fmla="*/ 8 h 8"/>
              </a:gdLst>
              <a:ahLst/>
              <a:cxnLst>
                <a:cxn ang="0">
                  <a:pos x="T0" y="T1"/>
                </a:cxn>
                <a:cxn ang="0">
                  <a:pos x="T2" y="T3"/>
                </a:cxn>
                <a:cxn ang="0">
                  <a:pos x="T4" y="T5"/>
                </a:cxn>
                <a:cxn ang="0">
                  <a:pos x="T6" y="T7"/>
                </a:cxn>
              </a:cxnLst>
              <a:rect l="0" t="0" r="r" b="b"/>
              <a:pathLst>
                <a:path w="11" h="8">
                  <a:moveTo>
                    <a:pt x="2" y="8"/>
                  </a:moveTo>
                  <a:lnTo>
                    <a:pt x="11" y="0"/>
                  </a:lnTo>
                  <a:lnTo>
                    <a:pt x="0" y="3"/>
                  </a:lnTo>
                  <a:lnTo>
                    <a:pt x="2"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745" name="Vrije vorm: vorm 744">
            <a:extLst>
              <a:ext uri="{FF2B5EF4-FFF2-40B4-BE49-F238E27FC236}">
                <a16:creationId xmlns:a16="http://schemas.microsoft.com/office/drawing/2014/main" id="{5751D0BC-15A3-D0D7-0B15-4F7A1CA592DD}"/>
              </a:ext>
            </a:extLst>
          </p:cNvPr>
          <p:cNvSpPr/>
          <p:nvPr/>
        </p:nvSpPr>
        <p:spPr>
          <a:xfrm>
            <a:off x="0" y="0"/>
            <a:ext cx="12208979" cy="6050939"/>
          </a:xfrm>
          <a:custGeom>
            <a:avLst/>
            <a:gdLst>
              <a:gd name="connsiteX0" fmla="*/ 3818238 w 12208979"/>
              <a:gd name="connsiteY0" fmla="*/ 719138 h 6050939"/>
              <a:gd name="connsiteX1" fmla="*/ 3818238 w 12208979"/>
              <a:gd name="connsiteY1" fmla="*/ 6000750 h 6050939"/>
              <a:gd name="connsiteX2" fmla="*/ 11469762 w 12208979"/>
              <a:gd name="connsiteY2" fmla="*/ 6000750 h 6050939"/>
              <a:gd name="connsiteX3" fmla="*/ 11469762 w 12208979"/>
              <a:gd name="connsiteY3" fmla="*/ 719138 h 6050939"/>
              <a:gd name="connsiteX4" fmla="*/ 0 w 12208979"/>
              <a:gd name="connsiteY4" fmla="*/ 0 h 6050939"/>
              <a:gd name="connsiteX5" fmla="*/ 12208979 w 12208979"/>
              <a:gd name="connsiteY5" fmla="*/ 0 h 6050939"/>
              <a:gd name="connsiteX6" fmla="*/ 12208979 w 12208979"/>
              <a:gd name="connsiteY6" fmla="*/ 6050939 h 6050939"/>
              <a:gd name="connsiteX7" fmla="*/ 0 w 12208979"/>
              <a:gd name="connsiteY7" fmla="*/ 6050939 h 60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8979" h="6050939">
                <a:moveTo>
                  <a:pt x="3818238" y="719138"/>
                </a:moveTo>
                <a:lnTo>
                  <a:pt x="3818238" y="6000750"/>
                </a:lnTo>
                <a:lnTo>
                  <a:pt x="11469762" y="6000750"/>
                </a:lnTo>
                <a:lnTo>
                  <a:pt x="11469762" y="719138"/>
                </a:lnTo>
                <a:close/>
                <a:moveTo>
                  <a:pt x="0" y="0"/>
                </a:moveTo>
                <a:lnTo>
                  <a:pt x="12208979" y="0"/>
                </a:lnTo>
                <a:lnTo>
                  <a:pt x="12208979" y="6050939"/>
                </a:lnTo>
                <a:lnTo>
                  <a:pt x="0" y="605093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nl-NL" sz="1600" dirty="0" err="1"/>
          </a:p>
        </p:txBody>
      </p:sp>
      <p:sp>
        <p:nvSpPr>
          <p:cNvPr id="740" name="Titel 739">
            <a:extLst>
              <a:ext uri="{FF2B5EF4-FFF2-40B4-BE49-F238E27FC236}">
                <a16:creationId xmlns:a16="http://schemas.microsoft.com/office/drawing/2014/main" id="{ADD7ECA9-AB7D-1576-9A24-5AD935E10716}"/>
              </a:ext>
            </a:extLst>
          </p:cNvPr>
          <p:cNvSpPr>
            <a:spLocks noGrp="1"/>
          </p:cNvSpPr>
          <p:nvPr>
            <p:ph type="title"/>
          </p:nvPr>
        </p:nvSpPr>
        <p:spPr>
          <a:xfrm>
            <a:off x="0" y="-429019"/>
            <a:ext cx="846386" cy="276999"/>
          </a:xfrm>
        </p:spPr>
        <p:txBody>
          <a:bodyPr/>
          <a:lstStyle/>
          <a:p>
            <a:r>
              <a:rPr lang="nl-NL" dirty="0" err="1"/>
              <a:t>Alumini</a:t>
            </a:r>
            <a:endParaRPr lang="nl-NL" dirty="0"/>
          </a:p>
        </p:txBody>
      </p:sp>
      <p:sp>
        <p:nvSpPr>
          <p:cNvPr id="2" name="Tijdelijke aanduiding voor dianummer 1">
            <a:extLst>
              <a:ext uri="{FF2B5EF4-FFF2-40B4-BE49-F238E27FC236}">
                <a16:creationId xmlns:a16="http://schemas.microsoft.com/office/drawing/2014/main" id="{44D0F607-C9C1-3A7D-85ED-7CAD02F9CDFA}"/>
              </a:ext>
            </a:extLst>
          </p:cNvPr>
          <p:cNvSpPr>
            <a:spLocks noGrp="1"/>
          </p:cNvSpPr>
          <p:nvPr>
            <p:ph type="sldNum" sz="quarter" idx="12"/>
          </p:nvPr>
        </p:nvSpPr>
        <p:spPr/>
        <p:txBody>
          <a:bodyPr/>
          <a:lstStyle/>
          <a:p>
            <a:fld id="{9E843DB9-9987-4157-AB9C-CEA8D7D910BB}" type="slidenum">
              <a:rPr lang="en-GB" smtClean="0"/>
              <a:pPr/>
              <a:t>28</a:t>
            </a:fld>
            <a:endParaRPr lang="en-GB" dirty="0"/>
          </a:p>
        </p:txBody>
      </p:sp>
      <p:sp>
        <p:nvSpPr>
          <p:cNvPr id="735" name="Verenigde Staten">
            <a:extLst>
              <a:ext uri="{FF2B5EF4-FFF2-40B4-BE49-F238E27FC236}">
                <a16:creationId xmlns:a16="http://schemas.microsoft.com/office/drawing/2014/main" id="{B85DE07E-305E-8C20-6DAB-DDE295CD2019}"/>
              </a:ext>
            </a:extLst>
          </p:cNvPr>
          <p:cNvSpPr>
            <a:spLocks noEditPoints="1"/>
          </p:cNvSpPr>
          <p:nvPr/>
        </p:nvSpPr>
        <p:spPr bwMode="gray">
          <a:xfrm>
            <a:off x="4944878" y="1414704"/>
            <a:ext cx="2278881" cy="1139441"/>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chemeClr val="accent1"/>
          </a:solid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6" name="Freeform 20">
            <a:extLst>
              <a:ext uri="{FF2B5EF4-FFF2-40B4-BE49-F238E27FC236}">
                <a16:creationId xmlns:a16="http://schemas.microsoft.com/office/drawing/2014/main" id="{A1A7E3B1-A9D9-ACCE-4041-3A973687547E}"/>
              </a:ext>
            </a:extLst>
          </p:cNvPr>
          <p:cNvSpPr>
            <a:spLocks noEditPoints="1"/>
          </p:cNvSpPr>
          <p:nvPr/>
        </p:nvSpPr>
        <p:spPr bwMode="gray">
          <a:xfrm>
            <a:off x="5024939" y="4054119"/>
            <a:ext cx="1970221" cy="1509451"/>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solidFill>
            <a:schemeClr val="accent1"/>
          </a:solid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778" name="Groep 777">
            <a:extLst>
              <a:ext uri="{FF2B5EF4-FFF2-40B4-BE49-F238E27FC236}">
                <a16:creationId xmlns:a16="http://schemas.microsoft.com/office/drawing/2014/main" id="{025AD075-0AB4-6407-9459-BCE599D2F8DA}"/>
              </a:ext>
            </a:extLst>
          </p:cNvPr>
          <p:cNvGrpSpPr/>
          <p:nvPr/>
        </p:nvGrpSpPr>
        <p:grpSpPr>
          <a:xfrm>
            <a:off x="719138" y="1396506"/>
            <a:ext cx="4131158" cy="3926882"/>
            <a:chOff x="719138" y="1396506"/>
            <a:chExt cx="4131158" cy="3926882"/>
          </a:xfrm>
        </p:grpSpPr>
        <p:sp>
          <p:nvSpPr>
            <p:cNvPr id="742" name="Tijdelijke aanduiding voor tekst 3">
              <a:extLst>
                <a:ext uri="{FF2B5EF4-FFF2-40B4-BE49-F238E27FC236}">
                  <a16:creationId xmlns:a16="http://schemas.microsoft.com/office/drawing/2014/main" id="{1A735BFF-2EDB-2DCD-472A-66F3F71A241C}"/>
                </a:ext>
              </a:extLst>
            </p:cNvPr>
            <p:cNvSpPr txBox="1">
              <a:spLocks/>
            </p:cNvSpPr>
            <p:nvPr/>
          </p:nvSpPr>
          <p:spPr>
            <a:xfrm>
              <a:off x="719138" y="1396506"/>
              <a:ext cx="4131158" cy="3926882"/>
            </a:xfrm>
            <a:prstGeom prst="rect">
              <a:avLst/>
            </a:prstGeom>
            <a:solidFill>
              <a:schemeClr val="accent1"/>
            </a:solidFill>
          </p:spPr>
          <p:txBody>
            <a:bodyPr lIns="360000" tIns="360000" rIns="360000" bIns="360000" anchor="ctr" anchorCtr="0">
              <a:spAutoFit/>
            </a:bodyPr>
            <a:lstStyle>
              <a:lvl1pPr marL="361950" indent="-361950" algn="l" defTabSz="914400" rtl="0" eaLnBrk="1" latinLnBrk="0" hangingPunct="1">
                <a:lnSpc>
                  <a:spcPct val="90000"/>
                </a:lnSpc>
                <a:spcBef>
                  <a:spcPts val="400"/>
                </a:spcBef>
                <a:spcAft>
                  <a:spcPts val="400"/>
                </a:spcAft>
                <a:buClr>
                  <a:schemeClr val="accent1"/>
                </a:buClr>
                <a:buSzPct val="120000"/>
                <a:buFont typeface="Arial" panose="020B0604020202020204" pitchFamily="34" charset="0"/>
                <a:buChar char="•"/>
                <a:defRPr sz="1600" kern="1200">
                  <a:solidFill>
                    <a:schemeClr val="tx2"/>
                  </a:solidFill>
                  <a:latin typeface="+mn-lt"/>
                  <a:ea typeface="+mn-ea"/>
                  <a:cs typeface="+mn-cs"/>
                </a:defRPr>
              </a:lvl1pPr>
              <a:lvl2pPr marL="712788" indent="-350838" algn="l" defTabSz="914400" rtl="0" eaLnBrk="1" latinLnBrk="0" hangingPunct="1">
                <a:lnSpc>
                  <a:spcPct val="90000"/>
                </a:lnSpc>
                <a:spcBef>
                  <a:spcPts val="400"/>
                </a:spcBef>
                <a:spcAft>
                  <a:spcPts val="400"/>
                </a:spcAft>
                <a:buClr>
                  <a:schemeClr val="accent1"/>
                </a:buClr>
                <a:buSzPct val="120000"/>
                <a:buFont typeface="Arial" panose="020B0604020202020204" pitchFamily="34" charset="0"/>
                <a:buChar char="•"/>
                <a:tabLst>
                  <a:tab pos="712788" algn="l"/>
                </a:tabLst>
                <a:defRPr sz="1600" kern="1200">
                  <a:solidFill>
                    <a:schemeClr val="tx2"/>
                  </a:solidFill>
                  <a:latin typeface="+mn-lt"/>
                  <a:ea typeface="+mn-ea"/>
                  <a:cs typeface="+mn-cs"/>
                </a:defRPr>
              </a:lvl2pPr>
              <a:lvl3pPr marL="0" indent="0" algn="l" defTabSz="914400" rtl="0" eaLnBrk="1" latinLnBrk="0" hangingPunct="1">
                <a:lnSpc>
                  <a:spcPct val="90000"/>
                </a:lnSpc>
                <a:spcBef>
                  <a:spcPts val="400"/>
                </a:spcBef>
                <a:spcAft>
                  <a:spcPts val="400"/>
                </a:spcAft>
                <a:buClr>
                  <a:schemeClr val="accent3"/>
                </a:buClr>
                <a:buFont typeface="Segoe UI Light" panose="020B0502040204020203" pitchFamily="34" charset="0"/>
                <a:buNone/>
                <a:defRPr sz="1600" kern="1200">
                  <a:solidFill>
                    <a:schemeClr val="tx2"/>
                  </a:solidFill>
                  <a:latin typeface="+mn-lt"/>
                  <a:ea typeface="+mn-ea"/>
                  <a:cs typeface="+mn-cs"/>
                </a:defRPr>
              </a:lvl3pPr>
              <a:lvl4pPr marL="0" indent="0" algn="l" defTabSz="914400" rtl="0" eaLnBrk="1" latinLnBrk="0" hangingPunct="1">
                <a:lnSpc>
                  <a:spcPct val="90000"/>
                </a:lnSpc>
                <a:spcBef>
                  <a:spcPts val="400"/>
                </a:spcBef>
                <a:spcAft>
                  <a:spcPts val="4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400"/>
                </a:spcBef>
                <a:spcAft>
                  <a:spcPts val="400"/>
                </a:spcAft>
                <a:buFont typeface="Arial" panose="020B0604020202020204" pitchFamily="34" charset="0"/>
                <a:buNone/>
                <a:defRPr sz="1800" b="0" kern="1200">
                  <a:solidFill>
                    <a:schemeClr val="accent1"/>
                  </a:solidFill>
                  <a:latin typeface="+mj-lt"/>
                  <a:ea typeface="+mn-ea"/>
                  <a:cs typeface="+mn-cs"/>
                </a:defRPr>
              </a:lvl5pPr>
              <a:lvl6pPr marL="0" indent="0" algn="l" defTabSz="914400" rtl="0" eaLnBrk="1" latinLnBrk="0" hangingPunct="1">
                <a:lnSpc>
                  <a:spcPct val="90000"/>
                </a:lnSpc>
                <a:spcBef>
                  <a:spcPts val="400"/>
                </a:spcBef>
                <a:spcAft>
                  <a:spcPts val="400"/>
                </a:spcAft>
                <a:buClr>
                  <a:schemeClr val="accent1"/>
                </a:buClr>
                <a:buFont typeface="Arial" panose="020B0604020202020204" pitchFamily="34" charset="0"/>
                <a:buNone/>
                <a:defRPr sz="16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400"/>
                </a:spcBef>
                <a:spcAft>
                  <a:spcPts val="400"/>
                </a:spcAft>
                <a:buClr>
                  <a:schemeClr val="accent1"/>
                </a:buClr>
                <a:buFont typeface="+mj-lt"/>
                <a:buAutoNum type="arabicPeriod"/>
                <a:tabLst/>
                <a:defRPr sz="1600" kern="1200">
                  <a:solidFill>
                    <a:schemeClr val="tx1"/>
                  </a:solidFill>
                  <a:latin typeface="+mn-lt"/>
                  <a:ea typeface="+mn-ea"/>
                  <a:cs typeface="+mn-cs"/>
                </a:defRPr>
              </a:lvl7pPr>
              <a:lvl8pPr marL="361950" indent="-361950" algn="l" defTabSz="914400" rtl="0" eaLnBrk="1" latinLnBrk="0" hangingPunct="1">
                <a:lnSpc>
                  <a:spcPct val="90000"/>
                </a:lnSpc>
                <a:spcBef>
                  <a:spcPts val="400"/>
                </a:spcBef>
                <a:spcAft>
                  <a:spcPts val="400"/>
                </a:spcAft>
                <a:buClr>
                  <a:schemeClr val="accent1"/>
                </a:buClr>
                <a:buFont typeface="+mj-lt"/>
                <a:buAutoNum type="alphaLcPeriod"/>
                <a:defRPr sz="1600" kern="1200">
                  <a:solidFill>
                    <a:schemeClr val="tx1"/>
                  </a:solidFill>
                  <a:latin typeface="+mn-lt"/>
                  <a:ea typeface="+mn-ea"/>
                  <a:cs typeface="+mn-cs"/>
                </a:defRPr>
              </a:lvl8pPr>
              <a:lvl9pPr marL="0" indent="0" algn="l" defTabSz="914400" rtl="0" eaLnBrk="1" latinLnBrk="0" hangingPunct="1">
                <a:lnSpc>
                  <a:spcPct val="90000"/>
                </a:lnSpc>
                <a:spcBef>
                  <a:spcPts val="400"/>
                </a:spcBef>
                <a:spcAft>
                  <a:spcPts val="400"/>
                </a:spcAft>
                <a:buClr>
                  <a:schemeClr val="accent1"/>
                </a:buClr>
                <a:buFont typeface="Arial" panose="020B0604020202020204" pitchFamily="34" charset="0"/>
                <a:buNone/>
                <a:defRPr sz="1200" i="1" kern="1200">
                  <a:solidFill>
                    <a:schemeClr val="tx1"/>
                  </a:solidFill>
                  <a:latin typeface="+mn-lt"/>
                  <a:ea typeface="+mn-ea"/>
                  <a:cs typeface="+mn-cs"/>
                </a:defRPr>
              </a:lvl9pPr>
            </a:lstStyle>
            <a:p>
              <a:pPr lvl="3">
                <a:spcBef>
                  <a:spcPts val="200"/>
                </a:spcBef>
                <a:spcAft>
                  <a:spcPts val="200"/>
                </a:spcAft>
              </a:pPr>
              <a:r>
                <a:rPr lang="en-GB" sz="3400" dirty="0">
                  <a:solidFill>
                    <a:schemeClr val="bg1"/>
                  </a:solidFill>
                </a:rPr>
                <a:t>Alumni 2023</a:t>
              </a:r>
            </a:p>
            <a:p>
              <a:pPr lvl="4">
                <a:spcBef>
                  <a:spcPts val="200"/>
                </a:spcBef>
                <a:spcAft>
                  <a:spcPts val="200"/>
                </a:spcAft>
              </a:pPr>
              <a:r>
                <a:rPr lang="en-GB" sz="1600" dirty="0">
                  <a:solidFill>
                    <a:schemeClr val="bg1"/>
                  </a:solidFill>
                </a:rPr>
                <a:t>Top 10 companies &amp; countries</a:t>
              </a: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p:txBody>
        </p:sp>
        <p:graphicFrame>
          <p:nvGraphicFramePr>
            <p:cNvPr id="750" name="Tijdelijke aanduiding voor tabel 8">
              <a:extLst>
                <a:ext uri="{FF2B5EF4-FFF2-40B4-BE49-F238E27FC236}">
                  <a16:creationId xmlns:a16="http://schemas.microsoft.com/office/drawing/2014/main" id="{9EB241C4-06A3-A8AC-4EFD-FE0FE844BA3A}"/>
                </a:ext>
              </a:extLst>
            </p:cNvPr>
            <p:cNvGraphicFramePr>
              <a:graphicFrameLocks/>
            </p:cNvGraphicFramePr>
            <p:nvPr>
              <p:extLst>
                <p:ext uri="{D42A27DB-BD31-4B8C-83A1-F6EECF244321}">
                  <p14:modId xmlns:p14="http://schemas.microsoft.com/office/powerpoint/2010/main" val="4236105948"/>
                </p:ext>
              </p:extLst>
            </p:nvPr>
          </p:nvGraphicFramePr>
          <p:xfrm>
            <a:off x="1085138" y="2676676"/>
            <a:ext cx="3377034" cy="2352780"/>
          </p:xfrm>
          <a:graphic>
            <a:graphicData uri="http://schemas.openxmlformats.org/drawingml/2006/table">
              <a:tbl>
                <a:tblPr firstRow="1" bandRow="1"/>
                <a:tblGrid>
                  <a:gridCol w="1688517">
                    <a:extLst>
                      <a:ext uri="{9D8B030D-6E8A-4147-A177-3AD203B41FA5}">
                        <a16:colId xmlns:a16="http://schemas.microsoft.com/office/drawing/2014/main" val="20000"/>
                      </a:ext>
                    </a:extLst>
                  </a:gridCol>
                  <a:gridCol w="1688517">
                    <a:extLst>
                      <a:ext uri="{9D8B030D-6E8A-4147-A177-3AD203B41FA5}">
                        <a16:colId xmlns:a16="http://schemas.microsoft.com/office/drawing/2014/main" val="20001"/>
                      </a:ext>
                    </a:extLst>
                  </a:gridCol>
                </a:tblGrid>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b="0">
                            <a:solidFill>
                              <a:srgbClr val="000000"/>
                            </a:solidFill>
                          </a:defRPr>
                        </a:pPr>
                        <a:r>
                          <a:rPr lang="nl-NL" sz="1400" b="0" dirty="0">
                            <a:solidFill>
                              <a:schemeClr val="bg1"/>
                            </a:solidFill>
                            <a:latin typeface="+mj-lt"/>
                          </a:rPr>
                          <a:t>ASML</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12700">
                        <a:noFill/>
                        <a:miter lim="400000"/>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b="0">
                            <a:solidFill>
                              <a:srgbClr val="000000"/>
                            </a:solidFill>
                          </a:defRPr>
                        </a:pPr>
                        <a:r>
                          <a:rPr lang="nl-NL" sz="1400" b="0" dirty="0">
                            <a:solidFill>
                              <a:schemeClr val="bg1"/>
                            </a:solidFill>
                            <a:latin typeface="+mj-lt"/>
                          </a:rPr>
                          <a:t>1,414</a:t>
                        </a:r>
                        <a:endParaRPr sz="1400" b="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12700">
                        <a:noFill/>
                        <a:miter lim="400000"/>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Shell</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1,109</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TNO</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847</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Royal </a:t>
                        </a:r>
                        <a:r>
                          <a:rPr lang="en-GB" sz="1400" b="0" dirty="0" err="1">
                            <a:solidFill>
                              <a:schemeClr val="bg1"/>
                            </a:solidFill>
                            <a:latin typeface="+mj-lt"/>
                          </a:rPr>
                          <a:t>Haskoning</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754</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Rijkswaterstaat</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806</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5278">
                  <a:tc>
                    <a:txBody>
                      <a:bodyPr/>
                      <a:lstStyle/>
                      <a:p>
                        <a:pPr algn="l">
                          <a:defRPr sz="1800"/>
                        </a:pPr>
                        <a:r>
                          <a:rPr lang="en-GB" sz="1400" b="0" dirty="0">
                            <a:solidFill>
                              <a:schemeClr val="bg1"/>
                            </a:solidFill>
                            <a:latin typeface="+mj-lt"/>
                          </a:rPr>
                          <a:t>Van Oord</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dirty="0">
                            <a:solidFill>
                              <a:schemeClr val="bg1"/>
                            </a:solidFill>
                            <a:latin typeface="+mj-lt"/>
                          </a:rPr>
                          <a:t>450</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09995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Phillips</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416</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5278">
                  <a:tc>
                    <a:txBody>
                      <a:bodyPr/>
                      <a:lstStyle/>
                      <a:p>
                        <a:pPr algn="l">
                          <a:defRPr sz="1800"/>
                        </a:pPr>
                        <a:r>
                          <a:rPr lang="en-GB" sz="1400" b="0" dirty="0">
                            <a:solidFill>
                              <a:schemeClr val="bg1"/>
                            </a:solidFill>
                            <a:latin typeface="+mj-lt"/>
                          </a:rPr>
                          <a:t>Deloitte</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dirty="0">
                            <a:solidFill>
                              <a:schemeClr val="bg1"/>
                            </a:solidFill>
                            <a:latin typeface="+mj-lt"/>
                          </a:rPr>
                          <a:t>335</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882739"/>
                    </a:ext>
                  </a:extLst>
                </a:tr>
                <a:tr h="235278">
                  <a:tc>
                    <a:txBody>
                      <a:bodyPr/>
                      <a:lstStyle/>
                      <a:p>
                        <a:pPr algn="l">
                          <a:defRPr sz="1800"/>
                        </a:pPr>
                        <a:r>
                          <a:rPr lang="en-GB" sz="1400" b="0" dirty="0" err="1">
                            <a:solidFill>
                              <a:schemeClr val="bg1"/>
                            </a:solidFill>
                            <a:latin typeface="+mj-lt"/>
                          </a:rPr>
                          <a:t>Deltares</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dirty="0">
                            <a:solidFill>
                              <a:schemeClr val="bg1"/>
                            </a:solidFill>
                            <a:latin typeface="+mj-lt"/>
                          </a:rPr>
                          <a:t>309</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580069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Rabobank</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a:noFill/>
                        <a:miter lim="4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288</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12700">
                        <a:noFill/>
                        <a:miter lim="400000"/>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sp>
        <p:nvSpPr>
          <p:cNvPr id="751" name="Rechthoek 750">
            <a:extLst>
              <a:ext uri="{FF2B5EF4-FFF2-40B4-BE49-F238E27FC236}">
                <a16:creationId xmlns:a16="http://schemas.microsoft.com/office/drawing/2014/main" id="{D08450A3-3AA9-80E0-0287-E33DB475AA7F}"/>
              </a:ext>
            </a:extLst>
          </p:cNvPr>
          <p:cNvSpPr/>
          <p:nvPr/>
        </p:nvSpPr>
        <p:spPr>
          <a:xfrm>
            <a:off x="7541139" y="3257244"/>
            <a:ext cx="1208765" cy="546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United </a:t>
            </a:r>
            <a:r>
              <a:rPr lang="nl-NL" sz="1000" b="1" dirty="0" err="1">
                <a:solidFill>
                  <a:schemeClr val="bg1"/>
                </a:solidFill>
              </a:rPr>
              <a:t>Kingdom</a:t>
            </a:r>
            <a:endParaRPr lang="nl-NL" sz="1000" b="1" dirty="0">
              <a:solidFill>
                <a:schemeClr val="bg1"/>
              </a:solidFill>
            </a:endParaRPr>
          </a:p>
          <a:p>
            <a:pPr algn="r">
              <a:lnSpc>
                <a:spcPct val="90000"/>
              </a:lnSpc>
              <a:spcBef>
                <a:spcPts val="200"/>
              </a:spcBef>
              <a:spcAft>
                <a:spcPts val="200"/>
              </a:spcAft>
            </a:pPr>
            <a:r>
              <a:rPr lang="nl-NL" sz="1000" dirty="0">
                <a:solidFill>
                  <a:schemeClr val="bg1"/>
                </a:solidFill>
              </a:rPr>
              <a:t>2,645</a:t>
            </a:r>
          </a:p>
        </p:txBody>
      </p:sp>
      <p:sp>
        <p:nvSpPr>
          <p:cNvPr id="752" name="Rechthoek 751">
            <a:extLst>
              <a:ext uri="{FF2B5EF4-FFF2-40B4-BE49-F238E27FC236}">
                <a16:creationId xmlns:a16="http://schemas.microsoft.com/office/drawing/2014/main" id="{FAC148EC-0F73-08F7-932A-744DC321B840}"/>
              </a:ext>
            </a:extLst>
          </p:cNvPr>
          <p:cNvSpPr/>
          <p:nvPr/>
        </p:nvSpPr>
        <p:spPr>
          <a:xfrm>
            <a:off x="8905266" y="1598872"/>
            <a:ext cx="957158"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Netherlands</a:t>
            </a:r>
            <a:br>
              <a:rPr lang="nl-NL" sz="1000" b="1" dirty="0">
                <a:solidFill>
                  <a:schemeClr val="bg1"/>
                </a:solidFill>
              </a:rPr>
            </a:br>
            <a:r>
              <a:rPr lang="nl-NL" sz="1000" dirty="0">
                <a:solidFill>
                  <a:schemeClr val="bg1"/>
                </a:solidFill>
              </a:rPr>
              <a:t>100,749</a:t>
            </a:r>
          </a:p>
        </p:txBody>
      </p:sp>
      <p:sp>
        <p:nvSpPr>
          <p:cNvPr id="753" name="Rechthoek 752">
            <a:extLst>
              <a:ext uri="{FF2B5EF4-FFF2-40B4-BE49-F238E27FC236}">
                <a16:creationId xmlns:a16="http://schemas.microsoft.com/office/drawing/2014/main" id="{C2FEC7A3-807E-A05A-42C2-B965F42A6E75}"/>
              </a:ext>
            </a:extLst>
          </p:cNvPr>
          <p:cNvSpPr/>
          <p:nvPr/>
        </p:nvSpPr>
        <p:spPr>
          <a:xfrm>
            <a:off x="6827560" y="2185612"/>
            <a:ext cx="535504"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USA</a:t>
            </a:r>
            <a:br>
              <a:rPr lang="nl-NL" sz="1000" b="1" dirty="0">
                <a:solidFill>
                  <a:schemeClr val="bg1"/>
                </a:solidFill>
              </a:rPr>
            </a:br>
            <a:r>
              <a:rPr lang="nl-NL" sz="1000" dirty="0">
                <a:solidFill>
                  <a:schemeClr val="bg1"/>
                </a:solidFill>
              </a:rPr>
              <a:t>3,800</a:t>
            </a:r>
          </a:p>
        </p:txBody>
      </p:sp>
      <p:sp>
        <p:nvSpPr>
          <p:cNvPr id="754" name="Rechthoek 753">
            <a:extLst>
              <a:ext uri="{FF2B5EF4-FFF2-40B4-BE49-F238E27FC236}">
                <a16:creationId xmlns:a16="http://schemas.microsoft.com/office/drawing/2014/main" id="{983D0FF1-20EA-E5DA-B6B1-3259DE4733EF}"/>
              </a:ext>
            </a:extLst>
          </p:cNvPr>
          <p:cNvSpPr/>
          <p:nvPr/>
        </p:nvSpPr>
        <p:spPr>
          <a:xfrm>
            <a:off x="6789087" y="5157412"/>
            <a:ext cx="573977"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China</a:t>
            </a:r>
            <a:br>
              <a:rPr lang="nl-NL" sz="1000" b="1" dirty="0">
                <a:solidFill>
                  <a:schemeClr val="bg1"/>
                </a:solidFill>
              </a:rPr>
            </a:br>
            <a:r>
              <a:rPr lang="nl-NL" sz="1000" dirty="0">
                <a:solidFill>
                  <a:schemeClr val="bg1"/>
                </a:solidFill>
              </a:rPr>
              <a:t>1,773</a:t>
            </a:r>
          </a:p>
        </p:txBody>
      </p:sp>
      <p:sp>
        <p:nvSpPr>
          <p:cNvPr id="755" name="Rechthoek 754">
            <a:extLst>
              <a:ext uri="{FF2B5EF4-FFF2-40B4-BE49-F238E27FC236}">
                <a16:creationId xmlns:a16="http://schemas.microsoft.com/office/drawing/2014/main" id="{A7659E41-4B9A-07E4-72BA-B1B30BE94B3F}"/>
              </a:ext>
            </a:extLst>
          </p:cNvPr>
          <p:cNvSpPr/>
          <p:nvPr/>
        </p:nvSpPr>
        <p:spPr>
          <a:xfrm>
            <a:off x="8804088" y="1987492"/>
            <a:ext cx="723056"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Belgium</a:t>
            </a:r>
            <a:br>
              <a:rPr lang="nl-NL" sz="1000" b="1" dirty="0">
                <a:solidFill>
                  <a:schemeClr val="bg1"/>
                </a:solidFill>
              </a:rPr>
            </a:br>
            <a:r>
              <a:rPr lang="nl-NL" sz="1000" dirty="0">
                <a:solidFill>
                  <a:schemeClr val="bg1"/>
                </a:solidFill>
              </a:rPr>
              <a:t>2,186</a:t>
            </a:r>
          </a:p>
        </p:txBody>
      </p:sp>
      <p:sp>
        <p:nvSpPr>
          <p:cNvPr id="756" name="Rechthoek 755">
            <a:extLst>
              <a:ext uri="{FF2B5EF4-FFF2-40B4-BE49-F238E27FC236}">
                <a16:creationId xmlns:a16="http://schemas.microsoft.com/office/drawing/2014/main" id="{F19AFCB6-786A-31B2-90F5-EED16E0451C6}"/>
              </a:ext>
            </a:extLst>
          </p:cNvPr>
          <p:cNvSpPr/>
          <p:nvPr/>
        </p:nvSpPr>
        <p:spPr>
          <a:xfrm>
            <a:off x="8159067" y="3877252"/>
            <a:ext cx="636557"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France</a:t>
            </a:r>
            <a:br>
              <a:rPr lang="nl-NL" sz="1000" b="1" dirty="0">
                <a:solidFill>
                  <a:schemeClr val="bg1"/>
                </a:solidFill>
              </a:rPr>
            </a:br>
            <a:r>
              <a:rPr lang="nl-NL" sz="1000" dirty="0">
                <a:solidFill>
                  <a:schemeClr val="bg1"/>
                </a:solidFill>
              </a:rPr>
              <a:t>1,472</a:t>
            </a:r>
          </a:p>
        </p:txBody>
      </p:sp>
      <p:sp>
        <p:nvSpPr>
          <p:cNvPr id="757" name="Rechthoek 756">
            <a:extLst>
              <a:ext uri="{FF2B5EF4-FFF2-40B4-BE49-F238E27FC236}">
                <a16:creationId xmlns:a16="http://schemas.microsoft.com/office/drawing/2014/main" id="{831CAA5A-8F18-2D6D-A141-CC26C36AEBAB}"/>
              </a:ext>
            </a:extLst>
          </p:cNvPr>
          <p:cNvSpPr/>
          <p:nvPr/>
        </p:nvSpPr>
        <p:spPr>
          <a:xfrm>
            <a:off x="9951759" y="5005012"/>
            <a:ext cx="535505"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Italy</a:t>
            </a:r>
            <a:br>
              <a:rPr lang="nl-NL" sz="1000" b="1" dirty="0">
                <a:solidFill>
                  <a:schemeClr val="bg1"/>
                </a:solidFill>
              </a:rPr>
            </a:br>
            <a:r>
              <a:rPr lang="nl-NL" sz="1000" dirty="0">
                <a:solidFill>
                  <a:schemeClr val="bg1"/>
                </a:solidFill>
              </a:rPr>
              <a:t>1,820</a:t>
            </a:r>
          </a:p>
        </p:txBody>
      </p:sp>
      <p:sp>
        <p:nvSpPr>
          <p:cNvPr id="758" name="Rechthoek 757">
            <a:extLst>
              <a:ext uri="{FF2B5EF4-FFF2-40B4-BE49-F238E27FC236}">
                <a16:creationId xmlns:a16="http://schemas.microsoft.com/office/drawing/2014/main" id="{E728CB28-E019-B9EF-A879-BDD20303B867}"/>
              </a:ext>
            </a:extLst>
          </p:cNvPr>
          <p:cNvSpPr/>
          <p:nvPr/>
        </p:nvSpPr>
        <p:spPr>
          <a:xfrm>
            <a:off x="7650479" y="5279332"/>
            <a:ext cx="566025"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nSpc>
                <a:spcPct val="90000"/>
              </a:lnSpc>
              <a:spcBef>
                <a:spcPts val="200"/>
              </a:spcBef>
              <a:spcAft>
                <a:spcPts val="200"/>
              </a:spcAft>
            </a:pPr>
            <a:r>
              <a:rPr lang="nl-NL" sz="1000" b="1" dirty="0">
                <a:solidFill>
                  <a:schemeClr val="bg1"/>
                </a:solidFill>
              </a:rPr>
              <a:t>Spain</a:t>
            </a:r>
            <a:br>
              <a:rPr lang="nl-NL" sz="1000" b="1" dirty="0">
                <a:solidFill>
                  <a:schemeClr val="bg1"/>
                </a:solidFill>
              </a:rPr>
            </a:br>
            <a:r>
              <a:rPr lang="nl-NL" sz="1000" dirty="0">
                <a:solidFill>
                  <a:schemeClr val="bg1"/>
                </a:solidFill>
              </a:rPr>
              <a:t>2,134</a:t>
            </a:r>
          </a:p>
        </p:txBody>
      </p:sp>
      <p:sp>
        <p:nvSpPr>
          <p:cNvPr id="759" name="Rechthoek 758">
            <a:extLst>
              <a:ext uri="{FF2B5EF4-FFF2-40B4-BE49-F238E27FC236}">
                <a16:creationId xmlns:a16="http://schemas.microsoft.com/office/drawing/2014/main" id="{833C9E98-A752-DD07-B88D-9F9F86715335}"/>
              </a:ext>
            </a:extLst>
          </p:cNvPr>
          <p:cNvSpPr/>
          <p:nvPr/>
        </p:nvSpPr>
        <p:spPr>
          <a:xfrm>
            <a:off x="8962015" y="5233612"/>
            <a:ext cx="928240"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Switzerland</a:t>
            </a:r>
            <a:br>
              <a:rPr lang="nl-NL" sz="1000" b="1" dirty="0">
                <a:solidFill>
                  <a:schemeClr val="bg1"/>
                </a:solidFill>
              </a:rPr>
            </a:br>
            <a:r>
              <a:rPr lang="nl-NL" sz="1000" dirty="0">
                <a:solidFill>
                  <a:schemeClr val="bg1"/>
                </a:solidFill>
              </a:rPr>
              <a:t>1,641</a:t>
            </a:r>
          </a:p>
        </p:txBody>
      </p:sp>
      <p:sp>
        <p:nvSpPr>
          <p:cNvPr id="760" name="Rechthoek 759">
            <a:extLst>
              <a:ext uri="{FF2B5EF4-FFF2-40B4-BE49-F238E27FC236}">
                <a16:creationId xmlns:a16="http://schemas.microsoft.com/office/drawing/2014/main" id="{60BDFE47-0786-B289-0A20-192AC65255B0}"/>
              </a:ext>
            </a:extLst>
          </p:cNvPr>
          <p:cNvSpPr/>
          <p:nvPr/>
        </p:nvSpPr>
        <p:spPr>
          <a:xfrm>
            <a:off x="9447177" y="1210252"/>
            <a:ext cx="771146"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Germany</a:t>
            </a:r>
            <a:br>
              <a:rPr lang="nl-NL" sz="1000" b="1" dirty="0">
                <a:solidFill>
                  <a:schemeClr val="bg1"/>
                </a:solidFill>
              </a:rPr>
            </a:br>
            <a:r>
              <a:rPr lang="nl-NL" sz="1000" dirty="0">
                <a:solidFill>
                  <a:schemeClr val="bg1"/>
                </a:solidFill>
              </a:rPr>
              <a:t>3,424</a:t>
            </a:r>
          </a:p>
        </p:txBody>
      </p:sp>
      <p:cxnSp>
        <p:nvCxnSpPr>
          <p:cNvPr id="762" name="Rechte verbindingslijn 761">
            <a:extLst>
              <a:ext uri="{FF2B5EF4-FFF2-40B4-BE49-F238E27FC236}">
                <a16:creationId xmlns:a16="http://schemas.microsoft.com/office/drawing/2014/main" id="{5CD863A7-DBE1-711F-159E-E117A4A7C252}"/>
              </a:ext>
            </a:extLst>
          </p:cNvPr>
          <p:cNvCxnSpPr>
            <a:cxnSpLocks/>
          </p:cNvCxnSpPr>
          <p:nvPr/>
        </p:nvCxnSpPr>
        <p:spPr>
          <a:xfrm>
            <a:off x="10200042" y="1355464"/>
            <a:ext cx="0" cy="2345167"/>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65" name="Rechte verbindingslijn 764">
            <a:extLst>
              <a:ext uri="{FF2B5EF4-FFF2-40B4-BE49-F238E27FC236}">
                <a16:creationId xmlns:a16="http://schemas.microsoft.com/office/drawing/2014/main" id="{7AD38F8F-D865-318B-34D2-4D7BC04D4BC4}"/>
              </a:ext>
            </a:extLst>
          </p:cNvPr>
          <p:cNvCxnSpPr>
            <a:cxnSpLocks/>
          </p:cNvCxnSpPr>
          <p:nvPr/>
        </p:nvCxnSpPr>
        <p:spPr>
          <a:xfrm>
            <a:off x="9812767" y="1742739"/>
            <a:ext cx="0" cy="1624405"/>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68" name="Rechte verbindingslijn 767">
            <a:extLst>
              <a:ext uri="{FF2B5EF4-FFF2-40B4-BE49-F238E27FC236}">
                <a16:creationId xmlns:a16="http://schemas.microsoft.com/office/drawing/2014/main" id="{BB44B556-CD3C-EAE3-3CAF-1803C325A920}"/>
              </a:ext>
            </a:extLst>
          </p:cNvPr>
          <p:cNvCxnSpPr>
            <a:cxnSpLocks/>
          </p:cNvCxnSpPr>
          <p:nvPr/>
        </p:nvCxnSpPr>
        <p:spPr>
          <a:xfrm>
            <a:off x="9500796" y="2108499"/>
            <a:ext cx="0" cy="1516828"/>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70" name="Rechte verbindingslijn 769">
            <a:extLst>
              <a:ext uri="{FF2B5EF4-FFF2-40B4-BE49-F238E27FC236}">
                <a16:creationId xmlns:a16="http://schemas.microsoft.com/office/drawing/2014/main" id="{A9E97FE4-BE95-85DC-4FDD-161533C43B10}"/>
              </a:ext>
            </a:extLst>
          </p:cNvPr>
          <p:cNvCxnSpPr>
            <a:cxnSpLocks/>
          </p:cNvCxnSpPr>
          <p:nvPr/>
        </p:nvCxnSpPr>
        <p:spPr>
          <a:xfrm flipV="1">
            <a:off x="9855798" y="4249270"/>
            <a:ext cx="0" cy="1366222"/>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pic>
        <p:nvPicPr>
          <p:cNvPr id="774" name="Picture 4">
            <a:extLst>
              <a:ext uri="{FF2B5EF4-FFF2-40B4-BE49-F238E27FC236}">
                <a16:creationId xmlns:a16="http://schemas.microsoft.com/office/drawing/2014/main" id="{23D27637-EA83-B243-DBB9-A1B772E0FF92}"/>
              </a:ext>
            </a:extLst>
          </p:cNvPr>
          <p:cNvPicPr>
            <a:picLocks noChangeAspect="1"/>
          </p:cNvPicPr>
          <p:nvPr/>
        </p:nvPicPr>
        <p:blipFill rotWithShape="1">
          <a:blip r:embed="rId3"/>
          <a:srcRect l="2838" t="73607" r="84253" b="4910"/>
          <a:stretch/>
        </p:blipFill>
        <p:spPr>
          <a:xfrm>
            <a:off x="135231" y="205314"/>
            <a:ext cx="550835" cy="510966"/>
          </a:xfrm>
          <a:prstGeom prst="rect">
            <a:avLst/>
          </a:prstGeom>
        </p:spPr>
      </p:pic>
      <p:grpSp>
        <p:nvGrpSpPr>
          <p:cNvPr id="775" name="HYPER HOME">
            <a:extLst>
              <a:ext uri="{FF2B5EF4-FFF2-40B4-BE49-F238E27FC236}">
                <a16:creationId xmlns:a16="http://schemas.microsoft.com/office/drawing/2014/main" id="{9AAE2DF2-9B05-844D-B4C9-E2C57050AC78}"/>
              </a:ext>
            </a:extLst>
          </p:cNvPr>
          <p:cNvGrpSpPr/>
          <p:nvPr/>
        </p:nvGrpSpPr>
        <p:grpSpPr>
          <a:xfrm>
            <a:off x="11460480" y="0"/>
            <a:ext cx="731520" cy="731520"/>
            <a:chOff x="11460480" y="0"/>
            <a:chExt cx="731520" cy="731520"/>
          </a:xfrm>
        </p:grpSpPr>
        <p:pic>
          <p:nvPicPr>
            <p:cNvPr id="776" name="Graphic 775">
              <a:extLst>
                <a:ext uri="{FF2B5EF4-FFF2-40B4-BE49-F238E27FC236}">
                  <a16:creationId xmlns:a16="http://schemas.microsoft.com/office/drawing/2014/main" id="{2FEA0968-EBCA-FF62-74CC-411073825B2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777" name="Rechthoek 776">
              <a:hlinkClick r:id="rId6" action="ppaction://hlinksldjump"/>
              <a:extLst>
                <a:ext uri="{FF2B5EF4-FFF2-40B4-BE49-F238E27FC236}">
                  <a16:creationId xmlns:a16="http://schemas.microsoft.com/office/drawing/2014/main" id="{8BB19DEF-D606-99CA-3BEB-61D0CC2EE7D8}"/>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145456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78"/>
                                        </p:tgtEl>
                                        <p:attrNameLst>
                                          <p:attrName>style.visibility</p:attrName>
                                        </p:attrNameLst>
                                      </p:cBhvr>
                                      <p:to>
                                        <p:strVal val="visible"/>
                                      </p:to>
                                    </p:set>
                                    <p:anim calcmode="lin" valueType="num">
                                      <p:cBhvr additive="base">
                                        <p:cTn id="7" dur="1000" fill="hold"/>
                                        <p:tgtEl>
                                          <p:spTgt spid="778"/>
                                        </p:tgtEl>
                                        <p:attrNameLst>
                                          <p:attrName>ppt_x</p:attrName>
                                        </p:attrNameLst>
                                      </p:cBhvr>
                                      <p:tavLst>
                                        <p:tav tm="0">
                                          <p:val>
                                            <p:strVal val="0-#ppt_w/2"/>
                                          </p:val>
                                        </p:tav>
                                        <p:tav tm="100000">
                                          <p:val>
                                            <p:strVal val="#ppt_x"/>
                                          </p:val>
                                        </p:tav>
                                      </p:tavLst>
                                    </p:anim>
                                    <p:anim calcmode="lin" valueType="num">
                                      <p:cBhvr additive="base">
                                        <p:cTn id="8" dur="1000" fill="hold"/>
                                        <p:tgtEl>
                                          <p:spTgt spid="77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47"/>
                                        </p:tgtEl>
                                        <p:attrNameLst>
                                          <p:attrName>style.visibility</p:attrName>
                                        </p:attrNameLst>
                                      </p:cBhvr>
                                      <p:to>
                                        <p:strVal val="visible"/>
                                      </p:to>
                                    </p:set>
                                    <p:anim calcmode="lin" valueType="num">
                                      <p:cBhvr additive="base">
                                        <p:cTn id="11" dur="1000" fill="hold"/>
                                        <p:tgtEl>
                                          <p:spTgt spid="747"/>
                                        </p:tgtEl>
                                        <p:attrNameLst>
                                          <p:attrName>ppt_x</p:attrName>
                                        </p:attrNameLst>
                                      </p:cBhvr>
                                      <p:tavLst>
                                        <p:tav tm="0">
                                          <p:val>
                                            <p:strVal val="1+#ppt_w/2"/>
                                          </p:val>
                                        </p:tav>
                                        <p:tav tm="100000">
                                          <p:val>
                                            <p:strVal val="#ppt_x"/>
                                          </p:val>
                                        </p:tav>
                                      </p:tavLst>
                                    </p:anim>
                                    <p:anim calcmode="lin" valueType="num">
                                      <p:cBhvr additive="base">
                                        <p:cTn id="12" dur="1000" fill="hold"/>
                                        <p:tgtEl>
                                          <p:spTgt spid="747"/>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749"/>
                                        </p:tgtEl>
                                        <p:attrNameLst>
                                          <p:attrName>style.visibility</p:attrName>
                                        </p:attrNameLst>
                                      </p:cBhvr>
                                      <p:to>
                                        <p:strVal val="visible"/>
                                      </p:to>
                                    </p:set>
                                    <p:animEffect transition="in" filter="fade">
                                      <p:cBhvr>
                                        <p:cTn id="16" dur="500"/>
                                        <p:tgtEl>
                                          <p:spTgt spid="74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48"/>
                                        </p:tgtEl>
                                        <p:attrNameLst>
                                          <p:attrName>style.visibility</p:attrName>
                                        </p:attrNameLst>
                                      </p:cBhvr>
                                      <p:to>
                                        <p:strVal val="visible"/>
                                      </p:to>
                                    </p:set>
                                    <p:animEffect transition="in" filter="fade">
                                      <p:cBhvr>
                                        <p:cTn id="19" dur="500"/>
                                        <p:tgtEl>
                                          <p:spTgt spid="74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35"/>
                                        </p:tgtEl>
                                        <p:attrNameLst>
                                          <p:attrName>style.visibility</p:attrName>
                                        </p:attrNameLst>
                                      </p:cBhvr>
                                      <p:to>
                                        <p:strVal val="visible"/>
                                      </p:to>
                                    </p:set>
                                    <p:animEffect transition="in" filter="fade">
                                      <p:cBhvr>
                                        <p:cTn id="22" dur="500"/>
                                        <p:tgtEl>
                                          <p:spTgt spid="7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36"/>
                                        </p:tgtEl>
                                        <p:attrNameLst>
                                          <p:attrName>style.visibility</p:attrName>
                                        </p:attrNameLst>
                                      </p:cBhvr>
                                      <p:to>
                                        <p:strVal val="visible"/>
                                      </p:to>
                                    </p:set>
                                    <p:animEffect transition="in" filter="fade">
                                      <p:cBhvr>
                                        <p:cTn id="25" dur="500"/>
                                        <p:tgtEl>
                                          <p:spTgt spid="73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51"/>
                                        </p:tgtEl>
                                        <p:attrNameLst>
                                          <p:attrName>style.visibility</p:attrName>
                                        </p:attrNameLst>
                                      </p:cBhvr>
                                      <p:to>
                                        <p:strVal val="visible"/>
                                      </p:to>
                                    </p:set>
                                    <p:animEffect transition="in" filter="fade">
                                      <p:cBhvr>
                                        <p:cTn id="28" dur="500"/>
                                        <p:tgtEl>
                                          <p:spTgt spid="75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52"/>
                                        </p:tgtEl>
                                        <p:attrNameLst>
                                          <p:attrName>style.visibility</p:attrName>
                                        </p:attrNameLst>
                                      </p:cBhvr>
                                      <p:to>
                                        <p:strVal val="visible"/>
                                      </p:to>
                                    </p:set>
                                    <p:animEffect transition="in" filter="fade">
                                      <p:cBhvr>
                                        <p:cTn id="31" dur="500"/>
                                        <p:tgtEl>
                                          <p:spTgt spid="75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53"/>
                                        </p:tgtEl>
                                        <p:attrNameLst>
                                          <p:attrName>style.visibility</p:attrName>
                                        </p:attrNameLst>
                                      </p:cBhvr>
                                      <p:to>
                                        <p:strVal val="visible"/>
                                      </p:to>
                                    </p:set>
                                    <p:animEffect transition="in" filter="fade">
                                      <p:cBhvr>
                                        <p:cTn id="34" dur="500"/>
                                        <p:tgtEl>
                                          <p:spTgt spid="75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54"/>
                                        </p:tgtEl>
                                        <p:attrNameLst>
                                          <p:attrName>style.visibility</p:attrName>
                                        </p:attrNameLst>
                                      </p:cBhvr>
                                      <p:to>
                                        <p:strVal val="visible"/>
                                      </p:to>
                                    </p:set>
                                    <p:animEffect transition="in" filter="fade">
                                      <p:cBhvr>
                                        <p:cTn id="37" dur="500"/>
                                        <p:tgtEl>
                                          <p:spTgt spid="75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55"/>
                                        </p:tgtEl>
                                        <p:attrNameLst>
                                          <p:attrName>style.visibility</p:attrName>
                                        </p:attrNameLst>
                                      </p:cBhvr>
                                      <p:to>
                                        <p:strVal val="visible"/>
                                      </p:to>
                                    </p:set>
                                    <p:animEffect transition="in" filter="fade">
                                      <p:cBhvr>
                                        <p:cTn id="40" dur="500"/>
                                        <p:tgtEl>
                                          <p:spTgt spid="75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56"/>
                                        </p:tgtEl>
                                        <p:attrNameLst>
                                          <p:attrName>style.visibility</p:attrName>
                                        </p:attrNameLst>
                                      </p:cBhvr>
                                      <p:to>
                                        <p:strVal val="visible"/>
                                      </p:to>
                                    </p:set>
                                    <p:animEffect transition="in" filter="fade">
                                      <p:cBhvr>
                                        <p:cTn id="43" dur="500"/>
                                        <p:tgtEl>
                                          <p:spTgt spid="7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57"/>
                                        </p:tgtEl>
                                        <p:attrNameLst>
                                          <p:attrName>style.visibility</p:attrName>
                                        </p:attrNameLst>
                                      </p:cBhvr>
                                      <p:to>
                                        <p:strVal val="visible"/>
                                      </p:to>
                                    </p:set>
                                    <p:animEffect transition="in" filter="fade">
                                      <p:cBhvr>
                                        <p:cTn id="46" dur="500"/>
                                        <p:tgtEl>
                                          <p:spTgt spid="75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58"/>
                                        </p:tgtEl>
                                        <p:attrNameLst>
                                          <p:attrName>style.visibility</p:attrName>
                                        </p:attrNameLst>
                                      </p:cBhvr>
                                      <p:to>
                                        <p:strVal val="visible"/>
                                      </p:to>
                                    </p:set>
                                    <p:animEffect transition="in" filter="fade">
                                      <p:cBhvr>
                                        <p:cTn id="49" dur="500"/>
                                        <p:tgtEl>
                                          <p:spTgt spid="75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59"/>
                                        </p:tgtEl>
                                        <p:attrNameLst>
                                          <p:attrName>style.visibility</p:attrName>
                                        </p:attrNameLst>
                                      </p:cBhvr>
                                      <p:to>
                                        <p:strVal val="visible"/>
                                      </p:to>
                                    </p:set>
                                    <p:animEffect transition="in" filter="fade">
                                      <p:cBhvr>
                                        <p:cTn id="52" dur="500"/>
                                        <p:tgtEl>
                                          <p:spTgt spid="75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60"/>
                                        </p:tgtEl>
                                        <p:attrNameLst>
                                          <p:attrName>style.visibility</p:attrName>
                                        </p:attrNameLst>
                                      </p:cBhvr>
                                      <p:to>
                                        <p:strVal val="visible"/>
                                      </p:to>
                                    </p:set>
                                    <p:animEffect transition="in" filter="fade">
                                      <p:cBhvr>
                                        <p:cTn id="55" dur="500"/>
                                        <p:tgtEl>
                                          <p:spTgt spid="760"/>
                                        </p:tgtEl>
                                      </p:cBhvr>
                                    </p:animEffect>
                                  </p:childTnLst>
                                </p:cTn>
                              </p:par>
                              <p:par>
                                <p:cTn id="56" presetID="10" presetClass="entr" presetSubtype="0" fill="hold" nodeType="withEffect">
                                  <p:stCondLst>
                                    <p:cond delay="0"/>
                                  </p:stCondLst>
                                  <p:childTnLst>
                                    <p:set>
                                      <p:cBhvr>
                                        <p:cTn id="57" dur="1" fill="hold">
                                          <p:stCondLst>
                                            <p:cond delay="0"/>
                                          </p:stCondLst>
                                        </p:cTn>
                                        <p:tgtEl>
                                          <p:spTgt spid="762"/>
                                        </p:tgtEl>
                                        <p:attrNameLst>
                                          <p:attrName>style.visibility</p:attrName>
                                        </p:attrNameLst>
                                      </p:cBhvr>
                                      <p:to>
                                        <p:strVal val="visible"/>
                                      </p:to>
                                    </p:set>
                                    <p:animEffect transition="in" filter="fade">
                                      <p:cBhvr>
                                        <p:cTn id="58" dur="500"/>
                                        <p:tgtEl>
                                          <p:spTgt spid="762"/>
                                        </p:tgtEl>
                                      </p:cBhvr>
                                    </p:animEffect>
                                  </p:childTnLst>
                                </p:cTn>
                              </p:par>
                              <p:par>
                                <p:cTn id="59" presetID="10" presetClass="entr" presetSubtype="0" fill="hold" nodeType="withEffect">
                                  <p:stCondLst>
                                    <p:cond delay="0"/>
                                  </p:stCondLst>
                                  <p:childTnLst>
                                    <p:set>
                                      <p:cBhvr>
                                        <p:cTn id="60" dur="1" fill="hold">
                                          <p:stCondLst>
                                            <p:cond delay="0"/>
                                          </p:stCondLst>
                                        </p:cTn>
                                        <p:tgtEl>
                                          <p:spTgt spid="765"/>
                                        </p:tgtEl>
                                        <p:attrNameLst>
                                          <p:attrName>style.visibility</p:attrName>
                                        </p:attrNameLst>
                                      </p:cBhvr>
                                      <p:to>
                                        <p:strVal val="visible"/>
                                      </p:to>
                                    </p:set>
                                    <p:animEffect transition="in" filter="fade">
                                      <p:cBhvr>
                                        <p:cTn id="61" dur="500"/>
                                        <p:tgtEl>
                                          <p:spTgt spid="765"/>
                                        </p:tgtEl>
                                      </p:cBhvr>
                                    </p:animEffect>
                                  </p:childTnLst>
                                </p:cTn>
                              </p:par>
                              <p:par>
                                <p:cTn id="62" presetID="10" presetClass="entr" presetSubtype="0" fill="hold" nodeType="withEffect">
                                  <p:stCondLst>
                                    <p:cond delay="0"/>
                                  </p:stCondLst>
                                  <p:childTnLst>
                                    <p:set>
                                      <p:cBhvr>
                                        <p:cTn id="63" dur="1" fill="hold">
                                          <p:stCondLst>
                                            <p:cond delay="0"/>
                                          </p:stCondLst>
                                        </p:cTn>
                                        <p:tgtEl>
                                          <p:spTgt spid="768"/>
                                        </p:tgtEl>
                                        <p:attrNameLst>
                                          <p:attrName>style.visibility</p:attrName>
                                        </p:attrNameLst>
                                      </p:cBhvr>
                                      <p:to>
                                        <p:strVal val="visible"/>
                                      </p:to>
                                    </p:set>
                                    <p:animEffect transition="in" filter="fade">
                                      <p:cBhvr>
                                        <p:cTn id="64" dur="500"/>
                                        <p:tgtEl>
                                          <p:spTgt spid="768"/>
                                        </p:tgtEl>
                                      </p:cBhvr>
                                    </p:animEffect>
                                  </p:childTnLst>
                                </p:cTn>
                              </p:par>
                              <p:par>
                                <p:cTn id="65" presetID="10" presetClass="entr" presetSubtype="0" fill="hold" nodeType="withEffect">
                                  <p:stCondLst>
                                    <p:cond delay="0"/>
                                  </p:stCondLst>
                                  <p:childTnLst>
                                    <p:set>
                                      <p:cBhvr>
                                        <p:cTn id="66" dur="1" fill="hold">
                                          <p:stCondLst>
                                            <p:cond delay="0"/>
                                          </p:stCondLst>
                                        </p:cTn>
                                        <p:tgtEl>
                                          <p:spTgt spid="770"/>
                                        </p:tgtEl>
                                        <p:attrNameLst>
                                          <p:attrName>style.visibility</p:attrName>
                                        </p:attrNameLst>
                                      </p:cBhvr>
                                      <p:to>
                                        <p:strVal val="visible"/>
                                      </p:to>
                                    </p:set>
                                    <p:animEffect transition="in" filter="fade">
                                      <p:cBhvr>
                                        <p:cTn id="67" dur="500"/>
                                        <p:tgtEl>
                                          <p:spTgt spid="770"/>
                                        </p:tgtEl>
                                      </p:cBhvr>
                                    </p:animEffect>
                                  </p:childTnLst>
                                </p:cTn>
                              </p:par>
                              <p:par>
                                <p:cTn id="68" presetID="10" presetClass="entr" presetSubtype="0" fill="hold" nodeType="withEffect">
                                  <p:stCondLst>
                                    <p:cond delay="0"/>
                                  </p:stCondLst>
                                  <p:childTnLst>
                                    <p:set>
                                      <p:cBhvr>
                                        <p:cTn id="69" dur="1" fill="hold">
                                          <p:stCondLst>
                                            <p:cond delay="0"/>
                                          </p:stCondLst>
                                        </p:cTn>
                                        <p:tgtEl>
                                          <p:spTgt spid="746"/>
                                        </p:tgtEl>
                                        <p:attrNameLst>
                                          <p:attrName>style.visibility</p:attrName>
                                        </p:attrNameLst>
                                      </p:cBhvr>
                                      <p:to>
                                        <p:strVal val="visible"/>
                                      </p:to>
                                    </p:set>
                                    <p:animEffect transition="in" filter="fade">
                                      <p:cBhvr>
                                        <p:cTn id="70" dur="500"/>
                                        <p:tgtEl>
                                          <p:spTgt spid="7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7" grpId="0" animBg="1"/>
      <p:bldP spid="749" grpId="0" animBg="1"/>
      <p:bldP spid="748" grpId="0" animBg="1"/>
      <p:bldP spid="735" grpId="0" animBg="1"/>
      <p:bldP spid="736" grpId="0" animBg="1"/>
      <p:bldP spid="751" grpId="0"/>
      <p:bldP spid="752" grpId="0"/>
      <p:bldP spid="753" grpId="0"/>
      <p:bldP spid="754" grpId="0"/>
      <p:bldP spid="755" grpId="0"/>
      <p:bldP spid="756" grpId="0"/>
      <p:bldP spid="757" grpId="0"/>
      <p:bldP spid="758" grpId="0"/>
      <p:bldP spid="759" grpId="0"/>
      <p:bldP spid="760" grpId="0"/>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22096581-C818-9E10-71C2-489C5BC9F3BA}"/>
              </a:ext>
            </a:extLst>
          </p:cNvPr>
          <p:cNvSpPr>
            <a:spLocks noGrp="1"/>
          </p:cNvSpPr>
          <p:nvPr>
            <p:ph type="title"/>
          </p:nvPr>
        </p:nvSpPr>
        <p:spPr/>
        <p:txBody>
          <a:bodyPr/>
          <a:lstStyle/>
          <a:p>
            <a:endParaRPr lang="nl-NL"/>
          </a:p>
        </p:txBody>
      </p:sp>
      <p:sp>
        <p:nvSpPr>
          <p:cNvPr id="11" name="Tijdelijke aanduiding voor tekst 10">
            <a:extLst>
              <a:ext uri="{FF2B5EF4-FFF2-40B4-BE49-F238E27FC236}">
                <a16:creationId xmlns:a16="http://schemas.microsoft.com/office/drawing/2014/main" id="{3CB62375-0B94-F0FA-6141-0855AE535AE2}"/>
              </a:ext>
            </a:extLst>
          </p:cNvPr>
          <p:cNvSpPr>
            <a:spLocks noGrp="1"/>
          </p:cNvSpPr>
          <p:nvPr>
            <p:ph type="body" sz="quarter" idx="13"/>
          </p:nvPr>
        </p:nvSpPr>
        <p:spPr>
          <a:xfrm>
            <a:off x="6845643" y="2197644"/>
            <a:ext cx="4625632" cy="3803105"/>
          </a:xfrm>
        </p:spPr>
        <p:txBody>
          <a:bodyPr>
            <a:normAutofit/>
          </a:bodyPr>
          <a:lstStyle/>
          <a:p>
            <a:r>
              <a:rPr lang="nl-NL" sz="4000" dirty="0"/>
              <a:t>Want </a:t>
            </a:r>
            <a:r>
              <a:rPr lang="nl-NL" sz="4000" dirty="0" err="1"/>
              <a:t>to</a:t>
            </a:r>
            <a:r>
              <a:rPr lang="nl-NL" sz="4000" dirty="0"/>
              <a:t> </a:t>
            </a:r>
            <a:r>
              <a:rPr lang="nl-NL" sz="4000" dirty="0" err="1"/>
              <a:t>know</a:t>
            </a:r>
            <a:r>
              <a:rPr lang="nl-NL" sz="4000" dirty="0"/>
              <a:t> more </a:t>
            </a:r>
            <a:r>
              <a:rPr lang="nl-NL" sz="4000" dirty="0" err="1"/>
              <a:t>about</a:t>
            </a:r>
            <a:r>
              <a:rPr lang="nl-NL" sz="4000" dirty="0"/>
              <a:t> Alumni?</a:t>
            </a:r>
          </a:p>
          <a:p>
            <a:endParaRPr lang="nl-NL" dirty="0"/>
          </a:p>
          <a:p>
            <a:pPr>
              <a:lnSpc>
                <a:spcPct val="100000"/>
              </a:lnSpc>
            </a:pPr>
            <a:r>
              <a:rPr lang="nl-NL" sz="2100" dirty="0" err="1"/>
              <a:t>Please</a:t>
            </a:r>
            <a:r>
              <a:rPr lang="nl-NL" sz="2100" dirty="0"/>
              <a:t> contact </a:t>
            </a:r>
            <a:r>
              <a:rPr lang="nl-NL" sz="2100" dirty="0" err="1"/>
              <a:t>us</a:t>
            </a:r>
            <a:r>
              <a:rPr lang="nl-NL" sz="2100" dirty="0"/>
              <a:t> via </a:t>
            </a:r>
            <a:r>
              <a:rPr lang="nl-NL" sz="2100" dirty="0">
                <a:hlinkClick r:id="rId4">
                  <a:extLst>
                    <a:ext uri="{A12FA001-AC4F-418D-AE19-62706E023703}">
                      <ahyp:hlinkClr xmlns:ahyp="http://schemas.microsoft.com/office/drawing/2018/hyperlinkcolor" val="tx"/>
                    </a:ext>
                  </a:extLst>
                </a:hlinkClick>
              </a:rPr>
              <a:t>alumnirelations@tudelft.nl</a:t>
            </a:r>
            <a:r>
              <a:rPr lang="nl-NL" sz="2100" dirty="0"/>
              <a:t> </a:t>
            </a:r>
            <a:br>
              <a:rPr lang="nl-NL" sz="2100" dirty="0"/>
            </a:br>
            <a:r>
              <a:rPr lang="nl-NL" sz="2100" dirty="0"/>
              <a:t>or </a:t>
            </a:r>
            <a:r>
              <a:rPr lang="nl-NL" sz="2100" dirty="0" err="1"/>
              <a:t>visit</a:t>
            </a:r>
            <a:r>
              <a:rPr lang="nl-NL" sz="2100" dirty="0"/>
              <a:t> </a:t>
            </a:r>
            <a:r>
              <a:rPr lang="nl-NL" sz="2100" dirty="0">
                <a:hlinkClick r:id="rId5">
                  <a:extLst>
                    <a:ext uri="{A12FA001-AC4F-418D-AE19-62706E023703}">
                      <ahyp:hlinkClr xmlns:ahyp="http://schemas.microsoft.com/office/drawing/2018/hyperlinkcolor" val="tx"/>
                    </a:ext>
                  </a:extLst>
                </a:hlinkClick>
              </a:rPr>
              <a:t>www.tudelft.nl/alumni</a:t>
            </a:r>
            <a:r>
              <a:rPr lang="nl-NL" sz="2100" dirty="0"/>
              <a:t> </a:t>
            </a:r>
          </a:p>
        </p:txBody>
      </p:sp>
      <p:sp>
        <p:nvSpPr>
          <p:cNvPr id="3" name="Tijdelijke aanduiding voor dianummer 2">
            <a:extLst>
              <a:ext uri="{FF2B5EF4-FFF2-40B4-BE49-F238E27FC236}">
                <a16:creationId xmlns:a16="http://schemas.microsoft.com/office/drawing/2014/main" id="{A18A12CD-4AE1-75E3-3DAA-85FE77762153}"/>
              </a:ext>
            </a:extLst>
          </p:cNvPr>
          <p:cNvSpPr>
            <a:spLocks noGrp="1"/>
          </p:cNvSpPr>
          <p:nvPr>
            <p:ph type="sldNum" sz="quarter" idx="15"/>
          </p:nvPr>
        </p:nvSpPr>
        <p:spPr/>
        <p:txBody>
          <a:bodyPr/>
          <a:lstStyle/>
          <a:p>
            <a:fld id="{9E843DB9-9987-4157-AB9C-CEA8D7D910BB}" type="slidenum">
              <a:rPr lang="en-GB" smtClean="0"/>
              <a:pPr/>
              <a:t>29</a:t>
            </a:fld>
            <a:endParaRPr lang="en-GB" dirty="0"/>
          </a:p>
        </p:txBody>
      </p:sp>
      <p:sp>
        <p:nvSpPr>
          <p:cNvPr id="14" name="Tijdelijke aanduiding voor tekst 13">
            <a:extLst>
              <a:ext uri="{FF2B5EF4-FFF2-40B4-BE49-F238E27FC236}">
                <a16:creationId xmlns:a16="http://schemas.microsoft.com/office/drawing/2014/main" id="{83CF4161-85A9-E26A-22C6-3FB5DD775906}"/>
              </a:ext>
            </a:extLst>
          </p:cNvPr>
          <p:cNvSpPr>
            <a:spLocks noGrp="1"/>
          </p:cNvSpPr>
          <p:nvPr>
            <p:ph type="body" sz="quarter" idx="18"/>
          </p:nvPr>
        </p:nvSpPr>
        <p:spPr/>
        <p:txBody>
          <a:bodyPr/>
          <a:lstStyle/>
          <a:p>
            <a:r>
              <a:rPr lang="nl-NL" dirty="0"/>
              <a:t> </a:t>
            </a:r>
          </a:p>
        </p:txBody>
      </p:sp>
      <p:sp>
        <p:nvSpPr>
          <p:cNvPr id="13" name="Tijdelijke aanduiding voor tekst 12">
            <a:extLst>
              <a:ext uri="{FF2B5EF4-FFF2-40B4-BE49-F238E27FC236}">
                <a16:creationId xmlns:a16="http://schemas.microsoft.com/office/drawing/2014/main" id="{932489DA-F933-B611-34C6-40276CB71CE9}"/>
              </a:ext>
            </a:extLst>
          </p:cNvPr>
          <p:cNvSpPr>
            <a:spLocks noGrp="1"/>
          </p:cNvSpPr>
          <p:nvPr>
            <p:ph type="body" sz="quarter" idx="17"/>
          </p:nvPr>
        </p:nvSpPr>
        <p:spPr/>
        <p:txBody>
          <a:bodyPr/>
          <a:lstStyle/>
          <a:p>
            <a:r>
              <a:rPr lang="nl-NL" dirty="0"/>
              <a:t> </a:t>
            </a:r>
          </a:p>
        </p:txBody>
      </p:sp>
      <p:pic>
        <p:nvPicPr>
          <p:cNvPr id="45" name="Tijdelijke aanduiding voor afbeelding 44" descr="Afbeelding met microscoop, persoon, kleding, Menselijk gezicht&#10;&#10;Automatisch gegenereerde beschrijving">
            <a:extLst>
              <a:ext uri="{FF2B5EF4-FFF2-40B4-BE49-F238E27FC236}">
                <a16:creationId xmlns:a16="http://schemas.microsoft.com/office/drawing/2014/main" id="{C4CF3C74-1177-94CC-3A51-F0CD35E2AA6A}"/>
              </a:ext>
            </a:extLst>
          </p:cNvPr>
          <p:cNvPicPr>
            <a:picLocks noGrp="1" noChangeAspect="1"/>
          </p:cNvPicPr>
          <p:nvPr>
            <p:ph type="pic" sz="quarter" idx="16"/>
          </p:nvPr>
        </p:nvPicPr>
        <p:blipFill rotWithShape="1">
          <a:blip r:embed="rId6">
            <a:extLst>
              <a:ext uri="{28A0092B-C50C-407E-A947-70E740481C1C}">
                <a14:useLocalDpi xmlns:a14="http://schemas.microsoft.com/office/drawing/2010/main" val="0"/>
              </a:ext>
            </a:extLst>
          </a:blip>
          <a:srcRect l="10597" r="30151"/>
          <a:stretch/>
        </p:blipFill>
        <p:spPr>
          <a:xfrm>
            <a:off x="0" y="0"/>
            <a:ext cx="6096000" cy="6858000"/>
          </a:xfrm>
          <a:prstGeom prst="rect">
            <a:avLst/>
          </a:prstGeom>
        </p:spPr>
      </p:pic>
      <p:pic>
        <p:nvPicPr>
          <p:cNvPr id="2" name="Afbeelding 1" descr="Afbeelding met tekst, Lettertype, Graphics, logo&#10;&#10;Automatisch gegenereerde beschrijving">
            <a:extLst>
              <a:ext uri="{FF2B5EF4-FFF2-40B4-BE49-F238E27FC236}">
                <a16:creationId xmlns:a16="http://schemas.microsoft.com/office/drawing/2014/main" id="{965F2AA0-7CF3-81DD-D948-AD3B42ADD5B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324113" y="267665"/>
            <a:ext cx="645697" cy="596899"/>
          </a:xfrm>
          <a:prstGeom prst="rect">
            <a:avLst/>
          </a:prstGeom>
        </p:spPr>
      </p:pic>
    </p:spTree>
    <p:custDataLst>
      <p:tags r:id="rId1"/>
    </p:custDataLst>
    <p:extLst>
      <p:ext uri="{BB962C8B-B14F-4D97-AF65-F5344CB8AC3E}">
        <p14:creationId xmlns:p14="http://schemas.microsoft.com/office/powerpoint/2010/main" val="1232056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250"/>
                                        <p:tgtEl>
                                          <p:spTgt spid="11">
                                            <p:txEl>
                                              <p:pRg st="0" end="0"/>
                                            </p:txEl>
                                          </p:spTgt>
                                        </p:tgtEl>
                                      </p:cBhvr>
                                    </p:animEffect>
                                  </p:childTnLst>
                                </p:cTn>
                              </p:par>
                            </p:childTnLst>
                          </p:cTn>
                        </p:par>
                        <p:par>
                          <p:cTn id="8" fill="hold">
                            <p:stCondLst>
                              <p:cond delay="875"/>
                            </p:stCondLst>
                            <p:childTnLst>
                              <p:par>
                                <p:cTn id="9" presetID="10" presetClass="entr" presetSubtype="0" fill="hold" grpId="0" nodeType="after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animEffect transition="in" filter="fade">
                                      <p:cBhvr>
                                        <p:cTn id="11" dur="500"/>
                                        <p:tgtEl>
                                          <p:spTgt spid="11">
                                            <p:txEl>
                                              <p:pRg st="2" end="2"/>
                                            </p:txEl>
                                          </p:spTgt>
                                        </p:tgtEl>
                                      </p:cBhvr>
                                    </p:animEffect>
                                  </p:childTnLst>
                                </p:cTn>
                              </p:par>
                              <p:par>
                                <p:cTn id="12" presetID="10" presetClass="entr" presetSubtype="0" fill="hold" nodeType="withEffect">
                                  <p:stCondLst>
                                    <p:cond delay="0"/>
                                  </p:stCondLst>
                                  <p:iterate type="lt">
                                    <p:tmPct val="10000"/>
                                  </p:iterate>
                                  <p:childTnLst>
                                    <p:set>
                                      <p:cBhvr>
                                        <p:cTn id="13" dur="1" fill="hold">
                                          <p:stCondLst>
                                            <p:cond delay="0"/>
                                          </p:stCondLst>
                                        </p:cTn>
                                        <p:tgtEl>
                                          <p:spTgt spid="2"/>
                                        </p:tgtEl>
                                        <p:attrNameLst>
                                          <p:attrName>style.visibility</p:attrName>
                                        </p:attrNameLst>
                                      </p:cBhvr>
                                      <p:to>
                                        <p:strVal val="visible"/>
                                      </p:to>
                                    </p:set>
                                    <p:animEffect transition="in" filter="fade">
                                      <p:cBhvr>
                                        <p:cTn id="1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atum 4">
            <a:extLst>
              <a:ext uri="{FF2B5EF4-FFF2-40B4-BE49-F238E27FC236}">
                <a16:creationId xmlns:a16="http://schemas.microsoft.com/office/drawing/2014/main" id="{B994BAD7-1490-F4D5-9092-3EB7111B7DF7}"/>
              </a:ext>
            </a:extLst>
          </p:cNvPr>
          <p:cNvSpPr>
            <a:spLocks noGrp="1"/>
          </p:cNvSpPr>
          <p:nvPr>
            <p:ph type="dt" sz="half" idx="18"/>
          </p:nvPr>
        </p:nvSpPr>
        <p:spPr>
          <a:xfrm>
            <a:off x="10146569" y="6405669"/>
            <a:ext cx="766235" cy="184666"/>
          </a:xfrm>
        </p:spPr>
        <p:txBody>
          <a:bodyPr/>
          <a:lstStyle/>
          <a:p>
            <a:fld id="{087A43E6-197A-4232-A775-7017A41F9758}" type="datetime1">
              <a:rPr lang="nl-NL" smtClean="0"/>
              <a:t>13-3-2025</a:t>
            </a:fld>
            <a:endParaRPr lang="en-GB" dirty="0"/>
          </a:p>
        </p:txBody>
      </p:sp>
      <p:sp>
        <p:nvSpPr>
          <p:cNvPr id="16" name="Tijdelijke aanduiding voor dianummer 15">
            <a:extLst>
              <a:ext uri="{FF2B5EF4-FFF2-40B4-BE49-F238E27FC236}">
                <a16:creationId xmlns:a16="http://schemas.microsoft.com/office/drawing/2014/main" id="{BBB35617-5649-3A69-5ACC-A5828B3F289A}"/>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3</a:t>
            </a:fld>
            <a:endParaRPr lang="en-GB" dirty="0"/>
          </a:p>
        </p:txBody>
      </p:sp>
      <p:sp>
        <p:nvSpPr>
          <p:cNvPr id="14" name="Titel 13">
            <a:extLst>
              <a:ext uri="{FF2B5EF4-FFF2-40B4-BE49-F238E27FC236}">
                <a16:creationId xmlns:a16="http://schemas.microsoft.com/office/drawing/2014/main" id="{4E840CAD-8869-66D6-F142-07912B6A4DF2}"/>
              </a:ext>
            </a:extLst>
          </p:cNvPr>
          <p:cNvSpPr>
            <a:spLocks noGrp="1"/>
          </p:cNvSpPr>
          <p:nvPr>
            <p:ph type="title"/>
          </p:nvPr>
        </p:nvSpPr>
        <p:spPr>
          <a:xfrm>
            <a:off x="718666" y="722454"/>
            <a:ext cx="10752610" cy="323409"/>
          </a:xfrm>
        </p:spPr>
        <p:txBody>
          <a:bodyPr/>
          <a:lstStyle/>
          <a:p>
            <a:r>
              <a:rPr lang="en-GB" dirty="0"/>
              <a:t>Baseline model</a:t>
            </a:r>
          </a:p>
        </p:txBody>
      </p:sp>
      <p:pic>
        <p:nvPicPr>
          <p:cNvPr id="4" name="Afbeelding 7">
            <a:extLst>
              <a:ext uri="{FF2B5EF4-FFF2-40B4-BE49-F238E27FC236}">
                <a16:creationId xmlns:a16="http://schemas.microsoft.com/office/drawing/2014/main" id="{C0FBA680-CF6E-83E8-5FAB-0E08C7149CF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256419" y="1425978"/>
            <a:ext cx="7677103" cy="4709568"/>
          </a:xfrm>
          <a:prstGeom prst="rect">
            <a:avLst/>
          </a:prstGeom>
        </p:spPr>
      </p:pic>
    </p:spTree>
    <p:extLst>
      <p:ext uri="{BB962C8B-B14F-4D97-AF65-F5344CB8AC3E}">
        <p14:creationId xmlns:p14="http://schemas.microsoft.com/office/powerpoint/2010/main" val="24457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tekst 7">
            <a:extLst>
              <a:ext uri="{FF2B5EF4-FFF2-40B4-BE49-F238E27FC236}">
                <a16:creationId xmlns:a16="http://schemas.microsoft.com/office/drawing/2014/main" id="{241FAE3F-FDB7-01BC-C24D-EF3186CAD1EF}"/>
              </a:ext>
            </a:extLst>
          </p:cNvPr>
          <p:cNvSpPr>
            <a:spLocks noGrp="1"/>
          </p:cNvSpPr>
          <p:nvPr>
            <p:ph type="body" sz="quarter" idx="21"/>
          </p:nvPr>
        </p:nvSpPr>
        <p:spPr/>
        <p:txBody>
          <a:bodyPr/>
          <a:lstStyle/>
          <a:p>
            <a:pPr lvl="2"/>
            <a:r>
              <a:rPr lang="en-GB" sz="1600" dirty="0"/>
              <a:t>Delft University Fund supports TU Delft by contributing to research, education, talent development and entrepreneurship. With donations from alumni, students, foundations and companies, we do everything </a:t>
            </a:r>
            <a:br>
              <a:rPr lang="en-GB" sz="1600" dirty="0"/>
            </a:br>
            <a:r>
              <a:rPr lang="en-GB" sz="1600" dirty="0"/>
              <a:t>we can to help talented students and scientists realize their ambitions and achieve societal impact.</a:t>
            </a:r>
          </a:p>
          <a:p>
            <a:pPr lvl="4"/>
            <a:r>
              <a:rPr lang="en-GB" sz="2000" dirty="0"/>
              <a:t>We support</a:t>
            </a:r>
            <a:endParaRPr lang="nl-NL" sz="2000" dirty="0"/>
          </a:p>
        </p:txBody>
      </p:sp>
      <p:sp>
        <p:nvSpPr>
          <p:cNvPr id="7" name="Titel 6">
            <a:extLst>
              <a:ext uri="{FF2B5EF4-FFF2-40B4-BE49-F238E27FC236}">
                <a16:creationId xmlns:a16="http://schemas.microsoft.com/office/drawing/2014/main" id="{2EDD9B3F-EDF1-B48D-FE3B-4BE83AB83C5F}"/>
              </a:ext>
            </a:extLst>
          </p:cNvPr>
          <p:cNvSpPr>
            <a:spLocks noGrp="1"/>
          </p:cNvSpPr>
          <p:nvPr>
            <p:ph type="title"/>
          </p:nvPr>
        </p:nvSpPr>
        <p:spPr/>
        <p:txBody>
          <a:bodyPr/>
          <a:lstStyle/>
          <a:p>
            <a:r>
              <a:rPr lang="nl-NL" dirty="0"/>
              <a:t>Delft University Fund</a:t>
            </a:r>
          </a:p>
        </p:txBody>
      </p:sp>
      <p:pic>
        <p:nvPicPr>
          <p:cNvPr id="22" name="image12.jpeg">
            <a:extLst>
              <a:ext uri="{FF2B5EF4-FFF2-40B4-BE49-F238E27FC236}">
                <a16:creationId xmlns:a16="http://schemas.microsoft.com/office/drawing/2014/main" id="{7ABEEBFA-E8E5-C2E6-5089-046252FE77FC}"/>
              </a:ext>
            </a:extLst>
          </p:cNvPr>
          <p:cNvPicPr>
            <a:picLocks noChangeAspect="1"/>
          </p:cNvPicPr>
          <p:nvPr/>
        </p:nvPicPr>
        <p:blipFill rotWithShape="1">
          <a:blip r:embed="rId3">
            <a:extLst>
              <a:ext uri="{28A0092B-C50C-407E-A947-70E740481C1C}">
                <a14:useLocalDpi xmlns:a14="http://schemas.microsoft.com/office/drawing/2010/main" val="0"/>
              </a:ext>
            </a:extLst>
          </a:blip>
          <a:srcRect t="5739" b="5739"/>
          <a:stretch/>
        </p:blipFill>
        <p:spPr>
          <a:xfrm>
            <a:off x="719138" y="2978839"/>
            <a:ext cx="2552973" cy="1694130"/>
          </a:xfrm>
          <a:prstGeom prst="rect">
            <a:avLst/>
          </a:prstGeom>
          <a:ln w="12700" cap="flat">
            <a:noFill/>
            <a:miter lim="400000"/>
          </a:ln>
          <a:effectLst/>
        </p:spPr>
      </p:pic>
      <p:pic>
        <p:nvPicPr>
          <p:cNvPr id="23" name="image14.jpeg">
            <a:extLst>
              <a:ext uri="{FF2B5EF4-FFF2-40B4-BE49-F238E27FC236}">
                <a16:creationId xmlns:a16="http://schemas.microsoft.com/office/drawing/2014/main" id="{1E29688F-6E55-32E4-D1DB-C404B0DDFEE3}"/>
              </a:ext>
            </a:extLst>
          </p:cNvPr>
          <p:cNvPicPr>
            <a:picLocks noChangeAspect="1"/>
          </p:cNvPicPr>
          <p:nvPr/>
        </p:nvPicPr>
        <p:blipFill rotWithShape="1">
          <a:blip r:embed="rId4">
            <a:extLst>
              <a:ext uri="{28A0092B-C50C-407E-A947-70E740481C1C}">
                <a14:useLocalDpi xmlns:a14="http://schemas.microsoft.com/office/drawing/2010/main" val="0"/>
              </a:ext>
            </a:extLst>
          </a:blip>
          <a:srcRect t="5329" b="5329"/>
          <a:stretch/>
        </p:blipFill>
        <p:spPr>
          <a:xfrm>
            <a:off x="6182838" y="2978839"/>
            <a:ext cx="2554761" cy="1694130"/>
          </a:xfrm>
          <a:prstGeom prst="rect">
            <a:avLst/>
          </a:prstGeom>
          <a:ln w="12700" cap="flat">
            <a:noFill/>
            <a:miter lim="400000"/>
          </a:ln>
          <a:effectLst/>
        </p:spPr>
      </p:pic>
      <p:pic>
        <p:nvPicPr>
          <p:cNvPr id="24" name="image13.jpeg">
            <a:extLst>
              <a:ext uri="{FF2B5EF4-FFF2-40B4-BE49-F238E27FC236}">
                <a16:creationId xmlns:a16="http://schemas.microsoft.com/office/drawing/2014/main" id="{27817736-CB06-A7A9-471E-F6C7E92B9895}"/>
              </a:ext>
            </a:extLst>
          </p:cNvPr>
          <p:cNvPicPr>
            <a:picLocks noChangeAspect="1"/>
          </p:cNvPicPr>
          <p:nvPr/>
        </p:nvPicPr>
        <p:blipFill>
          <a:blip r:embed="rId5">
            <a:extLst>
              <a:ext uri="{28A0092B-C50C-407E-A947-70E740481C1C}">
                <a14:useLocalDpi xmlns:a14="http://schemas.microsoft.com/office/drawing/2010/main" val="0"/>
              </a:ext>
            </a:extLst>
          </a:blip>
          <a:srcRect l="73" r="73"/>
          <a:stretch/>
        </p:blipFill>
        <p:spPr>
          <a:xfrm>
            <a:off x="3452812" y="2978839"/>
            <a:ext cx="2550429" cy="1694130"/>
          </a:xfrm>
          <a:prstGeom prst="rect">
            <a:avLst/>
          </a:prstGeom>
          <a:ln w="12700" cap="flat">
            <a:noFill/>
            <a:miter lim="400000"/>
          </a:ln>
          <a:effectLst/>
        </p:spPr>
      </p:pic>
      <p:pic>
        <p:nvPicPr>
          <p:cNvPr id="25" name="image11.jpeg">
            <a:extLst>
              <a:ext uri="{FF2B5EF4-FFF2-40B4-BE49-F238E27FC236}">
                <a16:creationId xmlns:a16="http://schemas.microsoft.com/office/drawing/2014/main" id="{2DCD3A9C-7A55-8E84-9737-F53A53094136}"/>
              </a:ext>
            </a:extLst>
          </p:cNvPr>
          <p:cNvPicPr>
            <a:picLocks noChangeAspect="1"/>
          </p:cNvPicPr>
          <p:nvPr/>
        </p:nvPicPr>
        <p:blipFill>
          <a:blip r:embed="rId6">
            <a:extLst>
              <a:ext uri="{28A0092B-C50C-407E-A947-70E740481C1C}">
                <a14:useLocalDpi xmlns:a14="http://schemas.microsoft.com/office/drawing/2010/main" val="0"/>
              </a:ext>
            </a:extLst>
          </a:blip>
          <a:srcRect t="10" b="10"/>
          <a:stretch/>
        </p:blipFill>
        <p:spPr>
          <a:xfrm>
            <a:off x="8917812" y="2978839"/>
            <a:ext cx="2552779" cy="1694130"/>
          </a:xfrm>
          <a:prstGeom prst="rect">
            <a:avLst/>
          </a:prstGeom>
          <a:ln w="12700" cap="flat">
            <a:noFill/>
            <a:miter lim="400000"/>
          </a:ln>
          <a:effectLst/>
        </p:spPr>
      </p:pic>
      <p:sp>
        <p:nvSpPr>
          <p:cNvPr id="26" name="Tekstvak 25">
            <a:extLst>
              <a:ext uri="{FF2B5EF4-FFF2-40B4-BE49-F238E27FC236}">
                <a16:creationId xmlns:a16="http://schemas.microsoft.com/office/drawing/2014/main" id="{3F9B37B1-171D-028D-3F92-C9E98C9DD61D}"/>
              </a:ext>
            </a:extLst>
          </p:cNvPr>
          <p:cNvSpPr txBox="1"/>
          <p:nvPr/>
        </p:nvSpPr>
        <p:spPr>
          <a:xfrm>
            <a:off x="718665" y="4672969"/>
            <a:ext cx="2552701" cy="1140599"/>
          </a:xfrm>
          <a:prstGeom prst="rect">
            <a:avLst/>
          </a:prstGeom>
          <a:solidFill>
            <a:schemeClr val="accent1"/>
          </a:solidFill>
        </p:spPr>
        <p:txBody>
          <a:bodyPr wrap="square" lIns="108000" tIns="180000" rIns="108000" bIns="180000" rtlCol="0">
            <a:noAutofit/>
          </a:bodyPr>
          <a:lstStyle/>
          <a:p>
            <a:pPr algn="ctr">
              <a:lnSpc>
                <a:spcPct val="90000"/>
              </a:lnSpc>
              <a:spcBef>
                <a:spcPts val="600"/>
              </a:spcBef>
              <a:spcAft>
                <a:spcPts val="600"/>
              </a:spcAft>
            </a:pPr>
            <a:r>
              <a:rPr lang="en-GB" sz="1400" b="1" dirty="0">
                <a:solidFill>
                  <a:schemeClr val="bg1"/>
                </a:solidFill>
              </a:rPr>
              <a:t>Pioneering research with great societal value </a:t>
            </a:r>
          </a:p>
          <a:p>
            <a:pPr algn="ctr">
              <a:lnSpc>
                <a:spcPct val="90000"/>
              </a:lnSpc>
              <a:spcBef>
                <a:spcPts val="600"/>
              </a:spcBef>
              <a:spcAft>
                <a:spcPts val="600"/>
              </a:spcAft>
            </a:pPr>
            <a:r>
              <a:rPr lang="en-GB" sz="1050" i="1" dirty="0" err="1">
                <a:solidFill>
                  <a:schemeClr val="bg1"/>
                </a:solidFill>
              </a:rPr>
              <a:t>Dr.</a:t>
            </a:r>
            <a:r>
              <a:rPr lang="en-GB" sz="1050" i="1" dirty="0">
                <a:solidFill>
                  <a:schemeClr val="bg1"/>
                </a:solidFill>
              </a:rPr>
              <a:t> </a:t>
            </a:r>
            <a:r>
              <a:rPr lang="en-GB" sz="1050" i="1" dirty="0" err="1">
                <a:solidFill>
                  <a:schemeClr val="bg1"/>
                </a:solidFill>
              </a:rPr>
              <a:t>Dimphna</a:t>
            </a:r>
            <a:r>
              <a:rPr lang="en-GB" sz="1050" i="1" dirty="0">
                <a:solidFill>
                  <a:schemeClr val="bg1"/>
                </a:solidFill>
              </a:rPr>
              <a:t> Meijer: </a:t>
            </a:r>
            <a:r>
              <a:rPr lang="en-GB" sz="1050" i="1" dirty="0" err="1">
                <a:solidFill>
                  <a:schemeClr val="bg1"/>
                </a:solidFill>
              </a:rPr>
              <a:t>Nanobrain</a:t>
            </a:r>
            <a:r>
              <a:rPr lang="en-GB" sz="1050" i="1" dirty="0">
                <a:solidFill>
                  <a:schemeClr val="bg1"/>
                </a:solidFill>
              </a:rPr>
              <a:t> </a:t>
            </a:r>
            <a:br>
              <a:rPr lang="en-GB" sz="1050" i="1" dirty="0">
                <a:solidFill>
                  <a:schemeClr val="bg1"/>
                </a:solidFill>
              </a:rPr>
            </a:br>
            <a:r>
              <a:rPr lang="en-GB" sz="1050" i="1" dirty="0">
                <a:solidFill>
                  <a:schemeClr val="bg1"/>
                </a:solidFill>
              </a:rPr>
              <a:t>speeds up brain research </a:t>
            </a:r>
            <a:endParaRPr lang="en-US" sz="1050" i="1" dirty="0">
              <a:solidFill>
                <a:schemeClr val="bg1"/>
              </a:solidFill>
            </a:endParaRPr>
          </a:p>
        </p:txBody>
      </p:sp>
      <p:sp>
        <p:nvSpPr>
          <p:cNvPr id="27" name="Tekstvak 26">
            <a:extLst>
              <a:ext uri="{FF2B5EF4-FFF2-40B4-BE49-F238E27FC236}">
                <a16:creationId xmlns:a16="http://schemas.microsoft.com/office/drawing/2014/main" id="{96DDF596-6327-0578-1B32-367DEBB3288F}"/>
              </a:ext>
            </a:extLst>
          </p:cNvPr>
          <p:cNvSpPr txBox="1"/>
          <p:nvPr/>
        </p:nvSpPr>
        <p:spPr>
          <a:xfrm>
            <a:off x="3452812" y="4672969"/>
            <a:ext cx="2552701" cy="1140599"/>
          </a:xfrm>
          <a:prstGeom prst="rect">
            <a:avLst/>
          </a:prstGeom>
          <a:solidFill>
            <a:srgbClr val="00B8C8"/>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GB" dirty="0"/>
              <a:t>Education programs </a:t>
            </a:r>
            <a:br>
              <a:rPr lang="en-GB" dirty="0"/>
            </a:br>
            <a:r>
              <a:rPr lang="en-GB" dirty="0"/>
              <a:t>and scholarships</a:t>
            </a:r>
          </a:p>
          <a:p>
            <a:r>
              <a:rPr lang="en-GB" sz="1050" b="0" i="1" dirty="0"/>
              <a:t>Justus &amp; Louise van </a:t>
            </a:r>
            <a:r>
              <a:rPr lang="en-GB" sz="1050" b="0" i="1" dirty="0" err="1"/>
              <a:t>Effen</a:t>
            </a:r>
            <a:r>
              <a:rPr lang="en-GB" sz="1050" b="0" i="1" dirty="0"/>
              <a:t> Scholarships and Research Grants</a:t>
            </a:r>
          </a:p>
        </p:txBody>
      </p:sp>
      <p:sp>
        <p:nvSpPr>
          <p:cNvPr id="28" name="Tekstvak 27">
            <a:extLst>
              <a:ext uri="{FF2B5EF4-FFF2-40B4-BE49-F238E27FC236}">
                <a16:creationId xmlns:a16="http://schemas.microsoft.com/office/drawing/2014/main" id="{D6D63B79-407F-B787-AB3E-C57E94945876}"/>
              </a:ext>
            </a:extLst>
          </p:cNvPr>
          <p:cNvSpPr txBox="1"/>
          <p:nvPr/>
        </p:nvSpPr>
        <p:spPr>
          <a:xfrm>
            <a:off x="6184899" y="4672969"/>
            <a:ext cx="2552701" cy="1140599"/>
          </a:xfrm>
          <a:prstGeom prst="rect">
            <a:avLst/>
          </a:prstGeom>
          <a:solidFill>
            <a:srgbClr val="0076C2"/>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US" dirty="0"/>
              <a:t>Ambitious </a:t>
            </a:r>
            <a:br>
              <a:rPr lang="en-US" dirty="0"/>
            </a:br>
            <a:r>
              <a:rPr lang="en-US" dirty="0"/>
              <a:t>students</a:t>
            </a:r>
          </a:p>
          <a:p>
            <a:r>
              <a:rPr lang="en-US" sz="1050" b="0" i="1" dirty="0"/>
              <a:t>Funding Ambitious Students </a:t>
            </a:r>
            <a:br>
              <a:rPr lang="en-US" sz="1050" b="0" i="1" dirty="0"/>
            </a:br>
            <a:r>
              <a:rPr lang="en-US" sz="1050" b="0" i="1" dirty="0"/>
              <a:t>TU Delft (FAST)</a:t>
            </a:r>
          </a:p>
        </p:txBody>
      </p:sp>
      <p:sp>
        <p:nvSpPr>
          <p:cNvPr id="29" name="Tekstvak 28">
            <a:extLst>
              <a:ext uri="{FF2B5EF4-FFF2-40B4-BE49-F238E27FC236}">
                <a16:creationId xmlns:a16="http://schemas.microsoft.com/office/drawing/2014/main" id="{C56D8B0E-194E-FB05-2CCA-2A7177E375F5}"/>
              </a:ext>
            </a:extLst>
          </p:cNvPr>
          <p:cNvSpPr txBox="1"/>
          <p:nvPr/>
        </p:nvSpPr>
        <p:spPr>
          <a:xfrm>
            <a:off x="8919046" y="4672969"/>
            <a:ext cx="2552701" cy="1140599"/>
          </a:xfrm>
          <a:prstGeom prst="rect">
            <a:avLst/>
          </a:prstGeom>
          <a:solidFill>
            <a:schemeClr val="accent1"/>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US" dirty="0"/>
              <a:t>Entrepreneurship</a:t>
            </a:r>
          </a:p>
          <a:p>
            <a:r>
              <a:rPr lang="en-US" sz="1050" i="1" dirty="0"/>
              <a:t>Graduate Entrepreneur Fund</a:t>
            </a:r>
          </a:p>
        </p:txBody>
      </p:sp>
      <p:pic>
        <p:nvPicPr>
          <p:cNvPr id="40" name="Picture 4">
            <a:extLst>
              <a:ext uri="{FF2B5EF4-FFF2-40B4-BE49-F238E27FC236}">
                <a16:creationId xmlns:a16="http://schemas.microsoft.com/office/drawing/2014/main" id="{4D22D8F3-BDC6-49BE-A3F5-2F1605C934F7}"/>
              </a:ext>
            </a:extLst>
          </p:cNvPr>
          <p:cNvPicPr>
            <a:picLocks noChangeAspect="1"/>
          </p:cNvPicPr>
          <p:nvPr/>
        </p:nvPicPr>
        <p:blipFill rotWithShape="1">
          <a:blip r:embed="rId7"/>
          <a:srcRect l="2838" t="73607" r="84253" b="4910"/>
          <a:stretch/>
        </p:blipFill>
        <p:spPr>
          <a:xfrm>
            <a:off x="11469762" y="190009"/>
            <a:ext cx="550835" cy="510966"/>
          </a:xfrm>
          <a:prstGeom prst="rect">
            <a:avLst/>
          </a:prstGeom>
        </p:spPr>
      </p:pic>
      <p:sp>
        <p:nvSpPr>
          <p:cNvPr id="2" name="Tijdelijke aanduiding voor dianummer 1">
            <a:extLst>
              <a:ext uri="{FF2B5EF4-FFF2-40B4-BE49-F238E27FC236}">
                <a16:creationId xmlns:a16="http://schemas.microsoft.com/office/drawing/2014/main" id="{82356E8E-B9A8-4D25-82CA-75EB36AE09E7}"/>
              </a:ext>
            </a:extLst>
          </p:cNvPr>
          <p:cNvSpPr>
            <a:spLocks noGrp="1"/>
          </p:cNvSpPr>
          <p:nvPr>
            <p:ph type="sldNum" sz="quarter" idx="20"/>
          </p:nvPr>
        </p:nvSpPr>
        <p:spPr/>
        <p:txBody>
          <a:bodyPr/>
          <a:lstStyle/>
          <a:p>
            <a:fld id="{9E843DB9-9987-4157-AB9C-CEA8D7D910BB}" type="slidenum">
              <a:rPr lang="en-GB" smtClean="0"/>
              <a:pPr/>
              <a:t>30</a:t>
            </a:fld>
            <a:endParaRPr lang="en-GB" dirty="0"/>
          </a:p>
        </p:txBody>
      </p:sp>
    </p:spTree>
    <p:custDataLst>
      <p:tags r:id="rId1"/>
    </p:custDataLst>
    <p:extLst>
      <p:ext uri="{BB962C8B-B14F-4D97-AF65-F5344CB8AC3E}">
        <p14:creationId xmlns:p14="http://schemas.microsoft.com/office/powerpoint/2010/main" val="1597948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fade">
                                      <p:cBhvr>
                                        <p:cTn id="11" dur="500"/>
                                        <p:tgtEl>
                                          <p:spTgt spid="8">
                                            <p:txEl>
                                              <p:pRg st="1" end="1"/>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par>
                                <p:cTn id="15" presetID="6" presetClass="emph" presetSubtype="0" autoRev="1" fill="hold" nodeType="withEffect">
                                  <p:stCondLst>
                                    <p:cond delay="0"/>
                                  </p:stCondLst>
                                  <p:childTnLst>
                                    <p:animScale>
                                      <p:cBhvr>
                                        <p:cTn id="16" dur="400" fill="hold"/>
                                        <p:tgtEl>
                                          <p:spTgt spid="22"/>
                                        </p:tgtEl>
                                      </p:cBhvr>
                                      <p:by x="103000" y="103000"/>
                                    </p:animScale>
                                  </p:childTnLst>
                                </p:cTn>
                              </p:par>
                              <p:par>
                                <p:cTn id="17" presetID="10" presetClass="entr" presetSubtype="0" fill="hold"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6" presetClass="emph" presetSubtype="0" autoRev="1" fill="hold" nodeType="withEffect">
                                  <p:stCondLst>
                                    <p:cond delay="250"/>
                                  </p:stCondLst>
                                  <p:childTnLst>
                                    <p:animScale>
                                      <p:cBhvr>
                                        <p:cTn id="21" dur="400" fill="hold"/>
                                        <p:tgtEl>
                                          <p:spTgt spid="24"/>
                                        </p:tgtEl>
                                      </p:cBhvr>
                                      <p:by x="103000" y="103000"/>
                                    </p:animScale>
                                  </p:childTnLst>
                                </p:cTn>
                              </p:par>
                              <p:par>
                                <p:cTn id="22" presetID="10" presetClass="entr" presetSubtype="0" fill="hold" nodeType="withEffect">
                                  <p:stCondLst>
                                    <p:cond delay="50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par>
                                <p:cTn id="25" presetID="6" presetClass="emph" presetSubtype="0" autoRev="1" fill="hold" nodeType="withEffect">
                                  <p:stCondLst>
                                    <p:cond delay="500"/>
                                  </p:stCondLst>
                                  <p:childTnLst>
                                    <p:animScale>
                                      <p:cBhvr>
                                        <p:cTn id="26" dur="400" fill="hold"/>
                                        <p:tgtEl>
                                          <p:spTgt spid="23"/>
                                        </p:tgtEl>
                                      </p:cBhvr>
                                      <p:by x="103000" y="103000"/>
                                    </p:animScale>
                                  </p:childTnLst>
                                </p:cTn>
                              </p:par>
                              <p:par>
                                <p:cTn id="27" presetID="10" presetClass="entr" presetSubtype="0" fill="hold" nodeType="withEffect">
                                  <p:stCondLst>
                                    <p:cond delay="75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6" presetClass="emph" presetSubtype="0" autoRev="1" fill="hold" nodeType="withEffect">
                                  <p:stCondLst>
                                    <p:cond delay="750"/>
                                  </p:stCondLst>
                                  <p:childTnLst>
                                    <p:animScale>
                                      <p:cBhvr>
                                        <p:cTn id="31" dur="400" fill="hold"/>
                                        <p:tgtEl>
                                          <p:spTgt spid="25"/>
                                        </p:tgtEl>
                                      </p:cBhvr>
                                      <p:by x="103000" y="103000"/>
                                    </p:animScale>
                                  </p:childTnLst>
                                </p:cTn>
                              </p:par>
                              <p:par>
                                <p:cTn id="32" presetID="10" presetClass="entr" presetSubtype="0" fill="hold" grpId="0" nodeType="withEffect">
                                  <p:stCondLst>
                                    <p:cond delay="125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par>
                                <p:cTn id="35" presetID="10" presetClass="entr" presetSubtype="0" fill="hold" grpId="0" nodeType="withEffect">
                                  <p:stCondLst>
                                    <p:cond delay="150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175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par>
                                <p:cTn id="41" presetID="10" presetClass="entr" presetSubtype="0" fill="hold" grpId="0" nodeType="withEffect">
                                  <p:stCondLst>
                                    <p:cond delay="200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26" grpId="0" animBg="1"/>
      <p:bldP spid="27" grpId="0" animBg="1"/>
      <p:bldP spid="28" grpId="0" animBg="1"/>
      <p:bldP spid="29"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22096581-C818-9E10-71C2-489C5BC9F3BA}"/>
              </a:ext>
            </a:extLst>
          </p:cNvPr>
          <p:cNvSpPr>
            <a:spLocks noGrp="1"/>
          </p:cNvSpPr>
          <p:nvPr>
            <p:ph type="title"/>
          </p:nvPr>
        </p:nvSpPr>
        <p:spPr/>
        <p:txBody>
          <a:bodyPr/>
          <a:lstStyle/>
          <a:p>
            <a:endParaRPr lang="nl-NL"/>
          </a:p>
        </p:txBody>
      </p:sp>
      <p:sp>
        <p:nvSpPr>
          <p:cNvPr id="11" name="Tijdelijke aanduiding voor tekst 10">
            <a:extLst>
              <a:ext uri="{FF2B5EF4-FFF2-40B4-BE49-F238E27FC236}">
                <a16:creationId xmlns:a16="http://schemas.microsoft.com/office/drawing/2014/main" id="{3CB62375-0B94-F0FA-6141-0855AE535AE2}"/>
              </a:ext>
            </a:extLst>
          </p:cNvPr>
          <p:cNvSpPr>
            <a:spLocks noGrp="1"/>
          </p:cNvSpPr>
          <p:nvPr>
            <p:ph type="body" sz="quarter" idx="13"/>
          </p:nvPr>
        </p:nvSpPr>
        <p:spPr>
          <a:xfrm>
            <a:off x="6845643" y="2197644"/>
            <a:ext cx="4625632" cy="3803105"/>
          </a:xfrm>
        </p:spPr>
        <p:txBody>
          <a:bodyPr>
            <a:normAutofit lnSpcReduction="10000"/>
          </a:bodyPr>
          <a:lstStyle/>
          <a:p>
            <a:pPr>
              <a:lnSpc>
                <a:spcPct val="100000"/>
              </a:lnSpc>
            </a:pPr>
            <a:r>
              <a:rPr lang="en-GB" sz="3200" dirty="0"/>
              <a:t>Want to know more on how you can contribute</a:t>
            </a:r>
            <a:r>
              <a:rPr lang="nl-NL" sz="3200" dirty="0"/>
              <a:t>?</a:t>
            </a:r>
            <a:br>
              <a:rPr lang="nl-NL" sz="3200" dirty="0"/>
            </a:br>
            <a:endParaRPr lang="nl-NL" sz="1700" dirty="0"/>
          </a:p>
          <a:p>
            <a:pPr>
              <a:lnSpc>
                <a:spcPct val="100000"/>
              </a:lnSpc>
            </a:pPr>
            <a:r>
              <a:rPr lang="en-GB" sz="1900" dirty="0"/>
              <a:t>Please contact us at </a:t>
            </a:r>
            <a:br>
              <a:rPr lang="en-GB" sz="1900" dirty="0"/>
            </a:br>
            <a:r>
              <a:rPr lang="en-GB" sz="1900" dirty="0">
                <a:hlinkClick r:id="rId3">
                  <a:extLst>
                    <a:ext uri="{A12FA001-AC4F-418D-AE19-62706E023703}">
                      <ahyp:hlinkClr xmlns:ahyp="http://schemas.microsoft.com/office/drawing/2018/hyperlinkcolor" val="tx"/>
                    </a:ext>
                  </a:extLst>
                </a:hlinkClick>
              </a:rPr>
              <a:t>ufonds@tudelft.nl</a:t>
            </a:r>
            <a:r>
              <a:rPr lang="en-GB" sz="1900" dirty="0"/>
              <a:t> or visit </a:t>
            </a:r>
            <a:r>
              <a:rPr lang="en-GB" sz="1900" dirty="0">
                <a:hlinkClick r:id="rId4">
                  <a:extLst>
                    <a:ext uri="{A12FA001-AC4F-418D-AE19-62706E023703}">
                      <ahyp:hlinkClr xmlns:ahyp="http://schemas.microsoft.com/office/drawing/2018/hyperlinkcolor" val="tx"/>
                    </a:ext>
                  </a:extLst>
                </a:hlinkClick>
              </a:rPr>
              <a:t>www.universiteitsfondsdelft.nl</a:t>
            </a:r>
            <a:r>
              <a:rPr lang="en-GB" sz="1900" dirty="0"/>
              <a:t> </a:t>
            </a:r>
          </a:p>
          <a:p>
            <a:pPr>
              <a:lnSpc>
                <a:spcPct val="100000"/>
              </a:lnSpc>
            </a:pPr>
            <a:endParaRPr lang="en-GB" sz="2100" dirty="0"/>
          </a:p>
          <a:p>
            <a:pPr>
              <a:lnSpc>
                <a:spcPct val="100000"/>
              </a:lnSpc>
            </a:pPr>
            <a:endParaRPr lang="en-GB" sz="2100" dirty="0"/>
          </a:p>
          <a:p>
            <a:pPr>
              <a:lnSpc>
                <a:spcPct val="100000"/>
              </a:lnSpc>
              <a:spcAft>
                <a:spcPts val="300"/>
              </a:spcAft>
            </a:pPr>
            <a:r>
              <a:rPr lang="en-GB" sz="2100" dirty="0"/>
              <a:t>ANBI-status</a:t>
            </a:r>
          </a:p>
          <a:p>
            <a:pPr>
              <a:lnSpc>
                <a:spcPct val="100000"/>
              </a:lnSpc>
            </a:pPr>
            <a:r>
              <a:rPr lang="en-GB" sz="1600" dirty="0"/>
              <a:t>Delft University Fund is a foundation with ANBI (organisation serving the public interest)) status. This means that donations made to Delft University Fund may be deductible from taxable income.</a:t>
            </a:r>
          </a:p>
        </p:txBody>
      </p:sp>
      <p:sp>
        <p:nvSpPr>
          <p:cNvPr id="3" name="Tijdelijke aanduiding voor dianummer 2">
            <a:extLst>
              <a:ext uri="{FF2B5EF4-FFF2-40B4-BE49-F238E27FC236}">
                <a16:creationId xmlns:a16="http://schemas.microsoft.com/office/drawing/2014/main" id="{A18A12CD-4AE1-75E3-3DAA-85FE77762153}"/>
              </a:ext>
            </a:extLst>
          </p:cNvPr>
          <p:cNvSpPr>
            <a:spLocks noGrp="1"/>
          </p:cNvSpPr>
          <p:nvPr>
            <p:ph type="sldNum" sz="quarter" idx="15"/>
          </p:nvPr>
        </p:nvSpPr>
        <p:spPr/>
        <p:txBody>
          <a:bodyPr/>
          <a:lstStyle/>
          <a:p>
            <a:fld id="{9E843DB9-9987-4157-AB9C-CEA8D7D910BB}" type="slidenum">
              <a:rPr lang="en-GB" smtClean="0"/>
              <a:pPr/>
              <a:t>31</a:t>
            </a:fld>
            <a:endParaRPr lang="en-GB" dirty="0"/>
          </a:p>
        </p:txBody>
      </p:sp>
      <p:sp>
        <p:nvSpPr>
          <p:cNvPr id="14" name="Tijdelijke aanduiding voor tekst 13">
            <a:extLst>
              <a:ext uri="{FF2B5EF4-FFF2-40B4-BE49-F238E27FC236}">
                <a16:creationId xmlns:a16="http://schemas.microsoft.com/office/drawing/2014/main" id="{83CF4161-85A9-E26A-22C6-3FB5DD775906}"/>
              </a:ext>
            </a:extLst>
          </p:cNvPr>
          <p:cNvSpPr>
            <a:spLocks noGrp="1"/>
          </p:cNvSpPr>
          <p:nvPr>
            <p:ph type="body" sz="quarter" idx="18"/>
          </p:nvPr>
        </p:nvSpPr>
        <p:spPr/>
        <p:txBody>
          <a:bodyPr/>
          <a:lstStyle/>
          <a:p>
            <a:r>
              <a:rPr lang="nl-NL" dirty="0"/>
              <a:t> </a:t>
            </a:r>
          </a:p>
        </p:txBody>
      </p:sp>
      <p:sp>
        <p:nvSpPr>
          <p:cNvPr id="13" name="Tijdelijke aanduiding voor tekst 12">
            <a:extLst>
              <a:ext uri="{FF2B5EF4-FFF2-40B4-BE49-F238E27FC236}">
                <a16:creationId xmlns:a16="http://schemas.microsoft.com/office/drawing/2014/main" id="{932489DA-F933-B611-34C6-40276CB71CE9}"/>
              </a:ext>
            </a:extLst>
          </p:cNvPr>
          <p:cNvSpPr>
            <a:spLocks noGrp="1"/>
          </p:cNvSpPr>
          <p:nvPr>
            <p:ph type="body" sz="quarter" idx="17"/>
          </p:nvPr>
        </p:nvSpPr>
        <p:spPr/>
        <p:txBody>
          <a:bodyPr/>
          <a:lstStyle/>
          <a:p>
            <a:r>
              <a:rPr lang="nl-NL" dirty="0"/>
              <a:t> </a:t>
            </a:r>
          </a:p>
        </p:txBody>
      </p:sp>
      <p:pic>
        <p:nvPicPr>
          <p:cNvPr id="5" name="Tijdelijke aanduiding voor afbeelding 4" descr="Afbeelding met kleding, persoon, tekst, whiteboard&#10;&#10;Automatisch gegenereerde beschrijving">
            <a:extLst>
              <a:ext uri="{FF2B5EF4-FFF2-40B4-BE49-F238E27FC236}">
                <a16:creationId xmlns:a16="http://schemas.microsoft.com/office/drawing/2014/main" id="{4C4C3AD5-0DDD-D786-6A8D-A4AFEE15253E}"/>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l="25248" r="25248"/>
          <a:stretch>
            <a:fillRect/>
          </a:stretch>
        </p:blipFill>
        <p:spPr>
          <a:xfrm>
            <a:off x="0" y="0"/>
            <a:ext cx="6096000" cy="6858000"/>
          </a:xfrm>
          <a:prstGeom prst="rect">
            <a:avLst/>
          </a:prstGeom>
        </p:spPr>
      </p:pic>
      <p:pic>
        <p:nvPicPr>
          <p:cNvPr id="2" name="Afbeelding 1" descr="Afbeelding met tekst, Lettertype, Graphics, logo&#10;&#10;Automatisch gegenereerde beschrijving">
            <a:extLst>
              <a:ext uri="{FF2B5EF4-FFF2-40B4-BE49-F238E27FC236}">
                <a16:creationId xmlns:a16="http://schemas.microsoft.com/office/drawing/2014/main" id="{E7F576E7-8542-09DC-3FB6-36149A7059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4113" y="189298"/>
            <a:ext cx="722560" cy="667953"/>
          </a:xfrm>
          <a:prstGeom prst="rect">
            <a:avLst/>
          </a:prstGeom>
        </p:spPr>
      </p:pic>
    </p:spTree>
    <p:custDataLst>
      <p:tags r:id="rId1"/>
    </p:custDataLst>
    <p:extLst>
      <p:ext uri="{BB962C8B-B14F-4D97-AF65-F5344CB8AC3E}">
        <p14:creationId xmlns:p14="http://schemas.microsoft.com/office/powerpoint/2010/main" val="25166117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250"/>
                                        <p:tgtEl>
                                          <p:spTgt spid="11">
                                            <p:txEl>
                                              <p:pRg st="0" end="0"/>
                                            </p:txEl>
                                          </p:spTgt>
                                        </p:tgtEl>
                                      </p:cBhvr>
                                    </p:animEffect>
                                  </p:childTnLst>
                                </p:cTn>
                              </p:par>
                            </p:childTnLst>
                          </p:cTn>
                        </p:par>
                        <p:par>
                          <p:cTn id="8" fill="hold">
                            <p:stCondLst>
                              <p:cond delay="1125"/>
                            </p:stCondLst>
                            <p:childTnLst>
                              <p:par>
                                <p:cTn id="9" presetID="10" presetClass="entr" presetSubtype="0" fill="hold" grpId="0" nodeType="after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animEffect transition="in" filter="fade">
                                      <p:cBhvr>
                                        <p:cTn id="11" dur="500"/>
                                        <p:tgtEl>
                                          <p:spTgt spid="11">
                                            <p:txEl>
                                              <p:pRg st="1" end="1"/>
                                            </p:txEl>
                                          </p:spTgt>
                                        </p:tgtEl>
                                      </p:cBhvr>
                                    </p:animEffect>
                                  </p:childTnLst>
                                </p:cTn>
                              </p:par>
                            </p:childTnLst>
                          </p:cTn>
                        </p:par>
                        <p:par>
                          <p:cTn id="12" fill="hold">
                            <p:stCondLst>
                              <p:cond delay="1625"/>
                            </p:stCondLst>
                            <p:childTnLst>
                              <p:par>
                                <p:cTn id="13" presetID="10" presetClass="entr" presetSubtype="0" fill="hold" grpId="0" nodeType="afterEffect">
                                  <p:stCondLst>
                                    <p:cond delay="0"/>
                                  </p:stCondLst>
                                  <p:childTnLst>
                                    <p:set>
                                      <p:cBhvr>
                                        <p:cTn id="14" dur="1" fill="hold">
                                          <p:stCondLst>
                                            <p:cond delay="0"/>
                                          </p:stCondLst>
                                        </p:cTn>
                                        <p:tgtEl>
                                          <p:spTgt spid="11">
                                            <p:txEl>
                                              <p:pRg st="4" end="4"/>
                                            </p:txEl>
                                          </p:spTgt>
                                        </p:tgtEl>
                                        <p:attrNameLst>
                                          <p:attrName>style.visibility</p:attrName>
                                        </p:attrNameLst>
                                      </p:cBhvr>
                                      <p:to>
                                        <p:strVal val="visible"/>
                                      </p:to>
                                    </p:set>
                                    <p:animEffect transition="in" filter="fade">
                                      <p:cBhvr>
                                        <p:cTn id="15" dur="500"/>
                                        <p:tgtEl>
                                          <p:spTgt spid="11">
                                            <p:txEl>
                                              <p:pRg st="4" end="4"/>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xEl>
                                              <p:pRg st="5" end="5"/>
                                            </p:txEl>
                                          </p:spTgt>
                                        </p:tgtEl>
                                        <p:attrNameLst>
                                          <p:attrName>style.visibility</p:attrName>
                                        </p:attrNameLst>
                                      </p:cBhvr>
                                      <p:to>
                                        <p:strVal val="visible"/>
                                      </p:to>
                                    </p:set>
                                    <p:animEffect transition="in" filter="fade">
                                      <p:cBhvr>
                                        <p:cTn id="18" dur="500"/>
                                        <p:tgtEl>
                                          <p:spTgt spid="11">
                                            <p:txEl>
                                              <p:pRg st="5" end="5"/>
                                            </p:txEl>
                                          </p:spTgt>
                                        </p:tgtEl>
                                      </p:cBhvr>
                                    </p:animEffect>
                                  </p:childTnLst>
                                </p:cTn>
                              </p:par>
                              <p:par>
                                <p:cTn id="19" presetID="10" presetClass="entr" presetSubtype="0" fill="hold" nodeType="withEffect">
                                  <p:stCondLst>
                                    <p:cond delay="0"/>
                                  </p:stCondLst>
                                  <p:iterate type="lt">
                                    <p:tmPct val="10000"/>
                                  </p:iterate>
                                  <p:childTnLst>
                                    <p:set>
                                      <p:cBhvr>
                                        <p:cTn id="20" dur="1" fill="hold">
                                          <p:stCondLst>
                                            <p:cond delay="0"/>
                                          </p:stCondLst>
                                        </p:cTn>
                                        <p:tgtEl>
                                          <p:spTgt spid="2"/>
                                        </p:tgtEl>
                                        <p:attrNameLst>
                                          <p:attrName>style.visibility</p:attrName>
                                        </p:attrNameLst>
                                      </p:cBhvr>
                                      <p:to>
                                        <p:strVal val="visible"/>
                                      </p:to>
                                    </p:set>
                                    <p:animEffect transition="in" filter="fade">
                                      <p:cBhvr>
                                        <p:cTn id="21"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D55EC50D-C86A-D40C-D7F7-BAC0DB25203B}"/>
              </a:ext>
            </a:extLst>
          </p:cNvPr>
          <p:cNvSpPr>
            <a:spLocks noGrp="1"/>
          </p:cNvSpPr>
          <p:nvPr>
            <p:ph type="title"/>
          </p:nvPr>
        </p:nvSpPr>
        <p:spPr>
          <a:xfrm>
            <a:off x="0" y="-429019"/>
            <a:ext cx="936154" cy="276999"/>
          </a:xfrm>
        </p:spPr>
        <p:txBody>
          <a:bodyPr/>
          <a:lstStyle/>
          <a:p>
            <a:r>
              <a:rPr lang="en-GB" dirty="0" err="1"/>
              <a:t>Afsluiter</a:t>
            </a:r>
            <a:endParaRPr lang="en-GB" dirty="0"/>
          </a:p>
        </p:txBody>
      </p:sp>
      <p:sp>
        <p:nvSpPr>
          <p:cNvPr id="23" name="Tijdelijke aanduiding voor tekst 22">
            <a:extLst>
              <a:ext uri="{FF2B5EF4-FFF2-40B4-BE49-F238E27FC236}">
                <a16:creationId xmlns:a16="http://schemas.microsoft.com/office/drawing/2014/main" id="{F1088A3A-0540-8654-A5D8-0802F994AD38}"/>
              </a:ext>
            </a:extLst>
          </p:cNvPr>
          <p:cNvSpPr>
            <a:spLocks noGrp="1"/>
          </p:cNvSpPr>
          <p:nvPr>
            <p:ph type="body" sz="quarter" idx="10"/>
          </p:nvPr>
        </p:nvSpPr>
        <p:spPr>
          <a:xfrm>
            <a:off x="719138" y="3950387"/>
            <a:ext cx="10752137" cy="1333698"/>
          </a:xfrm>
        </p:spPr>
        <p:txBody>
          <a:bodyPr/>
          <a:lstStyle/>
          <a:p>
            <a:r>
              <a:rPr lang="nl-NL" dirty="0" err="1"/>
              <a:t>Thank</a:t>
            </a:r>
            <a:r>
              <a:rPr lang="nl-NL" dirty="0"/>
              <a:t> </a:t>
            </a:r>
            <a:r>
              <a:rPr lang="nl-NL" dirty="0" err="1"/>
              <a:t>you</a:t>
            </a:r>
            <a:r>
              <a:rPr lang="nl-NL" dirty="0"/>
              <a:t> </a:t>
            </a:r>
            <a:r>
              <a:rPr lang="nl-NL" dirty="0" err="1"/>
              <a:t>for</a:t>
            </a:r>
            <a:r>
              <a:rPr lang="nl-NL" dirty="0"/>
              <a:t> </a:t>
            </a:r>
            <a:br>
              <a:rPr lang="nl-NL" dirty="0"/>
            </a:br>
            <a:r>
              <a:rPr lang="nl-NL" dirty="0" err="1"/>
              <a:t>your</a:t>
            </a:r>
            <a:r>
              <a:rPr lang="nl-NL" dirty="0"/>
              <a:t> attention</a:t>
            </a:r>
            <a:endParaRPr lang="en-GB" dirty="0"/>
          </a:p>
        </p:txBody>
      </p:sp>
      <p:sp>
        <p:nvSpPr>
          <p:cNvPr id="3" name="Tijdelijke aanduiding voor tekst 2">
            <a:extLst>
              <a:ext uri="{FF2B5EF4-FFF2-40B4-BE49-F238E27FC236}">
                <a16:creationId xmlns:a16="http://schemas.microsoft.com/office/drawing/2014/main" id="{663C9027-FB51-3CE1-A14B-571B6CCCF612}"/>
              </a:ext>
            </a:extLst>
          </p:cNvPr>
          <p:cNvSpPr>
            <a:spLocks noGrp="1"/>
          </p:cNvSpPr>
          <p:nvPr>
            <p:ph type="body" sz="quarter" idx="11"/>
          </p:nvPr>
        </p:nvSpPr>
        <p:spPr/>
        <p:txBody>
          <a:bodyPr/>
          <a:lstStyle/>
          <a:p>
            <a:endParaRPr lang="nl-NL" dirty="0"/>
          </a:p>
        </p:txBody>
      </p:sp>
    </p:spTree>
    <p:extLst>
      <p:ext uri="{BB962C8B-B14F-4D97-AF65-F5344CB8AC3E}">
        <p14:creationId xmlns:p14="http://schemas.microsoft.com/office/powerpoint/2010/main" val="29864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0BA6D-6147-7CC7-03A6-D297941D032A}"/>
            </a:ext>
          </a:extLst>
        </p:cNvPr>
        <p:cNvGrpSpPr/>
        <p:nvPr/>
      </p:nvGrpSpPr>
      <p:grpSpPr>
        <a:xfrm>
          <a:off x="0" y="0"/>
          <a:ext cx="0" cy="0"/>
          <a:chOff x="0" y="0"/>
          <a:chExt cx="0" cy="0"/>
        </a:xfrm>
      </p:grpSpPr>
      <p:sp>
        <p:nvSpPr>
          <p:cNvPr id="5" name="Tijdelijke aanduiding voor datum 4">
            <a:extLst>
              <a:ext uri="{FF2B5EF4-FFF2-40B4-BE49-F238E27FC236}">
                <a16:creationId xmlns:a16="http://schemas.microsoft.com/office/drawing/2014/main" id="{A17EF0B4-A007-526B-72E2-8F5937C960A6}"/>
              </a:ext>
            </a:extLst>
          </p:cNvPr>
          <p:cNvSpPr>
            <a:spLocks noGrp="1"/>
          </p:cNvSpPr>
          <p:nvPr>
            <p:ph type="dt" sz="half" idx="18"/>
          </p:nvPr>
        </p:nvSpPr>
        <p:spPr>
          <a:xfrm>
            <a:off x="10146569" y="6405669"/>
            <a:ext cx="766235" cy="184666"/>
          </a:xfrm>
        </p:spPr>
        <p:txBody>
          <a:bodyPr/>
          <a:lstStyle/>
          <a:p>
            <a:fld id="{087A43E6-197A-4232-A775-7017A41F9758}" type="datetime1">
              <a:rPr lang="nl-NL" smtClean="0"/>
              <a:t>13-3-2025</a:t>
            </a:fld>
            <a:endParaRPr lang="en-GB" dirty="0"/>
          </a:p>
        </p:txBody>
      </p:sp>
      <p:sp>
        <p:nvSpPr>
          <p:cNvPr id="16" name="Tijdelijke aanduiding voor dianummer 15">
            <a:extLst>
              <a:ext uri="{FF2B5EF4-FFF2-40B4-BE49-F238E27FC236}">
                <a16:creationId xmlns:a16="http://schemas.microsoft.com/office/drawing/2014/main" id="{00966261-133D-3274-959F-6FD1B549F576}"/>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4</a:t>
            </a:fld>
            <a:endParaRPr lang="en-GB" dirty="0"/>
          </a:p>
        </p:txBody>
      </p:sp>
      <p:sp>
        <p:nvSpPr>
          <p:cNvPr id="14" name="Titel 13">
            <a:extLst>
              <a:ext uri="{FF2B5EF4-FFF2-40B4-BE49-F238E27FC236}">
                <a16:creationId xmlns:a16="http://schemas.microsoft.com/office/drawing/2014/main" id="{1D5BA3B5-AC3D-AE6F-5236-855C3A043E84}"/>
              </a:ext>
            </a:extLst>
          </p:cNvPr>
          <p:cNvSpPr>
            <a:spLocks noGrp="1"/>
          </p:cNvSpPr>
          <p:nvPr>
            <p:ph type="title"/>
          </p:nvPr>
        </p:nvSpPr>
        <p:spPr>
          <a:xfrm>
            <a:off x="718666" y="722454"/>
            <a:ext cx="10752610" cy="323409"/>
          </a:xfrm>
        </p:spPr>
        <p:txBody>
          <a:bodyPr/>
          <a:lstStyle/>
          <a:p>
            <a:r>
              <a:rPr lang="en-GB" dirty="0"/>
              <a:t>Baseline model – functionalities </a:t>
            </a:r>
            <a:r>
              <a:rPr lang="en-GB" dirty="0" err="1"/>
              <a:t>taxibot</a:t>
            </a:r>
            <a:endParaRPr lang="en-GB" dirty="0"/>
          </a:p>
        </p:txBody>
      </p:sp>
      <p:pic>
        <p:nvPicPr>
          <p:cNvPr id="2" name="Picture 1">
            <a:extLst>
              <a:ext uri="{FF2B5EF4-FFF2-40B4-BE49-F238E27FC236}">
                <a16:creationId xmlns:a16="http://schemas.microsoft.com/office/drawing/2014/main" id="{22B5D0EF-62C9-E95E-321A-CDD4EEEE0FD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20473" y="3429000"/>
            <a:ext cx="6349289" cy="2857640"/>
          </a:xfrm>
          <a:prstGeom prst="rect">
            <a:avLst/>
          </a:prstGeom>
        </p:spPr>
      </p:pic>
      <p:sp>
        <p:nvSpPr>
          <p:cNvPr id="3" name="TextBox 2">
            <a:extLst>
              <a:ext uri="{FF2B5EF4-FFF2-40B4-BE49-F238E27FC236}">
                <a16:creationId xmlns:a16="http://schemas.microsoft.com/office/drawing/2014/main" id="{E2CD46CB-B32B-F43C-8F8A-79A94F0FAAA6}"/>
              </a:ext>
            </a:extLst>
          </p:cNvPr>
          <p:cNvSpPr txBox="1"/>
          <p:nvPr/>
        </p:nvSpPr>
        <p:spPr>
          <a:xfrm>
            <a:off x="438150" y="1647824"/>
            <a:ext cx="4295775" cy="4487721"/>
          </a:xfrm>
          <a:prstGeom prst="rect">
            <a:avLst/>
          </a:prstGeom>
          <a:noFill/>
        </p:spPr>
        <p:txBody>
          <a:bodyPr wrap="square" lIns="0" tIns="0" rIns="0" bIns="0" rtlCol="0">
            <a:noAutofit/>
          </a:bodyPr>
          <a:lstStyle/>
          <a:p>
            <a:pPr marL="342900" indent="-342900" algn="l">
              <a:lnSpc>
                <a:spcPct val="90000"/>
              </a:lnSpc>
              <a:spcBef>
                <a:spcPts val="600"/>
              </a:spcBef>
              <a:spcAft>
                <a:spcPts val="600"/>
              </a:spcAft>
              <a:buAutoNum type="arabicPeriod"/>
            </a:pPr>
            <a:r>
              <a:rPr lang="nl-NL" sz="1600" dirty="0" err="1"/>
              <a:t>Single_agent_planner</a:t>
            </a:r>
            <a:endParaRPr lang="nl-NL" sz="1600" dirty="0"/>
          </a:p>
          <a:p>
            <a:pPr marL="800100" lvl="1" indent="-342900">
              <a:lnSpc>
                <a:spcPct val="90000"/>
              </a:lnSpc>
              <a:spcBef>
                <a:spcPts val="600"/>
              </a:spcBef>
              <a:spcAft>
                <a:spcPts val="600"/>
              </a:spcAft>
              <a:buAutoNum type="arabicPeriod"/>
            </a:pPr>
            <a:r>
              <a:rPr lang="nl-NL" sz="1600" dirty="0" err="1"/>
              <a:t>Calculates</a:t>
            </a:r>
            <a:r>
              <a:rPr lang="nl-NL" sz="1600" dirty="0"/>
              <a:t> </a:t>
            </a:r>
            <a:r>
              <a:rPr lang="nl-NL" sz="1600" dirty="0" err="1"/>
              <a:t>the</a:t>
            </a:r>
            <a:r>
              <a:rPr lang="nl-NL" sz="1600" dirty="0"/>
              <a:t> </a:t>
            </a:r>
            <a:r>
              <a:rPr lang="nl-NL" sz="1600" dirty="0" err="1"/>
              <a:t>fastest</a:t>
            </a:r>
            <a:r>
              <a:rPr lang="nl-NL" sz="1600" dirty="0"/>
              <a:t> </a:t>
            </a:r>
            <a:r>
              <a:rPr lang="nl-NL" sz="1600" dirty="0" err="1"/>
              <a:t>path</a:t>
            </a:r>
            <a:r>
              <a:rPr lang="nl-NL" sz="1600" dirty="0"/>
              <a:t> </a:t>
            </a:r>
            <a:r>
              <a:rPr lang="nl-NL" sz="1600" dirty="0" err="1"/>
              <a:t>using</a:t>
            </a:r>
            <a:r>
              <a:rPr lang="nl-NL" sz="1600" dirty="0"/>
              <a:t> a star</a:t>
            </a:r>
          </a:p>
          <a:p>
            <a:pPr marL="800100" lvl="1" indent="-342900">
              <a:lnSpc>
                <a:spcPct val="90000"/>
              </a:lnSpc>
              <a:spcBef>
                <a:spcPts val="600"/>
              </a:spcBef>
              <a:spcAft>
                <a:spcPts val="600"/>
              </a:spcAft>
              <a:buAutoNum type="arabicPeriod"/>
            </a:pPr>
            <a:r>
              <a:rPr lang="nl-NL" sz="1600" dirty="0" err="1"/>
              <a:t>Uses</a:t>
            </a:r>
            <a:r>
              <a:rPr lang="nl-NL" sz="1600" dirty="0"/>
              <a:t> </a:t>
            </a:r>
            <a:r>
              <a:rPr lang="nl-NL" sz="1600" dirty="0" err="1"/>
              <a:t>build_constraint_table</a:t>
            </a:r>
            <a:r>
              <a:rPr lang="nl-NL" sz="1600" dirty="0"/>
              <a:t> </a:t>
            </a:r>
            <a:r>
              <a:rPr lang="nl-NL" sz="1600" dirty="0" err="1"/>
              <a:t>to</a:t>
            </a:r>
            <a:r>
              <a:rPr lang="nl-NL" sz="1600" dirty="0"/>
              <a:t> set </a:t>
            </a:r>
            <a:r>
              <a:rPr lang="nl-NL" sz="1600" dirty="0" err="1"/>
              <a:t>nodes</a:t>
            </a:r>
            <a:r>
              <a:rPr lang="nl-NL" sz="1600" dirty="0"/>
              <a:t> </a:t>
            </a:r>
            <a:r>
              <a:rPr lang="nl-NL" sz="1600" dirty="0" err="1"/>
              <a:t>to</a:t>
            </a:r>
            <a:r>
              <a:rPr lang="nl-NL" sz="1600" dirty="0"/>
              <a:t> </a:t>
            </a:r>
            <a:r>
              <a:rPr lang="nl-NL" sz="1600" dirty="0" err="1"/>
              <a:t>prohibited</a:t>
            </a:r>
            <a:r>
              <a:rPr lang="nl-NL" sz="1600" dirty="0"/>
              <a:t> (tutorial)</a:t>
            </a:r>
          </a:p>
          <a:p>
            <a:pPr marL="342900" indent="-342900">
              <a:lnSpc>
                <a:spcPct val="90000"/>
              </a:lnSpc>
              <a:spcBef>
                <a:spcPts val="600"/>
              </a:spcBef>
              <a:spcAft>
                <a:spcPts val="600"/>
              </a:spcAft>
              <a:buAutoNum type="arabicPeriod"/>
            </a:pPr>
            <a:r>
              <a:rPr lang="nl-NL" sz="1600" dirty="0" err="1"/>
              <a:t>Determine_prioritylevel</a:t>
            </a:r>
            <a:endParaRPr lang="nl-NL" sz="1600" dirty="0"/>
          </a:p>
          <a:p>
            <a:pPr marL="800100" lvl="1" indent="-342900">
              <a:lnSpc>
                <a:spcPct val="90000"/>
              </a:lnSpc>
              <a:spcBef>
                <a:spcPts val="600"/>
              </a:spcBef>
              <a:spcAft>
                <a:spcPts val="600"/>
              </a:spcAft>
              <a:buAutoNum type="arabicPeriod"/>
            </a:pPr>
            <a:r>
              <a:rPr lang="nl-NL" sz="1600" dirty="0" err="1"/>
              <a:t>From</a:t>
            </a:r>
            <a:r>
              <a:rPr lang="nl-NL" sz="1600" dirty="0"/>
              <a:t> </a:t>
            </a:r>
            <a:r>
              <a:rPr lang="nl-NL" sz="1600" dirty="0" err="1"/>
              <a:t>inputs</a:t>
            </a:r>
            <a:r>
              <a:rPr lang="nl-NL" sz="1600" dirty="0"/>
              <a:t> </a:t>
            </a:r>
            <a:r>
              <a:rPr lang="nl-NL" sz="1600" dirty="0" err="1"/>
              <a:t>routelength</a:t>
            </a:r>
            <a:r>
              <a:rPr lang="nl-NL" sz="1600" dirty="0"/>
              <a:t>, delay, </a:t>
            </a:r>
            <a:r>
              <a:rPr lang="nl-NL" sz="1600" dirty="0" err="1"/>
              <a:t>movement_options</a:t>
            </a:r>
            <a:r>
              <a:rPr lang="nl-NL" sz="1600" dirty="0"/>
              <a:t> </a:t>
            </a:r>
            <a:r>
              <a:rPr lang="nl-NL" sz="1600" dirty="0" err="1"/>
              <a:t>and</a:t>
            </a:r>
            <a:r>
              <a:rPr lang="nl-NL" sz="1600" dirty="0"/>
              <a:t> </a:t>
            </a:r>
            <a:r>
              <a:rPr lang="nl-NL" sz="1600" dirty="0" err="1"/>
              <a:t>pickup</a:t>
            </a:r>
            <a:r>
              <a:rPr lang="nl-NL" sz="1600" dirty="0"/>
              <a:t> status, a priority level is </a:t>
            </a:r>
            <a:r>
              <a:rPr lang="nl-NL" sz="1600" dirty="0" err="1"/>
              <a:t>determined</a:t>
            </a:r>
            <a:endParaRPr lang="nl-NL" sz="1600" dirty="0"/>
          </a:p>
          <a:p>
            <a:pPr marL="342900" indent="-342900">
              <a:lnSpc>
                <a:spcPct val="90000"/>
              </a:lnSpc>
              <a:spcBef>
                <a:spcPts val="600"/>
              </a:spcBef>
              <a:spcAft>
                <a:spcPts val="600"/>
              </a:spcAft>
              <a:buAutoNum type="arabicPeriod"/>
            </a:pPr>
            <a:r>
              <a:rPr lang="nl-NL" sz="1600" dirty="0" err="1"/>
              <a:t>Conflict_detector</a:t>
            </a:r>
            <a:r>
              <a:rPr lang="nl-NL" sz="1600" dirty="0"/>
              <a:t> (is in run_me.py)</a:t>
            </a:r>
          </a:p>
          <a:p>
            <a:pPr marL="800100" lvl="1" indent="-342900">
              <a:lnSpc>
                <a:spcPct val="90000"/>
              </a:lnSpc>
              <a:spcBef>
                <a:spcPts val="600"/>
              </a:spcBef>
              <a:spcAft>
                <a:spcPts val="600"/>
              </a:spcAft>
              <a:buAutoNum type="arabicPeriod"/>
            </a:pPr>
            <a:r>
              <a:rPr lang="nl-NL" sz="1600" dirty="0"/>
              <a:t>Looks in node planning </a:t>
            </a:r>
            <a:r>
              <a:rPr lang="nl-NL" sz="1600" dirty="0" err="1"/>
              <a:t>dictonairy</a:t>
            </a:r>
            <a:r>
              <a:rPr lang="nl-NL" sz="1600" dirty="0"/>
              <a:t>, </a:t>
            </a:r>
            <a:r>
              <a:rPr lang="nl-NL" sz="1600" dirty="0" err="1"/>
              <a:t>which</a:t>
            </a:r>
            <a:r>
              <a:rPr lang="nl-NL" sz="1600" dirty="0"/>
              <a:t> </a:t>
            </a:r>
            <a:r>
              <a:rPr lang="nl-NL" sz="1600" dirty="0" err="1"/>
              <a:t>constains</a:t>
            </a:r>
            <a:r>
              <a:rPr lang="nl-NL" sz="1600" dirty="0"/>
              <a:t> x </a:t>
            </a:r>
            <a:r>
              <a:rPr lang="nl-NL" sz="1600" dirty="0" err="1"/>
              <a:t>nodes</a:t>
            </a:r>
            <a:r>
              <a:rPr lang="nl-NL" sz="1600" dirty="0"/>
              <a:t> </a:t>
            </a:r>
            <a:r>
              <a:rPr lang="nl-NL" sz="1600" dirty="0" err="1"/>
              <a:t>ahead</a:t>
            </a:r>
            <a:r>
              <a:rPr lang="nl-NL" sz="1600" dirty="0"/>
              <a:t> </a:t>
            </a:r>
            <a:r>
              <a:rPr lang="nl-NL" sz="1600" dirty="0" err="1"/>
              <a:t>for</a:t>
            </a:r>
            <a:r>
              <a:rPr lang="nl-NL" sz="1600" dirty="0"/>
              <a:t> </a:t>
            </a:r>
            <a:r>
              <a:rPr lang="nl-NL" sz="1600" dirty="0" err="1"/>
              <a:t>each</a:t>
            </a:r>
            <a:r>
              <a:rPr lang="nl-NL" sz="1600" dirty="0"/>
              <a:t> agent, </a:t>
            </a:r>
            <a:r>
              <a:rPr lang="nl-NL" sz="1600" dirty="0" err="1"/>
              <a:t>whether</a:t>
            </a:r>
            <a:r>
              <a:rPr lang="nl-NL" sz="1600" dirty="0"/>
              <a:t> a conflict </a:t>
            </a:r>
            <a:r>
              <a:rPr lang="nl-NL" sz="1600" dirty="0" err="1"/>
              <a:t>will</a:t>
            </a:r>
            <a:r>
              <a:rPr lang="nl-NL" sz="1600" dirty="0"/>
              <a:t> </a:t>
            </a:r>
            <a:r>
              <a:rPr lang="nl-NL" sz="1600" dirty="0" err="1"/>
              <a:t>arise</a:t>
            </a:r>
            <a:r>
              <a:rPr lang="nl-NL" sz="1600" dirty="0"/>
              <a:t>. </a:t>
            </a:r>
          </a:p>
          <a:p>
            <a:pPr marL="800100" lvl="1" indent="-342900">
              <a:lnSpc>
                <a:spcPct val="90000"/>
              </a:lnSpc>
              <a:spcBef>
                <a:spcPts val="600"/>
              </a:spcBef>
              <a:spcAft>
                <a:spcPts val="600"/>
              </a:spcAft>
              <a:buAutoNum type="arabicPeriod"/>
            </a:pPr>
            <a:r>
              <a:rPr lang="nl-NL" sz="1600" dirty="0"/>
              <a:t>Starts conflict </a:t>
            </a:r>
            <a:r>
              <a:rPr lang="nl-NL" sz="1600" dirty="0" err="1"/>
              <a:t>resolution</a:t>
            </a:r>
            <a:r>
              <a:rPr lang="nl-NL" sz="1600" dirty="0"/>
              <a:t> </a:t>
            </a:r>
            <a:r>
              <a:rPr lang="nl-NL" sz="1600" dirty="0" err="1"/>
              <a:t>function</a:t>
            </a:r>
            <a:endParaRPr lang="nl-NL" sz="1600" dirty="0"/>
          </a:p>
          <a:p>
            <a:pPr marL="800100" lvl="1" indent="-342900">
              <a:lnSpc>
                <a:spcPct val="90000"/>
              </a:lnSpc>
              <a:spcBef>
                <a:spcPts val="600"/>
              </a:spcBef>
              <a:spcAft>
                <a:spcPts val="600"/>
              </a:spcAft>
              <a:buAutoNum type="arabicPeriod"/>
            </a:pPr>
            <a:endParaRPr lang="nl-NL" sz="1600" dirty="0"/>
          </a:p>
          <a:p>
            <a:pPr marL="342900" indent="-342900">
              <a:lnSpc>
                <a:spcPct val="90000"/>
              </a:lnSpc>
              <a:spcBef>
                <a:spcPts val="600"/>
              </a:spcBef>
              <a:spcAft>
                <a:spcPts val="600"/>
              </a:spcAft>
              <a:buAutoNum type="arabicPeriod"/>
            </a:pPr>
            <a:endParaRPr lang="nl-NL" sz="1600" dirty="0"/>
          </a:p>
        </p:txBody>
      </p:sp>
      <p:sp>
        <p:nvSpPr>
          <p:cNvPr id="6" name="TextBox 5">
            <a:extLst>
              <a:ext uri="{FF2B5EF4-FFF2-40B4-BE49-F238E27FC236}">
                <a16:creationId xmlns:a16="http://schemas.microsoft.com/office/drawing/2014/main" id="{95084CC1-416C-971A-441A-FA4474E81E6F}"/>
              </a:ext>
            </a:extLst>
          </p:cNvPr>
          <p:cNvSpPr txBox="1"/>
          <p:nvPr/>
        </p:nvSpPr>
        <p:spPr>
          <a:xfrm>
            <a:off x="5019675" y="1609725"/>
            <a:ext cx="6610350" cy="1700246"/>
          </a:xfrm>
          <a:prstGeom prst="rect">
            <a:avLst/>
          </a:prstGeom>
          <a:noFill/>
        </p:spPr>
        <p:txBody>
          <a:bodyPr wrap="square" lIns="0" tIns="0" rIns="0" bIns="0" rtlCol="0">
            <a:noAutofit/>
          </a:bodyPr>
          <a:lstStyle/>
          <a:p>
            <a:pPr algn="l">
              <a:lnSpc>
                <a:spcPct val="90000"/>
              </a:lnSpc>
              <a:spcBef>
                <a:spcPts val="600"/>
              </a:spcBef>
              <a:spcAft>
                <a:spcPts val="600"/>
              </a:spcAft>
            </a:pPr>
            <a:r>
              <a:rPr lang="nl-NL" sz="1600" dirty="0"/>
              <a:t>4. </a:t>
            </a:r>
            <a:r>
              <a:rPr lang="nl-NL" sz="1600" dirty="0" err="1"/>
              <a:t>Conflict_resolver</a:t>
            </a:r>
            <a:endParaRPr lang="nl-NL" sz="1600" dirty="0"/>
          </a:p>
          <a:p>
            <a:pPr marL="800100" lvl="1" indent="-342900">
              <a:lnSpc>
                <a:spcPct val="90000"/>
              </a:lnSpc>
              <a:spcBef>
                <a:spcPts val="600"/>
              </a:spcBef>
              <a:spcAft>
                <a:spcPts val="600"/>
              </a:spcAft>
              <a:buFont typeface="+mj-lt"/>
              <a:buAutoNum type="arabicPeriod"/>
            </a:pPr>
            <a:r>
              <a:rPr lang="nl-NL" sz="1600" dirty="0" err="1"/>
              <a:t>Uses</a:t>
            </a:r>
            <a:r>
              <a:rPr lang="nl-NL" sz="1600" dirty="0"/>
              <a:t> </a:t>
            </a:r>
            <a:r>
              <a:rPr lang="nl-NL" sz="1600" dirty="0" err="1"/>
              <a:t>determine_priority_level</a:t>
            </a:r>
            <a:endParaRPr lang="nl-NL" sz="1600" dirty="0"/>
          </a:p>
          <a:p>
            <a:pPr marL="800100" lvl="1" indent="-342900">
              <a:lnSpc>
                <a:spcPct val="90000"/>
              </a:lnSpc>
              <a:spcBef>
                <a:spcPts val="600"/>
              </a:spcBef>
              <a:spcAft>
                <a:spcPts val="600"/>
              </a:spcAft>
              <a:buFont typeface="+mj-lt"/>
              <a:buAutoNum type="arabicPeriod"/>
            </a:pPr>
            <a:r>
              <a:rPr lang="nl-NL" sz="1600" dirty="0" err="1"/>
              <a:t>Sends</a:t>
            </a:r>
            <a:r>
              <a:rPr lang="nl-NL" sz="1600" dirty="0"/>
              <a:t> priority level </a:t>
            </a:r>
            <a:r>
              <a:rPr lang="nl-NL" sz="1600" dirty="0" err="1"/>
              <a:t>to</a:t>
            </a:r>
            <a:r>
              <a:rPr lang="nl-NL" sz="1600" dirty="0"/>
              <a:t> </a:t>
            </a:r>
            <a:r>
              <a:rPr lang="nl-NL" sz="1600" dirty="0" err="1"/>
              <a:t>other</a:t>
            </a:r>
            <a:r>
              <a:rPr lang="nl-NL" sz="1600" dirty="0"/>
              <a:t> agent </a:t>
            </a:r>
            <a:r>
              <a:rPr lang="nl-NL" sz="1600" dirty="0" err="1"/>
              <a:t>involved</a:t>
            </a:r>
            <a:endParaRPr lang="nl-NL" sz="1600" dirty="0"/>
          </a:p>
          <a:p>
            <a:pPr marL="800100" lvl="1" indent="-342900">
              <a:lnSpc>
                <a:spcPct val="90000"/>
              </a:lnSpc>
              <a:spcBef>
                <a:spcPts val="600"/>
              </a:spcBef>
              <a:spcAft>
                <a:spcPts val="600"/>
              </a:spcAft>
              <a:buFont typeface="+mj-lt"/>
              <a:buAutoNum type="arabicPeriod"/>
            </a:pPr>
            <a:r>
              <a:rPr lang="nl-NL" sz="1600" dirty="0"/>
              <a:t>Sets </a:t>
            </a:r>
            <a:r>
              <a:rPr lang="nl-NL" sz="1600" dirty="0" err="1"/>
              <a:t>constraint</a:t>
            </a:r>
            <a:r>
              <a:rPr lang="nl-NL" sz="1600" dirty="0"/>
              <a:t> (</a:t>
            </a:r>
            <a:r>
              <a:rPr lang="nl-NL" sz="1600" dirty="0" err="1"/>
              <a:t>if</a:t>
            </a:r>
            <a:r>
              <a:rPr lang="nl-NL" sz="1600" dirty="0"/>
              <a:t> priority level is </a:t>
            </a:r>
            <a:r>
              <a:rPr lang="nl-NL" sz="1600" dirty="0" err="1"/>
              <a:t>lower</a:t>
            </a:r>
            <a:r>
              <a:rPr lang="nl-NL" sz="1600" dirty="0"/>
              <a:t> </a:t>
            </a:r>
            <a:r>
              <a:rPr lang="nl-NL" sz="1600" dirty="0" err="1"/>
              <a:t>than</a:t>
            </a:r>
            <a:r>
              <a:rPr lang="nl-NL" sz="1600" dirty="0"/>
              <a:t> </a:t>
            </a:r>
            <a:r>
              <a:rPr lang="nl-NL" sz="1600" dirty="0" err="1"/>
              <a:t>other</a:t>
            </a:r>
            <a:r>
              <a:rPr lang="nl-NL" sz="1600" dirty="0"/>
              <a:t> agent)</a:t>
            </a:r>
          </a:p>
          <a:p>
            <a:pPr marL="800100" lvl="1" indent="-342900">
              <a:lnSpc>
                <a:spcPct val="90000"/>
              </a:lnSpc>
              <a:spcBef>
                <a:spcPts val="600"/>
              </a:spcBef>
              <a:spcAft>
                <a:spcPts val="600"/>
              </a:spcAft>
              <a:buFont typeface="+mj-lt"/>
              <a:buAutoNum type="arabicPeriod"/>
            </a:pPr>
            <a:r>
              <a:rPr lang="nl-NL" sz="1600" dirty="0" err="1"/>
              <a:t>Initiates</a:t>
            </a:r>
            <a:r>
              <a:rPr lang="nl-NL" sz="1600" dirty="0"/>
              <a:t> new </a:t>
            </a:r>
            <a:r>
              <a:rPr lang="nl-NL" sz="1600" dirty="0" err="1"/>
              <a:t>Astar</a:t>
            </a:r>
            <a:r>
              <a:rPr lang="nl-NL" sz="1600" dirty="0"/>
              <a:t> planning</a:t>
            </a:r>
          </a:p>
        </p:txBody>
      </p:sp>
    </p:spTree>
    <p:extLst>
      <p:ext uri="{BB962C8B-B14F-4D97-AF65-F5344CB8AC3E}">
        <p14:creationId xmlns:p14="http://schemas.microsoft.com/office/powerpoint/2010/main" val="284090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448554-2F35-A723-A9A2-26417949758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B0731E8-889A-75B7-19BF-7788138D28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7519" y="2661126"/>
            <a:ext cx="8466104" cy="3588067"/>
          </a:xfrm>
          <a:prstGeom prst="rect">
            <a:avLst/>
          </a:prstGeom>
        </p:spPr>
      </p:pic>
      <p:sp>
        <p:nvSpPr>
          <p:cNvPr id="5" name="Tijdelijke aanduiding voor datum 4">
            <a:extLst>
              <a:ext uri="{FF2B5EF4-FFF2-40B4-BE49-F238E27FC236}">
                <a16:creationId xmlns:a16="http://schemas.microsoft.com/office/drawing/2014/main" id="{6E17CCD3-AD56-08AE-C8CA-3CBF4F705370}"/>
              </a:ext>
            </a:extLst>
          </p:cNvPr>
          <p:cNvSpPr>
            <a:spLocks noGrp="1"/>
          </p:cNvSpPr>
          <p:nvPr>
            <p:ph type="dt" sz="half" idx="18"/>
          </p:nvPr>
        </p:nvSpPr>
        <p:spPr>
          <a:xfrm>
            <a:off x="10146569" y="6405669"/>
            <a:ext cx="766235" cy="184666"/>
          </a:xfrm>
        </p:spPr>
        <p:txBody>
          <a:bodyPr/>
          <a:lstStyle/>
          <a:p>
            <a:fld id="{087A43E6-197A-4232-A775-7017A41F9758}" type="datetime1">
              <a:rPr lang="nl-NL" smtClean="0"/>
              <a:t>13-3-2025</a:t>
            </a:fld>
            <a:endParaRPr lang="en-GB" dirty="0"/>
          </a:p>
        </p:txBody>
      </p:sp>
      <p:sp>
        <p:nvSpPr>
          <p:cNvPr id="16" name="Tijdelijke aanduiding voor dianummer 15">
            <a:extLst>
              <a:ext uri="{FF2B5EF4-FFF2-40B4-BE49-F238E27FC236}">
                <a16:creationId xmlns:a16="http://schemas.microsoft.com/office/drawing/2014/main" id="{3835FBC6-0613-FBD4-AD33-E51FC88D2089}"/>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5</a:t>
            </a:fld>
            <a:endParaRPr lang="en-GB" dirty="0"/>
          </a:p>
        </p:txBody>
      </p:sp>
      <p:sp>
        <p:nvSpPr>
          <p:cNvPr id="14" name="Titel 13">
            <a:extLst>
              <a:ext uri="{FF2B5EF4-FFF2-40B4-BE49-F238E27FC236}">
                <a16:creationId xmlns:a16="http://schemas.microsoft.com/office/drawing/2014/main" id="{8D555E1E-E8AD-2A72-365C-4C6009AABF95}"/>
              </a:ext>
            </a:extLst>
          </p:cNvPr>
          <p:cNvSpPr>
            <a:spLocks noGrp="1"/>
          </p:cNvSpPr>
          <p:nvPr>
            <p:ph type="title"/>
          </p:nvPr>
        </p:nvSpPr>
        <p:spPr>
          <a:xfrm>
            <a:off x="718666" y="722454"/>
            <a:ext cx="10752610" cy="323409"/>
          </a:xfrm>
        </p:spPr>
        <p:txBody>
          <a:bodyPr/>
          <a:lstStyle/>
          <a:p>
            <a:r>
              <a:rPr lang="en-GB" dirty="0"/>
              <a:t>Baseline model – </a:t>
            </a:r>
            <a:r>
              <a:rPr lang="en-GB" dirty="0" err="1"/>
              <a:t>functionalites</a:t>
            </a:r>
            <a:r>
              <a:rPr lang="en-GB" dirty="0"/>
              <a:t> aircraft</a:t>
            </a:r>
          </a:p>
        </p:txBody>
      </p:sp>
      <p:sp>
        <p:nvSpPr>
          <p:cNvPr id="3" name="TextBox 2">
            <a:extLst>
              <a:ext uri="{FF2B5EF4-FFF2-40B4-BE49-F238E27FC236}">
                <a16:creationId xmlns:a16="http://schemas.microsoft.com/office/drawing/2014/main" id="{7E448AB4-E5E1-70FA-5862-FB0FA3F3375D}"/>
              </a:ext>
            </a:extLst>
          </p:cNvPr>
          <p:cNvSpPr txBox="1"/>
          <p:nvPr/>
        </p:nvSpPr>
        <p:spPr>
          <a:xfrm>
            <a:off x="438150" y="1647824"/>
            <a:ext cx="4295775" cy="4487721"/>
          </a:xfrm>
          <a:prstGeom prst="rect">
            <a:avLst/>
          </a:prstGeom>
          <a:noFill/>
        </p:spPr>
        <p:txBody>
          <a:bodyPr wrap="square" lIns="0" tIns="0" rIns="0" bIns="0" rtlCol="0">
            <a:noAutofit/>
          </a:bodyPr>
          <a:lstStyle/>
          <a:p>
            <a:pPr marL="342900" indent="-342900">
              <a:lnSpc>
                <a:spcPct val="90000"/>
              </a:lnSpc>
              <a:spcBef>
                <a:spcPts val="600"/>
              </a:spcBef>
              <a:spcAft>
                <a:spcPts val="600"/>
              </a:spcAft>
              <a:buAutoNum type="arabicPeriod"/>
            </a:pPr>
            <a:r>
              <a:rPr lang="nl-NL" sz="1600" dirty="0" err="1"/>
              <a:t>All</a:t>
            </a:r>
            <a:r>
              <a:rPr lang="nl-NL" sz="1600" dirty="0"/>
              <a:t> </a:t>
            </a:r>
            <a:r>
              <a:rPr lang="nl-NL" sz="1600" dirty="0" err="1"/>
              <a:t>functions</a:t>
            </a:r>
            <a:r>
              <a:rPr lang="nl-NL" sz="1600" dirty="0"/>
              <a:t> of </a:t>
            </a:r>
            <a:r>
              <a:rPr lang="nl-NL" sz="1600" dirty="0" err="1"/>
              <a:t>taxibot</a:t>
            </a:r>
            <a:endParaRPr lang="nl-NL" sz="1600" dirty="0"/>
          </a:p>
          <a:p>
            <a:pPr marL="342900" indent="-342900">
              <a:lnSpc>
                <a:spcPct val="90000"/>
              </a:lnSpc>
              <a:spcBef>
                <a:spcPts val="600"/>
              </a:spcBef>
              <a:spcAft>
                <a:spcPts val="600"/>
              </a:spcAft>
              <a:buAutoNum type="arabicPeriod"/>
            </a:pPr>
            <a:r>
              <a:rPr lang="nl-NL" sz="1600" dirty="0" err="1"/>
              <a:t>Request_taxibot</a:t>
            </a:r>
            <a:endParaRPr lang="nl-NL" sz="1600" dirty="0"/>
          </a:p>
          <a:p>
            <a:pPr marL="800100" lvl="1" indent="-342900">
              <a:lnSpc>
                <a:spcPct val="90000"/>
              </a:lnSpc>
              <a:spcBef>
                <a:spcPts val="600"/>
              </a:spcBef>
              <a:spcAft>
                <a:spcPts val="600"/>
              </a:spcAft>
              <a:buAutoNum type="arabicPeriod"/>
            </a:pPr>
            <a:r>
              <a:rPr lang="nl-NL" sz="1600" dirty="0" err="1"/>
              <a:t>When</a:t>
            </a:r>
            <a:r>
              <a:rPr lang="nl-NL" sz="1600" dirty="0"/>
              <a:t> </a:t>
            </a:r>
            <a:r>
              <a:rPr lang="nl-NL" sz="1600" dirty="0" err="1"/>
              <a:t>arrives</a:t>
            </a:r>
            <a:r>
              <a:rPr lang="nl-NL" sz="1600" dirty="0"/>
              <a:t> (gate or </a:t>
            </a:r>
            <a:r>
              <a:rPr lang="nl-NL" sz="1600" dirty="0" err="1"/>
              <a:t>runway</a:t>
            </a:r>
            <a:r>
              <a:rPr lang="nl-NL" sz="1600" dirty="0"/>
              <a:t>) </a:t>
            </a:r>
            <a:r>
              <a:rPr lang="nl-NL" sz="1600" dirty="0" err="1"/>
              <a:t>request</a:t>
            </a:r>
            <a:r>
              <a:rPr lang="nl-NL" sz="1600" dirty="0"/>
              <a:t> </a:t>
            </a:r>
            <a:r>
              <a:rPr lang="nl-NL" sz="1600" dirty="0" err="1"/>
              <a:t>availabilities</a:t>
            </a:r>
            <a:endParaRPr lang="nl-NL" sz="1600" dirty="0"/>
          </a:p>
          <a:p>
            <a:pPr marL="800100" lvl="1" indent="-342900">
              <a:lnSpc>
                <a:spcPct val="90000"/>
              </a:lnSpc>
              <a:spcBef>
                <a:spcPts val="600"/>
              </a:spcBef>
              <a:spcAft>
                <a:spcPts val="600"/>
              </a:spcAft>
              <a:buAutoNum type="arabicPeriod"/>
            </a:pPr>
            <a:r>
              <a:rPr lang="nl-NL" sz="1600" dirty="0" err="1"/>
              <a:t>Use</a:t>
            </a:r>
            <a:r>
              <a:rPr lang="nl-NL" sz="1600" dirty="0"/>
              <a:t> </a:t>
            </a:r>
            <a:r>
              <a:rPr lang="nl-NL" sz="1600" dirty="0" err="1"/>
              <a:t>heuristic</a:t>
            </a:r>
            <a:r>
              <a:rPr lang="nl-NL" sz="1600" dirty="0"/>
              <a:t> </a:t>
            </a:r>
            <a:r>
              <a:rPr lang="nl-NL" sz="1600" dirty="0" err="1"/>
              <a:t>to</a:t>
            </a:r>
            <a:r>
              <a:rPr lang="nl-NL" sz="1600" dirty="0"/>
              <a:t> </a:t>
            </a:r>
            <a:r>
              <a:rPr lang="nl-NL" sz="1600" dirty="0" err="1"/>
              <a:t>find</a:t>
            </a:r>
            <a:r>
              <a:rPr lang="nl-NL" sz="1600" dirty="0"/>
              <a:t> </a:t>
            </a:r>
            <a:r>
              <a:rPr lang="nl-NL" sz="1600" dirty="0" err="1"/>
              <a:t>shortest</a:t>
            </a:r>
            <a:r>
              <a:rPr lang="nl-NL" sz="1600" dirty="0"/>
              <a:t> </a:t>
            </a:r>
            <a:r>
              <a:rPr lang="nl-NL" sz="1600" dirty="0" err="1"/>
              <a:t>path</a:t>
            </a:r>
            <a:r>
              <a:rPr lang="nl-NL" sz="1600" dirty="0"/>
              <a:t> </a:t>
            </a:r>
            <a:r>
              <a:rPr lang="nl-NL" sz="1600" dirty="0" err="1"/>
              <a:t>and</a:t>
            </a:r>
            <a:r>
              <a:rPr lang="nl-NL" sz="1600" dirty="0"/>
              <a:t> </a:t>
            </a:r>
            <a:r>
              <a:rPr lang="nl-NL" sz="1600" dirty="0" err="1"/>
              <a:t>choose</a:t>
            </a:r>
            <a:r>
              <a:rPr lang="nl-NL" sz="1600" dirty="0"/>
              <a:t> </a:t>
            </a:r>
            <a:r>
              <a:rPr lang="nl-NL" sz="1600" dirty="0" err="1"/>
              <a:t>that</a:t>
            </a:r>
            <a:r>
              <a:rPr lang="nl-NL" sz="1600" dirty="0"/>
              <a:t> </a:t>
            </a:r>
            <a:r>
              <a:rPr lang="nl-NL" sz="1600" dirty="0" err="1"/>
              <a:t>taxibot</a:t>
            </a:r>
            <a:endParaRPr lang="nl-NL" sz="1600" dirty="0"/>
          </a:p>
          <a:p>
            <a:pPr marL="800100" lvl="1" indent="-342900">
              <a:lnSpc>
                <a:spcPct val="90000"/>
              </a:lnSpc>
              <a:spcBef>
                <a:spcPts val="600"/>
              </a:spcBef>
              <a:spcAft>
                <a:spcPts val="600"/>
              </a:spcAft>
              <a:buAutoNum type="arabicPeriod"/>
            </a:pPr>
            <a:r>
              <a:rPr lang="nl-NL" sz="1600" dirty="0"/>
              <a:t>Set </a:t>
            </a:r>
            <a:r>
              <a:rPr lang="nl-NL" sz="1600" dirty="0" err="1"/>
              <a:t>that</a:t>
            </a:r>
            <a:r>
              <a:rPr lang="nl-NL" sz="1600" dirty="0"/>
              <a:t> taxibots goal </a:t>
            </a:r>
          </a:p>
          <a:p>
            <a:pPr lvl="1">
              <a:lnSpc>
                <a:spcPct val="90000"/>
              </a:lnSpc>
              <a:spcBef>
                <a:spcPts val="600"/>
              </a:spcBef>
              <a:spcAft>
                <a:spcPts val="600"/>
              </a:spcAft>
            </a:pPr>
            <a:r>
              <a:rPr lang="nl-NL" sz="1600" dirty="0" err="1"/>
              <a:t>To</a:t>
            </a:r>
            <a:r>
              <a:rPr lang="nl-NL" sz="1600" dirty="0"/>
              <a:t> </a:t>
            </a:r>
            <a:r>
              <a:rPr lang="nl-NL" sz="1600" dirty="0" err="1"/>
              <a:t>its</a:t>
            </a:r>
            <a:r>
              <a:rPr lang="nl-NL" sz="1600" dirty="0"/>
              <a:t> </a:t>
            </a:r>
            <a:r>
              <a:rPr lang="nl-NL" sz="1600" dirty="0" err="1"/>
              <a:t>location</a:t>
            </a:r>
            <a:r>
              <a:rPr lang="nl-NL" sz="1600" dirty="0"/>
              <a:t> </a:t>
            </a:r>
          </a:p>
        </p:txBody>
      </p:sp>
      <p:sp>
        <p:nvSpPr>
          <p:cNvPr id="6" name="TextBox 5">
            <a:extLst>
              <a:ext uri="{FF2B5EF4-FFF2-40B4-BE49-F238E27FC236}">
                <a16:creationId xmlns:a16="http://schemas.microsoft.com/office/drawing/2014/main" id="{E4E24C29-6932-C3DA-3821-2FF743F87773}"/>
              </a:ext>
            </a:extLst>
          </p:cNvPr>
          <p:cNvSpPr txBox="1"/>
          <p:nvPr/>
        </p:nvSpPr>
        <p:spPr>
          <a:xfrm>
            <a:off x="5019675" y="1609725"/>
            <a:ext cx="6610350" cy="1700246"/>
          </a:xfrm>
          <a:prstGeom prst="rect">
            <a:avLst/>
          </a:prstGeom>
          <a:noFill/>
        </p:spPr>
        <p:txBody>
          <a:bodyPr wrap="square" lIns="0" tIns="0" rIns="0" bIns="0" rtlCol="0">
            <a:noAutofit/>
          </a:bodyPr>
          <a:lstStyle/>
          <a:p>
            <a:pPr algn="l">
              <a:lnSpc>
                <a:spcPct val="90000"/>
              </a:lnSpc>
              <a:spcBef>
                <a:spcPts val="600"/>
              </a:spcBef>
              <a:spcAft>
                <a:spcPts val="600"/>
              </a:spcAft>
            </a:pPr>
            <a:endParaRPr lang="nl-NL" sz="1600" dirty="0"/>
          </a:p>
        </p:txBody>
      </p:sp>
    </p:spTree>
    <p:extLst>
      <p:ext uri="{BB962C8B-B14F-4D97-AF65-F5344CB8AC3E}">
        <p14:creationId xmlns:p14="http://schemas.microsoft.com/office/powerpoint/2010/main" val="274090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9D98B-6CFB-BA1D-508A-E6881EFB83F2}"/>
            </a:ext>
          </a:extLst>
        </p:cNvPr>
        <p:cNvGrpSpPr/>
        <p:nvPr/>
      </p:nvGrpSpPr>
      <p:grpSpPr>
        <a:xfrm>
          <a:off x="0" y="0"/>
          <a:ext cx="0" cy="0"/>
          <a:chOff x="0" y="0"/>
          <a:chExt cx="0" cy="0"/>
        </a:xfrm>
      </p:grpSpPr>
      <p:sp>
        <p:nvSpPr>
          <p:cNvPr id="5" name="Tijdelijke aanduiding voor datum 4">
            <a:extLst>
              <a:ext uri="{FF2B5EF4-FFF2-40B4-BE49-F238E27FC236}">
                <a16:creationId xmlns:a16="http://schemas.microsoft.com/office/drawing/2014/main" id="{3DED8572-59DB-F882-7E3B-C1549D0B63ED}"/>
              </a:ext>
            </a:extLst>
          </p:cNvPr>
          <p:cNvSpPr>
            <a:spLocks noGrp="1"/>
          </p:cNvSpPr>
          <p:nvPr>
            <p:ph type="dt" sz="half" idx="18"/>
          </p:nvPr>
        </p:nvSpPr>
        <p:spPr>
          <a:xfrm>
            <a:off x="10146569" y="6405669"/>
            <a:ext cx="766235" cy="184666"/>
          </a:xfrm>
        </p:spPr>
        <p:txBody>
          <a:bodyPr/>
          <a:lstStyle/>
          <a:p>
            <a:fld id="{087A43E6-197A-4232-A775-7017A41F9758}" type="datetime1">
              <a:rPr lang="nl-NL" smtClean="0"/>
              <a:t>13-3-2025</a:t>
            </a:fld>
            <a:endParaRPr lang="en-GB" dirty="0"/>
          </a:p>
        </p:txBody>
      </p:sp>
      <p:sp>
        <p:nvSpPr>
          <p:cNvPr id="16" name="Tijdelijke aanduiding voor dianummer 15">
            <a:extLst>
              <a:ext uri="{FF2B5EF4-FFF2-40B4-BE49-F238E27FC236}">
                <a16:creationId xmlns:a16="http://schemas.microsoft.com/office/drawing/2014/main" id="{B2532724-9B30-4341-754B-6C1E6DB0C54D}"/>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6</a:t>
            </a:fld>
            <a:endParaRPr lang="en-GB" dirty="0"/>
          </a:p>
        </p:txBody>
      </p:sp>
      <p:sp>
        <p:nvSpPr>
          <p:cNvPr id="14" name="Titel 13">
            <a:extLst>
              <a:ext uri="{FF2B5EF4-FFF2-40B4-BE49-F238E27FC236}">
                <a16:creationId xmlns:a16="http://schemas.microsoft.com/office/drawing/2014/main" id="{C2670D10-A0D5-EA77-91F8-37A4C7A0C15E}"/>
              </a:ext>
            </a:extLst>
          </p:cNvPr>
          <p:cNvSpPr>
            <a:spLocks noGrp="1"/>
          </p:cNvSpPr>
          <p:nvPr>
            <p:ph type="title"/>
          </p:nvPr>
        </p:nvSpPr>
        <p:spPr>
          <a:xfrm>
            <a:off x="718666" y="722454"/>
            <a:ext cx="10752610" cy="323409"/>
          </a:xfrm>
        </p:spPr>
        <p:txBody>
          <a:bodyPr/>
          <a:lstStyle/>
          <a:p>
            <a:r>
              <a:rPr lang="en-GB" dirty="0"/>
              <a:t>Extended model</a:t>
            </a:r>
          </a:p>
        </p:txBody>
      </p:sp>
      <p:sp>
        <p:nvSpPr>
          <p:cNvPr id="6" name="TextBox 5">
            <a:extLst>
              <a:ext uri="{FF2B5EF4-FFF2-40B4-BE49-F238E27FC236}">
                <a16:creationId xmlns:a16="http://schemas.microsoft.com/office/drawing/2014/main" id="{3B9D5D5A-9EFA-530E-5931-A4ABE4F4461E}"/>
              </a:ext>
            </a:extLst>
          </p:cNvPr>
          <p:cNvSpPr txBox="1"/>
          <p:nvPr/>
        </p:nvSpPr>
        <p:spPr>
          <a:xfrm>
            <a:off x="5019675" y="1609725"/>
            <a:ext cx="6610350" cy="1700246"/>
          </a:xfrm>
          <a:prstGeom prst="rect">
            <a:avLst/>
          </a:prstGeom>
          <a:noFill/>
        </p:spPr>
        <p:txBody>
          <a:bodyPr wrap="square" lIns="0" tIns="0" rIns="0" bIns="0" rtlCol="0">
            <a:noAutofit/>
          </a:bodyPr>
          <a:lstStyle/>
          <a:p>
            <a:pPr algn="l">
              <a:lnSpc>
                <a:spcPct val="90000"/>
              </a:lnSpc>
              <a:spcBef>
                <a:spcPts val="600"/>
              </a:spcBef>
              <a:spcAft>
                <a:spcPts val="600"/>
              </a:spcAft>
            </a:pPr>
            <a:endParaRPr lang="nl-NL" sz="1600" dirty="0"/>
          </a:p>
        </p:txBody>
      </p:sp>
      <p:pic>
        <p:nvPicPr>
          <p:cNvPr id="2" name="Picture 1">
            <a:extLst>
              <a:ext uri="{FF2B5EF4-FFF2-40B4-BE49-F238E27FC236}">
                <a16:creationId xmlns:a16="http://schemas.microsoft.com/office/drawing/2014/main" id="{B98E32E9-C238-0D52-330A-6A004A6E881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343144" y="1270647"/>
            <a:ext cx="7503653" cy="4864899"/>
          </a:xfrm>
          <a:prstGeom prst="rect">
            <a:avLst/>
          </a:prstGeom>
        </p:spPr>
      </p:pic>
    </p:spTree>
    <p:extLst>
      <p:ext uri="{BB962C8B-B14F-4D97-AF65-F5344CB8AC3E}">
        <p14:creationId xmlns:p14="http://schemas.microsoft.com/office/powerpoint/2010/main" val="45775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C69F4-884E-61D2-76E2-6D0A0F787463}"/>
            </a:ext>
          </a:extLst>
        </p:cNvPr>
        <p:cNvGrpSpPr/>
        <p:nvPr/>
      </p:nvGrpSpPr>
      <p:grpSpPr>
        <a:xfrm>
          <a:off x="0" y="0"/>
          <a:ext cx="0" cy="0"/>
          <a:chOff x="0" y="0"/>
          <a:chExt cx="0" cy="0"/>
        </a:xfrm>
      </p:grpSpPr>
      <p:sp>
        <p:nvSpPr>
          <p:cNvPr id="5" name="Tijdelijke aanduiding voor datum 4">
            <a:extLst>
              <a:ext uri="{FF2B5EF4-FFF2-40B4-BE49-F238E27FC236}">
                <a16:creationId xmlns:a16="http://schemas.microsoft.com/office/drawing/2014/main" id="{97459BCD-F523-99FF-59D4-775A59DF4873}"/>
              </a:ext>
            </a:extLst>
          </p:cNvPr>
          <p:cNvSpPr>
            <a:spLocks noGrp="1"/>
          </p:cNvSpPr>
          <p:nvPr>
            <p:ph type="dt" sz="half" idx="18"/>
          </p:nvPr>
        </p:nvSpPr>
        <p:spPr>
          <a:xfrm>
            <a:off x="10146569" y="6405669"/>
            <a:ext cx="766235" cy="184666"/>
          </a:xfrm>
        </p:spPr>
        <p:txBody>
          <a:bodyPr/>
          <a:lstStyle/>
          <a:p>
            <a:fld id="{087A43E6-197A-4232-A775-7017A41F9758}" type="datetime1">
              <a:rPr lang="nl-NL" smtClean="0"/>
              <a:t>13-3-2025</a:t>
            </a:fld>
            <a:endParaRPr lang="en-GB" dirty="0"/>
          </a:p>
        </p:txBody>
      </p:sp>
      <p:sp>
        <p:nvSpPr>
          <p:cNvPr id="16" name="Tijdelijke aanduiding voor dianummer 15">
            <a:extLst>
              <a:ext uri="{FF2B5EF4-FFF2-40B4-BE49-F238E27FC236}">
                <a16:creationId xmlns:a16="http://schemas.microsoft.com/office/drawing/2014/main" id="{E496F27B-ED70-70B1-6432-07CEAAF80E7D}"/>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7</a:t>
            </a:fld>
            <a:endParaRPr lang="en-GB" dirty="0"/>
          </a:p>
        </p:txBody>
      </p:sp>
      <p:sp>
        <p:nvSpPr>
          <p:cNvPr id="14" name="Titel 13">
            <a:extLst>
              <a:ext uri="{FF2B5EF4-FFF2-40B4-BE49-F238E27FC236}">
                <a16:creationId xmlns:a16="http://schemas.microsoft.com/office/drawing/2014/main" id="{D8171EAA-BB02-AB85-BD7C-731ACB075AF6}"/>
              </a:ext>
            </a:extLst>
          </p:cNvPr>
          <p:cNvSpPr>
            <a:spLocks noGrp="1"/>
          </p:cNvSpPr>
          <p:nvPr>
            <p:ph type="title"/>
          </p:nvPr>
        </p:nvSpPr>
        <p:spPr>
          <a:xfrm>
            <a:off x="718666" y="722454"/>
            <a:ext cx="10752610" cy="323409"/>
          </a:xfrm>
        </p:spPr>
        <p:txBody>
          <a:bodyPr/>
          <a:lstStyle/>
          <a:p>
            <a:r>
              <a:rPr lang="en-GB" dirty="0"/>
              <a:t>Baseline model – </a:t>
            </a:r>
            <a:r>
              <a:rPr lang="en-GB" dirty="0" err="1"/>
              <a:t>functionalites</a:t>
            </a:r>
            <a:r>
              <a:rPr lang="en-GB" dirty="0"/>
              <a:t> central controller</a:t>
            </a:r>
          </a:p>
        </p:txBody>
      </p:sp>
      <p:sp>
        <p:nvSpPr>
          <p:cNvPr id="3" name="TextBox 2">
            <a:extLst>
              <a:ext uri="{FF2B5EF4-FFF2-40B4-BE49-F238E27FC236}">
                <a16:creationId xmlns:a16="http://schemas.microsoft.com/office/drawing/2014/main" id="{B26D3EF0-24B0-AA6F-8FA6-AB294FA106F4}"/>
              </a:ext>
            </a:extLst>
          </p:cNvPr>
          <p:cNvSpPr txBox="1"/>
          <p:nvPr/>
        </p:nvSpPr>
        <p:spPr>
          <a:xfrm>
            <a:off x="438150" y="1647824"/>
            <a:ext cx="4295775" cy="4487721"/>
          </a:xfrm>
          <a:prstGeom prst="rect">
            <a:avLst/>
          </a:prstGeom>
          <a:noFill/>
        </p:spPr>
        <p:txBody>
          <a:bodyPr wrap="square" lIns="0" tIns="0" rIns="0" bIns="0" rtlCol="0">
            <a:noAutofit/>
          </a:bodyPr>
          <a:lstStyle/>
          <a:p>
            <a:pPr marL="342900" indent="-342900">
              <a:lnSpc>
                <a:spcPct val="90000"/>
              </a:lnSpc>
              <a:spcBef>
                <a:spcPts val="600"/>
              </a:spcBef>
              <a:spcAft>
                <a:spcPts val="600"/>
              </a:spcAft>
              <a:buAutoNum type="arabicPeriod"/>
            </a:pPr>
            <a:endParaRPr lang="nl-NL" sz="1600" dirty="0"/>
          </a:p>
        </p:txBody>
      </p:sp>
      <p:sp>
        <p:nvSpPr>
          <p:cNvPr id="6" name="TextBox 5">
            <a:extLst>
              <a:ext uri="{FF2B5EF4-FFF2-40B4-BE49-F238E27FC236}">
                <a16:creationId xmlns:a16="http://schemas.microsoft.com/office/drawing/2014/main" id="{9CE87E32-291B-85A9-E5EB-0D82A8485FAB}"/>
              </a:ext>
            </a:extLst>
          </p:cNvPr>
          <p:cNvSpPr txBox="1"/>
          <p:nvPr/>
        </p:nvSpPr>
        <p:spPr>
          <a:xfrm>
            <a:off x="847727" y="1647824"/>
            <a:ext cx="6610350" cy="1700246"/>
          </a:xfrm>
          <a:prstGeom prst="rect">
            <a:avLst/>
          </a:prstGeom>
          <a:noFill/>
        </p:spPr>
        <p:txBody>
          <a:bodyPr wrap="square" lIns="0" tIns="0" rIns="0" bIns="0" rtlCol="0">
            <a:noAutofit/>
          </a:bodyPr>
          <a:lstStyle/>
          <a:p>
            <a:pPr marL="342900" indent="-342900" algn="l">
              <a:lnSpc>
                <a:spcPct val="90000"/>
              </a:lnSpc>
              <a:spcBef>
                <a:spcPts val="600"/>
              </a:spcBef>
              <a:spcAft>
                <a:spcPts val="600"/>
              </a:spcAft>
              <a:buAutoNum type="arabicPeriod"/>
            </a:pPr>
            <a:r>
              <a:rPr lang="nl-NL" sz="1600" dirty="0" err="1"/>
              <a:t>Gather</a:t>
            </a:r>
            <a:r>
              <a:rPr lang="nl-NL" sz="1600" dirty="0"/>
              <a:t> </a:t>
            </a:r>
            <a:r>
              <a:rPr lang="nl-NL" sz="1600" dirty="0" err="1"/>
              <a:t>all</a:t>
            </a:r>
            <a:r>
              <a:rPr lang="nl-NL" sz="1600" dirty="0"/>
              <a:t> </a:t>
            </a:r>
            <a:r>
              <a:rPr lang="nl-NL" sz="1600" dirty="0" err="1"/>
              <a:t>paths</a:t>
            </a:r>
            <a:r>
              <a:rPr lang="nl-NL" sz="1600" dirty="0"/>
              <a:t> of </a:t>
            </a:r>
            <a:r>
              <a:rPr lang="nl-NL" sz="1600" dirty="0" err="1"/>
              <a:t>all</a:t>
            </a:r>
            <a:r>
              <a:rPr lang="nl-NL" sz="1600" dirty="0"/>
              <a:t> </a:t>
            </a:r>
            <a:r>
              <a:rPr lang="nl-NL" sz="1600" dirty="0" err="1"/>
              <a:t>agents</a:t>
            </a:r>
            <a:endParaRPr lang="nl-NL" sz="1600" dirty="0"/>
          </a:p>
          <a:p>
            <a:pPr marL="342900" indent="-342900" algn="l">
              <a:lnSpc>
                <a:spcPct val="90000"/>
              </a:lnSpc>
              <a:spcBef>
                <a:spcPts val="600"/>
              </a:spcBef>
              <a:spcAft>
                <a:spcPts val="600"/>
              </a:spcAft>
              <a:buAutoNum type="arabicPeriod"/>
            </a:pPr>
            <a:r>
              <a:rPr lang="nl-NL" sz="1600" dirty="0" err="1"/>
              <a:t>Determine</a:t>
            </a:r>
            <a:r>
              <a:rPr lang="nl-NL" sz="1600" dirty="0"/>
              <a:t> busy choke points</a:t>
            </a:r>
          </a:p>
          <a:p>
            <a:pPr marL="342900" indent="-342900" algn="l">
              <a:lnSpc>
                <a:spcPct val="90000"/>
              </a:lnSpc>
              <a:spcBef>
                <a:spcPts val="600"/>
              </a:spcBef>
              <a:spcAft>
                <a:spcPts val="600"/>
              </a:spcAft>
              <a:buAutoNum type="arabicPeriod"/>
            </a:pPr>
            <a:r>
              <a:rPr lang="nl-NL" sz="1600" dirty="0"/>
              <a:t>Set </a:t>
            </a:r>
            <a:r>
              <a:rPr lang="nl-NL" sz="1600" dirty="0" err="1"/>
              <a:t>cost</a:t>
            </a:r>
            <a:r>
              <a:rPr lang="nl-NL" sz="1600" dirty="0"/>
              <a:t> </a:t>
            </a:r>
            <a:r>
              <a:rPr lang="nl-NL" sz="1600" dirty="0" err="1"/>
              <a:t>to</a:t>
            </a:r>
            <a:r>
              <a:rPr lang="nl-NL" sz="1600" dirty="0"/>
              <a:t> drive over choke point </a:t>
            </a:r>
            <a:r>
              <a:rPr lang="nl-NL" sz="1600" dirty="0" err="1"/>
              <a:t>higher</a:t>
            </a:r>
            <a:r>
              <a:rPr lang="nl-NL" sz="1600" dirty="0"/>
              <a:t> (</a:t>
            </a:r>
            <a:r>
              <a:rPr lang="nl-NL" sz="1600" dirty="0" err="1"/>
              <a:t>calibrate</a:t>
            </a:r>
            <a:r>
              <a:rPr lang="nl-NL" sz="1600" dirty="0"/>
              <a:t> </a:t>
            </a:r>
            <a:r>
              <a:rPr lang="nl-NL" sz="1600" dirty="0" err="1"/>
              <a:t>when</a:t>
            </a:r>
            <a:r>
              <a:rPr lang="nl-NL" sz="1600" dirty="0"/>
              <a:t> </a:t>
            </a:r>
            <a:r>
              <a:rPr lang="nl-NL" sz="1600" dirty="0" err="1"/>
              <a:t>necessary</a:t>
            </a:r>
            <a:r>
              <a:rPr lang="nl-NL" sz="1600" dirty="0"/>
              <a:t>)</a:t>
            </a:r>
          </a:p>
          <a:p>
            <a:pPr algn="l">
              <a:lnSpc>
                <a:spcPct val="90000"/>
              </a:lnSpc>
              <a:spcBef>
                <a:spcPts val="600"/>
              </a:spcBef>
              <a:spcAft>
                <a:spcPts val="600"/>
              </a:spcAft>
            </a:pPr>
            <a:endParaRPr lang="nl-NL" sz="1600" dirty="0"/>
          </a:p>
        </p:txBody>
      </p:sp>
    </p:spTree>
    <p:extLst>
      <p:ext uri="{BB962C8B-B14F-4D97-AF65-F5344CB8AC3E}">
        <p14:creationId xmlns:p14="http://schemas.microsoft.com/office/powerpoint/2010/main" val="2685572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8</a:t>
            </a:fld>
            <a:endParaRPr lang="en-GB" dirty="0"/>
          </a:p>
        </p:txBody>
      </p:sp>
      <p:sp>
        <p:nvSpPr>
          <p:cNvPr id="2" name="Rechthoek 1">
            <a:extLst>
              <a:ext uri="{FF2B5EF4-FFF2-40B4-BE49-F238E27FC236}">
                <a16:creationId xmlns:a16="http://schemas.microsoft.com/office/drawing/2014/main" id="{36102112-C438-D13C-6335-326E6F2420A1}"/>
              </a:ext>
            </a:extLst>
          </p:cNvPr>
          <p:cNvSpPr>
            <a:spLocks noGrp="1" noRot="1" noMove="1" noResize="1" noEditPoints="1" noAdjustHandles="1" noChangeArrowheads="1" noChangeShapeType="1"/>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nvGrpSpPr>
          <p:cNvPr id="3" name="Groep 2">
            <a:extLst>
              <a:ext uri="{FF2B5EF4-FFF2-40B4-BE49-F238E27FC236}">
                <a16:creationId xmlns:a16="http://schemas.microsoft.com/office/drawing/2014/main" id="{3E21F999-9BE4-73A4-CEC3-8DB27FA1FE2D}"/>
              </a:ext>
            </a:extLst>
          </p:cNvPr>
          <p:cNvGrpSpPr>
            <a:grpSpLocks noGrp="1" noUngrp="1" noRot="1" noMove="1" noResize="1"/>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noGrp="1" noRot="1" noMove="1" noResize="1" noEditPoints="1" noAdjustHandles="1" noChangeArrowheads="1" noChangeShapeType="1"/>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noGrp="1" noRot="1" noMove="1" noResize="1" noEditPoints="1" noAdjustHandles="1" noChangeArrowheads="1" noChangeShapeType="1"/>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noGrp="1" noRot="1" noMove="1" noResize="1" noEditPoints="1" noAdjustHandles="1" noChangeArrowheads="1" noChangeShapeType="1"/>
          </p:cNvSpPr>
          <p:nvPr/>
        </p:nvSpPr>
        <p:spPr>
          <a:xfrm>
            <a:off x="5452533" y="2697634"/>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Questions</a:t>
            </a:r>
          </a:p>
        </p:txBody>
      </p:sp>
      <p:grpSp>
        <p:nvGrpSpPr>
          <p:cNvPr id="14" name="HYPER HOME">
            <a:extLst>
              <a:ext uri="{FF2B5EF4-FFF2-40B4-BE49-F238E27FC236}">
                <a16:creationId xmlns:a16="http://schemas.microsoft.com/office/drawing/2014/main" id="{5D05D054-45CC-7D83-82E1-9E81DEEA94B3}"/>
              </a:ext>
            </a:extLst>
          </p:cNvPr>
          <p:cNvGrpSpPr/>
          <p:nvPr/>
        </p:nvGrpSpPr>
        <p:grpSpPr>
          <a:xfrm>
            <a:off x="11460480" y="0"/>
            <a:ext cx="731520" cy="731520"/>
            <a:chOff x="11460480" y="0"/>
            <a:chExt cx="731520" cy="731520"/>
          </a:xfrm>
        </p:grpSpPr>
        <p:pic>
          <p:nvPicPr>
            <p:cNvPr id="8" name="Graphic 7">
              <a:extLst>
                <a:ext uri="{FF2B5EF4-FFF2-40B4-BE49-F238E27FC236}">
                  <a16:creationId xmlns:a16="http://schemas.microsoft.com/office/drawing/2014/main" id="{DCB45EDE-9D21-0267-58E9-80EF0C6BDA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04320" y="259080"/>
              <a:ext cx="228600" cy="228600"/>
            </a:xfrm>
            <a:prstGeom prst="rect">
              <a:avLst/>
            </a:prstGeom>
          </p:spPr>
        </p:pic>
        <p:sp>
          <p:nvSpPr>
            <p:cNvPr id="12" name="Rechthoek 11">
              <a:hlinkClick r:id="rId4" action="ppaction://hlinksldjump"/>
              <a:extLst>
                <a:ext uri="{FF2B5EF4-FFF2-40B4-BE49-F238E27FC236}">
                  <a16:creationId xmlns:a16="http://schemas.microsoft.com/office/drawing/2014/main" id="{01D3BD0C-0C56-7460-6BDF-81CC4AA03C50}"/>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1111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1000" fill="hold"/>
                                        <p:tgtEl>
                                          <p:spTgt spid="2"/>
                                        </p:tgtEl>
                                        <p:attrNameLst>
                                          <p:attrName>ppt_x</p:attrName>
                                        </p:attrNameLst>
                                      </p:cBhvr>
                                      <p:tavLst>
                                        <p:tav tm="0">
                                          <p:val>
                                            <p:strVal val="1+#ppt_w/2"/>
                                          </p:val>
                                        </p:tav>
                                        <p:tav tm="100000">
                                          <p:val>
                                            <p:strVal val="#ppt_x"/>
                                          </p:val>
                                        </p:tav>
                                      </p:tavLst>
                                    </p:anim>
                                    <p:anim calcmode="lin" valueType="num">
                                      <p:cBhvr additive="base">
                                        <p:cTn id="12" dur="1000" fill="hold"/>
                                        <p:tgtEl>
                                          <p:spTgt spid="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750"/>
                                  </p:stCondLst>
                                  <p:iterate type="lt">
                                    <p:tmPct val="10000"/>
                                  </p:iterate>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F0AD81DD-0B80-233C-DBAF-E913CE0B8688}"/>
              </a:ext>
            </a:extLst>
          </p:cNvPr>
          <p:cNvSpPr>
            <a:spLocks noGrp="1"/>
          </p:cNvSpPr>
          <p:nvPr>
            <p:ph type="title"/>
          </p:nvPr>
        </p:nvSpPr>
        <p:spPr/>
        <p:txBody>
          <a:bodyPr/>
          <a:lstStyle/>
          <a:p>
            <a:r>
              <a:rPr lang="en-GB" dirty="0"/>
              <a:t>Quote</a:t>
            </a:r>
          </a:p>
        </p:txBody>
      </p:sp>
      <p:sp>
        <p:nvSpPr>
          <p:cNvPr id="4" name="Tijdelijke aanduiding voor dianummer 3">
            <a:extLst>
              <a:ext uri="{FF2B5EF4-FFF2-40B4-BE49-F238E27FC236}">
                <a16:creationId xmlns:a16="http://schemas.microsoft.com/office/drawing/2014/main" id="{2D399DFC-B3BC-0F05-71CA-09FAF512A9AA}"/>
              </a:ext>
            </a:extLst>
          </p:cNvPr>
          <p:cNvSpPr>
            <a:spLocks noGrp="1"/>
          </p:cNvSpPr>
          <p:nvPr>
            <p:ph type="sldNum" sz="quarter" idx="12"/>
          </p:nvPr>
        </p:nvSpPr>
        <p:spPr/>
        <p:txBody>
          <a:bodyPr/>
          <a:lstStyle/>
          <a:p>
            <a:fld id="{9E843DB9-9987-4157-AB9C-CEA8D7D910BB}" type="slidenum">
              <a:rPr lang="en-GB" smtClean="0"/>
              <a:pPr/>
              <a:t>9</a:t>
            </a:fld>
            <a:endParaRPr lang="en-GB" dirty="0"/>
          </a:p>
        </p:txBody>
      </p:sp>
      <p:pic>
        <p:nvPicPr>
          <p:cNvPr id="30" name="Tijdelijke aanduiding voor afbeelding 29" descr="Afbeelding met wolk, natuur, hemel, ruimte&#10;&#10;Automatisch gegenereerde beschrijving">
            <a:extLst>
              <a:ext uri="{FF2B5EF4-FFF2-40B4-BE49-F238E27FC236}">
                <a16:creationId xmlns:a16="http://schemas.microsoft.com/office/drawing/2014/main" id="{9D025B65-89AC-4300-567C-3F442C92F442}"/>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19351" t="12452" r="19351"/>
          <a:stretch/>
        </p:blipFill>
        <p:spPr>
          <a:xfrm>
            <a:off x="0" y="1"/>
            <a:ext cx="12192000" cy="6000749"/>
          </a:xfrm>
        </p:spPr>
      </p:pic>
      <p:grpSp>
        <p:nvGrpSpPr>
          <p:cNvPr id="2" name="HYPER HOME">
            <a:extLst>
              <a:ext uri="{FF2B5EF4-FFF2-40B4-BE49-F238E27FC236}">
                <a16:creationId xmlns:a16="http://schemas.microsoft.com/office/drawing/2014/main" id="{8224B2F0-103C-22FC-4CFD-C2F17A1D3303}"/>
              </a:ext>
            </a:extLst>
          </p:cNvPr>
          <p:cNvGrpSpPr/>
          <p:nvPr/>
        </p:nvGrpSpPr>
        <p:grpSpPr>
          <a:xfrm>
            <a:off x="11460480" y="0"/>
            <a:ext cx="731520" cy="731520"/>
            <a:chOff x="11460480" y="0"/>
            <a:chExt cx="731520" cy="731520"/>
          </a:xfrm>
        </p:grpSpPr>
        <p:pic>
          <p:nvPicPr>
            <p:cNvPr id="5" name="Graphic 4">
              <a:extLst>
                <a:ext uri="{FF2B5EF4-FFF2-40B4-BE49-F238E27FC236}">
                  <a16:creationId xmlns:a16="http://schemas.microsoft.com/office/drawing/2014/main" id="{F778AEF8-C7DE-F86B-39CE-64E59887A8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6" name="Rechthoek 5">
              <a:hlinkClick r:id="rId6" action="ppaction://hlinksldjump"/>
              <a:extLst>
                <a:ext uri="{FF2B5EF4-FFF2-40B4-BE49-F238E27FC236}">
                  <a16:creationId xmlns:a16="http://schemas.microsoft.com/office/drawing/2014/main" id="{823FFBEA-E1BC-46F3-2D61-7C6F0283789F}"/>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18" name="Rechthoek 17">
            <a:extLst>
              <a:ext uri="{FF2B5EF4-FFF2-40B4-BE49-F238E27FC236}">
                <a16:creationId xmlns:a16="http://schemas.microsoft.com/office/drawing/2014/main" id="{1F41E82D-2A3F-9AD6-9A84-E20372200013}"/>
              </a:ext>
            </a:extLst>
          </p:cNvPr>
          <p:cNvSpPr/>
          <p:nvPr/>
        </p:nvSpPr>
        <p:spPr>
          <a:xfrm>
            <a:off x="0" y="6000748"/>
            <a:ext cx="12192000" cy="857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nvGrpSpPr>
          <p:cNvPr id="7" name="Groep 6">
            <a:extLst>
              <a:ext uri="{FF2B5EF4-FFF2-40B4-BE49-F238E27FC236}">
                <a16:creationId xmlns:a16="http://schemas.microsoft.com/office/drawing/2014/main" id="{049F1B85-351F-526C-8614-8711C3DBE861}"/>
              </a:ext>
            </a:extLst>
          </p:cNvPr>
          <p:cNvGrpSpPr/>
          <p:nvPr/>
        </p:nvGrpSpPr>
        <p:grpSpPr>
          <a:xfrm>
            <a:off x="721079" y="6216736"/>
            <a:ext cx="961200" cy="381600"/>
            <a:chOff x="2807303" y="2354764"/>
            <a:chExt cx="944974" cy="368527"/>
          </a:xfrm>
        </p:grpSpPr>
        <p:sp>
          <p:nvSpPr>
            <p:cNvPr id="8" name="Vrije vorm: vorm 7">
              <a:extLst>
                <a:ext uri="{FF2B5EF4-FFF2-40B4-BE49-F238E27FC236}">
                  <a16:creationId xmlns:a16="http://schemas.microsoft.com/office/drawing/2014/main" id="{AC74AB42-072B-D0C0-E9E9-E5ABCC4D3818}"/>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9" name="Vrije vorm: vorm 8">
              <a:extLst>
                <a:ext uri="{FF2B5EF4-FFF2-40B4-BE49-F238E27FC236}">
                  <a16:creationId xmlns:a16="http://schemas.microsoft.com/office/drawing/2014/main" id="{202164BB-F9E2-259E-FA15-73C9B072BD8C}"/>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10" name="Vrije vorm: vorm 9">
              <a:extLst>
                <a:ext uri="{FF2B5EF4-FFF2-40B4-BE49-F238E27FC236}">
                  <a16:creationId xmlns:a16="http://schemas.microsoft.com/office/drawing/2014/main" id="{0B3AE7DE-F309-AD3B-2C5D-2374BE7F4362}"/>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dirty="0"/>
            </a:p>
          </p:txBody>
        </p:sp>
        <p:sp>
          <p:nvSpPr>
            <p:cNvPr id="11" name="Vrije vorm: vorm 10">
              <a:extLst>
                <a:ext uri="{FF2B5EF4-FFF2-40B4-BE49-F238E27FC236}">
                  <a16:creationId xmlns:a16="http://schemas.microsoft.com/office/drawing/2014/main" id="{C1CDDEB9-0236-B5D4-ED1C-752A7ABC9791}"/>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A7E415D-146A-2FB8-D5E4-DAEF17D4C3BE}"/>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4D5834F-194F-1F87-ABED-5EDE323DFF12}"/>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5A6D4555-2630-1045-F099-98662838B812}"/>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E6787759-3A14-1D31-9C69-1B7C4FFA90F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
        <p:nvSpPr>
          <p:cNvPr id="19" name="Titel 1">
            <a:extLst>
              <a:ext uri="{FF2B5EF4-FFF2-40B4-BE49-F238E27FC236}">
                <a16:creationId xmlns:a16="http://schemas.microsoft.com/office/drawing/2014/main" id="{484683F3-0990-AB5C-9E98-C21E1F373D81}"/>
              </a:ext>
            </a:extLst>
          </p:cNvPr>
          <p:cNvSpPr txBox="1">
            <a:spLocks/>
          </p:cNvSpPr>
          <p:nvPr/>
        </p:nvSpPr>
        <p:spPr>
          <a:xfrm>
            <a:off x="719666" y="4438876"/>
            <a:ext cx="3873500" cy="4904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vert="horz" lIns="0" tIns="0" rIns="0" bIns="378000" rtlCol="0" anchor="t">
            <a:noAutofit/>
          </a:bodyPr>
          <a:lstStyle>
            <a:lvl1pPr>
              <a:lnSpc>
                <a:spcPts val="3600"/>
              </a:lnSpc>
              <a:spcBef>
                <a:spcPct val="0"/>
              </a:spcBef>
              <a:buNone/>
              <a:defRPr sz="3600" b="1">
                <a:solidFill>
                  <a:schemeClr val="tx2"/>
                </a:solidFill>
                <a:latin typeface="+mj-lt"/>
                <a:ea typeface="+mj-ea"/>
                <a:cs typeface="+mj-cs"/>
              </a:defRPr>
            </a:lvl1pPr>
            <a:lvl2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r>
              <a:rPr lang="nl-NL" sz="4000" b="0" dirty="0">
                <a:solidFill>
                  <a:schemeClr val="bg1"/>
                </a:solidFill>
              </a:rPr>
              <a:t>The </a:t>
            </a:r>
            <a:r>
              <a:rPr lang="nl-NL" sz="4000" b="0" dirty="0" err="1">
                <a:solidFill>
                  <a:schemeClr val="bg1"/>
                </a:solidFill>
              </a:rPr>
              <a:t>fire</a:t>
            </a:r>
            <a:r>
              <a:rPr lang="nl-NL" sz="4000" b="0" dirty="0">
                <a:solidFill>
                  <a:schemeClr val="bg1"/>
                </a:solidFill>
              </a:rPr>
              <a:t> of </a:t>
            </a:r>
            <a:r>
              <a:rPr lang="nl-NL" sz="4000" dirty="0">
                <a:solidFill>
                  <a:schemeClr val="bg1"/>
                </a:solidFill>
              </a:rPr>
              <a:t>Prometheus</a:t>
            </a:r>
          </a:p>
        </p:txBody>
      </p:sp>
      <p:pic>
        <p:nvPicPr>
          <p:cNvPr id="25" name="Afbeelding 24" descr="Afbeelding met duisternis, persoon, kunst&#10;&#10;Automatisch gegenereerde beschrijving">
            <a:extLst>
              <a:ext uri="{FF2B5EF4-FFF2-40B4-BE49-F238E27FC236}">
                <a16:creationId xmlns:a16="http://schemas.microsoft.com/office/drawing/2014/main" id="{E5AEFB7A-610A-0952-C400-7B45E9D349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19556" y="0"/>
            <a:ext cx="9019162" cy="6000749"/>
          </a:xfrm>
          <a:prstGeom prst="rect">
            <a:avLst/>
          </a:prstGeom>
        </p:spPr>
      </p:pic>
    </p:spTree>
    <p:extLst>
      <p:ext uri="{BB962C8B-B14F-4D97-AF65-F5344CB8AC3E}">
        <p14:creationId xmlns:p14="http://schemas.microsoft.com/office/powerpoint/2010/main" val="55999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10000" decel="15000" fill="hold" nodeType="withEffect">
                                  <p:stCondLst>
                                    <p:cond delay="0"/>
                                  </p:stCondLst>
                                  <p:childTnLst>
                                    <p:animMotion origin="layout" path="M -4.375E-6 0 L 0.01133 0 " pathEditMode="relative" rAng="0" ptsTypes="AA">
                                      <p:cBhvr>
                                        <p:cTn id="6" dur="5000" fill="hold"/>
                                        <p:tgtEl>
                                          <p:spTgt spid="25"/>
                                        </p:tgtEl>
                                        <p:attrNameLst>
                                          <p:attrName>ppt_x</p:attrName>
                                          <p:attrName>ppt_y</p:attrName>
                                        </p:attrNameLst>
                                      </p:cBhvr>
                                      <p:rCtr x="560" y="0"/>
                                    </p:animMotion>
                                  </p:childTnLst>
                                </p:cTn>
                              </p:par>
                              <p:par>
                                <p:cTn id="7" presetID="6" presetClass="emph" presetSubtype="0" accel="19000" decel="24000" fill="hold" nodeType="withEffect">
                                  <p:stCondLst>
                                    <p:cond delay="0"/>
                                  </p:stCondLst>
                                  <p:childTnLst>
                                    <p:animScale>
                                      <p:cBhvr>
                                        <p:cTn id="8" dur="5000" fill="hold"/>
                                        <p:tgtEl>
                                          <p:spTgt spid="3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8.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TU DELFT | TEMPLATE (SLIDEBUILDER)">
  <a:themeElements>
    <a:clrScheme name="Aangepast 43">
      <a:dk1>
        <a:srgbClr val="000000"/>
      </a:dk1>
      <a:lt1>
        <a:srgbClr val="FFFFFF"/>
      </a:lt1>
      <a:dk2>
        <a:srgbClr val="000000"/>
      </a:dk2>
      <a:lt2>
        <a:srgbClr val="FFFFFF"/>
      </a:lt2>
      <a:accent1>
        <a:srgbClr val="00A6D6"/>
      </a:accent1>
      <a:accent2>
        <a:srgbClr val="0C2340"/>
      </a:accent2>
      <a:accent3>
        <a:srgbClr val="EF60A3"/>
      </a:accent3>
      <a:accent4>
        <a:srgbClr val="EC6842"/>
      </a:accent4>
      <a:accent5>
        <a:srgbClr val="FFB81C"/>
      </a:accent5>
      <a:accent6>
        <a:srgbClr val="6CC24A"/>
      </a:accent6>
      <a:hlink>
        <a:srgbClr val="00A6D6"/>
      </a:hlink>
      <a:folHlink>
        <a:srgbClr val="00A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U DELFT | DOCUMENT (SLIDEBUILDER)">
  <a:themeElements>
    <a:clrScheme name="TU Delft">
      <a:dk1>
        <a:srgbClr val="000000"/>
      </a:dk1>
      <a:lt1>
        <a:srgbClr val="F2F2F2"/>
      </a:lt1>
      <a:dk2>
        <a:srgbClr val="000000"/>
      </a:dk2>
      <a:lt2>
        <a:srgbClr val="F2F2F2"/>
      </a:lt2>
      <a:accent1>
        <a:srgbClr val="00A6D6"/>
      </a:accent1>
      <a:accent2>
        <a:srgbClr val="0C2340"/>
      </a:accent2>
      <a:accent3>
        <a:srgbClr val="EF60A3"/>
      </a:accent3>
      <a:accent4>
        <a:srgbClr val="EC6842"/>
      </a:accent4>
      <a:accent5>
        <a:srgbClr val="FFB81C"/>
      </a:accent5>
      <a:accent6>
        <a:srgbClr val="6CC24A"/>
      </a:accent6>
      <a:hlink>
        <a:srgbClr val="00A6D6"/>
      </a:hlink>
      <a:folHlink>
        <a:srgbClr val="00A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h_Settings xmlns="9d077a9f-2070-4d58-9077-cc78fbadfbe2" xsi:nil="true"/>
    <Self_Registration_Enabled xmlns="9d077a9f-2070-4d58-9077-cc78fbadfbe2" xsi:nil="true"/>
    <TeamsChannelId xmlns="9d077a9f-2070-4d58-9077-cc78fbadfbe2" xsi:nil="true"/>
    <Invited_Members xmlns="9d077a9f-2070-4d58-9077-cc78fbadfbe2" xsi:nil="true"/>
    <Templates xmlns="9d077a9f-2070-4d58-9077-cc78fbadfbe2" xsi:nil="true"/>
    <NotebookType xmlns="9d077a9f-2070-4d58-9077-cc78fbadfbe2" xsi:nil="true"/>
    <FolderType xmlns="9d077a9f-2070-4d58-9077-cc78fbadfbe2" xsi:nil="true"/>
    <AppVersion xmlns="9d077a9f-2070-4d58-9077-cc78fbadfbe2" xsi:nil="true"/>
    <LMS_Mappings xmlns="9d077a9f-2070-4d58-9077-cc78fbadfbe2" xsi:nil="true"/>
    <IsNotebookLocked xmlns="9d077a9f-2070-4d58-9077-cc78fbadfbe2" xsi:nil="true"/>
    <Has_Leaders_Only_SectionGroup xmlns="9d077a9f-2070-4d58-9077-cc78fbadfbe2" xsi:nil="true"/>
    <Owner xmlns="9d077a9f-2070-4d58-9077-cc78fbadfbe2">
      <UserInfo>
        <DisplayName/>
        <AccountId xsi:nil="true"/>
        <AccountType/>
      </UserInfo>
    </Owner>
    <DefaultSectionNames xmlns="9d077a9f-2070-4d58-9077-cc78fbadfbe2" xsi:nil="true"/>
    <Distribution_Groups xmlns="9d077a9f-2070-4d58-9077-cc78fbadfbe2" xsi:nil="true"/>
    <lcf76f155ced4ddcb4097134ff3c332f xmlns="9d077a9f-2070-4d58-9077-cc78fbadfbe2">
      <Terms xmlns="http://schemas.microsoft.com/office/infopath/2007/PartnerControls"/>
    </lcf76f155ced4ddcb4097134ff3c332f>
    <Is_Collaboration_Space_Locked xmlns="9d077a9f-2070-4d58-9077-cc78fbadfbe2" xsi:nil="true"/>
    <Members xmlns="9d077a9f-2070-4d58-9077-cc78fbadfbe2">
      <UserInfo>
        <DisplayName/>
        <AccountId xsi:nil="true"/>
        <AccountType/>
      </UserInfo>
    </Members>
    <Member_Groups xmlns="9d077a9f-2070-4d58-9077-cc78fbadfbe2">
      <UserInfo>
        <DisplayName/>
        <AccountId xsi:nil="true"/>
        <AccountType/>
      </UserInfo>
    </Member_Groups>
    <TaxCatchAll xmlns="39b7238d-f65c-4a11-9cc0-976316db4a86"/>
    <CultureName xmlns="9d077a9f-2070-4d58-9077-cc78fbadfbe2" xsi:nil="true"/>
    <Leaders xmlns="9d077a9f-2070-4d58-9077-cc78fbadfbe2">
      <UserInfo>
        <DisplayName/>
        <AccountId xsi:nil="true"/>
        <AccountType/>
      </UserInfo>
    </Leaders>
    <Invited_Leaders xmlns="9d077a9f-2070-4d58-9077-cc78fbadfbe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7619C50047C9743A1A19A1813F2F42C" ma:contentTypeVersion="36" ma:contentTypeDescription="Een nieuw document maken." ma:contentTypeScope="" ma:versionID="3ceae462363e7fcef575eac6d58f2d65">
  <xsd:schema xmlns:xsd="http://www.w3.org/2001/XMLSchema" xmlns:xs="http://www.w3.org/2001/XMLSchema" xmlns:p="http://schemas.microsoft.com/office/2006/metadata/properties" xmlns:ns2="9d077a9f-2070-4d58-9077-cc78fbadfbe2" xmlns:ns3="39b7238d-f65c-4a11-9cc0-976316db4a86" targetNamespace="http://schemas.microsoft.com/office/2006/metadata/properties" ma:root="true" ma:fieldsID="1b3aca08b5fae2649fe0cdb1180f442f" ns2:_="" ns3:_="">
    <xsd:import namespace="9d077a9f-2070-4d58-9077-cc78fbadfbe2"/>
    <xsd:import namespace="39b7238d-f65c-4a11-9cc0-976316db4a86"/>
    <xsd:element name="properties">
      <xsd:complexType>
        <xsd:sequence>
          <xsd:element name="documentManagement">
            <xsd:complexType>
              <xsd:all>
                <xsd:element ref="ns2:NotebookType" minOccurs="0"/>
                <xsd:element ref="ns2:FolderType" minOccurs="0"/>
                <xsd:element ref="ns2:CultureName" minOccurs="0"/>
                <xsd:element ref="ns2:AppVersion" minOccurs="0"/>
                <xsd:element ref="ns2:TeamsChannelId" minOccurs="0"/>
                <xsd:element ref="ns2:Owner" minOccurs="0"/>
                <xsd:element ref="ns2:Math_Settings" minOccurs="0"/>
                <xsd:element ref="ns2:DefaultSectionNames" minOccurs="0"/>
                <xsd:element ref="ns2:Templates" minOccurs="0"/>
                <xsd:element ref="ns2:Leaders" minOccurs="0"/>
                <xsd:element ref="ns2:Members" minOccurs="0"/>
                <xsd:element ref="ns2:Member_Groups" minOccurs="0"/>
                <xsd:element ref="ns2:Distribution_Groups" minOccurs="0"/>
                <xsd:element ref="ns2:LMS_Mappings" minOccurs="0"/>
                <xsd:element ref="ns2:Invited_Leaders" minOccurs="0"/>
                <xsd:element ref="ns2:Invited_Members" minOccurs="0"/>
                <xsd:element ref="ns2:Self_Registration_Enabled" minOccurs="0"/>
                <xsd:element ref="ns2:Has_Leaders_Only_SectionGroup" minOccurs="0"/>
                <xsd:element ref="ns2:Is_Collaboration_Space_Locked" minOccurs="0"/>
                <xsd:element ref="ns2:IsNotebookLocked" minOccurs="0"/>
                <xsd:element ref="ns2:MediaServiceMetadata" minOccurs="0"/>
                <xsd:element ref="ns2:MediaServiceFastMetadata"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lcf76f155ced4ddcb4097134ff3c332f" minOccurs="0"/>
                <xsd:element ref="ns3:TaxCatchAll"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077a9f-2070-4d58-9077-cc78fbadfbe2" elementFormDefault="qualified">
    <xsd:import namespace="http://schemas.microsoft.com/office/2006/documentManagement/types"/>
    <xsd:import namespace="http://schemas.microsoft.com/office/infopath/2007/PartnerControls"/>
    <xsd:element name="NotebookType" ma:index="8" nillable="true" ma:displayName="Notebook Type" ma:internalName="NotebookType">
      <xsd:simpleType>
        <xsd:restriction base="dms:Text"/>
      </xsd:simpleType>
    </xsd:element>
    <xsd:element name="FolderType" ma:index="9" nillable="true" ma:displayName="Folder Type" ma:internalName="FolderType">
      <xsd:simpleType>
        <xsd:restriction base="dms:Text"/>
      </xsd:simpleType>
    </xsd:element>
    <xsd:element name="CultureName" ma:index="10" nillable="true" ma:displayName="Culture Name" ma:internalName="CultureName">
      <xsd:simpleType>
        <xsd:restriction base="dms:Text"/>
      </xsd:simpleType>
    </xsd:element>
    <xsd:element name="AppVersion" ma:index="11" nillable="true" ma:displayName="App Version" ma:internalName="AppVersion">
      <xsd:simpleType>
        <xsd:restriction base="dms:Text"/>
      </xsd:simpleType>
    </xsd:element>
    <xsd:element name="TeamsChannelId" ma:index="12" nillable="true" ma:displayName="Teams Channel Id" ma:internalName="TeamsChannelId">
      <xsd:simpleType>
        <xsd:restriction base="dms:Text"/>
      </xsd:simpleType>
    </xsd:element>
    <xsd:element name="Owner" ma:index="13" nillable="true" ma:displayName="Owner"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th_Settings" ma:index="14" nillable="true" ma:displayName="Math Settings" ma:internalName="Math_Settings">
      <xsd:simpleType>
        <xsd:restriction base="dms:Text"/>
      </xsd:simpleType>
    </xsd:element>
    <xsd:element name="DefaultSectionNames" ma:index="15" nillable="true" ma:displayName="Default Section Names" ma:internalName="DefaultSectionNames">
      <xsd:simpleType>
        <xsd:restriction base="dms:Note">
          <xsd:maxLength value="255"/>
        </xsd:restriction>
      </xsd:simpleType>
    </xsd:element>
    <xsd:element name="Templates" ma:index="16" nillable="true" ma:displayName="Templates" ma:internalName="Templates">
      <xsd:simpleType>
        <xsd:restriction base="dms:Note">
          <xsd:maxLength value="255"/>
        </xsd:restriction>
      </xsd:simpleType>
    </xsd:element>
    <xsd:element name="Leaders" ma:index="17" nillable="true" ma:displayName="Leaders" ma:internalName="Leader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mbers" ma:index="18" nillable="true" ma:displayName="Members" ma:internalName="Member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mber_Groups" ma:index="19" nillable="true" ma:displayName="Member Groups" ma:internalName="Member_Group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istribution_Groups" ma:index="20" nillable="true" ma:displayName="Distribution Groups" ma:internalName="Distribution_Groups">
      <xsd:simpleType>
        <xsd:restriction base="dms:Note">
          <xsd:maxLength value="255"/>
        </xsd:restriction>
      </xsd:simpleType>
    </xsd:element>
    <xsd:element name="LMS_Mappings" ma:index="21" nillable="true" ma:displayName="LMS Mappings" ma:internalName="LMS_Mappings">
      <xsd:simpleType>
        <xsd:restriction base="dms:Note">
          <xsd:maxLength value="255"/>
        </xsd:restriction>
      </xsd:simpleType>
    </xsd:element>
    <xsd:element name="Invited_Leaders" ma:index="22" nillable="true" ma:displayName="Invited Leaders" ma:internalName="Invited_Leaders">
      <xsd:simpleType>
        <xsd:restriction base="dms:Note">
          <xsd:maxLength value="255"/>
        </xsd:restriction>
      </xsd:simpleType>
    </xsd:element>
    <xsd:element name="Invited_Members" ma:index="23" nillable="true" ma:displayName="Invited Members" ma:internalName="Invited_Members">
      <xsd:simpleType>
        <xsd:restriction base="dms:Note">
          <xsd:maxLength value="255"/>
        </xsd:restriction>
      </xsd:simpleType>
    </xsd:element>
    <xsd:element name="Self_Registration_Enabled" ma:index="24" nillable="true" ma:displayName="Self Registration Enabled" ma:internalName="Self_Registration_Enabled">
      <xsd:simpleType>
        <xsd:restriction base="dms:Boolean"/>
      </xsd:simpleType>
    </xsd:element>
    <xsd:element name="Has_Leaders_Only_SectionGroup" ma:index="25" nillable="true" ma:displayName="Has Leaders Only SectionGroup" ma:internalName="Has_Leaders_Only_SectionGroup">
      <xsd:simpleType>
        <xsd:restriction base="dms:Boolean"/>
      </xsd:simpleType>
    </xsd:element>
    <xsd:element name="Is_Collaboration_Space_Locked" ma:index="26" nillable="true" ma:displayName="Is Collaboration Space Locked" ma:internalName="Is_Collaboration_Space_Locked">
      <xsd:simpleType>
        <xsd:restriction base="dms:Boolean"/>
      </xsd:simpleType>
    </xsd:element>
    <xsd:element name="IsNotebookLocked" ma:index="27" nillable="true" ma:displayName="Is Notebook Locked" ma:internalName="IsNotebookLocked">
      <xsd:simpleType>
        <xsd:restriction base="dms:Boolean"/>
      </xsd:simpleType>
    </xsd:element>
    <xsd:element name="MediaServiceMetadata" ma:index="28" nillable="true" ma:displayName="MediaServiceMetadata" ma:hidden="true" ma:internalName="MediaServiceMetadata" ma:readOnly="true">
      <xsd:simpleType>
        <xsd:restriction base="dms:Note"/>
      </xsd:simpleType>
    </xsd:element>
    <xsd:element name="MediaServiceFastMetadata" ma:index="29" nillable="true" ma:displayName="MediaServiceFastMetadata" ma:hidden="true" ma:internalName="MediaServiceFastMetadata" ma:readOnly="true">
      <xsd:simpleType>
        <xsd:restriction base="dms:Note"/>
      </xsd:simpleType>
    </xsd:element>
    <xsd:element name="MediaServiceAutoKeyPoints" ma:index="30" nillable="true" ma:displayName="MediaServiceAutoKeyPoints" ma:hidden="true" ma:internalName="MediaServiceAutoKeyPoints" ma:readOnly="true">
      <xsd:simpleType>
        <xsd:restriction base="dms:Note"/>
      </xsd:simpleType>
    </xsd:element>
    <xsd:element name="MediaServiceKeyPoints" ma:index="31" nillable="true" ma:displayName="KeyPoints" ma:internalName="MediaServiceKeyPoints" ma:readOnly="true">
      <xsd:simpleType>
        <xsd:restriction base="dms:Note">
          <xsd:maxLength value="255"/>
        </xsd:restriction>
      </xsd:simpleType>
    </xsd:element>
    <xsd:element name="MediaServiceOCR" ma:index="32" nillable="true" ma:displayName="Extracted Text" ma:internalName="MediaServiceOCR" ma:readOnly="true">
      <xsd:simpleType>
        <xsd:restriction base="dms:Note">
          <xsd:maxLength value="255"/>
        </xsd:restriction>
      </xsd:simpleType>
    </xsd:element>
    <xsd:element name="MediaServiceGenerationTime" ma:index="33" nillable="true" ma:displayName="MediaServiceGenerationTime" ma:hidden="true" ma:internalName="MediaServiceGenerationTime" ma:readOnly="true">
      <xsd:simpleType>
        <xsd:restriction base="dms:Text"/>
      </xsd:simpleType>
    </xsd:element>
    <xsd:element name="MediaServiceEventHashCode" ma:index="34" nillable="true" ma:displayName="MediaServiceEventHashCode" ma:hidden="true" ma:internalName="MediaServiceEventHashCode" ma:readOnly="true">
      <xsd:simpleType>
        <xsd:restriction base="dms:Text"/>
      </xsd:simpleType>
    </xsd:element>
    <xsd:element name="MediaServiceDateTaken" ma:index="35" nillable="true" ma:displayName="MediaServiceDateTaken" ma:hidden="true" ma:internalName="MediaServiceDateTaken" ma:readOnly="true">
      <xsd:simpleType>
        <xsd:restriction base="dms:Text"/>
      </xsd:simpleType>
    </xsd:element>
    <xsd:element name="MediaServiceLocation" ma:index="36" nillable="true" ma:displayName="Location" ma:internalName="MediaServiceLocation" ma:readOnly="true">
      <xsd:simpleType>
        <xsd:restriction base="dms:Text"/>
      </xsd:simpleType>
    </xsd:element>
    <xsd:element name="lcf76f155ced4ddcb4097134ff3c332f" ma:index="38" nillable="true" ma:taxonomy="true" ma:internalName="lcf76f155ced4ddcb4097134ff3c332f" ma:taxonomyFieldName="MediaServiceImageTags" ma:displayName="Afbeeldingtags" ma:readOnly="false" ma:fieldId="{5cf76f15-5ced-4ddc-b409-7134ff3c332f}" ma:taxonomyMulti="true" ma:sspId="0d2f2e1c-c095-4710-afda-8e7acdb0334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4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9b7238d-f65c-4a11-9cc0-976316db4a86" elementFormDefault="qualified">
    <xsd:import namespace="http://schemas.microsoft.com/office/2006/documentManagement/types"/>
    <xsd:import namespace="http://schemas.microsoft.com/office/infopath/2007/PartnerControls"/>
    <xsd:element name="TaxCatchAll" ma:index="39" nillable="true" ma:displayName="Taxonomy Catch All Column" ma:hidden="true" ma:list="{5888adb5-77ea-46f6-8c57-ebe14489ccba}" ma:internalName="TaxCatchAll" ma:showField="CatchAllData" ma:web="39b7238d-f65c-4a11-9cc0-976316db4a86">
      <xsd:complexType>
        <xsd:complexContent>
          <xsd:extension base="dms:MultiChoiceLookup">
            <xsd:sequence>
              <xsd:element name="Value" type="dms:Lookup" maxOccurs="unbounded" minOccurs="0" nillable="true"/>
            </xsd:sequence>
          </xsd:extension>
        </xsd:complexContent>
      </xsd:complexType>
    </xsd:element>
    <xsd:element name="SharedWithUsers" ma:index="4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1"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104C40-AE8A-4E54-A559-49E2FABD6759}">
  <ds:schemaRefs>
    <ds:schemaRef ds:uri="http://schemas.microsoft.com/office/infopath/2007/PartnerControls"/>
    <ds:schemaRef ds:uri="http://schemas.microsoft.com/office/2006/documentManagement/types"/>
    <ds:schemaRef ds:uri="http://www.w3.org/XML/1998/namespace"/>
    <ds:schemaRef ds:uri="http://purl.org/dc/dcmitype/"/>
    <ds:schemaRef ds:uri="http://purl.org/dc/terms/"/>
    <ds:schemaRef ds:uri="9d077a9f-2070-4d58-9077-cc78fbadfbe2"/>
    <ds:schemaRef ds:uri="http://schemas.microsoft.com/office/2006/metadata/properties"/>
    <ds:schemaRef ds:uri="http://schemas.openxmlformats.org/package/2006/metadata/core-properties"/>
    <ds:schemaRef ds:uri="39b7238d-f65c-4a11-9cc0-976316db4a86"/>
    <ds:schemaRef ds:uri="http://purl.org/dc/elements/1.1/"/>
  </ds:schemaRefs>
</ds:datastoreItem>
</file>

<file path=customXml/itemProps2.xml><?xml version="1.0" encoding="utf-8"?>
<ds:datastoreItem xmlns:ds="http://schemas.openxmlformats.org/officeDocument/2006/customXml" ds:itemID="{CD46F492-243B-4679-8655-47E5E2289786}">
  <ds:schemaRefs>
    <ds:schemaRef ds:uri="http://schemas.microsoft.com/sharepoint/v3/contenttype/forms"/>
  </ds:schemaRefs>
</ds:datastoreItem>
</file>

<file path=customXml/itemProps3.xml><?xml version="1.0" encoding="utf-8"?>
<ds:datastoreItem xmlns:ds="http://schemas.openxmlformats.org/officeDocument/2006/customXml" ds:itemID="{C3F33185-6BB5-4B97-98BC-E127DD9407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077a9f-2070-4d58-9077-cc78fbadfbe2"/>
    <ds:schemaRef ds:uri="39b7238d-f65c-4a11-9cc0-976316db4a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187</TotalTime>
  <Words>2747</Words>
  <Application>Microsoft Office PowerPoint</Application>
  <PresentationFormat>Widescreen</PresentationFormat>
  <Paragraphs>392</Paragraphs>
  <Slides>32</Slides>
  <Notes>18</Notes>
  <HiddenSlides>6</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32</vt:i4>
      </vt:variant>
    </vt:vector>
  </HeadingPairs>
  <TitlesOfParts>
    <vt:vector size="40" baseType="lpstr">
      <vt:lpstr>Aptos</vt:lpstr>
      <vt:lpstr>Aptos Display</vt:lpstr>
      <vt:lpstr>Arial</vt:lpstr>
      <vt:lpstr>Calibri</vt:lpstr>
      <vt:lpstr>Segoe UI Light</vt:lpstr>
      <vt:lpstr>TU DELFT | TEMPLATE (SLIDEBUILDER)</vt:lpstr>
      <vt:lpstr>Custom Design</vt:lpstr>
      <vt:lpstr>TU DELFT | DOCUMENT (SLIDEBUILDER)</vt:lpstr>
      <vt:lpstr>Title slide + image</vt:lpstr>
      <vt:lpstr>Agenda | 5x</vt:lpstr>
      <vt:lpstr>Baseline model</vt:lpstr>
      <vt:lpstr>Baseline model – functionalities taxibot</vt:lpstr>
      <vt:lpstr>Baseline model – functionalites aircraft</vt:lpstr>
      <vt:lpstr>Extended model</vt:lpstr>
      <vt:lpstr>Baseline model – functionalites central controller</vt:lpstr>
      <vt:lpstr>Chapter | dark mode</vt:lpstr>
      <vt:lpstr>Quote</vt:lpstr>
      <vt:lpstr>History</vt:lpstr>
      <vt:lpstr>Chapter | dark mode</vt:lpstr>
      <vt:lpstr>Chapter | dark mode</vt:lpstr>
      <vt:lpstr>Chapter | dark mode</vt:lpstr>
      <vt:lpstr>Chapter | dark mode</vt:lpstr>
      <vt:lpstr>4 societal themes</vt:lpstr>
      <vt:lpstr>Quote</vt:lpstr>
      <vt:lpstr>Quote</vt:lpstr>
      <vt:lpstr>Quote</vt:lpstr>
      <vt:lpstr>Quote</vt:lpstr>
      <vt:lpstr>8 faculties: 16 Bsc, 38 MSc and 11 post-graduate programs</vt:lpstr>
      <vt:lpstr>Research facilities</vt:lpstr>
      <vt:lpstr>Broad cooperation</vt:lpstr>
      <vt:lpstr>Strong international position</vt:lpstr>
      <vt:lpstr>Chapter | dark mode</vt:lpstr>
      <vt:lpstr>TU Delft Organisation</vt:lpstr>
      <vt:lpstr>PowerPoint Presentation</vt:lpstr>
      <vt:lpstr>PowerPoint Presentation</vt:lpstr>
      <vt:lpstr>Alumini</vt:lpstr>
      <vt:lpstr>PowerPoint Presentation</vt:lpstr>
      <vt:lpstr>Delft University Fund</vt:lpstr>
      <vt:lpstr>PowerPoint Presentation</vt:lpstr>
      <vt:lpstr>Afsluit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van de presentatie</dc:title>
  <dc:creator>Silvana Salamur</dc:creator>
  <cp:keywords>www.pptsolutions.nl</cp:keywords>
  <cp:lastModifiedBy>Tim Honing</cp:lastModifiedBy>
  <cp:revision>147</cp:revision>
  <dcterms:created xsi:type="dcterms:W3CDTF">2018-03-15T13:05:51Z</dcterms:created>
  <dcterms:modified xsi:type="dcterms:W3CDTF">2025-03-13T15:0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619C50047C9743A1A19A1813F2F42C</vt:lpwstr>
  </property>
</Properties>
</file>